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6.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9.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1"/>
  </p:notesMasterIdLst>
  <p:sldIdLst>
    <p:sldId id="463" r:id="rId2"/>
    <p:sldId id="464" r:id="rId3"/>
    <p:sldId id="465" r:id="rId4"/>
    <p:sldId id="466" r:id="rId5"/>
    <p:sldId id="467" r:id="rId6"/>
    <p:sldId id="468" r:id="rId7"/>
    <p:sldId id="469" r:id="rId8"/>
    <p:sldId id="470" r:id="rId9"/>
    <p:sldId id="471" r:id="rId10"/>
    <p:sldId id="292" r:id="rId11"/>
    <p:sldId id="342" r:id="rId12"/>
    <p:sldId id="335" r:id="rId13"/>
    <p:sldId id="311" r:id="rId14"/>
    <p:sldId id="457" r:id="rId15"/>
    <p:sldId id="352" r:id="rId16"/>
    <p:sldId id="356" r:id="rId17"/>
    <p:sldId id="346" r:id="rId18"/>
    <p:sldId id="313" r:id="rId19"/>
    <p:sldId id="524" r:id="rId20"/>
    <p:sldId id="515" r:id="rId21"/>
    <p:sldId id="516" r:id="rId22"/>
    <p:sldId id="517" r:id="rId23"/>
    <p:sldId id="518" r:id="rId24"/>
    <p:sldId id="519" r:id="rId25"/>
    <p:sldId id="520" r:id="rId26"/>
    <p:sldId id="521" r:id="rId27"/>
    <p:sldId id="522" r:id="rId28"/>
    <p:sldId id="523" r:id="rId29"/>
    <p:sldId id="525" r:id="rId30"/>
  </p:sldIdLst>
  <p:sldSz cx="9144000" cy="6858000" type="screen4x3"/>
  <p:notesSz cx="6858000" cy="9144000"/>
  <p:custDataLst>
    <p:tags r:id="rId32"/>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02017"/>
    <a:srgbClr val="C00000"/>
    <a:srgbClr val="0064A8"/>
    <a:srgbClr val="0061B2"/>
    <a:srgbClr val="0072C0"/>
    <a:srgbClr val="FFFFFF"/>
    <a:srgbClr val="0099FF"/>
    <a:srgbClr val="66CCFF"/>
    <a:srgbClr val="00FF00"/>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67" autoAdjust="0"/>
    <p:restoredTop sz="98177" autoAdjust="0"/>
  </p:normalViewPr>
  <p:slideViewPr>
    <p:cSldViewPr snapToGrid="0">
      <p:cViewPr>
        <p:scale>
          <a:sx n="100" d="100"/>
          <a:sy n="100" d="100"/>
        </p:scale>
        <p:origin x="-2190" y="-462"/>
      </p:cViewPr>
      <p:guideLst>
        <p:guide orient="horz" pos="2205"/>
        <p:guide orient="horz" pos="2386"/>
        <p:guide orient="horz" pos="2723"/>
        <p:guide orient="horz" pos="3819"/>
        <p:guide orient="horz" pos="1880"/>
        <p:guide orient="horz" pos="3816"/>
        <p:guide orient="horz" pos="266"/>
        <p:guide orient="horz" pos="420"/>
        <p:guide pos="5601"/>
        <p:guide pos="2880"/>
        <p:guide pos="390"/>
        <p:guide/>
        <p:guide pos="145"/>
      </p:guideLst>
    </p:cSldViewPr>
  </p:slid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83" d="100"/>
          <a:sy n="83" d="100"/>
        </p:scale>
        <p:origin x="-2268" y="-8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9B58C7F5-AFA1-4EC4-ABA7-2AEE9F30F392}" type="datetimeFigureOut">
              <a:rPr lang="de-DE"/>
              <a:pPr>
                <a:defRPr/>
              </a:pPr>
              <a:t>15.10.2013</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de-DE" noProof="0" smtClean="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a:defRPr/>
            </a:pPr>
            <a:fld id="{76EFD690-96C0-4C04-9527-61E2CF3660A1}" type="slidenum">
              <a:rPr lang="de-DE"/>
              <a:pPr>
                <a:defRPr/>
              </a:pPr>
              <a:t>‹Nr.›</a:t>
            </a:fld>
            <a:endParaRPr lang="de-DE"/>
          </a:p>
        </p:txBody>
      </p:sp>
    </p:spTree>
    <p:extLst>
      <p:ext uri="{BB962C8B-B14F-4D97-AF65-F5344CB8AC3E}">
        <p14:creationId xmlns:p14="http://schemas.microsoft.com/office/powerpoint/2010/main" val="3164659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bildplatzhalter 1"/>
          <p:cNvSpPr>
            <a:spLocks noGrp="1" noRot="1" noChangeAspect="1" noTextEdit="1"/>
          </p:cNvSpPr>
          <p:nvPr>
            <p:ph type="sldImg"/>
          </p:nvPr>
        </p:nvSpPr>
        <p:spPr bwMode="auto">
          <a:noFill/>
          <a:ln>
            <a:solidFill>
              <a:srgbClr val="000000"/>
            </a:solidFill>
            <a:miter lim="800000"/>
            <a:headEnd/>
            <a:tailEnd/>
          </a:ln>
        </p:spPr>
      </p:sp>
      <p:sp>
        <p:nvSpPr>
          <p:cNvPr id="37891"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smtClean="0"/>
          </a:p>
        </p:txBody>
      </p:sp>
      <p:sp>
        <p:nvSpPr>
          <p:cNvPr id="37892"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D300A01-BE13-421A-A3DE-F7758A18BF8D}" type="slidenum">
              <a:rPr lang="de-DE" smtClean="0"/>
              <a:pPr/>
              <a:t>1</a:t>
            </a:fld>
            <a:endParaRPr lang="de-DE"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bildplatzhalter 1"/>
          <p:cNvSpPr>
            <a:spLocks noGrp="1" noRot="1" noChangeAspect="1" noTextEdit="1"/>
          </p:cNvSpPr>
          <p:nvPr>
            <p:ph type="sldImg"/>
          </p:nvPr>
        </p:nvSpPr>
        <p:spPr bwMode="auto">
          <a:noFill/>
          <a:ln>
            <a:solidFill>
              <a:srgbClr val="000000"/>
            </a:solidFill>
            <a:miter lim="800000"/>
            <a:headEnd/>
            <a:tailEnd/>
          </a:ln>
        </p:spPr>
      </p:sp>
      <p:sp>
        <p:nvSpPr>
          <p:cNvPr id="37891"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smtClean="0"/>
          </a:p>
        </p:txBody>
      </p:sp>
      <p:sp>
        <p:nvSpPr>
          <p:cNvPr id="37892"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D300A01-BE13-421A-A3DE-F7758A18BF8D}" type="slidenum">
              <a:rPr lang="de-DE" smtClean="0"/>
              <a:pPr/>
              <a:t>2</a:t>
            </a:fld>
            <a:endParaRPr lang="de-DE"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bildplatzhalter 1"/>
          <p:cNvSpPr>
            <a:spLocks noGrp="1" noRot="1" noChangeAspect="1" noTextEdit="1"/>
          </p:cNvSpPr>
          <p:nvPr>
            <p:ph type="sldImg"/>
          </p:nvPr>
        </p:nvSpPr>
        <p:spPr bwMode="auto">
          <a:noFill/>
          <a:ln>
            <a:solidFill>
              <a:srgbClr val="000000"/>
            </a:solidFill>
            <a:miter lim="800000"/>
            <a:headEnd/>
            <a:tailEnd/>
          </a:ln>
        </p:spPr>
      </p:sp>
      <p:sp>
        <p:nvSpPr>
          <p:cNvPr id="37891"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smtClean="0"/>
          </a:p>
        </p:txBody>
      </p:sp>
      <p:sp>
        <p:nvSpPr>
          <p:cNvPr id="37892"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D300A01-BE13-421A-A3DE-F7758A18BF8D}" type="slidenum">
              <a:rPr lang="de-DE" smtClean="0"/>
              <a:pPr/>
              <a:t>3</a:t>
            </a:fld>
            <a:endParaRPr lang="de-DE"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bildplatzhalter 1"/>
          <p:cNvSpPr>
            <a:spLocks noGrp="1" noRot="1" noChangeAspect="1" noTextEdit="1"/>
          </p:cNvSpPr>
          <p:nvPr>
            <p:ph type="sldImg"/>
          </p:nvPr>
        </p:nvSpPr>
        <p:spPr bwMode="auto">
          <a:noFill/>
          <a:ln>
            <a:solidFill>
              <a:srgbClr val="000000"/>
            </a:solidFill>
            <a:miter lim="800000"/>
            <a:headEnd/>
            <a:tailEnd/>
          </a:ln>
        </p:spPr>
      </p:sp>
      <p:sp>
        <p:nvSpPr>
          <p:cNvPr id="37891"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smtClean="0"/>
          </a:p>
        </p:txBody>
      </p:sp>
      <p:sp>
        <p:nvSpPr>
          <p:cNvPr id="37892"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D300A01-BE13-421A-A3DE-F7758A18BF8D}" type="slidenum">
              <a:rPr lang="de-DE" smtClean="0"/>
              <a:pPr/>
              <a:t>10</a:t>
            </a:fld>
            <a:endParaRPr lang="de-DE"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bildplatzhalter 1"/>
          <p:cNvSpPr>
            <a:spLocks noGrp="1" noRot="1" noChangeAspect="1" noTextEdit="1"/>
          </p:cNvSpPr>
          <p:nvPr>
            <p:ph type="sldImg"/>
          </p:nvPr>
        </p:nvSpPr>
        <p:spPr bwMode="auto">
          <a:noFill/>
          <a:ln>
            <a:solidFill>
              <a:srgbClr val="000000"/>
            </a:solidFill>
            <a:miter lim="800000"/>
            <a:headEnd/>
            <a:tailEnd/>
          </a:ln>
        </p:spPr>
      </p:sp>
      <p:sp>
        <p:nvSpPr>
          <p:cNvPr id="37891"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smtClean="0"/>
          </a:p>
        </p:txBody>
      </p:sp>
      <p:sp>
        <p:nvSpPr>
          <p:cNvPr id="37892"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D300A01-BE13-421A-A3DE-F7758A18BF8D}" type="slidenum">
              <a:rPr lang="de-DE" smtClean="0"/>
              <a:pPr/>
              <a:t>11</a:t>
            </a:fld>
            <a:endParaRPr lang="de-DE"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bildplatzhalter 1"/>
          <p:cNvSpPr>
            <a:spLocks noGrp="1" noRot="1" noChangeAspect="1" noTextEdit="1"/>
          </p:cNvSpPr>
          <p:nvPr>
            <p:ph type="sldImg"/>
          </p:nvPr>
        </p:nvSpPr>
        <p:spPr bwMode="auto">
          <a:noFill/>
          <a:ln>
            <a:solidFill>
              <a:srgbClr val="000000"/>
            </a:solidFill>
            <a:miter lim="800000"/>
            <a:headEnd/>
            <a:tailEnd/>
          </a:ln>
        </p:spPr>
      </p:sp>
      <p:sp>
        <p:nvSpPr>
          <p:cNvPr id="37891"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37892"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D300A01-BE13-421A-A3DE-F7758A18BF8D}" type="slidenum">
              <a:rPr lang="de-DE" smtClean="0"/>
              <a:pPr/>
              <a:t>12</a:t>
            </a:fld>
            <a:endParaRPr lang="de-DE"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bildplatzhalter 1"/>
          <p:cNvSpPr>
            <a:spLocks noGrp="1" noRot="1" noChangeAspect="1" noTextEdit="1"/>
          </p:cNvSpPr>
          <p:nvPr>
            <p:ph type="sldImg"/>
          </p:nvPr>
        </p:nvSpPr>
        <p:spPr bwMode="auto">
          <a:noFill/>
          <a:ln>
            <a:solidFill>
              <a:srgbClr val="000000"/>
            </a:solidFill>
            <a:miter lim="800000"/>
            <a:headEnd/>
            <a:tailEnd/>
          </a:ln>
        </p:spPr>
      </p:sp>
      <p:sp>
        <p:nvSpPr>
          <p:cNvPr id="37891"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smtClean="0"/>
          </a:p>
        </p:txBody>
      </p:sp>
      <p:sp>
        <p:nvSpPr>
          <p:cNvPr id="37892"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D300A01-BE13-421A-A3DE-F7758A18BF8D}" type="slidenum">
              <a:rPr lang="de-DE" smtClean="0"/>
              <a:pPr/>
              <a:t>20</a:t>
            </a:fld>
            <a:endParaRPr lang="de-DE"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bildplatzhalter 1"/>
          <p:cNvSpPr>
            <a:spLocks noGrp="1" noRot="1" noChangeAspect="1" noTextEdit="1"/>
          </p:cNvSpPr>
          <p:nvPr>
            <p:ph type="sldImg"/>
          </p:nvPr>
        </p:nvSpPr>
        <p:spPr bwMode="auto">
          <a:noFill/>
          <a:ln>
            <a:solidFill>
              <a:srgbClr val="000000"/>
            </a:solidFill>
            <a:miter lim="800000"/>
            <a:headEnd/>
            <a:tailEnd/>
          </a:ln>
        </p:spPr>
      </p:sp>
      <p:sp>
        <p:nvSpPr>
          <p:cNvPr id="37891"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smtClean="0"/>
          </a:p>
        </p:txBody>
      </p:sp>
      <p:sp>
        <p:nvSpPr>
          <p:cNvPr id="37892"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D300A01-BE13-421A-A3DE-F7758A18BF8D}" type="slidenum">
              <a:rPr lang="de-DE" smtClean="0"/>
              <a:pPr/>
              <a:t>21</a:t>
            </a:fld>
            <a:endParaRPr lang="de-DE"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bildplatzhalter 1"/>
          <p:cNvSpPr>
            <a:spLocks noGrp="1" noRot="1" noChangeAspect="1" noTextEdit="1"/>
          </p:cNvSpPr>
          <p:nvPr>
            <p:ph type="sldImg"/>
          </p:nvPr>
        </p:nvSpPr>
        <p:spPr bwMode="auto">
          <a:noFill/>
          <a:ln>
            <a:solidFill>
              <a:srgbClr val="000000"/>
            </a:solidFill>
            <a:miter lim="800000"/>
            <a:headEnd/>
            <a:tailEnd/>
          </a:ln>
        </p:spPr>
      </p:sp>
      <p:sp>
        <p:nvSpPr>
          <p:cNvPr id="37891"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smtClean="0"/>
          </a:p>
        </p:txBody>
      </p:sp>
      <p:sp>
        <p:nvSpPr>
          <p:cNvPr id="37892"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D300A01-BE13-421A-A3DE-F7758A18BF8D}" type="slidenum">
              <a:rPr lang="de-DE" smtClean="0"/>
              <a:pPr/>
              <a:t>22</a:t>
            </a:fld>
            <a:endParaRPr lang="de-DE"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a:prstGeom prst="rect">
            <a:avLst/>
          </a:prstGeo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
        <p:nvSpPr>
          <p:cNvPr id="4" name="Rectangle 4"/>
          <p:cNvSpPr>
            <a:spLocks noGrp="1" noChangeArrowheads="1"/>
          </p:cNvSpPr>
          <p:nvPr>
            <p:ph type="dt" sz="half" idx="10"/>
          </p:nvPr>
        </p:nvSpPr>
        <p:spPr>
          <a:xfrm>
            <a:off x="457200" y="6245225"/>
            <a:ext cx="2133600" cy="476250"/>
          </a:xfrm>
          <a:prstGeom prst="rect">
            <a:avLst/>
          </a:prstGeom>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6553200" y="6245225"/>
            <a:ext cx="2133600" cy="476250"/>
          </a:xfrm>
          <a:prstGeom prst="rect">
            <a:avLst/>
          </a:prstGeom>
        </p:spPr>
        <p:txBody>
          <a:bodyPr/>
          <a:lstStyle>
            <a:lvl1pPr>
              <a:defRPr/>
            </a:lvl1pPr>
          </a:lstStyle>
          <a:p>
            <a:pPr>
              <a:defRPr/>
            </a:pPr>
            <a:fld id="{D25C09AB-119C-47B8-B899-E30B4FF33387}" type="slidenum">
              <a:rPr lang="en-US"/>
              <a:pPr>
                <a:defRPr/>
              </a:pPr>
              <a:t>‹Nr.›</a:t>
            </a:fld>
            <a:endParaRPr lang="en-US"/>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128994" y="274638"/>
            <a:ext cx="9015006" cy="461632"/>
          </a:xfrm>
          <a:prstGeom prst="rect">
            <a:avLst/>
          </a:prstGeom>
        </p:spPr>
        <p:txBody>
          <a:bodyPr/>
          <a:lstStyle>
            <a:lvl1pPr>
              <a:defRPr sz="2800"/>
            </a:lvl1pPr>
          </a:lstStyle>
          <a:p>
            <a:r>
              <a:rPr lang="de-DE" dirty="0" smtClean="0"/>
              <a:t>Titelmasterformat durch Klicken bearbeiten</a:t>
            </a:r>
            <a:endParaRPr lang="de-DE"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p:spPr>
        <p:txBody>
          <a:bodyPr/>
          <a:lstStyle>
            <a:lvl1pPr>
              <a:defRPr/>
            </a:lvl1pPr>
          </a:lstStyle>
          <a:p>
            <a:pPr>
              <a:defRPr/>
            </a:pPr>
            <a:endParaRPr lang="en-US"/>
          </a:p>
        </p:txBody>
      </p:sp>
      <p:sp>
        <p:nvSpPr>
          <p:cNvPr id="3" name="Rectangle 5"/>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a:defRPr/>
            </a:pPr>
            <a:endParaRPr lang="en-US"/>
          </a:p>
        </p:txBody>
      </p:sp>
      <p:sp>
        <p:nvSpPr>
          <p:cNvPr id="4" name="Rectangle 6"/>
          <p:cNvSpPr>
            <a:spLocks noGrp="1" noChangeArrowheads="1"/>
          </p:cNvSpPr>
          <p:nvPr>
            <p:ph type="sldNum" sz="quarter" idx="12"/>
          </p:nvPr>
        </p:nvSpPr>
        <p:spPr>
          <a:xfrm>
            <a:off x="6553200" y="6245225"/>
            <a:ext cx="2133600" cy="476250"/>
          </a:xfrm>
          <a:prstGeom prst="rect">
            <a:avLst/>
          </a:prstGeom>
        </p:spPr>
        <p:txBody>
          <a:bodyPr/>
          <a:lstStyle>
            <a:lvl1pPr>
              <a:defRPr/>
            </a:lvl1pPr>
          </a:lstStyle>
          <a:p>
            <a:pPr>
              <a:defRPr/>
            </a:pPr>
            <a:fld id="{DD531B49-DC93-44C0-94FF-100B9D2F3A5B}" type="slidenum">
              <a:rPr lang="en-US"/>
              <a:pPr>
                <a:defRPr/>
              </a:pPr>
              <a:t>‹Nr.›</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69875" y="101600"/>
            <a:ext cx="8626475" cy="385763"/>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idx="1"/>
          </p:nvPr>
        </p:nvSpPr>
        <p:spPr>
          <a:xfrm>
            <a:off x="457200" y="1600200"/>
            <a:ext cx="8229600" cy="4525963"/>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ußzeilenplatzhalter 3"/>
          <p:cNvSpPr>
            <a:spLocks noGrp="1"/>
          </p:cNvSpPr>
          <p:nvPr>
            <p:ph type="ftr" sz="quarter" idx="10"/>
          </p:nvPr>
        </p:nvSpPr>
        <p:spPr>
          <a:xfrm>
            <a:off x="269875" y="6327775"/>
            <a:ext cx="550863" cy="307975"/>
          </a:xfrm>
          <a:prstGeom prst="rect">
            <a:avLst/>
          </a:prstGeom>
        </p:spPr>
        <p:txBody>
          <a:bodyPr/>
          <a:lstStyle>
            <a:lvl1pPr>
              <a:defRPr/>
            </a:lvl1pPr>
          </a:lstStyle>
          <a:p>
            <a:fld id="{0EA9159C-02A7-45CA-A527-6ACA44A23B87}" type="slidenum">
              <a:rPr lang="en-GB"/>
              <a:pPr/>
              <a:t>‹Nr.›</a:t>
            </a:fld>
            <a:endParaRPr lang="en-GB"/>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Grafik 5" descr="tut_background_mit_logo.jpg"/>
          <p:cNvPicPr>
            <a:picLocks noChangeAspect="1"/>
          </p:cNvPicPr>
          <p:nvPr userDrawn="1"/>
        </p:nvPicPr>
        <p:blipFill>
          <a:blip r:embed="rId7" cstate="print"/>
          <a:stretch>
            <a:fillRect/>
          </a:stretch>
        </p:blipFill>
        <p:spPr>
          <a:xfrm>
            <a:off x="1333" y="0"/>
            <a:ext cx="9141334" cy="6858000"/>
          </a:xfrm>
          <a:prstGeom prst="rect">
            <a:avLst/>
          </a:prstGeom>
        </p:spPr>
      </p:pic>
    </p:spTree>
  </p:cSld>
  <p:clrMap bg1="lt1" tx1="dk1" bg2="lt2" tx2="dk2" accent1="accent1" accent2="accent2" accent3="accent3" accent4="accent4" accent5="accent5" accent6="accent6" hlink="hlink" folHlink="folHlink"/>
  <p:sldLayoutIdLst>
    <p:sldLayoutId id="2147483765" r:id="rId1"/>
    <p:sldLayoutId id="2147483763" r:id="rId2"/>
    <p:sldLayoutId id="2147483764" r:id="rId3"/>
    <p:sldLayoutId id="2147483766" r:id="rId4"/>
    <p:sldLayoutId id="2147483767" r:id="rId5"/>
  </p:sldLayoutIdLst>
  <p:txStyles>
    <p:titleStyle>
      <a:lvl1pPr algn="l" rtl="0" eaLnBrk="0" fontAlgn="base" hangingPunct="0">
        <a:spcBef>
          <a:spcPct val="0"/>
        </a:spcBef>
        <a:spcAft>
          <a:spcPct val="0"/>
        </a:spcAft>
        <a:defRPr sz="2400">
          <a:solidFill>
            <a:schemeClr val="tx2"/>
          </a:solidFill>
          <a:latin typeface="Myriad Pro" pitchFamily="34" charset="0"/>
          <a:ea typeface="+mj-ea"/>
          <a:cs typeface="+mj-cs"/>
        </a:defRPr>
      </a:lvl1pPr>
      <a:lvl2pPr algn="l" rtl="0" eaLnBrk="0" fontAlgn="base" hangingPunct="0">
        <a:spcBef>
          <a:spcPct val="0"/>
        </a:spcBef>
        <a:spcAft>
          <a:spcPct val="0"/>
        </a:spcAft>
        <a:defRPr sz="2400">
          <a:solidFill>
            <a:schemeClr val="tx2"/>
          </a:solidFill>
          <a:latin typeface="Myriad Pro" pitchFamily="34" charset="0"/>
        </a:defRPr>
      </a:lvl2pPr>
      <a:lvl3pPr algn="l" rtl="0" eaLnBrk="0" fontAlgn="base" hangingPunct="0">
        <a:spcBef>
          <a:spcPct val="0"/>
        </a:spcBef>
        <a:spcAft>
          <a:spcPct val="0"/>
        </a:spcAft>
        <a:defRPr sz="2400">
          <a:solidFill>
            <a:schemeClr val="tx2"/>
          </a:solidFill>
          <a:latin typeface="Myriad Pro" pitchFamily="34" charset="0"/>
        </a:defRPr>
      </a:lvl3pPr>
      <a:lvl4pPr algn="l" rtl="0" eaLnBrk="0" fontAlgn="base" hangingPunct="0">
        <a:spcBef>
          <a:spcPct val="0"/>
        </a:spcBef>
        <a:spcAft>
          <a:spcPct val="0"/>
        </a:spcAft>
        <a:defRPr sz="2400">
          <a:solidFill>
            <a:schemeClr val="tx2"/>
          </a:solidFill>
          <a:latin typeface="Myriad Pro" pitchFamily="34" charset="0"/>
        </a:defRPr>
      </a:lvl4pPr>
      <a:lvl5pPr algn="l" rtl="0" eaLnBrk="0" fontAlgn="base" hangingPunct="0">
        <a:spcBef>
          <a:spcPct val="0"/>
        </a:spcBef>
        <a:spcAft>
          <a:spcPct val="0"/>
        </a:spcAft>
        <a:defRPr sz="2400">
          <a:solidFill>
            <a:schemeClr val="tx2"/>
          </a:solidFill>
          <a:latin typeface="Myriad Pro"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hyperlink" Target="http://www.presentationload.de/?newsletter=Monatlich/DE/0909_Backgrounds"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hyperlink" Target="http://www.presentationload.de/?newsletter=Monatlich/DE/0909_Backgrounds"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hyperlink" Target="http://www.presentationload.de/?newsletter=Monatlich/DE/0909_Backgrounds" TargetMode="External"/><Relationship Id="rId10" Type="http://schemas.openxmlformats.org/officeDocument/2006/relationships/image" Target="../media/image26.png"/><Relationship Id="rId4" Type="http://schemas.openxmlformats.org/officeDocument/2006/relationships/image" Target="../media/image3.png"/><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13" Type="http://schemas.openxmlformats.org/officeDocument/2006/relationships/tags" Target="../tags/tag126.xml"/><Relationship Id="rId18" Type="http://schemas.openxmlformats.org/officeDocument/2006/relationships/tags" Target="../tags/tag131.xml"/><Relationship Id="rId26" Type="http://schemas.openxmlformats.org/officeDocument/2006/relationships/tags" Target="../tags/tag139.xml"/><Relationship Id="rId39" Type="http://schemas.openxmlformats.org/officeDocument/2006/relationships/image" Target="../media/image28.png"/><Relationship Id="rId21" Type="http://schemas.openxmlformats.org/officeDocument/2006/relationships/tags" Target="../tags/tag134.xml"/><Relationship Id="rId34" Type="http://schemas.openxmlformats.org/officeDocument/2006/relationships/notesSlide" Target="../notesSlides/notesSlide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tags" Target="../tags/tag138.xml"/><Relationship Id="rId33" Type="http://schemas.openxmlformats.org/officeDocument/2006/relationships/slideLayout" Target="../slideLayouts/slideLayout2.xml"/><Relationship Id="rId38" Type="http://schemas.openxmlformats.org/officeDocument/2006/relationships/image" Target="../media/image27.png"/><Relationship Id="rId2" Type="http://schemas.openxmlformats.org/officeDocument/2006/relationships/tags" Target="../tags/tag115.xml"/><Relationship Id="rId16" Type="http://schemas.openxmlformats.org/officeDocument/2006/relationships/tags" Target="../tags/tag129.xml"/><Relationship Id="rId20" Type="http://schemas.openxmlformats.org/officeDocument/2006/relationships/tags" Target="../tags/tag133.xml"/><Relationship Id="rId29" Type="http://schemas.openxmlformats.org/officeDocument/2006/relationships/tags" Target="../tags/tag142.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tags" Target="../tags/tag124.xml"/><Relationship Id="rId24" Type="http://schemas.openxmlformats.org/officeDocument/2006/relationships/tags" Target="../tags/tag137.xml"/><Relationship Id="rId32" Type="http://schemas.openxmlformats.org/officeDocument/2006/relationships/tags" Target="../tags/tag145.xml"/><Relationship Id="rId37" Type="http://schemas.openxmlformats.org/officeDocument/2006/relationships/hyperlink" Target="http://www.presentationload.de/?newsletter=Monatlich/DE/0909_Backgrounds" TargetMode="External"/><Relationship Id="rId40" Type="http://schemas.openxmlformats.org/officeDocument/2006/relationships/image" Target="../media/image29.png"/><Relationship Id="rId5" Type="http://schemas.openxmlformats.org/officeDocument/2006/relationships/tags" Target="../tags/tag118.xml"/><Relationship Id="rId15" Type="http://schemas.openxmlformats.org/officeDocument/2006/relationships/tags" Target="../tags/tag128.xml"/><Relationship Id="rId23" Type="http://schemas.openxmlformats.org/officeDocument/2006/relationships/tags" Target="../tags/tag136.xml"/><Relationship Id="rId28" Type="http://schemas.openxmlformats.org/officeDocument/2006/relationships/tags" Target="../tags/tag141.xml"/><Relationship Id="rId36" Type="http://schemas.openxmlformats.org/officeDocument/2006/relationships/image" Target="../media/image3.png"/><Relationship Id="rId10" Type="http://schemas.openxmlformats.org/officeDocument/2006/relationships/tags" Target="../tags/tag123.xml"/><Relationship Id="rId19" Type="http://schemas.openxmlformats.org/officeDocument/2006/relationships/tags" Target="../tags/tag132.xml"/><Relationship Id="rId31" Type="http://schemas.openxmlformats.org/officeDocument/2006/relationships/tags" Target="../tags/tag144.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tags" Target="../tags/tag135.xml"/><Relationship Id="rId27" Type="http://schemas.openxmlformats.org/officeDocument/2006/relationships/tags" Target="../tags/tag140.xml"/><Relationship Id="rId30" Type="http://schemas.openxmlformats.org/officeDocument/2006/relationships/tags" Target="../tags/tag143.xml"/><Relationship Id="rId35" Type="http://schemas.openxmlformats.org/officeDocument/2006/relationships/image" Target="../media/image2.png"/><Relationship Id="rId8" Type="http://schemas.openxmlformats.org/officeDocument/2006/relationships/tags" Target="../tags/tag121.xml"/><Relationship Id="rId3" Type="http://schemas.openxmlformats.org/officeDocument/2006/relationships/tags" Target="../tags/tag116.xml"/></Relationships>
</file>

<file path=ppt/slides/_rels/slide13.xml.rels><?xml version="1.0" encoding="UTF-8" standalone="yes"?>
<Relationships xmlns="http://schemas.openxmlformats.org/package/2006/relationships"><Relationship Id="rId13" Type="http://schemas.openxmlformats.org/officeDocument/2006/relationships/tags" Target="../tags/tag158.xml"/><Relationship Id="rId18" Type="http://schemas.openxmlformats.org/officeDocument/2006/relationships/tags" Target="../tags/tag163.xml"/><Relationship Id="rId26" Type="http://schemas.openxmlformats.org/officeDocument/2006/relationships/tags" Target="../tags/tag171.xml"/><Relationship Id="rId3" Type="http://schemas.openxmlformats.org/officeDocument/2006/relationships/tags" Target="../tags/tag148.xml"/><Relationship Id="rId21" Type="http://schemas.openxmlformats.org/officeDocument/2006/relationships/tags" Target="../tags/tag166.xml"/><Relationship Id="rId34" Type="http://schemas.openxmlformats.org/officeDocument/2006/relationships/image" Target="../media/image2.png"/><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5" Type="http://schemas.openxmlformats.org/officeDocument/2006/relationships/tags" Target="../tags/tag170.xml"/><Relationship Id="rId33" Type="http://schemas.openxmlformats.org/officeDocument/2006/relationships/slideLayout" Target="../slideLayouts/slideLayout4.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tags" Target="../tags/tag165.xml"/><Relationship Id="rId29" Type="http://schemas.openxmlformats.org/officeDocument/2006/relationships/tags" Target="../tags/tag174.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tags" Target="../tags/tag156.xml"/><Relationship Id="rId24" Type="http://schemas.openxmlformats.org/officeDocument/2006/relationships/tags" Target="../tags/tag169.xml"/><Relationship Id="rId32" Type="http://schemas.openxmlformats.org/officeDocument/2006/relationships/tags" Target="../tags/tag177.xml"/><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tags" Target="../tags/tag168.xml"/><Relationship Id="rId28" Type="http://schemas.openxmlformats.org/officeDocument/2006/relationships/tags" Target="../tags/tag173.xml"/><Relationship Id="rId36" Type="http://schemas.openxmlformats.org/officeDocument/2006/relationships/image" Target="../media/image11.png"/><Relationship Id="rId10" Type="http://schemas.openxmlformats.org/officeDocument/2006/relationships/tags" Target="../tags/tag155.xml"/><Relationship Id="rId19" Type="http://schemas.openxmlformats.org/officeDocument/2006/relationships/tags" Target="../tags/tag164.xml"/><Relationship Id="rId31" Type="http://schemas.openxmlformats.org/officeDocument/2006/relationships/tags" Target="../tags/tag176.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tags" Target="../tags/tag167.xml"/><Relationship Id="rId27" Type="http://schemas.openxmlformats.org/officeDocument/2006/relationships/tags" Target="../tags/tag172.xml"/><Relationship Id="rId30" Type="http://schemas.openxmlformats.org/officeDocument/2006/relationships/tags" Target="../tags/tag175.xml"/><Relationship Id="rId35" Type="http://schemas.openxmlformats.org/officeDocument/2006/relationships/image" Target="../media/image3.png"/><Relationship Id="rId8" Type="http://schemas.openxmlformats.org/officeDocument/2006/relationships/tags" Target="../tags/tag153.xml"/></Relationships>
</file>

<file path=ppt/slides/_rels/slide14.xml.rels><?xml version="1.0" encoding="UTF-8" standalone="yes"?>
<Relationships xmlns="http://schemas.openxmlformats.org/package/2006/relationships"><Relationship Id="rId13" Type="http://schemas.openxmlformats.org/officeDocument/2006/relationships/tags" Target="../tags/tag190.xml"/><Relationship Id="rId18" Type="http://schemas.openxmlformats.org/officeDocument/2006/relationships/tags" Target="../tags/tag195.xml"/><Relationship Id="rId26" Type="http://schemas.openxmlformats.org/officeDocument/2006/relationships/tags" Target="../tags/tag203.xml"/><Relationship Id="rId21" Type="http://schemas.openxmlformats.org/officeDocument/2006/relationships/tags" Target="../tags/tag198.xml"/><Relationship Id="rId34" Type="http://schemas.openxmlformats.org/officeDocument/2006/relationships/image" Target="../media/image2.png"/><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tags" Target="../tags/tag194.xml"/><Relationship Id="rId25" Type="http://schemas.openxmlformats.org/officeDocument/2006/relationships/tags" Target="../tags/tag202.xml"/><Relationship Id="rId33" Type="http://schemas.openxmlformats.org/officeDocument/2006/relationships/slideLayout" Target="../slideLayouts/slideLayout4.xml"/><Relationship Id="rId2" Type="http://schemas.openxmlformats.org/officeDocument/2006/relationships/tags" Target="../tags/tag179.xml"/><Relationship Id="rId16" Type="http://schemas.openxmlformats.org/officeDocument/2006/relationships/tags" Target="../tags/tag193.xml"/><Relationship Id="rId20" Type="http://schemas.openxmlformats.org/officeDocument/2006/relationships/tags" Target="../tags/tag197.xml"/><Relationship Id="rId29" Type="http://schemas.openxmlformats.org/officeDocument/2006/relationships/tags" Target="../tags/tag206.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tags" Target="../tags/tag188.xml"/><Relationship Id="rId24" Type="http://schemas.openxmlformats.org/officeDocument/2006/relationships/tags" Target="../tags/tag201.xml"/><Relationship Id="rId32" Type="http://schemas.openxmlformats.org/officeDocument/2006/relationships/tags" Target="../tags/tag209.xml"/><Relationship Id="rId37" Type="http://schemas.openxmlformats.org/officeDocument/2006/relationships/image" Target="../media/image31.png"/><Relationship Id="rId5" Type="http://schemas.openxmlformats.org/officeDocument/2006/relationships/tags" Target="../tags/tag182.xml"/><Relationship Id="rId15" Type="http://schemas.openxmlformats.org/officeDocument/2006/relationships/tags" Target="../tags/tag192.xml"/><Relationship Id="rId23" Type="http://schemas.openxmlformats.org/officeDocument/2006/relationships/tags" Target="../tags/tag200.xml"/><Relationship Id="rId28" Type="http://schemas.openxmlformats.org/officeDocument/2006/relationships/tags" Target="../tags/tag205.xml"/><Relationship Id="rId36" Type="http://schemas.openxmlformats.org/officeDocument/2006/relationships/image" Target="../media/image30.png"/><Relationship Id="rId10" Type="http://schemas.openxmlformats.org/officeDocument/2006/relationships/tags" Target="../tags/tag187.xml"/><Relationship Id="rId19" Type="http://schemas.openxmlformats.org/officeDocument/2006/relationships/tags" Target="../tags/tag196.xml"/><Relationship Id="rId31" Type="http://schemas.openxmlformats.org/officeDocument/2006/relationships/tags" Target="../tags/tag208.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 Id="rId22" Type="http://schemas.openxmlformats.org/officeDocument/2006/relationships/tags" Target="../tags/tag199.xml"/><Relationship Id="rId27" Type="http://schemas.openxmlformats.org/officeDocument/2006/relationships/tags" Target="../tags/tag204.xml"/><Relationship Id="rId30" Type="http://schemas.openxmlformats.org/officeDocument/2006/relationships/tags" Target="../tags/tag207.xml"/><Relationship Id="rId35" Type="http://schemas.openxmlformats.org/officeDocument/2006/relationships/image" Target="../media/image3.png"/><Relationship Id="rId8" Type="http://schemas.openxmlformats.org/officeDocument/2006/relationships/tags" Target="../tags/tag185.xml"/><Relationship Id="rId3" Type="http://schemas.openxmlformats.org/officeDocument/2006/relationships/tags" Target="../tags/tag180.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tags" Target="../tags/tag222.xml"/><Relationship Id="rId18" Type="http://schemas.openxmlformats.org/officeDocument/2006/relationships/image" Target="../media/image2.png"/><Relationship Id="rId3" Type="http://schemas.openxmlformats.org/officeDocument/2006/relationships/tags" Target="../tags/tag212.xml"/><Relationship Id="rId21" Type="http://schemas.openxmlformats.org/officeDocument/2006/relationships/image" Target="../media/image24.png"/><Relationship Id="rId7" Type="http://schemas.openxmlformats.org/officeDocument/2006/relationships/tags" Target="../tags/tag216.xml"/><Relationship Id="rId12" Type="http://schemas.openxmlformats.org/officeDocument/2006/relationships/tags" Target="../tags/tag221.xml"/><Relationship Id="rId17" Type="http://schemas.openxmlformats.org/officeDocument/2006/relationships/slideLayout" Target="../slideLayouts/slideLayout4.xml"/><Relationship Id="rId2" Type="http://schemas.openxmlformats.org/officeDocument/2006/relationships/tags" Target="../tags/tag211.xml"/><Relationship Id="rId16" Type="http://schemas.openxmlformats.org/officeDocument/2006/relationships/tags" Target="../tags/tag225.xml"/><Relationship Id="rId20" Type="http://schemas.openxmlformats.org/officeDocument/2006/relationships/image" Target="../media/image23.png"/><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tags" Target="../tags/tag220.xml"/><Relationship Id="rId5" Type="http://schemas.openxmlformats.org/officeDocument/2006/relationships/tags" Target="../tags/tag214.xml"/><Relationship Id="rId15" Type="http://schemas.openxmlformats.org/officeDocument/2006/relationships/tags" Target="../tags/tag224.xml"/><Relationship Id="rId10" Type="http://schemas.openxmlformats.org/officeDocument/2006/relationships/tags" Target="../tags/tag219.xml"/><Relationship Id="rId19" Type="http://schemas.openxmlformats.org/officeDocument/2006/relationships/image" Target="../media/image3.png"/><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tags" Target="../tags/tag223.xml"/><Relationship Id="rId22" Type="http://schemas.openxmlformats.org/officeDocument/2006/relationships/image" Target="../media/image11.png"/></Relationships>
</file>

<file path=ppt/slides/_rels/slide1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5.xml"/><Relationship Id="rId7" Type="http://schemas.openxmlformats.org/officeDocument/2006/relationships/image" Target="../media/image29.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3.png"/><Relationship Id="rId11" Type="http://schemas.openxmlformats.org/officeDocument/2006/relationships/image" Target="../media/image41.jpeg"/><Relationship Id="rId5" Type="http://schemas.openxmlformats.org/officeDocument/2006/relationships/image" Target="../media/image2.png"/><Relationship Id="rId10"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40.png"/></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png"/><Relationship Id="rId7"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www.presentationload.de/?newsletter=Monatlich/DE/0909_Backgrounds" TargetMode="External"/><Relationship Id="rId5" Type="http://schemas.openxmlformats.org/officeDocument/2006/relationships/image" Target="../media/image8.png"/><Relationship Id="rId10" Type="http://schemas.openxmlformats.org/officeDocument/2006/relationships/image" Target="../media/image6.png"/><Relationship Id="rId4" Type="http://schemas.openxmlformats.org/officeDocument/2006/relationships/image" Target="../media/image7.png"/><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hyperlink" Target="http://www.presentationload.de/?newsletter=Monatlich/DE/0909_Backgrounds"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hyperlink" Target="http://www.presentationload.de/?newsletter=Monatlich/DE/0909_Backgrounds" TargetMode="External"/><Relationship Id="rId10" Type="http://schemas.openxmlformats.org/officeDocument/2006/relationships/image" Target="../media/image26.png"/><Relationship Id="rId4" Type="http://schemas.openxmlformats.org/officeDocument/2006/relationships/image" Target="../media/image3.png"/><Relationship Id="rId9" Type="http://schemas.openxmlformats.org/officeDocument/2006/relationships/image" Target="../media/image25.png"/></Relationships>
</file>

<file path=ppt/slides/_rels/slide22.xml.rels><?xml version="1.0" encoding="UTF-8" standalone="yes"?>
<Relationships xmlns="http://schemas.openxmlformats.org/package/2006/relationships"><Relationship Id="rId13" Type="http://schemas.openxmlformats.org/officeDocument/2006/relationships/tags" Target="../tags/tag240.xml"/><Relationship Id="rId18" Type="http://schemas.openxmlformats.org/officeDocument/2006/relationships/tags" Target="../tags/tag245.xml"/><Relationship Id="rId26" Type="http://schemas.openxmlformats.org/officeDocument/2006/relationships/tags" Target="../tags/tag253.xml"/><Relationship Id="rId39" Type="http://schemas.openxmlformats.org/officeDocument/2006/relationships/image" Target="../media/image29.png"/><Relationship Id="rId21" Type="http://schemas.openxmlformats.org/officeDocument/2006/relationships/tags" Target="../tags/tag248.xml"/><Relationship Id="rId34" Type="http://schemas.openxmlformats.org/officeDocument/2006/relationships/notesSlide" Target="../notesSlides/notesSlide9.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5" Type="http://schemas.openxmlformats.org/officeDocument/2006/relationships/tags" Target="../tags/tag252.xml"/><Relationship Id="rId33" Type="http://schemas.openxmlformats.org/officeDocument/2006/relationships/slideLayout" Target="../slideLayouts/slideLayout2.xml"/><Relationship Id="rId38" Type="http://schemas.openxmlformats.org/officeDocument/2006/relationships/image" Target="../media/image28.png"/><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29" Type="http://schemas.openxmlformats.org/officeDocument/2006/relationships/tags" Target="../tags/tag256.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24" Type="http://schemas.openxmlformats.org/officeDocument/2006/relationships/tags" Target="../tags/tag251.xml"/><Relationship Id="rId32" Type="http://schemas.openxmlformats.org/officeDocument/2006/relationships/tags" Target="../tags/tag259.xml"/><Relationship Id="rId37" Type="http://schemas.openxmlformats.org/officeDocument/2006/relationships/hyperlink" Target="http://www.presentationload.de/?newsletter=Monatlich/DE/0909_Backgrounds" TargetMode="External"/><Relationship Id="rId40" Type="http://schemas.openxmlformats.org/officeDocument/2006/relationships/image" Target="../media/image42.jpeg"/><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tags" Target="../tags/tag250.xml"/><Relationship Id="rId28" Type="http://schemas.openxmlformats.org/officeDocument/2006/relationships/tags" Target="../tags/tag255.xml"/><Relationship Id="rId36" Type="http://schemas.openxmlformats.org/officeDocument/2006/relationships/image" Target="../media/image3.png"/><Relationship Id="rId10" Type="http://schemas.openxmlformats.org/officeDocument/2006/relationships/tags" Target="../tags/tag237.xml"/><Relationship Id="rId19" Type="http://schemas.openxmlformats.org/officeDocument/2006/relationships/tags" Target="../tags/tag246.xml"/><Relationship Id="rId31" Type="http://schemas.openxmlformats.org/officeDocument/2006/relationships/tags" Target="../tags/tag258.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tags" Target="../tags/tag249.xml"/><Relationship Id="rId27" Type="http://schemas.openxmlformats.org/officeDocument/2006/relationships/tags" Target="../tags/tag254.xml"/><Relationship Id="rId30" Type="http://schemas.openxmlformats.org/officeDocument/2006/relationships/tags" Target="../tags/tag257.xml"/><Relationship Id="rId35" Type="http://schemas.openxmlformats.org/officeDocument/2006/relationships/image" Target="../media/image2.png"/><Relationship Id="rId8" Type="http://schemas.openxmlformats.org/officeDocument/2006/relationships/tags" Target="../tags/tag235.xml"/><Relationship Id="rId3" Type="http://schemas.openxmlformats.org/officeDocument/2006/relationships/tags" Target="../tags/tag230.xml"/></Relationships>
</file>

<file path=ppt/slides/_rels/slide23.xml.rels><?xml version="1.0" encoding="UTF-8" standalone="yes"?>
<Relationships xmlns="http://schemas.openxmlformats.org/package/2006/relationships"><Relationship Id="rId13" Type="http://schemas.openxmlformats.org/officeDocument/2006/relationships/tags" Target="../tags/tag272.xml"/><Relationship Id="rId18" Type="http://schemas.openxmlformats.org/officeDocument/2006/relationships/tags" Target="../tags/tag277.xml"/><Relationship Id="rId26" Type="http://schemas.openxmlformats.org/officeDocument/2006/relationships/tags" Target="../tags/tag285.xml"/><Relationship Id="rId3" Type="http://schemas.openxmlformats.org/officeDocument/2006/relationships/tags" Target="../tags/tag262.xml"/><Relationship Id="rId21" Type="http://schemas.openxmlformats.org/officeDocument/2006/relationships/tags" Target="../tags/tag280.xml"/><Relationship Id="rId34" Type="http://schemas.openxmlformats.org/officeDocument/2006/relationships/image" Target="../media/image2.png"/><Relationship Id="rId7" Type="http://schemas.openxmlformats.org/officeDocument/2006/relationships/tags" Target="../tags/tag266.xml"/><Relationship Id="rId12" Type="http://schemas.openxmlformats.org/officeDocument/2006/relationships/tags" Target="../tags/tag271.xml"/><Relationship Id="rId17" Type="http://schemas.openxmlformats.org/officeDocument/2006/relationships/tags" Target="../tags/tag276.xml"/><Relationship Id="rId25" Type="http://schemas.openxmlformats.org/officeDocument/2006/relationships/tags" Target="../tags/tag284.xml"/><Relationship Id="rId33" Type="http://schemas.openxmlformats.org/officeDocument/2006/relationships/slideLayout" Target="../slideLayouts/slideLayout4.xml"/><Relationship Id="rId2" Type="http://schemas.openxmlformats.org/officeDocument/2006/relationships/tags" Target="../tags/tag261.xml"/><Relationship Id="rId16" Type="http://schemas.openxmlformats.org/officeDocument/2006/relationships/tags" Target="../tags/tag275.xml"/><Relationship Id="rId20" Type="http://schemas.openxmlformats.org/officeDocument/2006/relationships/tags" Target="../tags/tag279.xml"/><Relationship Id="rId29" Type="http://schemas.openxmlformats.org/officeDocument/2006/relationships/tags" Target="../tags/tag288.xml"/><Relationship Id="rId1" Type="http://schemas.openxmlformats.org/officeDocument/2006/relationships/tags" Target="../tags/tag260.xml"/><Relationship Id="rId6" Type="http://schemas.openxmlformats.org/officeDocument/2006/relationships/tags" Target="../tags/tag265.xml"/><Relationship Id="rId11" Type="http://schemas.openxmlformats.org/officeDocument/2006/relationships/tags" Target="../tags/tag270.xml"/><Relationship Id="rId24" Type="http://schemas.openxmlformats.org/officeDocument/2006/relationships/tags" Target="../tags/tag283.xml"/><Relationship Id="rId32" Type="http://schemas.openxmlformats.org/officeDocument/2006/relationships/tags" Target="../tags/tag291.xml"/><Relationship Id="rId5" Type="http://schemas.openxmlformats.org/officeDocument/2006/relationships/tags" Target="../tags/tag264.xml"/><Relationship Id="rId15" Type="http://schemas.openxmlformats.org/officeDocument/2006/relationships/tags" Target="../tags/tag274.xml"/><Relationship Id="rId23" Type="http://schemas.openxmlformats.org/officeDocument/2006/relationships/tags" Target="../tags/tag282.xml"/><Relationship Id="rId28" Type="http://schemas.openxmlformats.org/officeDocument/2006/relationships/tags" Target="../tags/tag287.xml"/><Relationship Id="rId36" Type="http://schemas.openxmlformats.org/officeDocument/2006/relationships/image" Target="../media/image11.png"/><Relationship Id="rId10" Type="http://schemas.openxmlformats.org/officeDocument/2006/relationships/tags" Target="../tags/tag269.xml"/><Relationship Id="rId19" Type="http://schemas.openxmlformats.org/officeDocument/2006/relationships/tags" Target="../tags/tag278.xml"/><Relationship Id="rId31" Type="http://schemas.openxmlformats.org/officeDocument/2006/relationships/tags" Target="../tags/tag290.xml"/><Relationship Id="rId4" Type="http://schemas.openxmlformats.org/officeDocument/2006/relationships/tags" Target="../tags/tag263.xml"/><Relationship Id="rId9" Type="http://schemas.openxmlformats.org/officeDocument/2006/relationships/tags" Target="../tags/tag268.xml"/><Relationship Id="rId14" Type="http://schemas.openxmlformats.org/officeDocument/2006/relationships/tags" Target="../tags/tag273.xml"/><Relationship Id="rId22" Type="http://schemas.openxmlformats.org/officeDocument/2006/relationships/tags" Target="../tags/tag281.xml"/><Relationship Id="rId27" Type="http://schemas.openxmlformats.org/officeDocument/2006/relationships/tags" Target="../tags/tag286.xml"/><Relationship Id="rId30" Type="http://schemas.openxmlformats.org/officeDocument/2006/relationships/tags" Target="../tags/tag289.xml"/><Relationship Id="rId35" Type="http://schemas.openxmlformats.org/officeDocument/2006/relationships/image" Target="../media/image3.png"/><Relationship Id="rId8" Type="http://schemas.openxmlformats.org/officeDocument/2006/relationships/tags" Target="../tags/tag267.xml"/></Relationships>
</file>

<file path=ppt/slides/_rels/slide24.xml.rels><?xml version="1.0" encoding="UTF-8" standalone="yes"?>
<Relationships xmlns="http://schemas.openxmlformats.org/package/2006/relationships"><Relationship Id="rId13" Type="http://schemas.openxmlformats.org/officeDocument/2006/relationships/tags" Target="../tags/tag304.xml"/><Relationship Id="rId18" Type="http://schemas.openxmlformats.org/officeDocument/2006/relationships/tags" Target="../tags/tag309.xml"/><Relationship Id="rId26" Type="http://schemas.openxmlformats.org/officeDocument/2006/relationships/tags" Target="../tags/tag317.xml"/><Relationship Id="rId21" Type="http://schemas.openxmlformats.org/officeDocument/2006/relationships/tags" Target="../tags/tag312.xml"/><Relationship Id="rId34" Type="http://schemas.openxmlformats.org/officeDocument/2006/relationships/image" Target="../media/image2.png"/><Relationship Id="rId7" Type="http://schemas.openxmlformats.org/officeDocument/2006/relationships/tags" Target="../tags/tag298.xml"/><Relationship Id="rId12" Type="http://schemas.openxmlformats.org/officeDocument/2006/relationships/tags" Target="../tags/tag303.xml"/><Relationship Id="rId17" Type="http://schemas.openxmlformats.org/officeDocument/2006/relationships/tags" Target="../tags/tag308.xml"/><Relationship Id="rId25" Type="http://schemas.openxmlformats.org/officeDocument/2006/relationships/tags" Target="../tags/tag316.xml"/><Relationship Id="rId33" Type="http://schemas.openxmlformats.org/officeDocument/2006/relationships/slideLayout" Target="../slideLayouts/slideLayout4.xml"/><Relationship Id="rId2" Type="http://schemas.openxmlformats.org/officeDocument/2006/relationships/tags" Target="../tags/tag293.xml"/><Relationship Id="rId16" Type="http://schemas.openxmlformats.org/officeDocument/2006/relationships/tags" Target="../tags/tag307.xml"/><Relationship Id="rId20" Type="http://schemas.openxmlformats.org/officeDocument/2006/relationships/tags" Target="../tags/tag311.xml"/><Relationship Id="rId29" Type="http://schemas.openxmlformats.org/officeDocument/2006/relationships/tags" Target="../tags/tag320.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24" Type="http://schemas.openxmlformats.org/officeDocument/2006/relationships/tags" Target="../tags/tag315.xml"/><Relationship Id="rId32" Type="http://schemas.openxmlformats.org/officeDocument/2006/relationships/tags" Target="../tags/tag323.xml"/><Relationship Id="rId37" Type="http://schemas.openxmlformats.org/officeDocument/2006/relationships/image" Target="../media/image44.jpeg"/><Relationship Id="rId5" Type="http://schemas.openxmlformats.org/officeDocument/2006/relationships/tags" Target="../tags/tag296.xml"/><Relationship Id="rId15" Type="http://schemas.openxmlformats.org/officeDocument/2006/relationships/tags" Target="../tags/tag306.xml"/><Relationship Id="rId23" Type="http://schemas.openxmlformats.org/officeDocument/2006/relationships/tags" Target="../tags/tag314.xml"/><Relationship Id="rId28" Type="http://schemas.openxmlformats.org/officeDocument/2006/relationships/tags" Target="../tags/tag319.xml"/><Relationship Id="rId36" Type="http://schemas.openxmlformats.org/officeDocument/2006/relationships/image" Target="../media/image43.jpeg"/><Relationship Id="rId10" Type="http://schemas.openxmlformats.org/officeDocument/2006/relationships/tags" Target="../tags/tag301.xml"/><Relationship Id="rId19" Type="http://schemas.openxmlformats.org/officeDocument/2006/relationships/tags" Target="../tags/tag310.xml"/><Relationship Id="rId31" Type="http://schemas.openxmlformats.org/officeDocument/2006/relationships/tags" Target="../tags/tag322.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tags" Target="../tags/tag305.xml"/><Relationship Id="rId22" Type="http://schemas.openxmlformats.org/officeDocument/2006/relationships/tags" Target="../tags/tag313.xml"/><Relationship Id="rId27" Type="http://schemas.openxmlformats.org/officeDocument/2006/relationships/tags" Target="../tags/tag318.xml"/><Relationship Id="rId30" Type="http://schemas.openxmlformats.org/officeDocument/2006/relationships/tags" Target="../tags/tag321.xml"/><Relationship Id="rId35" Type="http://schemas.openxmlformats.org/officeDocument/2006/relationships/image" Target="../media/image3.png"/><Relationship Id="rId8" Type="http://schemas.openxmlformats.org/officeDocument/2006/relationships/tags" Target="../tags/tag299.xml"/><Relationship Id="rId3" Type="http://schemas.openxmlformats.org/officeDocument/2006/relationships/tags" Target="../tags/tag294.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xml"/><Relationship Id="rId6" Type="http://schemas.openxmlformats.org/officeDocument/2006/relationships/image" Target="../media/image45.jpeg"/><Relationship Id="rId5" Type="http://schemas.openxmlformats.org/officeDocument/2006/relationships/image" Target="../media/image33.png"/><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xml"/><Relationship Id="rId6" Type="http://schemas.openxmlformats.org/officeDocument/2006/relationships/image" Target="../media/image45.jpeg"/><Relationship Id="rId5" Type="http://schemas.openxmlformats.org/officeDocument/2006/relationships/image" Target="../media/image36.png"/><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46.jpeg"/><Relationship Id="rId7" Type="http://schemas.openxmlformats.org/officeDocument/2006/relationships/image" Target="../media/image49.jpeg"/><Relationship Id="rId2" Type="http://schemas.openxmlformats.org/officeDocument/2006/relationships/image" Target="../media/image2.png"/><Relationship Id="rId1" Type="http://schemas.openxmlformats.org/officeDocument/2006/relationships/slideLayout" Target="../slideLayouts/slideLayout4.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3.png"/></Relationships>
</file>

<file path=ppt/slides/_rels/slide28.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tags" Target="../tags/tag336.xml"/><Relationship Id="rId18" Type="http://schemas.openxmlformats.org/officeDocument/2006/relationships/image" Target="../media/image2.png"/><Relationship Id="rId3" Type="http://schemas.openxmlformats.org/officeDocument/2006/relationships/tags" Target="../tags/tag326.xml"/><Relationship Id="rId21" Type="http://schemas.openxmlformats.org/officeDocument/2006/relationships/image" Target="../media/image24.png"/><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slideLayout" Target="../slideLayouts/slideLayout4.xml"/><Relationship Id="rId2" Type="http://schemas.openxmlformats.org/officeDocument/2006/relationships/tags" Target="../tags/tag325.xml"/><Relationship Id="rId16" Type="http://schemas.openxmlformats.org/officeDocument/2006/relationships/tags" Target="../tags/tag339.xml"/><Relationship Id="rId20" Type="http://schemas.openxmlformats.org/officeDocument/2006/relationships/image" Target="../media/image23.png"/><Relationship Id="rId1" Type="http://schemas.openxmlformats.org/officeDocument/2006/relationships/tags" Target="../tags/tag324.xml"/><Relationship Id="rId6" Type="http://schemas.openxmlformats.org/officeDocument/2006/relationships/tags" Target="../tags/tag329.xml"/><Relationship Id="rId11" Type="http://schemas.openxmlformats.org/officeDocument/2006/relationships/tags" Target="../tags/tag334.xml"/><Relationship Id="rId5" Type="http://schemas.openxmlformats.org/officeDocument/2006/relationships/tags" Target="../tags/tag328.xml"/><Relationship Id="rId15" Type="http://schemas.openxmlformats.org/officeDocument/2006/relationships/tags" Target="../tags/tag338.xml"/><Relationship Id="rId10" Type="http://schemas.openxmlformats.org/officeDocument/2006/relationships/tags" Target="../tags/tag333.xml"/><Relationship Id="rId19" Type="http://schemas.openxmlformats.org/officeDocument/2006/relationships/image" Target="../media/image3.png"/><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tags" Target="../tags/tag337.xml"/><Relationship Id="rId22" Type="http://schemas.openxmlformats.org/officeDocument/2006/relationships/image" Target="../media/image11.png"/></Relationships>
</file>

<file path=ppt/slides/_rels/slide29.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slideLayout" Target="../slideLayouts/slideLayout5.xml"/><Relationship Id="rId7" Type="http://schemas.openxmlformats.org/officeDocument/2006/relationships/image" Target="../media/image43.jpeg"/><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image" Target="../media/image29.png"/><Relationship Id="rId5" Type="http://schemas.openxmlformats.org/officeDocument/2006/relationships/image" Target="../media/image3.png"/><Relationship Id="rId10" Type="http://schemas.openxmlformats.org/officeDocument/2006/relationships/image" Target="../media/image41.jpeg"/><Relationship Id="rId4" Type="http://schemas.openxmlformats.org/officeDocument/2006/relationships/image" Target="../media/image2.png"/><Relationship Id="rId9" Type="http://schemas.openxmlformats.org/officeDocument/2006/relationships/image" Target="../media/image42.jpeg"/></Relationships>
</file>

<file path=ppt/slides/_rels/slide3.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image" Target="../media/image3.png"/><Relationship Id="rId21" Type="http://schemas.openxmlformats.org/officeDocument/2006/relationships/tags" Target="../tags/tag22.xml"/><Relationship Id="rId34" Type="http://schemas.openxmlformats.org/officeDocument/2006/relationships/notesSlide" Target="../notesSlides/notesSlide3.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slideLayout" Target="../slideLayouts/slideLayout2.xml"/><Relationship Id="rId38" Type="http://schemas.openxmlformats.org/officeDocument/2006/relationships/image" Target="../media/image10.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image" Target="../media/image9.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hyperlink" Target="http://www.presentationload.de/?newsletter=Monatlich/DE/0909_Backgrounds" TargetMode="Externa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image" Target="../media/image2.png"/><Relationship Id="rId8" Type="http://schemas.openxmlformats.org/officeDocument/2006/relationships/tags" Target="../tags/tag9.xml"/><Relationship Id="rId3" Type="http://schemas.openxmlformats.org/officeDocument/2006/relationships/tags" Target="../tags/tag4.xml"/></Relationships>
</file>

<file path=ppt/slides/_rels/slide4.xml.rels><?xml version="1.0" encoding="UTF-8" standalone="yes"?>
<Relationships xmlns="http://schemas.openxmlformats.org/package/2006/relationships"><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 Type="http://schemas.openxmlformats.org/officeDocument/2006/relationships/tags" Target="../tags/tag36.xml"/><Relationship Id="rId21" Type="http://schemas.openxmlformats.org/officeDocument/2006/relationships/tags" Target="../tags/tag54.xml"/><Relationship Id="rId34" Type="http://schemas.openxmlformats.org/officeDocument/2006/relationships/image" Target="../media/image2.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slideLayout" Target="../slideLayouts/slideLayout4.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tags" Target="../tags/tag62.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tags" Target="../tags/tag65.xml"/><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36" Type="http://schemas.openxmlformats.org/officeDocument/2006/relationships/image" Target="../media/image11.png"/><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tags" Target="../tags/tag64.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tags" Target="../tags/tag63.xml"/><Relationship Id="rId35" Type="http://schemas.openxmlformats.org/officeDocument/2006/relationships/image" Target="../media/image3.png"/><Relationship Id="rId8" Type="http://schemas.openxmlformats.org/officeDocument/2006/relationships/tags" Target="../tags/tag41.xml"/></Relationships>
</file>

<file path=ppt/slides/_rels/slide5.xml.rels><?xml version="1.0" encoding="UTF-8" standalone="yes"?>
<Relationships xmlns="http://schemas.openxmlformats.org/package/2006/relationships"><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tags" Target="../tags/tag91.xml"/><Relationship Id="rId21" Type="http://schemas.openxmlformats.org/officeDocument/2006/relationships/tags" Target="../tags/tag86.xml"/><Relationship Id="rId34" Type="http://schemas.openxmlformats.org/officeDocument/2006/relationships/image" Target="../media/image2.png"/><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33" Type="http://schemas.openxmlformats.org/officeDocument/2006/relationships/slideLayout" Target="../slideLayouts/slideLayout4.xml"/><Relationship Id="rId2" Type="http://schemas.openxmlformats.org/officeDocument/2006/relationships/tags" Target="../tags/tag67.xml"/><Relationship Id="rId16" Type="http://schemas.openxmlformats.org/officeDocument/2006/relationships/tags" Target="../tags/tag81.xml"/><Relationship Id="rId20" Type="http://schemas.openxmlformats.org/officeDocument/2006/relationships/tags" Target="../tags/tag85.xml"/><Relationship Id="rId29" Type="http://schemas.openxmlformats.org/officeDocument/2006/relationships/tags" Target="../tags/tag94.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tags" Target="../tags/tag89.xml"/><Relationship Id="rId32" Type="http://schemas.openxmlformats.org/officeDocument/2006/relationships/tags" Target="../tags/tag97.xml"/><Relationship Id="rId37" Type="http://schemas.openxmlformats.org/officeDocument/2006/relationships/image" Target="../media/image13.png"/><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tags" Target="../tags/tag93.xml"/><Relationship Id="rId36" Type="http://schemas.openxmlformats.org/officeDocument/2006/relationships/image" Target="../media/image12.png"/><Relationship Id="rId10" Type="http://schemas.openxmlformats.org/officeDocument/2006/relationships/tags" Target="../tags/tag75.xml"/><Relationship Id="rId19" Type="http://schemas.openxmlformats.org/officeDocument/2006/relationships/tags" Target="../tags/tag84.xml"/><Relationship Id="rId31" Type="http://schemas.openxmlformats.org/officeDocument/2006/relationships/tags" Target="../tags/tag96.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tags" Target="../tags/tag92.xml"/><Relationship Id="rId30" Type="http://schemas.openxmlformats.org/officeDocument/2006/relationships/tags" Target="../tags/tag95.xml"/><Relationship Id="rId35" Type="http://schemas.openxmlformats.org/officeDocument/2006/relationships/image" Target="../media/image3.png"/><Relationship Id="rId8" Type="http://schemas.openxmlformats.org/officeDocument/2006/relationships/tags" Target="../tags/tag73.xml"/><Relationship Id="rId3" Type="http://schemas.openxmlformats.org/officeDocument/2006/relationships/tags" Target="../tags/tag68.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2.png"/><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image" Target="../media/image2.png"/><Relationship Id="rId3" Type="http://schemas.openxmlformats.org/officeDocument/2006/relationships/tags" Target="../tags/tag100.xml"/><Relationship Id="rId21" Type="http://schemas.openxmlformats.org/officeDocument/2006/relationships/image" Target="../media/image24.png"/><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slideLayout" Target="../slideLayouts/slideLayout4.xml"/><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image" Target="../media/image3.png"/><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tags" Target="../tags/tag112.xml"/><Relationship Id="rId10" Type="http://schemas.openxmlformats.org/officeDocument/2006/relationships/tags" Target="../tags/tag107.xml"/><Relationship Id="rId19" Type="http://schemas.openxmlformats.org/officeDocument/2006/relationships/image" Target="../media/image23.png"/><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 name="Picture 2"/>
          <p:cNvPicPr>
            <a:picLocks noChangeAspect="1" noChangeArrowheads="1"/>
          </p:cNvPicPr>
          <p:nvPr/>
        </p:nvPicPr>
        <p:blipFill>
          <a:blip r:embed="rId3"/>
          <a:srcRect/>
          <a:stretch>
            <a:fillRect/>
          </a:stretch>
        </p:blipFill>
        <p:spPr bwMode="auto">
          <a:xfrm>
            <a:off x="-6350" y="3054350"/>
            <a:ext cx="9156700" cy="3359150"/>
          </a:xfrm>
          <a:prstGeom prst="rect">
            <a:avLst/>
          </a:prstGeom>
          <a:noFill/>
          <a:ln w="9525">
            <a:noFill/>
            <a:miter lim="800000"/>
            <a:headEnd/>
            <a:tailEnd/>
          </a:ln>
          <a:effectLst/>
        </p:spPr>
      </p:pic>
      <p:sp>
        <p:nvSpPr>
          <p:cNvPr id="27651" name="Titel 7"/>
          <p:cNvSpPr>
            <a:spLocks noGrp="1"/>
          </p:cNvSpPr>
          <p:nvPr>
            <p:ph type="title"/>
          </p:nvPr>
        </p:nvSpPr>
        <p:spPr bwMode="auto">
          <a:xfrm>
            <a:off x="131763" y="274638"/>
            <a:ext cx="9015412" cy="461962"/>
          </a:xfrm>
          <a:noFill/>
          <a:ln>
            <a:miter lim="800000"/>
            <a:headEnd/>
            <a:tailEnd/>
          </a:ln>
        </p:spPr>
        <p:txBody>
          <a:bodyPr vert="horz" wrap="square" lIns="91440" tIns="45720" rIns="91440" bIns="45720" numCol="1" anchor="t" anchorCtr="0" compatLnSpc="1">
            <a:prstTxWarp prst="textNoShape">
              <a:avLst/>
            </a:prstTxWarp>
          </a:bodyPr>
          <a:lstStyle/>
          <a:p>
            <a:r>
              <a:rPr lang="de-DE" dirty="0" smtClean="0"/>
              <a:t>Karte kopieren</a:t>
            </a:r>
          </a:p>
        </p:txBody>
      </p:sp>
      <p:sp>
        <p:nvSpPr>
          <p:cNvPr id="98" name="Rechteck 97">
            <a:hlinkClick r:id="rId4"/>
          </p:cNvPr>
          <p:cNvSpPr/>
          <p:nvPr/>
        </p:nvSpPr>
        <p:spPr>
          <a:xfrm>
            <a:off x="6648450" y="6296025"/>
            <a:ext cx="2495550" cy="56197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3</a:t>
            </a:r>
            <a:endParaRPr lang="de-DE" sz="900" dirty="0">
              <a:solidFill>
                <a:schemeClr val="bg1">
                  <a:lumMod val="50000"/>
                </a:schemeClr>
              </a:solidFill>
            </a:endParaRPr>
          </a:p>
        </p:txBody>
      </p:sp>
      <p:grpSp>
        <p:nvGrpSpPr>
          <p:cNvPr id="2" name="Gruppieren 77"/>
          <p:cNvGrpSpPr/>
          <p:nvPr/>
        </p:nvGrpSpPr>
        <p:grpSpPr>
          <a:xfrm>
            <a:off x="203518" y="5538253"/>
            <a:ext cx="347663" cy="338138"/>
            <a:chOff x="203518" y="4966018"/>
            <a:chExt cx="347663" cy="338138"/>
          </a:xfrm>
        </p:grpSpPr>
        <p:pic>
          <p:nvPicPr>
            <p:cNvPr id="210" name="Grafik 209" descr="schatten.png"/>
            <p:cNvPicPr>
              <a:picLocks noChangeAspect="1"/>
            </p:cNvPicPr>
            <p:nvPr/>
          </p:nvPicPr>
          <p:blipFill>
            <a:blip r:embed="rId5" cstate="print">
              <a:lum bright="30000"/>
            </a:blip>
            <a:srcRect l="17603" t="9404" r="15359" b="14528"/>
            <a:stretch>
              <a:fillRect/>
            </a:stretch>
          </p:blipFill>
          <p:spPr>
            <a:xfrm>
              <a:off x="203518" y="4966018"/>
              <a:ext cx="347663" cy="338138"/>
            </a:xfrm>
            <a:prstGeom prst="rect">
              <a:avLst/>
            </a:prstGeom>
          </p:spPr>
        </p:pic>
        <p:sp>
          <p:nvSpPr>
            <p:cNvPr id="211"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212"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Wählen Sie das Objekt, welches Sie kopieren möchten mit der linken Maustaste aus.</a:t>
            </a:r>
            <a:endParaRPr lang="de-DE" sz="1200" dirty="0">
              <a:latin typeface="Myriad Pro" pitchFamily="34" charset="0"/>
              <a:ea typeface="Arial Unicode MS" pitchFamily="34" charset="-128"/>
              <a:cs typeface="Arial" charset="0"/>
            </a:endParaRPr>
          </a:p>
        </p:txBody>
      </p:sp>
      <p:sp>
        <p:nvSpPr>
          <p:cNvPr id="213" name="Rectangle 5"/>
          <p:cNvSpPr>
            <a:spLocks noChangeArrowheads="1"/>
          </p:cNvSpPr>
          <p:nvPr/>
        </p:nvSpPr>
        <p:spPr bwMode="gray">
          <a:xfrm>
            <a:off x="639763" y="5538253"/>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Drücken Sie dann auf Ihrer Tastatur die „Strg“ und  „C“ Taste, somit kopieren Sie das Objekt in die Zwischenablage. Anschließend drücken Sie „Strg“ und „V“ um das in der Zwischenablage befindliche Objekt wieder einzufügen.</a:t>
            </a:r>
            <a:endParaRPr lang="de-DE" sz="1200" dirty="0">
              <a:solidFill>
                <a:srgbClr val="000000"/>
              </a:solidFill>
              <a:ea typeface="Arial Unicode MS" pitchFamily="34" charset="-128"/>
              <a:cs typeface="Arial" charset="0"/>
            </a:endParaRPr>
          </a:p>
        </p:txBody>
      </p:sp>
      <p:grpSp>
        <p:nvGrpSpPr>
          <p:cNvPr id="3" name="Gruppieren 73"/>
          <p:cNvGrpSpPr/>
          <p:nvPr/>
        </p:nvGrpSpPr>
        <p:grpSpPr>
          <a:xfrm>
            <a:off x="203518" y="4979777"/>
            <a:ext cx="347663" cy="338138"/>
            <a:chOff x="203518" y="4378643"/>
            <a:chExt cx="347663" cy="338138"/>
          </a:xfrm>
        </p:grpSpPr>
        <p:pic>
          <p:nvPicPr>
            <p:cNvPr id="215" name="Grafik 214" descr="schatten.png"/>
            <p:cNvPicPr>
              <a:picLocks noChangeAspect="1"/>
            </p:cNvPicPr>
            <p:nvPr/>
          </p:nvPicPr>
          <p:blipFill>
            <a:blip r:embed="rId5" cstate="print">
              <a:lum bright="30000"/>
            </a:blip>
            <a:srcRect l="17603" t="9404" r="15359" b="14528"/>
            <a:stretch>
              <a:fillRect/>
            </a:stretch>
          </p:blipFill>
          <p:spPr>
            <a:xfrm>
              <a:off x="203518" y="4378643"/>
              <a:ext cx="347663" cy="338138"/>
            </a:xfrm>
            <a:prstGeom prst="rect">
              <a:avLst/>
            </a:prstGeom>
          </p:spPr>
        </p:pic>
        <p:sp>
          <p:nvSpPr>
            <p:cNvPr id="228"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4" name="Group 68"/>
          <p:cNvGrpSpPr/>
          <p:nvPr/>
        </p:nvGrpSpPr>
        <p:grpSpPr>
          <a:xfrm>
            <a:off x="642974" y="828960"/>
            <a:ext cx="2634393" cy="3522268"/>
            <a:chOff x="642974" y="828960"/>
            <a:chExt cx="2634393" cy="3522268"/>
          </a:xfrm>
        </p:grpSpPr>
        <p:grpSp>
          <p:nvGrpSpPr>
            <p:cNvPr id="5" name="Gruppieren 68"/>
            <p:cNvGrpSpPr/>
            <p:nvPr/>
          </p:nvGrpSpPr>
          <p:grpSpPr>
            <a:xfrm>
              <a:off x="642974" y="828960"/>
              <a:ext cx="2634393" cy="3522268"/>
              <a:chOff x="538466" y="828960"/>
              <a:chExt cx="2634393" cy="3522268"/>
            </a:xfrm>
          </p:grpSpPr>
          <p:sp>
            <p:nvSpPr>
              <p:cNvPr id="230" name="Ellipse 229"/>
              <p:cNvSpPr/>
              <p:nvPr/>
            </p:nvSpPr>
            <p:spPr>
              <a:xfrm>
                <a:off x="538466" y="1009935"/>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31" name="Ellipse 230"/>
              <p:cNvSpPr/>
              <p:nvPr/>
            </p:nvSpPr>
            <p:spPr>
              <a:xfrm>
                <a:off x="3111659" y="1009935"/>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32" name="Ellipse 231"/>
              <p:cNvSpPr/>
              <p:nvPr/>
            </p:nvSpPr>
            <p:spPr>
              <a:xfrm>
                <a:off x="538466" y="4290028"/>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33" name="Ellipse 232"/>
              <p:cNvSpPr/>
              <p:nvPr/>
            </p:nvSpPr>
            <p:spPr>
              <a:xfrm>
                <a:off x="1820708" y="4290028"/>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34" name="Ellipse 233"/>
              <p:cNvSpPr/>
              <p:nvPr/>
            </p:nvSpPr>
            <p:spPr>
              <a:xfrm>
                <a:off x="3111659" y="4290028"/>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35" name="Ellipse 234"/>
              <p:cNvSpPr/>
              <p:nvPr/>
            </p:nvSpPr>
            <p:spPr>
              <a:xfrm>
                <a:off x="538466" y="2649982"/>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36" name="Ellipse 235"/>
              <p:cNvSpPr/>
              <p:nvPr/>
            </p:nvSpPr>
            <p:spPr>
              <a:xfrm>
                <a:off x="3111659" y="2649982"/>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6" name="Gruppieren 88"/>
              <p:cNvGrpSpPr/>
              <p:nvPr/>
            </p:nvGrpSpPr>
            <p:grpSpPr>
              <a:xfrm>
                <a:off x="1820708" y="828960"/>
                <a:ext cx="61200" cy="242175"/>
                <a:chOff x="1662164" y="2113494"/>
                <a:chExt cx="61200" cy="242175"/>
              </a:xfrm>
            </p:grpSpPr>
            <p:sp>
              <p:nvSpPr>
                <p:cNvPr id="238" name="Ellipse 237"/>
                <p:cNvSpPr/>
                <p:nvPr/>
              </p:nvSpPr>
              <p:spPr>
                <a:xfrm>
                  <a:off x="1662164" y="2294469"/>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39" name="Ellipse 238"/>
                <p:cNvSpPr/>
                <p:nvPr/>
              </p:nvSpPr>
              <p:spPr>
                <a:xfrm>
                  <a:off x="1662164" y="2113494"/>
                  <a:ext cx="61200" cy="612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p>
              </p:txBody>
            </p:sp>
            <p:cxnSp>
              <p:nvCxnSpPr>
                <p:cNvPr id="240" name="Gerade Verbindung 239"/>
                <p:cNvCxnSpPr/>
                <p:nvPr/>
              </p:nvCxnSpPr>
              <p:spPr>
                <a:xfrm rot="5400000">
                  <a:off x="1632877" y="2234582"/>
                  <a:ext cx="119775" cy="0"/>
                </a:xfrm>
                <a:prstGeom prst="line">
                  <a:avLst/>
                </a:prstGeom>
                <a:noFill/>
                <a:ln w="9525">
                  <a:solidFill>
                    <a:schemeClr val="tx1"/>
                  </a:solidFill>
                  <a:round/>
                  <a:headEnd/>
                  <a:tailEnd/>
                </a:ln>
                <a:effectLst/>
              </p:spPr>
            </p:cxnSp>
          </p:grpSp>
        </p:grpSp>
        <p:sp>
          <p:nvSpPr>
            <p:cNvPr id="2050" name="Freeform 2"/>
            <p:cNvSpPr>
              <a:spLocks noEditPoints="1"/>
            </p:cNvSpPr>
            <p:nvPr/>
          </p:nvSpPr>
          <p:spPr bwMode="auto">
            <a:xfrm>
              <a:off x="749033" y="998538"/>
              <a:ext cx="2380553" cy="3223236"/>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dirty="0"/>
            </a:p>
          </p:txBody>
        </p:sp>
      </p:grpSp>
      <p:grpSp>
        <p:nvGrpSpPr>
          <p:cNvPr id="7" name="Group 69"/>
          <p:cNvGrpSpPr/>
          <p:nvPr/>
        </p:nvGrpSpPr>
        <p:grpSpPr>
          <a:xfrm>
            <a:off x="6133350" y="828960"/>
            <a:ext cx="2634393" cy="3522268"/>
            <a:chOff x="6133350" y="828960"/>
            <a:chExt cx="2634393" cy="3522268"/>
          </a:xfrm>
        </p:grpSpPr>
        <p:sp>
          <p:nvSpPr>
            <p:cNvPr id="68" name="Freeform 2"/>
            <p:cNvSpPr>
              <a:spLocks noEditPoints="1"/>
            </p:cNvSpPr>
            <p:nvPr/>
          </p:nvSpPr>
          <p:spPr bwMode="auto">
            <a:xfrm>
              <a:off x="6251598" y="998538"/>
              <a:ext cx="2380553" cy="3223236"/>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dirty="0"/>
            </a:p>
          </p:txBody>
        </p:sp>
        <p:grpSp>
          <p:nvGrpSpPr>
            <p:cNvPr id="8" name="Gruppieren 70"/>
            <p:cNvGrpSpPr/>
            <p:nvPr/>
          </p:nvGrpSpPr>
          <p:grpSpPr>
            <a:xfrm>
              <a:off x="6133350" y="828960"/>
              <a:ext cx="2634393" cy="3522268"/>
              <a:chOff x="538466" y="828960"/>
              <a:chExt cx="2634393" cy="3522268"/>
            </a:xfrm>
          </p:grpSpPr>
          <p:sp>
            <p:nvSpPr>
              <p:cNvPr id="72" name="Ellipse 71"/>
              <p:cNvSpPr/>
              <p:nvPr/>
            </p:nvSpPr>
            <p:spPr>
              <a:xfrm>
                <a:off x="538466" y="1009935"/>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73" name="Ellipse 72"/>
              <p:cNvSpPr/>
              <p:nvPr/>
            </p:nvSpPr>
            <p:spPr>
              <a:xfrm>
                <a:off x="3111659" y="1009935"/>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74" name="Ellipse 73"/>
              <p:cNvSpPr/>
              <p:nvPr/>
            </p:nvSpPr>
            <p:spPr>
              <a:xfrm>
                <a:off x="538466" y="4290028"/>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75" name="Ellipse 74"/>
              <p:cNvSpPr/>
              <p:nvPr/>
            </p:nvSpPr>
            <p:spPr>
              <a:xfrm>
                <a:off x="1820708" y="4290028"/>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76" name="Ellipse 75"/>
              <p:cNvSpPr/>
              <p:nvPr/>
            </p:nvSpPr>
            <p:spPr>
              <a:xfrm>
                <a:off x="3111659" y="4290028"/>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77" name="Ellipse 76"/>
              <p:cNvSpPr/>
              <p:nvPr/>
            </p:nvSpPr>
            <p:spPr>
              <a:xfrm>
                <a:off x="538466" y="2649982"/>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78" name="Ellipse 77"/>
              <p:cNvSpPr/>
              <p:nvPr/>
            </p:nvSpPr>
            <p:spPr>
              <a:xfrm>
                <a:off x="3111659" y="2649982"/>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9" name="Gruppieren 88"/>
              <p:cNvGrpSpPr/>
              <p:nvPr/>
            </p:nvGrpSpPr>
            <p:grpSpPr>
              <a:xfrm>
                <a:off x="1820708" y="828960"/>
                <a:ext cx="61200" cy="242175"/>
                <a:chOff x="1662164" y="2113494"/>
                <a:chExt cx="61200" cy="242175"/>
              </a:xfrm>
            </p:grpSpPr>
            <p:sp>
              <p:nvSpPr>
                <p:cNvPr id="80" name="Ellipse 79"/>
                <p:cNvSpPr/>
                <p:nvPr/>
              </p:nvSpPr>
              <p:spPr>
                <a:xfrm>
                  <a:off x="1662164" y="2294469"/>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81" name="Ellipse 80"/>
                <p:cNvSpPr/>
                <p:nvPr/>
              </p:nvSpPr>
              <p:spPr>
                <a:xfrm>
                  <a:off x="1662164" y="2113494"/>
                  <a:ext cx="61200" cy="612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p>
              </p:txBody>
            </p:sp>
            <p:cxnSp>
              <p:nvCxnSpPr>
                <p:cNvPr id="82" name="Gerade Verbindung 81"/>
                <p:cNvCxnSpPr/>
                <p:nvPr/>
              </p:nvCxnSpPr>
              <p:spPr>
                <a:xfrm rot="5400000">
                  <a:off x="1632877" y="2234582"/>
                  <a:ext cx="119775" cy="0"/>
                </a:xfrm>
                <a:prstGeom prst="line">
                  <a:avLst/>
                </a:prstGeom>
                <a:noFill/>
                <a:ln w="9525">
                  <a:solidFill>
                    <a:schemeClr val="tx1"/>
                  </a:solidFill>
                  <a:round/>
                  <a:headEnd/>
                  <a:tailEnd/>
                </a:ln>
                <a:effectLst/>
              </p:spPr>
            </p:cxnSp>
          </p:grpSp>
        </p:grpSp>
      </p:grpSp>
      <p:grpSp>
        <p:nvGrpSpPr>
          <p:cNvPr id="10" name="Gruppieren 73"/>
          <p:cNvGrpSpPr/>
          <p:nvPr/>
        </p:nvGrpSpPr>
        <p:grpSpPr>
          <a:xfrm>
            <a:off x="207485" y="1046547"/>
            <a:ext cx="347663" cy="338138"/>
            <a:chOff x="203518" y="4378643"/>
            <a:chExt cx="347663" cy="338138"/>
          </a:xfrm>
        </p:grpSpPr>
        <p:pic>
          <p:nvPicPr>
            <p:cNvPr id="89" name="Grafik 88" descr="schatten.png"/>
            <p:cNvPicPr>
              <a:picLocks noChangeAspect="1"/>
            </p:cNvPicPr>
            <p:nvPr/>
          </p:nvPicPr>
          <p:blipFill>
            <a:blip r:embed="rId5" cstate="print">
              <a:lum bright="30000"/>
            </a:blip>
            <a:srcRect l="17603" t="9404" r="15359" b="14528"/>
            <a:stretch>
              <a:fillRect/>
            </a:stretch>
          </p:blipFill>
          <p:spPr>
            <a:xfrm>
              <a:off x="203518" y="4378643"/>
              <a:ext cx="347663" cy="338138"/>
            </a:xfrm>
            <a:prstGeom prst="rect">
              <a:avLst/>
            </a:prstGeom>
          </p:spPr>
        </p:pic>
        <p:sp>
          <p:nvSpPr>
            <p:cNvPr id="90"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1" name="Gruppieren 73"/>
          <p:cNvGrpSpPr/>
          <p:nvPr/>
        </p:nvGrpSpPr>
        <p:grpSpPr>
          <a:xfrm>
            <a:off x="5720379" y="1054785"/>
            <a:ext cx="347663" cy="338138"/>
            <a:chOff x="203518" y="4378643"/>
            <a:chExt cx="347663" cy="338138"/>
          </a:xfrm>
        </p:grpSpPr>
        <p:pic>
          <p:nvPicPr>
            <p:cNvPr id="92" name="Grafik 91" descr="schatten.png"/>
            <p:cNvPicPr>
              <a:picLocks noChangeAspect="1"/>
            </p:cNvPicPr>
            <p:nvPr/>
          </p:nvPicPr>
          <p:blipFill>
            <a:blip r:embed="rId5" cstate="print">
              <a:lum bright="30000"/>
            </a:blip>
            <a:srcRect l="17603" t="9404" r="15359" b="14528"/>
            <a:stretch>
              <a:fillRect/>
            </a:stretch>
          </p:blipFill>
          <p:spPr>
            <a:xfrm>
              <a:off x="203518" y="4378643"/>
              <a:ext cx="347663" cy="338138"/>
            </a:xfrm>
            <a:prstGeom prst="rect">
              <a:avLst/>
            </a:prstGeom>
          </p:spPr>
        </p:pic>
        <p:sp>
          <p:nvSpPr>
            <p:cNvPr id="93"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grpSp>
        <p:nvGrpSpPr>
          <p:cNvPr id="12" name="Gruppieren 127"/>
          <p:cNvGrpSpPr/>
          <p:nvPr/>
        </p:nvGrpSpPr>
        <p:grpSpPr>
          <a:xfrm>
            <a:off x="2428042" y="1933288"/>
            <a:ext cx="2983762" cy="2642574"/>
            <a:chOff x="2428042" y="1933288"/>
            <a:chExt cx="2983762" cy="2642574"/>
          </a:xfrm>
        </p:grpSpPr>
        <p:grpSp>
          <p:nvGrpSpPr>
            <p:cNvPr id="13" name="Group 45"/>
            <p:cNvGrpSpPr>
              <a:grpSpLocks/>
            </p:cNvGrpSpPr>
            <p:nvPr/>
          </p:nvGrpSpPr>
          <p:grpSpPr bwMode="auto">
            <a:xfrm rot="20287264">
              <a:off x="2428042" y="3966262"/>
              <a:ext cx="374650" cy="609600"/>
              <a:chOff x="1950" y="1045"/>
              <a:chExt cx="568" cy="928"/>
            </a:xfrm>
          </p:grpSpPr>
          <p:sp>
            <p:nvSpPr>
              <p:cNvPr id="185"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dirty="0">
                  <a:latin typeface="Myriad Pro" pitchFamily="34" charset="0"/>
                </a:endParaRPr>
              </a:p>
            </p:txBody>
          </p:sp>
          <p:sp>
            <p:nvSpPr>
              <p:cNvPr id="186"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dirty="0"/>
              </a:p>
            </p:txBody>
          </p:sp>
          <p:sp>
            <p:nvSpPr>
              <p:cNvPr id="187"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188"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dirty="0"/>
              </a:p>
            </p:txBody>
          </p:sp>
          <p:sp>
            <p:nvSpPr>
              <p:cNvPr id="189"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190"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dirty="0"/>
              </a:p>
            </p:txBody>
          </p:sp>
          <p:sp>
            <p:nvSpPr>
              <p:cNvPr id="191"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dirty="0"/>
              </a:p>
            </p:txBody>
          </p:sp>
          <p:sp>
            <p:nvSpPr>
              <p:cNvPr id="192"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dirty="0">
                  <a:latin typeface="Myriad Pro" pitchFamily="34" charset="0"/>
                </a:endParaRPr>
              </a:p>
            </p:txBody>
          </p:sp>
          <p:sp>
            <p:nvSpPr>
              <p:cNvPr id="193"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dirty="0"/>
              </a:p>
            </p:txBody>
          </p:sp>
          <p:sp>
            <p:nvSpPr>
              <p:cNvPr id="194"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dirty="0"/>
              </a:p>
            </p:txBody>
          </p:sp>
          <p:sp>
            <p:nvSpPr>
              <p:cNvPr id="195"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dirty="0"/>
              </a:p>
            </p:txBody>
          </p:sp>
          <p:sp>
            <p:nvSpPr>
              <p:cNvPr id="196"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dirty="0"/>
              </a:p>
            </p:txBody>
          </p:sp>
        </p:grpSp>
        <p:grpSp>
          <p:nvGrpSpPr>
            <p:cNvPr id="14" name="Gruppieren 203"/>
            <p:cNvGrpSpPr/>
            <p:nvPr/>
          </p:nvGrpSpPr>
          <p:grpSpPr>
            <a:xfrm>
              <a:off x="4146245" y="1933288"/>
              <a:ext cx="1265559" cy="400110"/>
              <a:chOff x="7878441" y="163855"/>
              <a:chExt cx="1265559" cy="400110"/>
            </a:xfrm>
          </p:grpSpPr>
          <p:pic>
            <p:nvPicPr>
              <p:cNvPr id="121" name="Grafik 120" descr="strg.png"/>
              <p:cNvPicPr>
                <a:picLocks noChangeAspect="1"/>
              </p:cNvPicPr>
              <p:nvPr/>
            </p:nvPicPr>
            <p:blipFill>
              <a:blip r:embed="rId6" cstate="print"/>
              <a:stretch>
                <a:fillRect/>
              </a:stretch>
            </p:blipFill>
            <p:spPr>
              <a:xfrm>
                <a:off x="7878441" y="184160"/>
                <a:ext cx="508093" cy="359500"/>
              </a:xfrm>
              <a:prstGeom prst="rect">
                <a:avLst/>
              </a:prstGeom>
            </p:spPr>
          </p:pic>
          <p:sp>
            <p:nvSpPr>
              <p:cNvPr id="122" name="Textfeld 121"/>
              <p:cNvSpPr txBox="1"/>
              <p:nvPr/>
            </p:nvSpPr>
            <p:spPr>
              <a:xfrm>
                <a:off x="8417831" y="163855"/>
                <a:ext cx="357052" cy="400110"/>
              </a:xfrm>
              <a:prstGeom prst="rect">
                <a:avLst/>
              </a:prstGeom>
              <a:noFill/>
            </p:spPr>
            <p:txBody>
              <a:bodyPr wrap="square" rtlCol="0">
                <a:spAutoFit/>
              </a:bodyPr>
              <a:lstStyle/>
              <a:p>
                <a:r>
                  <a:rPr lang="de-DE" dirty="0" smtClean="0"/>
                  <a:t>+</a:t>
                </a:r>
                <a:endParaRPr lang="de-DE" sz="2000" dirty="0"/>
              </a:p>
            </p:txBody>
          </p:sp>
          <p:pic>
            <p:nvPicPr>
              <p:cNvPr id="123" name="Grafik 122" descr="C_gr.png"/>
              <p:cNvPicPr>
                <a:picLocks noChangeAspect="1"/>
              </p:cNvPicPr>
              <p:nvPr/>
            </p:nvPicPr>
            <p:blipFill>
              <a:blip r:embed="rId7" cstate="print"/>
              <a:stretch>
                <a:fillRect/>
              </a:stretch>
            </p:blipFill>
            <p:spPr>
              <a:xfrm>
                <a:off x="8786400" y="183660"/>
                <a:ext cx="357600" cy="360000"/>
              </a:xfrm>
              <a:prstGeom prst="rect">
                <a:avLst/>
              </a:prstGeom>
            </p:spPr>
          </p:pic>
        </p:grpSp>
        <p:grpSp>
          <p:nvGrpSpPr>
            <p:cNvPr id="15" name="Gruppieren 204"/>
            <p:cNvGrpSpPr/>
            <p:nvPr/>
          </p:nvGrpSpPr>
          <p:grpSpPr>
            <a:xfrm>
              <a:off x="4146245" y="2588796"/>
              <a:ext cx="1265559" cy="400110"/>
              <a:chOff x="7878441" y="1350587"/>
              <a:chExt cx="1265559" cy="400110"/>
            </a:xfrm>
          </p:grpSpPr>
          <p:pic>
            <p:nvPicPr>
              <p:cNvPr id="125" name="Grafik 124" descr="strg.png"/>
              <p:cNvPicPr>
                <a:picLocks noChangeAspect="1"/>
              </p:cNvPicPr>
              <p:nvPr/>
            </p:nvPicPr>
            <p:blipFill>
              <a:blip r:embed="rId6" cstate="print"/>
              <a:stretch>
                <a:fillRect/>
              </a:stretch>
            </p:blipFill>
            <p:spPr>
              <a:xfrm>
                <a:off x="7878441" y="1370892"/>
                <a:ext cx="508093" cy="359500"/>
              </a:xfrm>
              <a:prstGeom prst="rect">
                <a:avLst/>
              </a:prstGeom>
            </p:spPr>
          </p:pic>
          <p:sp>
            <p:nvSpPr>
              <p:cNvPr id="126" name="Textfeld 125"/>
              <p:cNvSpPr txBox="1"/>
              <p:nvPr/>
            </p:nvSpPr>
            <p:spPr>
              <a:xfrm>
                <a:off x="8417831" y="1350587"/>
                <a:ext cx="357052" cy="400110"/>
              </a:xfrm>
              <a:prstGeom prst="rect">
                <a:avLst/>
              </a:prstGeom>
              <a:noFill/>
            </p:spPr>
            <p:txBody>
              <a:bodyPr wrap="square" rtlCol="0">
                <a:spAutoFit/>
              </a:bodyPr>
              <a:lstStyle/>
              <a:p>
                <a:r>
                  <a:rPr lang="de-DE" dirty="0" smtClean="0"/>
                  <a:t>+</a:t>
                </a:r>
                <a:endParaRPr lang="de-DE" sz="2000" dirty="0"/>
              </a:p>
            </p:txBody>
          </p:sp>
          <p:pic>
            <p:nvPicPr>
              <p:cNvPr id="127" name="Grafik 126" descr="V_gr.png"/>
              <p:cNvPicPr>
                <a:picLocks noChangeAspect="1"/>
              </p:cNvPicPr>
              <p:nvPr/>
            </p:nvPicPr>
            <p:blipFill>
              <a:blip r:embed="rId8" cstate="print"/>
              <a:stretch>
                <a:fillRect/>
              </a:stretch>
            </p:blipFill>
            <p:spPr>
              <a:xfrm>
                <a:off x="8786400" y="1370392"/>
                <a:ext cx="357600" cy="360000"/>
              </a:xfrm>
              <a:prstGeom prst="rect">
                <a:avLst/>
              </a:prstGeom>
            </p:spPr>
          </p:pic>
        </p:grpSp>
      </p:gr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 name="Picture 2"/>
          <p:cNvPicPr>
            <a:picLocks noChangeAspect="1" noChangeArrowheads="1"/>
          </p:cNvPicPr>
          <p:nvPr/>
        </p:nvPicPr>
        <p:blipFill>
          <a:blip r:embed="rId3"/>
          <a:srcRect/>
          <a:stretch>
            <a:fillRect/>
          </a:stretch>
        </p:blipFill>
        <p:spPr bwMode="auto">
          <a:xfrm>
            <a:off x="-6350" y="3054350"/>
            <a:ext cx="9156700" cy="3359150"/>
          </a:xfrm>
          <a:prstGeom prst="rect">
            <a:avLst/>
          </a:prstGeom>
          <a:noFill/>
          <a:ln w="9525">
            <a:noFill/>
            <a:miter lim="800000"/>
            <a:headEnd/>
            <a:tailEnd/>
          </a:ln>
          <a:effectLst/>
        </p:spPr>
      </p:pic>
      <p:sp>
        <p:nvSpPr>
          <p:cNvPr id="27651" name="Titel 7"/>
          <p:cNvSpPr>
            <a:spLocks noGrp="1"/>
          </p:cNvSpPr>
          <p:nvPr>
            <p:ph type="title"/>
          </p:nvPr>
        </p:nvSpPr>
        <p:spPr bwMode="auto">
          <a:xfrm>
            <a:off x="131763" y="274638"/>
            <a:ext cx="9015412" cy="461962"/>
          </a:xfrm>
          <a:noFill/>
          <a:ln>
            <a:miter lim="800000"/>
            <a:headEnd/>
            <a:tailEnd/>
          </a:ln>
        </p:spPr>
        <p:txBody>
          <a:bodyPr vert="horz" wrap="square" lIns="91440" tIns="45720" rIns="91440" bIns="45720" numCol="1" anchor="t" anchorCtr="0" compatLnSpc="1">
            <a:prstTxWarp prst="textNoShape">
              <a:avLst/>
            </a:prstTxWarp>
          </a:bodyPr>
          <a:lstStyle/>
          <a:p>
            <a:r>
              <a:rPr lang="de-DE" dirty="0" smtClean="0"/>
              <a:t>Karte kopieren</a:t>
            </a:r>
          </a:p>
        </p:txBody>
      </p:sp>
      <p:sp>
        <p:nvSpPr>
          <p:cNvPr id="98" name="Rechteck 97">
            <a:hlinkClick r:id="rId4"/>
          </p:cNvPr>
          <p:cNvSpPr/>
          <p:nvPr/>
        </p:nvSpPr>
        <p:spPr>
          <a:xfrm>
            <a:off x="6648450" y="6296025"/>
            <a:ext cx="2495550" cy="56197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7</a:t>
            </a:r>
            <a:endParaRPr lang="de-DE" sz="900" dirty="0">
              <a:solidFill>
                <a:schemeClr val="bg1">
                  <a:lumMod val="50000"/>
                </a:schemeClr>
              </a:solidFill>
            </a:endParaRPr>
          </a:p>
        </p:txBody>
      </p:sp>
      <p:grpSp>
        <p:nvGrpSpPr>
          <p:cNvPr id="204" name="Gruppieren 203"/>
          <p:cNvGrpSpPr/>
          <p:nvPr/>
        </p:nvGrpSpPr>
        <p:grpSpPr>
          <a:xfrm>
            <a:off x="3939221" y="2097182"/>
            <a:ext cx="1265559" cy="400110"/>
            <a:chOff x="7878441" y="163855"/>
            <a:chExt cx="1265559" cy="400110"/>
          </a:xfrm>
        </p:grpSpPr>
        <p:pic>
          <p:nvPicPr>
            <p:cNvPr id="198" name="Grafik 197" descr="strg.png"/>
            <p:cNvPicPr>
              <a:picLocks noChangeAspect="1"/>
            </p:cNvPicPr>
            <p:nvPr/>
          </p:nvPicPr>
          <p:blipFill>
            <a:blip r:embed="rId5" cstate="print"/>
            <a:stretch>
              <a:fillRect/>
            </a:stretch>
          </p:blipFill>
          <p:spPr>
            <a:xfrm>
              <a:off x="7878441" y="184160"/>
              <a:ext cx="508093" cy="359500"/>
            </a:xfrm>
            <a:prstGeom prst="rect">
              <a:avLst/>
            </a:prstGeom>
          </p:spPr>
        </p:pic>
        <p:sp>
          <p:nvSpPr>
            <p:cNvPr id="199" name="Textfeld 198"/>
            <p:cNvSpPr txBox="1"/>
            <p:nvPr/>
          </p:nvSpPr>
          <p:spPr>
            <a:xfrm>
              <a:off x="8417831" y="163855"/>
              <a:ext cx="357052" cy="400110"/>
            </a:xfrm>
            <a:prstGeom prst="rect">
              <a:avLst/>
            </a:prstGeom>
            <a:noFill/>
          </p:spPr>
          <p:txBody>
            <a:bodyPr wrap="square" rtlCol="0">
              <a:spAutoFit/>
            </a:bodyPr>
            <a:lstStyle/>
            <a:p>
              <a:r>
                <a:rPr lang="de-DE" dirty="0" smtClean="0"/>
                <a:t>+</a:t>
              </a:r>
              <a:endParaRPr lang="de-DE" sz="2000" dirty="0"/>
            </a:p>
          </p:txBody>
        </p:sp>
        <p:pic>
          <p:nvPicPr>
            <p:cNvPr id="202" name="Grafik 201" descr="C_gr.png"/>
            <p:cNvPicPr>
              <a:picLocks noChangeAspect="1"/>
            </p:cNvPicPr>
            <p:nvPr/>
          </p:nvPicPr>
          <p:blipFill>
            <a:blip r:embed="rId6" cstate="print"/>
            <a:stretch>
              <a:fillRect/>
            </a:stretch>
          </p:blipFill>
          <p:spPr>
            <a:xfrm>
              <a:off x="8786400" y="183660"/>
              <a:ext cx="357600" cy="360000"/>
            </a:xfrm>
            <a:prstGeom prst="rect">
              <a:avLst/>
            </a:prstGeom>
          </p:spPr>
        </p:pic>
      </p:grpSp>
      <p:grpSp>
        <p:nvGrpSpPr>
          <p:cNvPr id="205" name="Gruppieren 204"/>
          <p:cNvGrpSpPr/>
          <p:nvPr/>
        </p:nvGrpSpPr>
        <p:grpSpPr>
          <a:xfrm>
            <a:off x="3939221" y="2752690"/>
            <a:ext cx="1265559" cy="400110"/>
            <a:chOff x="7878441" y="1350587"/>
            <a:chExt cx="1265559" cy="400110"/>
          </a:xfrm>
        </p:grpSpPr>
        <p:pic>
          <p:nvPicPr>
            <p:cNvPr id="200" name="Grafik 199" descr="strg.png"/>
            <p:cNvPicPr>
              <a:picLocks noChangeAspect="1"/>
            </p:cNvPicPr>
            <p:nvPr/>
          </p:nvPicPr>
          <p:blipFill>
            <a:blip r:embed="rId5" cstate="print"/>
            <a:stretch>
              <a:fillRect/>
            </a:stretch>
          </p:blipFill>
          <p:spPr>
            <a:xfrm>
              <a:off x="7878441" y="1370892"/>
              <a:ext cx="508093" cy="359500"/>
            </a:xfrm>
            <a:prstGeom prst="rect">
              <a:avLst/>
            </a:prstGeom>
          </p:spPr>
        </p:pic>
        <p:sp>
          <p:nvSpPr>
            <p:cNvPr id="201" name="Textfeld 200"/>
            <p:cNvSpPr txBox="1"/>
            <p:nvPr/>
          </p:nvSpPr>
          <p:spPr>
            <a:xfrm>
              <a:off x="8417831" y="1350587"/>
              <a:ext cx="357052" cy="400110"/>
            </a:xfrm>
            <a:prstGeom prst="rect">
              <a:avLst/>
            </a:prstGeom>
            <a:noFill/>
          </p:spPr>
          <p:txBody>
            <a:bodyPr wrap="square" rtlCol="0">
              <a:spAutoFit/>
            </a:bodyPr>
            <a:lstStyle/>
            <a:p>
              <a:r>
                <a:rPr lang="de-DE" dirty="0" smtClean="0"/>
                <a:t>+</a:t>
              </a:r>
              <a:endParaRPr lang="de-DE" sz="2000" dirty="0"/>
            </a:p>
          </p:txBody>
        </p:sp>
        <p:pic>
          <p:nvPicPr>
            <p:cNvPr id="203" name="Grafik 202" descr="V_gr.png"/>
            <p:cNvPicPr>
              <a:picLocks noChangeAspect="1"/>
            </p:cNvPicPr>
            <p:nvPr/>
          </p:nvPicPr>
          <p:blipFill>
            <a:blip r:embed="rId7" cstate="print"/>
            <a:stretch>
              <a:fillRect/>
            </a:stretch>
          </p:blipFill>
          <p:spPr>
            <a:xfrm>
              <a:off x="8786400" y="1370392"/>
              <a:ext cx="357600" cy="360000"/>
            </a:xfrm>
            <a:prstGeom prst="rect">
              <a:avLst/>
            </a:prstGeom>
          </p:spPr>
        </p:pic>
      </p:grpSp>
      <p:grpSp>
        <p:nvGrpSpPr>
          <p:cNvPr id="209" name="Gruppieren 77"/>
          <p:cNvGrpSpPr/>
          <p:nvPr/>
        </p:nvGrpSpPr>
        <p:grpSpPr>
          <a:xfrm>
            <a:off x="211756" y="5538253"/>
            <a:ext cx="347663" cy="338138"/>
            <a:chOff x="203518" y="4966018"/>
            <a:chExt cx="347663" cy="338138"/>
          </a:xfrm>
        </p:grpSpPr>
        <p:pic>
          <p:nvPicPr>
            <p:cNvPr id="210" name="Grafik 209" descr="schatten.png"/>
            <p:cNvPicPr>
              <a:picLocks noChangeAspect="1"/>
            </p:cNvPicPr>
            <p:nvPr/>
          </p:nvPicPr>
          <p:blipFill>
            <a:blip r:embed="rId8" cstate="print">
              <a:lum bright="30000"/>
            </a:blip>
            <a:srcRect l="17603" t="9404" r="15359" b="14528"/>
            <a:stretch>
              <a:fillRect/>
            </a:stretch>
          </p:blipFill>
          <p:spPr>
            <a:xfrm>
              <a:off x="203518" y="4966018"/>
              <a:ext cx="347663" cy="338138"/>
            </a:xfrm>
            <a:prstGeom prst="rect">
              <a:avLst/>
            </a:prstGeom>
          </p:spPr>
        </p:pic>
        <p:sp>
          <p:nvSpPr>
            <p:cNvPr id="211"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212"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Zum kopieren, wählen Sie das gewünschte Objekt mit der linken Maustaste aus.</a:t>
            </a:r>
            <a:endParaRPr lang="de-DE" sz="1200" dirty="0">
              <a:latin typeface="Myriad Pro" pitchFamily="34" charset="0"/>
              <a:ea typeface="Arial Unicode MS" pitchFamily="34" charset="-128"/>
              <a:cs typeface="Arial" charset="0"/>
            </a:endParaRPr>
          </a:p>
        </p:txBody>
      </p:sp>
      <p:sp>
        <p:nvSpPr>
          <p:cNvPr id="213" name="Rectangle 5"/>
          <p:cNvSpPr>
            <a:spLocks noChangeArrowheads="1"/>
          </p:cNvSpPr>
          <p:nvPr/>
        </p:nvSpPr>
        <p:spPr bwMode="gray">
          <a:xfrm>
            <a:off x="639763" y="5538253"/>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Um das Objekt in die Zwischenablage zu kopieren, drücken Sie auf Ihrer Tastatur die „Strg“ und „C“ Taste. Anschließend drücken Sie „Strg“ und „V“ um das Objekt wieder einzufügen.</a:t>
            </a:r>
            <a:endParaRPr lang="de-DE" sz="1200" dirty="0">
              <a:solidFill>
                <a:srgbClr val="000000"/>
              </a:solidFill>
              <a:ea typeface="Arial Unicode MS" pitchFamily="34" charset="-128"/>
              <a:cs typeface="Arial" charset="0"/>
            </a:endParaRPr>
          </a:p>
        </p:txBody>
      </p:sp>
      <p:grpSp>
        <p:nvGrpSpPr>
          <p:cNvPr id="214" name="Gruppieren 73"/>
          <p:cNvGrpSpPr/>
          <p:nvPr/>
        </p:nvGrpSpPr>
        <p:grpSpPr>
          <a:xfrm>
            <a:off x="211756" y="4979777"/>
            <a:ext cx="347663" cy="338138"/>
            <a:chOff x="203518" y="4378643"/>
            <a:chExt cx="347663" cy="338138"/>
          </a:xfrm>
        </p:grpSpPr>
        <p:pic>
          <p:nvPicPr>
            <p:cNvPr id="215" name="Grafik 214" descr="schatten.png"/>
            <p:cNvPicPr>
              <a:picLocks noChangeAspect="1"/>
            </p:cNvPicPr>
            <p:nvPr/>
          </p:nvPicPr>
          <p:blipFill>
            <a:blip r:embed="rId8" cstate="print">
              <a:lum bright="30000"/>
            </a:blip>
            <a:srcRect l="17603" t="9404" r="15359" b="14528"/>
            <a:stretch>
              <a:fillRect/>
            </a:stretch>
          </p:blipFill>
          <p:spPr>
            <a:xfrm>
              <a:off x="203518" y="4378643"/>
              <a:ext cx="347663" cy="338138"/>
            </a:xfrm>
            <a:prstGeom prst="rect">
              <a:avLst/>
            </a:prstGeom>
          </p:spPr>
        </p:pic>
        <p:sp>
          <p:nvSpPr>
            <p:cNvPr id="228"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2050" name="Freeform 2"/>
          <p:cNvSpPr>
            <a:spLocks noEditPoints="1"/>
          </p:cNvSpPr>
          <p:nvPr/>
        </p:nvSpPr>
        <p:spPr bwMode="auto">
          <a:xfrm>
            <a:off x="749033" y="998538"/>
            <a:ext cx="2380553" cy="3223236"/>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dirty="0"/>
          </a:p>
        </p:txBody>
      </p:sp>
      <p:sp>
        <p:nvSpPr>
          <p:cNvPr id="68" name="Freeform 2"/>
          <p:cNvSpPr>
            <a:spLocks noEditPoints="1"/>
          </p:cNvSpPr>
          <p:nvPr/>
        </p:nvSpPr>
        <p:spPr bwMode="auto">
          <a:xfrm>
            <a:off x="6251598" y="998538"/>
            <a:ext cx="2380553" cy="3223236"/>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dirty="0"/>
          </a:p>
        </p:txBody>
      </p:sp>
      <p:grpSp>
        <p:nvGrpSpPr>
          <p:cNvPr id="95" name="Gruppieren 94"/>
          <p:cNvGrpSpPr/>
          <p:nvPr/>
        </p:nvGrpSpPr>
        <p:grpSpPr>
          <a:xfrm>
            <a:off x="619125" y="760647"/>
            <a:ext cx="2692321" cy="3575855"/>
            <a:chOff x="619125" y="760647"/>
            <a:chExt cx="2692321" cy="3575855"/>
          </a:xfrm>
        </p:grpSpPr>
        <p:sp>
          <p:nvSpPr>
            <p:cNvPr id="83" name="Rechteck 82"/>
            <p:cNvSpPr/>
            <p:nvPr/>
          </p:nvSpPr>
          <p:spPr>
            <a:xfrm>
              <a:off x="663818" y="981307"/>
              <a:ext cx="2612782" cy="333034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84" name="Rechteck 83"/>
            <p:cNvSpPr/>
            <p:nvPr/>
          </p:nvSpPr>
          <p:spPr>
            <a:xfrm>
              <a:off x="633525" y="26090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5" name="Rechteck 84"/>
            <p:cNvSpPr/>
            <p:nvPr/>
          </p:nvSpPr>
          <p:spPr>
            <a:xfrm>
              <a:off x="1934686" y="427530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6" name="Ellipse 85"/>
            <p:cNvSpPr/>
            <p:nvPr/>
          </p:nvSpPr>
          <p:spPr>
            <a:xfrm>
              <a:off x="3235846" y="94287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7" name="Ellipse 86"/>
            <p:cNvSpPr/>
            <p:nvPr/>
          </p:nvSpPr>
          <p:spPr>
            <a:xfrm>
              <a:off x="619125" y="4260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8" name="Rechteck 87"/>
            <p:cNvSpPr/>
            <p:nvPr/>
          </p:nvSpPr>
          <p:spPr>
            <a:xfrm>
              <a:off x="3250246" y="26090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9" name="Ellipse 88"/>
            <p:cNvSpPr/>
            <p:nvPr/>
          </p:nvSpPr>
          <p:spPr>
            <a:xfrm>
              <a:off x="3235846" y="4260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90" name="Gruppieren 139"/>
            <p:cNvGrpSpPr/>
            <p:nvPr/>
          </p:nvGrpSpPr>
          <p:grpSpPr>
            <a:xfrm>
              <a:off x="1927486" y="760647"/>
              <a:ext cx="75600" cy="257824"/>
              <a:chOff x="5656766" y="771104"/>
              <a:chExt cx="75600" cy="257824"/>
            </a:xfrm>
          </p:grpSpPr>
          <p:sp>
            <p:nvSpPr>
              <p:cNvPr id="92" name="Ellipse 91"/>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solidFill>
                  <a:latin typeface="+mn-lt"/>
                </a:endParaRPr>
              </a:p>
            </p:txBody>
          </p:sp>
          <p:sp>
            <p:nvSpPr>
              <p:cNvPr id="93" name="Rechteck 92"/>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4" name="Gerade Verbindung 93"/>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91" name="Ellipse 90"/>
            <p:cNvSpPr/>
            <p:nvPr/>
          </p:nvSpPr>
          <p:spPr>
            <a:xfrm>
              <a:off x="619125" y="94287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96" name="Gruppieren 95"/>
          <p:cNvGrpSpPr/>
          <p:nvPr/>
        </p:nvGrpSpPr>
        <p:grpSpPr>
          <a:xfrm>
            <a:off x="6096000" y="760647"/>
            <a:ext cx="2692321" cy="3575855"/>
            <a:chOff x="619125" y="760647"/>
            <a:chExt cx="2692321" cy="3575855"/>
          </a:xfrm>
        </p:grpSpPr>
        <p:sp>
          <p:nvSpPr>
            <p:cNvPr id="100" name="Rechteck 99"/>
            <p:cNvSpPr/>
            <p:nvPr/>
          </p:nvSpPr>
          <p:spPr>
            <a:xfrm>
              <a:off x="663818" y="981307"/>
              <a:ext cx="2612782" cy="333034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101" name="Rechteck 100"/>
            <p:cNvSpPr/>
            <p:nvPr/>
          </p:nvSpPr>
          <p:spPr>
            <a:xfrm>
              <a:off x="633525" y="26090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2" name="Rechteck 101"/>
            <p:cNvSpPr/>
            <p:nvPr/>
          </p:nvSpPr>
          <p:spPr>
            <a:xfrm>
              <a:off x="1934686" y="427530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3" name="Ellipse 102"/>
            <p:cNvSpPr/>
            <p:nvPr/>
          </p:nvSpPr>
          <p:spPr>
            <a:xfrm>
              <a:off x="3235846" y="94287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4" name="Ellipse 103"/>
            <p:cNvSpPr/>
            <p:nvPr/>
          </p:nvSpPr>
          <p:spPr>
            <a:xfrm>
              <a:off x="619125" y="4260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5" name="Rechteck 104"/>
            <p:cNvSpPr/>
            <p:nvPr/>
          </p:nvSpPr>
          <p:spPr>
            <a:xfrm>
              <a:off x="3250246" y="26090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6" name="Ellipse 105"/>
            <p:cNvSpPr/>
            <p:nvPr/>
          </p:nvSpPr>
          <p:spPr>
            <a:xfrm>
              <a:off x="3235846" y="4260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07" name="Gruppieren 139"/>
            <p:cNvGrpSpPr/>
            <p:nvPr/>
          </p:nvGrpSpPr>
          <p:grpSpPr>
            <a:xfrm>
              <a:off x="1927486" y="760647"/>
              <a:ext cx="75600" cy="257824"/>
              <a:chOff x="5656766" y="771104"/>
              <a:chExt cx="75600" cy="257824"/>
            </a:xfrm>
          </p:grpSpPr>
          <p:sp>
            <p:nvSpPr>
              <p:cNvPr id="109" name="Ellipse 108"/>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solidFill>
                  <a:latin typeface="+mn-lt"/>
                </a:endParaRPr>
              </a:p>
            </p:txBody>
          </p:sp>
          <p:sp>
            <p:nvSpPr>
              <p:cNvPr id="110" name="Rechteck 109"/>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11" name="Gerade Verbindung 110"/>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108" name="Ellipse 107"/>
            <p:cNvSpPr/>
            <p:nvPr/>
          </p:nvSpPr>
          <p:spPr>
            <a:xfrm>
              <a:off x="619125" y="94287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84" name="Group 45"/>
          <p:cNvGrpSpPr>
            <a:grpSpLocks/>
          </p:cNvGrpSpPr>
          <p:nvPr/>
        </p:nvGrpSpPr>
        <p:grpSpPr bwMode="auto">
          <a:xfrm rot="20287264">
            <a:off x="2428042" y="3966262"/>
            <a:ext cx="374650" cy="609600"/>
            <a:chOff x="1950" y="1045"/>
            <a:chExt cx="568" cy="928"/>
          </a:xfrm>
        </p:grpSpPr>
        <p:sp>
          <p:nvSpPr>
            <p:cNvPr id="185"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dirty="0">
                <a:latin typeface="Myriad Pro" pitchFamily="34" charset="0"/>
              </a:endParaRPr>
            </a:p>
          </p:txBody>
        </p:sp>
        <p:sp>
          <p:nvSpPr>
            <p:cNvPr id="186"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dirty="0"/>
            </a:p>
          </p:txBody>
        </p:sp>
        <p:sp>
          <p:nvSpPr>
            <p:cNvPr id="187"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188"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dirty="0"/>
            </a:p>
          </p:txBody>
        </p:sp>
        <p:sp>
          <p:nvSpPr>
            <p:cNvPr id="189"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190"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dirty="0"/>
            </a:p>
          </p:txBody>
        </p:sp>
        <p:sp>
          <p:nvSpPr>
            <p:cNvPr id="191"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dirty="0"/>
            </a:p>
          </p:txBody>
        </p:sp>
        <p:sp>
          <p:nvSpPr>
            <p:cNvPr id="192"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dirty="0">
                <a:latin typeface="Myriad Pro" pitchFamily="34" charset="0"/>
              </a:endParaRPr>
            </a:p>
          </p:txBody>
        </p:sp>
        <p:sp>
          <p:nvSpPr>
            <p:cNvPr id="193"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dirty="0"/>
            </a:p>
          </p:txBody>
        </p:sp>
        <p:sp>
          <p:nvSpPr>
            <p:cNvPr id="194"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dirty="0"/>
            </a:p>
          </p:txBody>
        </p:sp>
        <p:sp>
          <p:nvSpPr>
            <p:cNvPr id="195"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dirty="0"/>
            </a:p>
          </p:txBody>
        </p:sp>
        <p:sp>
          <p:nvSpPr>
            <p:cNvPr id="196"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dirty="0"/>
            </a:p>
          </p:txBody>
        </p:sp>
      </p:grpSp>
      <p:grpSp>
        <p:nvGrpSpPr>
          <p:cNvPr id="69" name="Gruppieren 73"/>
          <p:cNvGrpSpPr/>
          <p:nvPr/>
        </p:nvGrpSpPr>
        <p:grpSpPr>
          <a:xfrm>
            <a:off x="207485" y="1046547"/>
            <a:ext cx="347663" cy="338138"/>
            <a:chOff x="203518" y="4378643"/>
            <a:chExt cx="347663" cy="338138"/>
          </a:xfrm>
        </p:grpSpPr>
        <p:pic>
          <p:nvPicPr>
            <p:cNvPr id="70" name="Grafik 69" descr="schatten.png"/>
            <p:cNvPicPr>
              <a:picLocks noChangeAspect="1"/>
            </p:cNvPicPr>
            <p:nvPr/>
          </p:nvPicPr>
          <p:blipFill>
            <a:blip r:embed="rId8" cstate="print">
              <a:lum bright="30000"/>
            </a:blip>
            <a:srcRect l="17603" t="9404" r="15359" b="14528"/>
            <a:stretch>
              <a:fillRect/>
            </a:stretch>
          </p:blipFill>
          <p:spPr>
            <a:xfrm>
              <a:off x="203518" y="4378643"/>
              <a:ext cx="347663" cy="338138"/>
            </a:xfrm>
            <a:prstGeom prst="rect">
              <a:avLst/>
            </a:prstGeom>
          </p:spPr>
        </p:pic>
        <p:sp>
          <p:nvSpPr>
            <p:cNvPr id="71"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72" name="Gruppieren 73"/>
          <p:cNvGrpSpPr/>
          <p:nvPr/>
        </p:nvGrpSpPr>
        <p:grpSpPr>
          <a:xfrm>
            <a:off x="5720379" y="1054785"/>
            <a:ext cx="347663" cy="338138"/>
            <a:chOff x="203518" y="4378643"/>
            <a:chExt cx="347663" cy="338138"/>
          </a:xfrm>
        </p:grpSpPr>
        <p:pic>
          <p:nvPicPr>
            <p:cNvPr id="73" name="Grafik 72" descr="schatten.png"/>
            <p:cNvPicPr>
              <a:picLocks noChangeAspect="1"/>
            </p:cNvPicPr>
            <p:nvPr/>
          </p:nvPicPr>
          <p:blipFill>
            <a:blip r:embed="rId8" cstate="print">
              <a:lum bright="30000"/>
            </a:blip>
            <a:srcRect l="17603" t="9404" r="15359" b="14528"/>
            <a:stretch>
              <a:fillRect/>
            </a:stretch>
          </p:blipFill>
          <p:spPr>
            <a:xfrm>
              <a:off x="203518" y="4378643"/>
              <a:ext cx="347663" cy="338138"/>
            </a:xfrm>
            <a:prstGeom prst="rect">
              <a:avLst/>
            </a:prstGeom>
          </p:spPr>
        </p:pic>
        <p:sp>
          <p:nvSpPr>
            <p:cNvPr id="74"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 name="Picture 2"/>
          <p:cNvPicPr>
            <a:picLocks noChangeAspect="1" noChangeArrowheads="1"/>
          </p:cNvPicPr>
          <p:nvPr/>
        </p:nvPicPr>
        <p:blipFill>
          <a:blip r:embed="rId3"/>
          <a:srcRect/>
          <a:stretch>
            <a:fillRect/>
          </a:stretch>
        </p:blipFill>
        <p:spPr bwMode="auto">
          <a:xfrm>
            <a:off x="-6350" y="3054350"/>
            <a:ext cx="9156700" cy="3359150"/>
          </a:xfrm>
          <a:prstGeom prst="rect">
            <a:avLst/>
          </a:prstGeom>
          <a:noFill/>
          <a:ln w="9525">
            <a:noFill/>
            <a:miter lim="800000"/>
            <a:headEnd/>
            <a:tailEnd/>
          </a:ln>
          <a:effectLst/>
        </p:spPr>
      </p:pic>
      <p:sp>
        <p:nvSpPr>
          <p:cNvPr id="27651" name="Titel 7"/>
          <p:cNvSpPr>
            <a:spLocks noGrp="1"/>
          </p:cNvSpPr>
          <p:nvPr>
            <p:ph type="title"/>
          </p:nvPr>
        </p:nvSpPr>
        <p:spPr bwMode="auto">
          <a:xfrm>
            <a:off x="131763" y="274638"/>
            <a:ext cx="9015412" cy="461962"/>
          </a:xfrm>
          <a:noFill/>
          <a:ln>
            <a:miter lim="800000"/>
            <a:headEnd/>
            <a:tailEnd/>
          </a:ln>
        </p:spPr>
        <p:txBody>
          <a:bodyPr vert="horz" wrap="square" lIns="91440" tIns="45720" rIns="91440" bIns="45720" numCol="1" anchor="t" anchorCtr="0" compatLnSpc="1">
            <a:prstTxWarp prst="textNoShape">
              <a:avLst/>
            </a:prstTxWarp>
          </a:bodyPr>
          <a:lstStyle/>
          <a:p>
            <a:r>
              <a:rPr lang="de-DE" dirty="0" smtClean="0"/>
              <a:t>Folie kopieren</a:t>
            </a:r>
          </a:p>
        </p:txBody>
      </p:sp>
      <p:grpSp>
        <p:nvGrpSpPr>
          <p:cNvPr id="2" name="Gruppieren 77"/>
          <p:cNvGrpSpPr/>
          <p:nvPr/>
        </p:nvGrpSpPr>
        <p:grpSpPr>
          <a:xfrm>
            <a:off x="5087118" y="1376067"/>
            <a:ext cx="347663" cy="338138"/>
            <a:chOff x="203518" y="4966018"/>
            <a:chExt cx="347663" cy="338138"/>
          </a:xfrm>
        </p:grpSpPr>
        <p:pic>
          <p:nvPicPr>
            <p:cNvPr id="152" name="Grafik 151" descr="schatten.png"/>
            <p:cNvPicPr>
              <a:picLocks noChangeAspect="1"/>
            </p:cNvPicPr>
            <p:nvPr/>
          </p:nvPicPr>
          <p:blipFill>
            <a:blip r:embed="rId4" cstate="print">
              <a:lum bright="30000"/>
            </a:blip>
            <a:srcRect l="17603" t="9404" r="15359" b="14528"/>
            <a:stretch>
              <a:fillRect/>
            </a:stretch>
          </p:blipFill>
          <p:spPr>
            <a:xfrm>
              <a:off x="203518" y="4966018"/>
              <a:ext cx="347663" cy="338138"/>
            </a:xfrm>
            <a:prstGeom prst="rect">
              <a:avLst/>
            </a:prstGeom>
          </p:spPr>
        </p:pic>
        <p:sp>
          <p:nvSpPr>
            <p:cNvPr id="153"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3" name="Gruppieren 73"/>
          <p:cNvGrpSpPr/>
          <p:nvPr/>
        </p:nvGrpSpPr>
        <p:grpSpPr>
          <a:xfrm>
            <a:off x="207485" y="1376067"/>
            <a:ext cx="347663" cy="338138"/>
            <a:chOff x="203518" y="4378643"/>
            <a:chExt cx="347663" cy="338138"/>
          </a:xfrm>
        </p:grpSpPr>
        <p:pic>
          <p:nvPicPr>
            <p:cNvPr id="155" name="Grafik 154" descr="schatten.png"/>
            <p:cNvPicPr>
              <a:picLocks noChangeAspect="1"/>
            </p:cNvPicPr>
            <p:nvPr/>
          </p:nvPicPr>
          <p:blipFill>
            <a:blip r:embed="rId4" cstate="print">
              <a:lum bright="30000"/>
            </a:blip>
            <a:srcRect l="17603" t="9404" r="15359" b="14528"/>
            <a:stretch>
              <a:fillRect/>
            </a:stretch>
          </p:blipFill>
          <p:spPr>
            <a:xfrm>
              <a:off x="203518" y="4378643"/>
              <a:ext cx="347663" cy="338138"/>
            </a:xfrm>
            <a:prstGeom prst="rect">
              <a:avLst/>
            </a:prstGeom>
          </p:spPr>
        </p:pic>
        <p:sp>
          <p:nvSpPr>
            <p:cNvPr id="156"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98" name="Rechteck 97">
            <a:hlinkClick r:id="rId5"/>
          </p:cNvPr>
          <p:cNvSpPr/>
          <p:nvPr/>
        </p:nvSpPr>
        <p:spPr>
          <a:xfrm>
            <a:off x="6648450" y="6296025"/>
            <a:ext cx="2495550" cy="56197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4" name="Gruppieren 216"/>
          <p:cNvGrpSpPr/>
          <p:nvPr/>
        </p:nvGrpSpPr>
        <p:grpSpPr>
          <a:xfrm>
            <a:off x="4139518" y="1949113"/>
            <a:ext cx="1265559" cy="400110"/>
            <a:chOff x="7878441" y="163855"/>
            <a:chExt cx="1265559" cy="400110"/>
          </a:xfrm>
        </p:grpSpPr>
        <p:pic>
          <p:nvPicPr>
            <p:cNvPr id="218" name="Grafik 217" descr="strg.png"/>
            <p:cNvPicPr>
              <a:picLocks noChangeAspect="1"/>
            </p:cNvPicPr>
            <p:nvPr/>
          </p:nvPicPr>
          <p:blipFill>
            <a:blip r:embed="rId6" cstate="print"/>
            <a:stretch>
              <a:fillRect/>
            </a:stretch>
          </p:blipFill>
          <p:spPr>
            <a:xfrm>
              <a:off x="7878441" y="184160"/>
              <a:ext cx="508093" cy="359500"/>
            </a:xfrm>
            <a:prstGeom prst="rect">
              <a:avLst/>
            </a:prstGeom>
          </p:spPr>
        </p:pic>
        <p:sp>
          <p:nvSpPr>
            <p:cNvPr id="219" name="Textfeld 218"/>
            <p:cNvSpPr txBox="1"/>
            <p:nvPr/>
          </p:nvSpPr>
          <p:spPr>
            <a:xfrm>
              <a:off x="8417831" y="163855"/>
              <a:ext cx="357052" cy="400110"/>
            </a:xfrm>
            <a:prstGeom prst="rect">
              <a:avLst/>
            </a:prstGeom>
            <a:noFill/>
          </p:spPr>
          <p:txBody>
            <a:bodyPr wrap="square" rtlCol="0">
              <a:spAutoFit/>
            </a:bodyPr>
            <a:lstStyle/>
            <a:p>
              <a:r>
                <a:rPr lang="de-DE" dirty="0" smtClean="0"/>
                <a:t>+</a:t>
              </a:r>
              <a:endParaRPr lang="de-DE" sz="2000" dirty="0"/>
            </a:p>
          </p:txBody>
        </p:sp>
        <p:pic>
          <p:nvPicPr>
            <p:cNvPr id="220" name="Grafik 219" descr="C_gr.png"/>
            <p:cNvPicPr>
              <a:picLocks noChangeAspect="1"/>
            </p:cNvPicPr>
            <p:nvPr/>
          </p:nvPicPr>
          <p:blipFill>
            <a:blip r:embed="rId7" cstate="print"/>
            <a:stretch>
              <a:fillRect/>
            </a:stretch>
          </p:blipFill>
          <p:spPr>
            <a:xfrm>
              <a:off x="8786400" y="183660"/>
              <a:ext cx="357600" cy="360000"/>
            </a:xfrm>
            <a:prstGeom prst="rect">
              <a:avLst/>
            </a:prstGeom>
          </p:spPr>
        </p:pic>
      </p:grpSp>
      <p:grpSp>
        <p:nvGrpSpPr>
          <p:cNvPr id="5" name="Gruppieren 220"/>
          <p:cNvGrpSpPr/>
          <p:nvPr/>
        </p:nvGrpSpPr>
        <p:grpSpPr>
          <a:xfrm>
            <a:off x="4139518" y="2604621"/>
            <a:ext cx="1265559" cy="400110"/>
            <a:chOff x="7878441" y="1350587"/>
            <a:chExt cx="1265559" cy="400110"/>
          </a:xfrm>
        </p:grpSpPr>
        <p:pic>
          <p:nvPicPr>
            <p:cNvPr id="222" name="Grafik 221" descr="strg.png"/>
            <p:cNvPicPr>
              <a:picLocks noChangeAspect="1"/>
            </p:cNvPicPr>
            <p:nvPr/>
          </p:nvPicPr>
          <p:blipFill>
            <a:blip r:embed="rId6" cstate="print"/>
            <a:stretch>
              <a:fillRect/>
            </a:stretch>
          </p:blipFill>
          <p:spPr>
            <a:xfrm>
              <a:off x="7878441" y="1370892"/>
              <a:ext cx="508093" cy="359500"/>
            </a:xfrm>
            <a:prstGeom prst="rect">
              <a:avLst/>
            </a:prstGeom>
          </p:spPr>
        </p:pic>
        <p:sp>
          <p:nvSpPr>
            <p:cNvPr id="223" name="Textfeld 222"/>
            <p:cNvSpPr txBox="1"/>
            <p:nvPr/>
          </p:nvSpPr>
          <p:spPr>
            <a:xfrm>
              <a:off x="8417831" y="1350587"/>
              <a:ext cx="357052" cy="400110"/>
            </a:xfrm>
            <a:prstGeom prst="rect">
              <a:avLst/>
            </a:prstGeom>
            <a:noFill/>
          </p:spPr>
          <p:txBody>
            <a:bodyPr wrap="square" rtlCol="0">
              <a:spAutoFit/>
            </a:bodyPr>
            <a:lstStyle/>
            <a:p>
              <a:r>
                <a:rPr lang="de-DE" dirty="0" smtClean="0"/>
                <a:t>+</a:t>
              </a:r>
              <a:endParaRPr lang="de-DE" sz="2000" dirty="0"/>
            </a:p>
          </p:txBody>
        </p:sp>
        <p:pic>
          <p:nvPicPr>
            <p:cNvPr id="224" name="Grafik 223" descr="V_gr.png"/>
            <p:cNvPicPr>
              <a:picLocks noChangeAspect="1"/>
            </p:cNvPicPr>
            <p:nvPr/>
          </p:nvPicPr>
          <p:blipFill>
            <a:blip r:embed="rId8" cstate="print"/>
            <a:stretch>
              <a:fillRect/>
            </a:stretch>
          </p:blipFill>
          <p:spPr>
            <a:xfrm>
              <a:off x="8786400" y="1370392"/>
              <a:ext cx="357600" cy="360000"/>
            </a:xfrm>
            <a:prstGeom prst="rect">
              <a:avLst/>
            </a:prstGeom>
          </p:spPr>
        </p:pic>
      </p:grpSp>
      <p:grpSp>
        <p:nvGrpSpPr>
          <p:cNvPr id="68" name="Group 67"/>
          <p:cNvGrpSpPr/>
          <p:nvPr/>
        </p:nvGrpSpPr>
        <p:grpSpPr>
          <a:xfrm>
            <a:off x="5503903" y="1321888"/>
            <a:ext cx="3387685" cy="2465886"/>
            <a:chOff x="5503903" y="1321888"/>
            <a:chExt cx="3387685" cy="2465886"/>
          </a:xfrm>
        </p:grpSpPr>
        <p:pic>
          <p:nvPicPr>
            <p:cNvPr id="71" name="Picture 4"/>
            <p:cNvPicPr>
              <a:picLocks noChangeAspect="1" noChangeArrowheads="1"/>
            </p:cNvPicPr>
            <p:nvPr/>
          </p:nvPicPr>
          <p:blipFill>
            <a:blip r:embed="rId9"/>
            <a:srcRect/>
            <a:stretch>
              <a:fillRect/>
            </a:stretch>
          </p:blipFill>
          <p:spPr bwMode="auto">
            <a:xfrm>
              <a:off x="5507038" y="1321888"/>
              <a:ext cx="3384550" cy="2465886"/>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sp>
          <p:nvSpPr>
            <p:cNvPr id="225" name="Rechteck 224"/>
            <p:cNvSpPr/>
            <p:nvPr/>
          </p:nvSpPr>
          <p:spPr>
            <a:xfrm>
              <a:off x="5503903" y="1948612"/>
              <a:ext cx="284916" cy="19735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7" name="Gruppieren 77"/>
          <p:cNvGrpSpPr/>
          <p:nvPr/>
        </p:nvGrpSpPr>
        <p:grpSpPr>
          <a:xfrm>
            <a:off x="211756" y="5538253"/>
            <a:ext cx="347663" cy="338138"/>
            <a:chOff x="203518" y="4966018"/>
            <a:chExt cx="347663" cy="338138"/>
          </a:xfrm>
        </p:grpSpPr>
        <p:pic>
          <p:nvPicPr>
            <p:cNvPr id="249" name="Grafik 248" descr="schatten.png"/>
            <p:cNvPicPr>
              <a:picLocks noChangeAspect="1"/>
            </p:cNvPicPr>
            <p:nvPr/>
          </p:nvPicPr>
          <p:blipFill>
            <a:blip r:embed="rId4" cstate="print">
              <a:lum bright="30000"/>
            </a:blip>
            <a:srcRect l="17603" t="9404" r="15359" b="14528"/>
            <a:stretch>
              <a:fillRect/>
            </a:stretch>
          </p:blipFill>
          <p:spPr>
            <a:xfrm>
              <a:off x="203518" y="4966018"/>
              <a:ext cx="347663" cy="338138"/>
            </a:xfrm>
            <a:prstGeom prst="rect">
              <a:avLst/>
            </a:prstGeom>
          </p:spPr>
        </p:pic>
        <p:sp>
          <p:nvSpPr>
            <p:cNvPr id="250"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251"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Um eine Folie aus einer bestehenden Präsentation zu kopieren, wählen Sie die gewünschte Folie mit der linken Maustaste aus.</a:t>
            </a:r>
            <a:endParaRPr lang="de-DE" sz="1200" dirty="0">
              <a:latin typeface="Myriad Pro" pitchFamily="34" charset="0"/>
              <a:ea typeface="Arial Unicode MS" pitchFamily="34" charset="-128"/>
              <a:cs typeface="Arial" charset="0"/>
            </a:endParaRPr>
          </a:p>
        </p:txBody>
      </p:sp>
      <p:grpSp>
        <p:nvGrpSpPr>
          <p:cNvPr id="8" name="Gruppieren 73"/>
          <p:cNvGrpSpPr/>
          <p:nvPr/>
        </p:nvGrpSpPr>
        <p:grpSpPr>
          <a:xfrm>
            <a:off x="211756" y="4979777"/>
            <a:ext cx="347663" cy="338138"/>
            <a:chOff x="203518" y="4378643"/>
            <a:chExt cx="347663" cy="338138"/>
          </a:xfrm>
        </p:grpSpPr>
        <p:pic>
          <p:nvPicPr>
            <p:cNvPr id="254" name="Grafik 253" descr="schatten.png"/>
            <p:cNvPicPr>
              <a:picLocks noChangeAspect="1"/>
            </p:cNvPicPr>
            <p:nvPr/>
          </p:nvPicPr>
          <p:blipFill>
            <a:blip r:embed="rId4" cstate="print">
              <a:lum bright="30000"/>
            </a:blip>
            <a:srcRect l="17603" t="9404" r="15359" b="14528"/>
            <a:stretch>
              <a:fillRect/>
            </a:stretch>
          </p:blipFill>
          <p:spPr>
            <a:xfrm>
              <a:off x="203518" y="4378643"/>
              <a:ext cx="347663" cy="338138"/>
            </a:xfrm>
            <a:prstGeom prst="rect">
              <a:avLst/>
            </a:prstGeom>
          </p:spPr>
        </p:pic>
        <p:sp>
          <p:nvSpPr>
            <p:cNvPr id="255"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284" name="Rectangle 5"/>
          <p:cNvSpPr>
            <a:spLocks noChangeArrowheads="1"/>
          </p:cNvSpPr>
          <p:nvPr/>
        </p:nvSpPr>
        <p:spPr bwMode="gray">
          <a:xfrm>
            <a:off x="639763" y="5538253"/>
            <a:ext cx="7894637" cy="667814"/>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Drücken Sie auf Ihrer Tastatur die „Strg“  und „C“ Taste, somit kopieren Sie die Folie in die Zwischenablage. Anschließend fügen Sie durch drücken der Tasten  „Strg“ und „V“, die in der Zwischenablage befindliche Folie, in die gewünschte Präsentation ein.</a:t>
            </a:r>
            <a:endParaRPr lang="de-DE" sz="1200" dirty="0">
              <a:solidFill>
                <a:srgbClr val="000000"/>
              </a:solidFill>
              <a:ea typeface="Arial Unicode MS" pitchFamily="34" charset="-128"/>
              <a:cs typeface="Arial" charset="0"/>
            </a:endParaRPr>
          </a:p>
        </p:txBody>
      </p:sp>
      <p:grpSp>
        <p:nvGrpSpPr>
          <p:cNvPr id="66" name="Group 65"/>
          <p:cNvGrpSpPr/>
          <p:nvPr/>
        </p:nvGrpSpPr>
        <p:grpSpPr>
          <a:xfrm>
            <a:off x="636639" y="1321888"/>
            <a:ext cx="3392437" cy="2465886"/>
            <a:chOff x="636639" y="1321888"/>
            <a:chExt cx="3392437" cy="2465886"/>
          </a:xfrm>
        </p:grpSpPr>
        <p:pic>
          <p:nvPicPr>
            <p:cNvPr id="70" name="Picture 3"/>
            <p:cNvPicPr>
              <a:picLocks noChangeAspect="1" noChangeArrowheads="1"/>
            </p:cNvPicPr>
            <p:nvPr/>
          </p:nvPicPr>
          <p:blipFill>
            <a:blip r:embed="rId10"/>
            <a:srcRect/>
            <a:stretch>
              <a:fillRect/>
            </a:stretch>
          </p:blipFill>
          <p:spPr bwMode="auto">
            <a:xfrm>
              <a:off x="644526" y="1321888"/>
              <a:ext cx="3384550" cy="2465886"/>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sp>
          <p:nvSpPr>
            <p:cNvPr id="72" name="Rechteck 71"/>
            <p:cNvSpPr/>
            <p:nvPr/>
          </p:nvSpPr>
          <p:spPr>
            <a:xfrm>
              <a:off x="636639" y="1948612"/>
              <a:ext cx="284916" cy="19735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69" name="Group 68"/>
          <p:cNvGrpSpPr/>
          <p:nvPr/>
        </p:nvGrpSpPr>
        <p:grpSpPr>
          <a:xfrm>
            <a:off x="919623" y="2022180"/>
            <a:ext cx="5028478" cy="609600"/>
            <a:chOff x="919623" y="2022180"/>
            <a:chExt cx="5028478" cy="609600"/>
          </a:xfrm>
        </p:grpSpPr>
        <p:grpSp>
          <p:nvGrpSpPr>
            <p:cNvPr id="9" name="Group 45"/>
            <p:cNvGrpSpPr>
              <a:grpSpLocks/>
            </p:cNvGrpSpPr>
            <p:nvPr/>
          </p:nvGrpSpPr>
          <p:grpSpPr bwMode="auto">
            <a:xfrm rot="20287264">
              <a:off x="919623" y="2022180"/>
              <a:ext cx="374650" cy="609600"/>
              <a:chOff x="1950" y="1045"/>
              <a:chExt cx="568" cy="928"/>
            </a:xfrm>
          </p:grpSpPr>
          <p:sp>
            <p:nvSpPr>
              <p:cNvPr id="270"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dirty="0">
                  <a:latin typeface="Myriad Pro" pitchFamily="34" charset="0"/>
                </a:endParaRPr>
              </a:p>
            </p:txBody>
          </p:sp>
          <p:sp>
            <p:nvSpPr>
              <p:cNvPr id="271"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dirty="0"/>
              </a:p>
            </p:txBody>
          </p:sp>
          <p:sp>
            <p:nvSpPr>
              <p:cNvPr id="272"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273"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dirty="0"/>
              </a:p>
            </p:txBody>
          </p:sp>
          <p:sp>
            <p:nvSpPr>
              <p:cNvPr id="274"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275"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dirty="0"/>
              </a:p>
            </p:txBody>
          </p:sp>
          <p:sp>
            <p:nvSpPr>
              <p:cNvPr id="276"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dirty="0"/>
              </a:p>
            </p:txBody>
          </p:sp>
          <p:sp>
            <p:nvSpPr>
              <p:cNvPr id="277"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dirty="0">
                  <a:latin typeface="Myriad Pro" pitchFamily="34" charset="0"/>
                </a:endParaRPr>
              </a:p>
            </p:txBody>
          </p:sp>
          <p:sp>
            <p:nvSpPr>
              <p:cNvPr id="278"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dirty="0"/>
              </a:p>
            </p:txBody>
          </p:sp>
          <p:sp>
            <p:nvSpPr>
              <p:cNvPr id="279"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dirty="0"/>
              </a:p>
            </p:txBody>
          </p:sp>
          <p:sp>
            <p:nvSpPr>
              <p:cNvPr id="280"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dirty="0"/>
              </a:p>
            </p:txBody>
          </p:sp>
          <p:sp>
            <p:nvSpPr>
              <p:cNvPr id="281"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dirty="0"/>
              </a:p>
            </p:txBody>
          </p:sp>
        </p:grpSp>
        <p:grpSp>
          <p:nvGrpSpPr>
            <p:cNvPr id="6" name="Gruppieren 278"/>
            <p:cNvGrpSpPr/>
            <p:nvPr/>
          </p:nvGrpSpPr>
          <p:grpSpPr>
            <a:xfrm>
              <a:off x="5729464" y="2096750"/>
              <a:ext cx="218637" cy="381655"/>
              <a:chOff x="2806936" y="1682676"/>
              <a:chExt cx="852584" cy="1488282"/>
            </a:xfrm>
            <a:effectLst>
              <a:outerShdw blurRad="50800" dist="38100" dir="2700000" algn="tl" rotWithShape="0">
                <a:prstClr val="black">
                  <a:alpha val="40000"/>
                </a:prstClr>
              </a:outerShdw>
            </a:effectLst>
          </p:grpSpPr>
          <p:sp>
            <p:nvSpPr>
              <p:cNvPr id="227" name="Freeform 209"/>
              <p:cNvSpPr>
                <a:spLocks/>
              </p:cNvSpPr>
              <p:nvPr/>
            </p:nvSpPr>
            <p:spPr bwMode="auto">
              <a:xfrm>
                <a:off x="2877569" y="1823942"/>
                <a:ext cx="639853" cy="1276382"/>
              </a:xfrm>
              <a:custGeom>
                <a:avLst/>
                <a:gdLst/>
                <a:ahLst/>
                <a:cxnLst>
                  <a:cxn ang="0">
                    <a:pos x="770" y="1366"/>
                  </a:cxn>
                  <a:cxn ang="0">
                    <a:pos x="770" y="1536"/>
                  </a:cxn>
                  <a:cxn ang="0">
                    <a:pos x="598" y="1536"/>
                  </a:cxn>
                  <a:cxn ang="0">
                    <a:pos x="598" y="1366"/>
                  </a:cxn>
                  <a:cxn ang="0">
                    <a:pos x="513" y="1366"/>
                  </a:cxn>
                  <a:cxn ang="0">
                    <a:pos x="513" y="1195"/>
                  </a:cxn>
                  <a:cxn ang="0">
                    <a:pos x="428" y="1195"/>
                  </a:cxn>
                  <a:cxn ang="0">
                    <a:pos x="428" y="1023"/>
                  </a:cxn>
                  <a:cxn ang="0">
                    <a:pos x="343" y="1023"/>
                  </a:cxn>
                  <a:cxn ang="0">
                    <a:pos x="343" y="853"/>
                  </a:cxn>
                  <a:cxn ang="0">
                    <a:pos x="258" y="853"/>
                  </a:cxn>
                  <a:cxn ang="0">
                    <a:pos x="258" y="938"/>
                  </a:cxn>
                  <a:cxn ang="0">
                    <a:pos x="173" y="938"/>
                  </a:cxn>
                  <a:cxn ang="0">
                    <a:pos x="173" y="1023"/>
                  </a:cxn>
                  <a:cxn ang="0">
                    <a:pos x="87" y="1023"/>
                  </a:cxn>
                  <a:cxn ang="0">
                    <a:pos x="87" y="1108"/>
                  </a:cxn>
                  <a:cxn ang="0">
                    <a:pos x="0" y="1108"/>
                  </a:cxn>
                  <a:cxn ang="0">
                    <a:pos x="0" y="0"/>
                  </a:cxn>
                  <a:cxn ang="0">
                    <a:pos x="87" y="0"/>
                  </a:cxn>
                  <a:cxn ang="0">
                    <a:pos x="87" y="85"/>
                  </a:cxn>
                  <a:cxn ang="0">
                    <a:pos x="173" y="85"/>
                  </a:cxn>
                  <a:cxn ang="0">
                    <a:pos x="173" y="170"/>
                  </a:cxn>
                  <a:cxn ang="0">
                    <a:pos x="258" y="170"/>
                  </a:cxn>
                  <a:cxn ang="0">
                    <a:pos x="258" y="255"/>
                  </a:cxn>
                  <a:cxn ang="0">
                    <a:pos x="343" y="255"/>
                  </a:cxn>
                  <a:cxn ang="0">
                    <a:pos x="343" y="340"/>
                  </a:cxn>
                  <a:cxn ang="0">
                    <a:pos x="428" y="340"/>
                  </a:cxn>
                  <a:cxn ang="0">
                    <a:pos x="428" y="425"/>
                  </a:cxn>
                  <a:cxn ang="0">
                    <a:pos x="513" y="425"/>
                  </a:cxn>
                  <a:cxn ang="0">
                    <a:pos x="513" y="513"/>
                  </a:cxn>
                  <a:cxn ang="0">
                    <a:pos x="598" y="513"/>
                  </a:cxn>
                  <a:cxn ang="0">
                    <a:pos x="598" y="598"/>
                  </a:cxn>
                  <a:cxn ang="0">
                    <a:pos x="683" y="598"/>
                  </a:cxn>
                  <a:cxn ang="0">
                    <a:pos x="683" y="683"/>
                  </a:cxn>
                  <a:cxn ang="0">
                    <a:pos x="770" y="683"/>
                  </a:cxn>
                  <a:cxn ang="0">
                    <a:pos x="770" y="768"/>
                  </a:cxn>
                  <a:cxn ang="0">
                    <a:pos x="513" y="768"/>
                  </a:cxn>
                  <a:cxn ang="0">
                    <a:pos x="513" y="1023"/>
                  </a:cxn>
                  <a:cxn ang="0">
                    <a:pos x="598" y="1023"/>
                  </a:cxn>
                  <a:cxn ang="0">
                    <a:pos x="598" y="1195"/>
                  </a:cxn>
                  <a:cxn ang="0">
                    <a:pos x="683" y="1195"/>
                  </a:cxn>
                  <a:cxn ang="0">
                    <a:pos x="683" y="1366"/>
                  </a:cxn>
                  <a:cxn ang="0">
                    <a:pos x="770" y="1366"/>
                  </a:cxn>
                </a:cxnLst>
                <a:rect l="0" t="0" r="r" b="b"/>
                <a:pathLst>
                  <a:path w="770" h="1536">
                    <a:moveTo>
                      <a:pt x="770" y="1366"/>
                    </a:moveTo>
                    <a:lnTo>
                      <a:pt x="770" y="1536"/>
                    </a:lnTo>
                    <a:lnTo>
                      <a:pt x="598" y="1536"/>
                    </a:lnTo>
                    <a:lnTo>
                      <a:pt x="598" y="1366"/>
                    </a:lnTo>
                    <a:lnTo>
                      <a:pt x="513" y="1366"/>
                    </a:lnTo>
                    <a:lnTo>
                      <a:pt x="513" y="1195"/>
                    </a:lnTo>
                    <a:lnTo>
                      <a:pt x="428" y="1195"/>
                    </a:lnTo>
                    <a:lnTo>
                      <a:pt x="428" y="1023"/>
                    </a:lnTo>
                    <a:lnTo>
                      <a:pt x="343" y="1023"/>
                    </a:lnTo>
                    <a:lnTo>
                      <a:pt x="343" y="853"/>
                    </a:lnTo>
                    <a:lnTo>
                      <a:pt x="258" y="853"/>
                    </a:lnTo>
                    <a:lnTo>
                      <a:pt x="258" y="938"/>
                    </a:lnTo>
                    <a:lnTo>
                      <a:pt x="173" y="938"/>
                    </a:lnTo>
                    <a:lnTo>
                      <a:pt x="173" y="1023"/>
                    </a:lnTo>
                    <a:lnTo>
                      <a:pt x="87" y="1023"/>
                    </a:lnTo>
                    <a:lnTo>
                      <a:pt x="87" y="1108"/>
                    </a:lnTo>
                    <a:lnTo>
                      <a:pt x="0" y="1108"/>
                    </a:lnTo>
                    <a:lnTo>
                      <a:pt x="0" y="0"/>
                    </a:lnTo>
                    <a:lnTo>
                      <a:pt x="87" y="0"/>
                    </a:lnTo>
                    <a:lnTo>
                      <a:pt x="87" y="85"/>
                    </a:lnTo>
                    <a:lnTo>
                      <a:pt x="173" y="85"/>
                    </a:lnTo>
                    <a:lnTo>
                      <a:pt x="173" y="170"/>
                    </a:lnTo>
                    <a:lnTo>
                      <a:pt x="258" y="170"/>
                    </a:lnTo>
                    <a:lnTo>
                      <a:pt x="258" y="255"/>
                    </a:lnTo>
                    <a:lnTo>
                      <a:pt x="343" y="255"/>
                    </a:lnTo>
                    <a:lnTo>
                      <a:pt x="343" y="340"/>
                    </a:lnTo>
                    <a:lnTo>
                      <a:pt x="428" y="340"/>
                    </a:lnTo>
                    <a:lnTo>
                      <a:pt x="428" y="425"/>
                    </a:lnTo>
                    <a:lnTo>
                      <a:pt x="513" y="425"/>
                    </a:lnTo>
                    <a:lnTo>
                      <a:pt x="513" y="513"/>
                    </a:lnTo>
                    <a:lnTo>
                      <a:pt x="598" y="513"/>
                    </a:lnTo>
                    <a:lnTo>
                      <a:pt x="598" y="598"/>
                    </a:lnTo>
                    <a:lnTo>
                      <a:pt x="683" y="598"/>
                    </a:lnTo>
                    <a:lnTo>
                      <a:pt x="683" y="683"/>
                    </a:lnTo>
                    <a:lnTo>
                      <a:pt x="770" y="683"/>
                    </a:lnTo>
                    <a:lnTo>
                      <a:pt x="770" y="768"/>
                    </a:lnTo>
                    <a:lnTo>
                      <a:pt x="513" y="768"/>
                    </a:lnTo>
                    <a:lnTo>
                      <a:pt x="513" y="1023"/>
                    </a:lnTo>
                    <a:lnTo>
                      <a:pt x="598" y="1023"/>
                    </a:lnTo>
                    <a:lnTo>
                      <a:pt x="598" y="1195"/>
                    </a:lnTo>
                    <a:lnTo>
                      <a:pt x="683" y="1195"/>
                    </a:lnTo>
                    <a:lnTo>
                      <a:pt x="683" y="1366"/>
                    </a:lnTo>
                    <a:lnTo>
                      <a:pt x="770" y="1366"/>
                    </a:lnTo>
                    <a:close/>
                  </a:path>
                </a:pathLst>
              </a:custGeom>
              <a:gradFill flip="none" rotWithShape="1">
                <a:gsLst>
                  <a:gs pos="0">
                    <a:schemeClr val="bg1">
                      <a:lumMod val="85000"/>
                    </a:schemeClr>
                  </a:gs>
                  <a:gs pos="50000">
                    <a:schemeClr val="bg1">
                      <a:lumMod val="95000"/>
                    </a:schemeClr>
                  </a:gs>
                  <a:gs pos="100000">
                    <a:schemeClr val="bg1">
                      <a:shade val="100000"/>
                      <a:satMod val="11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229" name="Freeform 210"/>
              <p:cNvSpPr>
                <a:spLocks/>
              </p:cNvSpPr>
              <p:nvPr/>
            </p:nvSpPr>
            <p:spPr bwMode="auto">
              <a:xfrm>
                <a:off x="3303861" y="2391501"/>
                <a:ext cx="355659" cy="282533"/>
              </a:xfrm>
              <a:custGeom>
                <a:avLst/>
                <a:gdLst/>
                <a:ahLst/>
                <a:cxnLst>
                  <a:cxn ang="0">
                    <a:pos x="428" y="85"/>
                  </a:cxn>
                  <a:cxn ang="0">
                    <a:pos x="428" y="170"/>
                  </a:cxn>
                  <a:cxn ang="0">
                    <a:pos x="85" y="170"/>
                  </a:cxn>
                  <a:cxn ang="0">
                    <a:pos x="85" y="340"/>
                  </a:cxn>
                  <a:cxn ang="0">
                    <a:pos x="0" y="340"/>
                  </a:cxn>
                  <a:cxn ang="0">
                    <a:pos x="0" y="85"/>
                  </a:cxn>
                  <a:cxn ang="0">
                    <a:pos x="257" y="85"/>
                  </a:cxn>
                  <a:cxn ang="0">
                    <a:pos x="257" y="0"/>
                  </a:cxn>
                  <a:cxn ang="0">
                    <a:pos x="343" y="0"/>
                  </a:cxn>
                  <a:cxn ang="0">
                    <a:pos x="343" y="85"/>
                  </a:cxn>
                  <a:cxn ang="0">
                    <a:pos x="428" y="85"/>
                  </a:cxn>
                </a:cxnLst>
                <a:rect l="0" t="0" r="r" b="b"/>
                <a:pathLst>
                  <a:path w="428" h="340">
                    <a:moveTo>
                      <a:pt x="428" y="85"/>
                    </a:moveTo>
                    <a:lnTo>
                      <a:pt x="428" y="170"/>
                    </a:lnTo>
                    <a:lnTo>
                      <a:pt x="85" y="170"/>
                    </a:lnTo>
                    <a:lnTo>
                      <a:pt x="85" y="340"/>
                    </a:lnTo>
                    <a:lnTo>
                      <a:pt x="0" y="340"/>
                    </a:lnTo>
                    <a:lnTo>
                      <a:pt x="0" y="85"/>
                    </a:lnTo>
                    <a:lnTo>
                      <a:pt x="257" y="85"/>
                    </a:lnTo>
                    <a:lnTo>
                      <a:pt x="257" y="0"/>
                    </a:lnTo>
                    <a:lnTo>
                      <a:pt x="343" y="0"/>
                    </a:lnTo>
                    <a:lnTo>
                      <a:pt x="343" y="85"/>
                    </a:lnTo>
                    <a:lnTo>
                      <a:pt x="428" y="85"/>
                    </a:lnTo>
                    <a:close/>
                  </a:path>
                </a:pathLst>
              </a:custGeom>
              <a:solidFill>
                <a:schemeClr val="bg1">
                  <a:lumMod val="50000"/>
                </a:schemeClr>
              </a:solidFill>
              <a:ln w="9525">
                <a:noFill/>
                <a:round/>
                <a:headEnd/>
                <a:tailEnd/>
              </a:ln>
            </p:spPr>
            <p:txBody>
              <a:bodyPr/>
              <a:lstStyle/>
              <a:p>
                <a:pPr>
                  <a:defRPr/>
                </a:pPr>
                <a:endParaRPr lang="de-DE" dirty="0"/>
              </a:p>
            </p:txBody>
          </p:sp>
          <p:sp>
            <p:nvSpPr>
              <p:cNvPr id="230" name="Rectangle 211"/>
              <p:cNvSpPr>
                <a:spLocks noChangeArrowheads="1"/>
              </p:cNvSpPr>
              <p:nvPr/>
            </p:nvSpPr>
            <p:spPr bwMode="auto">
              <a:xfrm>
                <a:off x="3517423" y="2959058"/>
                <a:ext cx="71464" cy="14126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1" name="Rectangle 212"/>
              <p:cNvSpPr>
                <a:spLocks noChangeArrowheads="1"/>
              </p:cNvSpPr>
              <p:nvPr/>
            </p:nvSpPr>
            <p:spPr bwMode="auto">
              <a:xfrm>
                <a:off x="3374495" y="3100325"/>
                <a:ext cx="142928"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2" name="Rectangle 213"/>
              <p:cNvSpPr>
                <a:spLocks noChangeArrowheads="1"/>
              </p:cNvSpPr>
              <p:nvPr/>
            </p:nvSpPr>
            <p:spPr bwMode="auto">
              <a:xfrm>
                <a:off x="3445128" y="2816961"/>
                <a:ext cx="72295" cy="14209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3" name="Rectangle 214"/>
              <p:cNvSpPr>
                <a:spLocks noChangeArrowheads="1"/>
              </p:cNvSpPr>
              <p:nvPr/>
            </p:nvSpPr>
            <p:spPr bwMode="auto">
              <a:xfrm>
                <a:off x="3445128" y="2320867"/>
                <a:ext cx="72295"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4" name="Rectangle 215"/>
              <p:cNvSpPr>
                <a:spLocks noChangeArrowheads="1"/>
              </p:cNvSpPr>
              <p:nvPr/>
            </p:nvSpPr>
            <p:spPr bwMode="auto">
              <a:xfrm>
                <a:off x="3374495" y="2674033"/>
                <a:ext cx="70633" cy="14292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5" name="Rectangle 216"/>
              <p:cNvSpPr>
                <a:spLocks noChangeArrowheads="1"/>
              </p:cNvSpPr>
              <p:nvPr/>
            </p:nvSpPr>
            <p:spPr bwMode="auto">
              <a:xfrm>
                <a:off x="3374495" y="2250234"/>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6" name="Rectangle 217"/>
              <p:cNvSpPr>
                <a:spLocks noChangeArrowheads="1"/>
              </p:cNvSpPr>
              <p:nvPr/>
            </p:nvSpPr>
            <p:spPr bwMode="auto">
              <a:xfrm>
                <a:off x="3303861" y="2959058"/>
                <a:ext cx="70633" cy="14126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7" name="Rectangle 218"/>
              <p:cNvSpPr>
                <a:spLocks noChangeArrowheads="1"/>
              </p:cNvSpPr>
              <p:nvPr/>
            </p:nvSpPr>
            <p:spPr bwMode="auto">
              <a:xfrm>
                <a:off x="3303861" y="2177108"/>
                <a:ext cx="70633" cy="7312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8" name="Rectangle 219"/>
              <p:cNvSpPr>
                <a:spLocks noChangeArrowheads="1"/>
              </p:cNvSpPr>
              <p:nvPr/>
            </p:nvSpPr>
            <p:spPr bwMode="auto">
              <a:xfrm>
                <a:off x="3233228" y="2816961"/>
                <a:ext cx="70633" cy="14209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9" name="Rectangle 220"/>
              <p:cNvSpPr>
                <a:spLocks noChangeArrowheads="1"/>
              </p:cNvSpPr>
              <p:nvPr/>
            </p:nvSpPr>
            <p:spPr bwMode="auto">
              <a:xfrm>
                <a:off x="3233228" y="2106475"/>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0" name="Rectangle 221"/>
              <p:cNvSpPr>
                <a:spLocks noChangeArrowheads="1"/>
              </p:cNvSpPr>
              <p:nvPr/>
            </p:nvSpPr>
            <p:spPr bwMode="auto">
              <a:xfrm>
                <a:off x="3162595" y="2674033"/>
                <a:ext cx="70633" cy="14292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1" name="Rectangle 222"/>
              <p:cNvSpPr>
                <a:spLocks noChangeArrowheads="1"/>
              </p:cNvSpPr>
              <p:nvPr/>
            </p:nvSpPr>
            <p:spPr bwMode="auto">
              <a:xfrm>
                <a:off x="3162595" y="2035842"/>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2" name="Freeform 223"/>
              <p:cNvSpPr>
                <a:spLocks/>
              </p:cNvSpPr>
              <p:nvPr/>
            </p:nvSpPr>
            <p:spPr bwMode="auto">
              <a:xfrm>
                <a:off x="3021328" y="2532767"/>
                <a:ext cx="141266" cy="141266"/>
              </a:xfrm>
              <a:custGeom>
                <a:avLst/>
                <a:gdLst/>
                <a:ahLst/>
                <a:cxnLst>
                  <a:cxn ang="0">
                    <a:pos x="170" y="0"/>
                  </a:cxn>
                  <a:cxn ang="0">
                    <a:pos x="170" y="170"/>
                  </a:cxn>
                  <a:cxn ang="0">
                    <a:pos x="0" y="170"/>
                  </a:cxn>
                  <a:cxn ang="0">
                    <a:pos x="0" y="85"/>
                  </a:cxn>
                  <a:cxn ang="0">
                    <a:pos x="85" y="85"/>
                  </a:cxn>
                  <a:cxn ang="0">
                    <a:pos x="85" y="0"/>
                  </a:cxn>
                  <a:cxn ang="0">
                    <a:pos x="170" y="0"/>
                  </a:cxn>
                </a:cxnLst>
                <a:rect l="0" t="0" r="r" b="b"/>
                <a:pathLst>
                  <a:path w="170" h="170">
                    <a:moveTo>
                      <a:pt x="170" y="0"/>
                    </a:moveTo>
                    <a:lnTo>
                      <a:pt x="170" y="170"/>
                    </a:lnTo>
                    <a:lnTo>
                      <a:pt x="0" y="170"/>
                    </a:lnTo>
                    <a:lnTo>
                      <a:pt x="0" y="85"/>
                    </a:lnTo>
                    <a:lnTo>
                      <a:pt x="85" y="85"/>
                    </a:lnTo>
                    <a:lnTo>
                      <a:pt x="85" y="0"/>
                    </a:lnTo>
                    <a:lnTo>
                      <a:pt x="170" y="0"/>
                    </a:lnTo>
                    <a:close/>
                  </a:path>
                </a:pathLst>
              </a:custGeom>
              <a:solidFill>
                <a:schemeClr val="bg1">
                  <a:lumMod val="50000"/>
                </a:schemeClr>
              </a:solidFill>
              <a:ln w="9525">
                <a:noFill/>
                <a:round/>
                <a:headEnd/>
                <a:tailEnd/>
              </a:ln>
            </p:spPr>
            <p:txBody>
              <a:bodyPr/>
              <a:lstStyle/>
              <a:p>
                <a:pPr>
                  <a:defRPr/>
                </a:pPr>
                <a:endParaRPr lang="de-DE" dirty="0"/>
              </a:p>
            </p:txBody>
          </p:sp>
          <p:sp>
            <p:nvSpPr>
              <p:cNvPr id="243" name="Rectangle 224"/>
              <p:cNvSpPr>
                <a:spLocks noChangeArrowheads="1"/>
              </p:cNvSpPr>
              <p:nvPr/>
            </p:nvSpPr>
            <p:spPr bwMode="auto">
              <a:xfrm>
                <a:off x="3091962" y="1965209"/>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4" name="Rectangle 225"/>
              <p:cNvSpPr>
                <a:spLocks noChangeArrowheads="1"/>
              </p:cNvSpPr>
              <p:nvPr/>
            </p:nvSpPr>
            <p:spPr bwMode="auto">
              <a:xfrm>
                <a:off x="3021328" y="1894576"/>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5" name="Rectangle 226"/>
              <p:cNvSpPr>
                <a:spLocks noChangeArrowheads="1"/>
              </p:cNvSpPr>
              <p:nvPr/>
            </p:nvSpPr>
            <p:spPr bwMode="auto">
              <a:xfrm>
                <a:off x="2949864" y="2674033"/>
                <a:ext cx="71464"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6" name="Rectangle 227"/>
              <p:cNvSpPr>
                <a:spLocks noChangeArrowheads="1"/>
              </p:cNvSpPr>
              <p:nvPr/>
            </p:nvSpPr>
            <p:spPr bwMode="auto">
              <a:xfrm>
                <a:off x="2949864" y="1823942"/>
                <a:ext cx="71464"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7" name="Freeform 228"/>
              <p:cNvSpPr>
                <a:spLocks/>
              </p:cNvSpPr>
              <p:nvPr/>
            </p:nvSpPr>
            <p:spPr bwMode="auto">
              <a:xfrm>
                <a:off x="2806936" y="1682676"/>
                <a:ext cx="142928" cy="1205749"/>
              </a:xfrm>
              <a:custGeom>
                <a:avLst/>
                <a:gdLst/>
                <a:ahLst/>
                <a:cxnLst>
                  <a:cxn ang="0">
                    <a:pos x="172" y="1278"/>
                  </a:cxn>
                  <a:cxn ang="0">
                    <a:pos x="172" y="1365"/>
                  </a:cxn>
                  <a:cxn ang="0">
                    <a:pos x="85" y="1365"/>
                  </a:cxn>
                  <a:cxn ang="0">
                    <a:pos x="85" y="1451"/>
                  </a:cxn>
                  <a:cxn ang="0">
                    <a:pos x="0" y="1451"/>
                  </a:cxn>
                  <a:cxn ang="0">
                    <a:pos x="0" y="0"/>
                  </a:cxn>
                  <a:cxn ang="0">
                    <a:pos x="85" y="0"/>
                  </a:cxn>
                  <a:cxn ang="0">
                    <a:pos x="85" y="85"/>
                  </a:cxn>
                  <a:cxn ang="0">
                    <a:pos x="172" y="85"/>
                  </a:cxn>
                  <a:cxn ang="0">
                    <a:pos x="172" y="170"/>
                  </a:cxn>
                  <a:cxn ang="0">
                    <a:pos x="85" y="170"/>
                  </a:cxn>
                  <a:cxn ang="0">
                    <a:pos x="85" y="1278"/>
                  </a:cxn>
                  <a:cxn ang="0">
                    <a:pos x="172" y="1278"/>
                  </a:cxn>
                </a:cxnLst>
                <a:rect l="0" t="0" r="r" b="b"/>
                <a:pathLst>
                  <a:path w="172" h="1451">
                    <a:moveTo>
                      <a:pt x="172" y="1278"/>
                    </a:moveTo>
                    <a:lnTo>
                      <a:pt x="172" y="1365"/>
                    </a:lnTo>
                    <a:lnTo>
                      <a:pt x="85" y="1365"/>
                    </a:lnTo>
                    <a:lnTo>
                      <a:pt x="85" y="1451"/>
                    </a:lnTo>
                    <a:lnTo>
                      <a:pt x="0" y="1451"/>
                    </a:lnTo>
                    <a:lnTo>
                      <a:pt x="0" y="0"/>
                    </a:lnTo>
                    <a:lnTo>
                      <a:pt x="85" y="0"/>
                    </a:lnTo>
                    <a:lnTo>
                      <a:pt x="85" y="85"/>
                    </a:lnTo>
                    <a:lnTo>
                      <a:pt x="172" y="85"/>
                    </a:lnTo>
                    <a:lnTo>
                      <a:pt x="172" y="170"/>
                    </a:lnTo>
                    <a:lnTo>
                      <a:pt x="85" y="170"/>
                    </a:lnTo>
                    <a:lnTo>
                      <a:pt x="85" y="1278"/>
                    </a:lnTo>
                    <a:lnTo>
                      <a:pt x="172" y="1278"/>
                    </a:lnTo>
                    <a:close/>
                  </a:path>
                </a:pathLst>
              </a:custGeom>
              <a:solidFill>
                <a:schemeClr val="bg1">
                  <a:lumMod val="50000"/>
                </a:schemeClr>
              </a:solidFill>
              <a:ln w="9525">
                <a:noFill/>
                <a:round/>
                <a:headEnd/>
                <a:tailEnd/>
              </a:ln>
            </p:spPr>
            <p:txBody>
              <a:bodyPr/>
              <a:lstStyle/>
              <a:p>
                <a:pPr>
                  <a:defRPr/>
                </a:pPr>
                <a:endParaRPr lang="de-DE" dirty="0"/>
              </a:p>
            </p:txBody>
          </p:sp>
        </p:grpSp>
      </p:grpSp>
      <p:sp>
        <p:nvSpPr>
          <p:cNvPr id="67"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7</a:t>
            </a:r>
            <a:endParaRPr lang="de-DE" sz="900" dirty="0">
              <a:solidFill>
                <a:schemeClr val="bg1">
                  <a:lumMod val="50000"/>
                </a:schemeClr>
              </a:solidFill>
            </a:endParaRPr>
          </a:p>
        </p:txBody>
      </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 name="Picture 2"/>
          <p:cNvPicPr>
            <a:picLocks noChangeAspect="1" noChangeArrowheads="1"/>
          </p:cNvPicPr>
          <p:nvPr/>
        </p:nvPicPr>
        <p:blipFill>
          <a:blip r:embed="rId35"/>
          <a:srcRect/>
          <a:stretch>
            <a:fillRect/>
          </a:stretch>
        </p:blipFill>
        <p:spPr bwMode="auto">
          <a:xfrm>
            <a:off x="-6350" y="3054350"/>
            <a:ext cx="9156700" cy="3359150"/>
          </a:xfrm>
          <a:prstGeom prst="rect">
            <a:avLst/>
          </a:prstGeom>
          <a:noFill/>
          <a:ln w="9525">
            <a:noFill/>
            <a:miter lim="800000"/>
            <a:headEnd/>
            <a:tailEnd/>
          </a:ln>
          <a:effectLst/>
        </p:spPr>
      </p:pic>
      <p:sp>
        <p:nvSpPr>
          <p:cNvPr id="27651" name="Titel 7"/>
          <p:cNvSpPr>
            <a:spLocks noGrp="1"/>
          </p:cNvSpPr>
          <p:nvPr>
            <p:ph type="title"/>
          </p:nvPr>
        </p:nvSpPr>
        <p:spPr bwMode="auto">
          <a:xfrm>
            <a:off x="131763" y="274638"/>
            <a:ext cx="9015412" cy="461962"/>
          </a:xfrm>
          <a:noFill/>
          <a:ln>
            <a:miter lim="800000"/>
            <a:headEnd/>
            <a:tailEnd/>
          </a:ln>
        </p:spPr>
        <p:txBody>
          <a:bodyPr vert="horz" wrap="square" lIns="91440" tIns="45720" rIns="91440" bIns="45720" numCol="1" anchor="t" anchorCtr="0" compatLnSpc="1">
            <a:prstTxWarp prst="textNoShape">
              <a:avLst/>
            </a:prstTxWarp>
          </a:bodyPr>
          <a:lstStyle/>
          <a:p>
            <a:r>
              <a:rPr lang="de-DE" dirty="0" smtClean="0"/>
              <a:t>Karte gruppieren</a:t>
            </a:r>
          </a:p>
        </p:txBody>
      </p:sp>
      <p:grpSp>
        <p:nvGrpSpPr>
          <p:cNvPr id="3" name="Gruppieren 73"/>
          <p:cNvGrpSpPr/>
          <p:nvPr/>
        </p:nvGrpSpPr>
        <p:grpSpPr>
          <a:xfrm>
            <a:off x="204899" y="1440498"/>
            <a:ext cx="347663" cy="338138"/>
            <a:chOff x="203518" y="4378643"/>
            <a:chExt cx="347663" cy="338138"/>
          </a:xfrm>
        </p:grpSpPr>
        <p:pic>
          <p:nvPicPr>
            <p:cNvPr id="155" name="Grafik 154" descr="schatten.png"/>
            <p:cNvPicPr>
              <a:picLocks noChangeAspect="1"/>
            </p:cNvPicPr>
            <p:nvPr/>
          </p:nvPicPr>
          <p:blipFill>
            <a:blip r:embed="rId36" cstate="print">
              <a:lum bright="30000"/>
            </a:blip>
            <a:srcRect l="17603" t="9404" r="15359" b="14528"/>
            <a:stretch>
              <a:fillRect/>
            </a:stretch>
          </p:blipFill>
          <p:spPr>
            <a:xfrm>
              <a:off x="203518" y="4378643"/>
              <a:ext cx="347663" cy="338138"/>
            </a:xfrm>
            <a:prstGeom prst="rect">
              <a:avLst/>
            </a:prstGeom>
          </p:spPr>
        </p:pic>
        <p:sp>
          <p:nvSpPr>
            <p:cNvPr id="156"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98" name="Rechteck 97">
            <a:hlinkClick r:id="rId37"/>
          </p:cNvPr>
          <p:cNvSpPr/>
          <p:nvPr/>
        </p:nvSpPr>
        <p:spPr>
          <a:xfrm>
            <a:off x="6648450" y="6296025"/>
            <a:ext cx="2495550" cy="56197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7</a:t>
            </a:r>
            <a:endParaRPr lang="de-DE" sz="900" dirty="0">
              <a:solidFill>
                <a:schemeClr val="bg1">
                  <a:lumMod val="50000"/>
                </a:schemeClr>
              </a:solidFill>
            </a:endParaRPr>
          </a:p>
        </p:txBody>
      </p:sp>
      <p:grpSp>
        <p:nvGrpSpPr>
          <p:cNvPr id="6" name="Gruppieren 77"/>
          <p:cNvGrpSpPr/>
          <p:nvPr/>
        </p:nvGrpSpPr>
        <p:grpSpPr>
          <a:xfrm>
            <a:off x="211756" y="5538253"/>
            <a:ext cx="347663" cy="338138"/>
            <a:chOff x="203518" y="4966018"/>
            <a:chExt cx="347663" cy="338138"/>
          </a:xfrm>
        </p:grpSpPr>
        <p:pic>
          <p:nvPicPr>
            <p:cNvPr id="210" name="Grafik 209" descr="schatten.png"/>
            <p:cNvPicPr>
              <a:picLocks noChangeAspect="1"/>
            </p:cNvPicPr>
            <p:nvPr/>
          </p:nvPicPr>
          <p:blipFill>
            <a:blip r:embed="rId36" cstate="print">
              <a:lum bright="30000"/>
            </a:blip>
            <a:srcRect l="17603" t="9404" r="15359" b="14528"/>
            <a:stretch>
              <a:fillRect/>
            </a:stretch>
          </p:blipFill>
          <p:spPr>
            <a:xfrm>
              <a:off x="203518" y="4966018"/>
              <a:ext cx="347663" cy="338138"/>
            </a:xfrm>
            <a:prstGeom prst="rect">
              <a:avLst/>
            </a:prstGeom>
          </p:spPr>
        </p:pic>
        <p:sp>
          <p:nvSpPr>
            <p:cNvPr id="211"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212"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Wählen Sie die Objekt aus, welche Sie Gruppieren möchten. </a:t>
            </a:r>
            <a:endParaRPr lang="de-DE" sz="1200" dirty="0">
              <a:latin typeface="Myriad Pro" pitchFamily="34" charset="0"/>
              <a:ea typeface="Arial Unicode MS" pitchFamily="34" charset="-128"/>
              <a:cs typeface="Arial" charset="0"/>
            </a:endParaRPr>
          </a:p>
        </p:txBody>
      </p:sp>
      <p:sp>
        <p:nvSpPr>
          <p:cNvPr id="213" name="Rectangle 5"/>
          <p:cNvSpPr>
            <a:spLocks noChangeArrowheads="1"/>
          </p:cNvSpPr>
          <p:nvPr/>
        </p:nvSpPr>
        <p:spPr bwMode="gray">
          <a:xfrm>
            <a:off x="639763" y="5538253"/>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Anschließend klicken Sie auf die Rechte Maustaste und wählen die Funktion „Gruppieren“ aus.</a:t>
            </a:r>
            <a:endParaRPr lang="de-DE" sz="1200" dirty="0">
              <a:solidFill>
                <a:srgbClr val="000000"/>
              </a:solidFill>
              <a:ea typeface="Arial Unicode MS" pitchFamily="34" charset="-128"/>
              <a:cs typeface="Arial" charset="0"/>
            </a:endParaRPr>
          </a:p>
        </p:txBody>
      </p:sp>
      <p:grpSp>
        <p:nvGrpSpPr>
          <p:cNvPr id="7" name="Gruppieren 73"/>
          <p:cNvGrpSpPr/>
          <p:nvPr/>
        </p:nvGrpSpPr>
        <p:grpSpPr>
          <a:xfrm>
            <a:off x="211756" y="4979777"/>
            <a:ext cx="347663" cy="338138"/>
            <a:chOff x="203518" y="4378643"/>
            <a:chExt cx="347663" cy="338138"/>
          </a:xfrm>
        </p:grpSpPr>
        <p:pic>
          <p:nvPicPr>
            <p:cNvPr id="215" name="Grafik 214" descr="schatten.png"/>
            <p:cNvPicPr>
              <a:picLocks noChangeAspect="1"/>
            </p:cNvPicPr>
            <p:nvPr/>
          </p:nvPicPr>
          <p:blipFill>
            <a:blip r:embed="rId36" cstate="print">
              <a:lum bright="30000"/>
            </a:blip>
            <a:srcRect l="17603" t="9404" r="15359" b="14528"/>
            <a:stretch>
              <a:fillRect/>
            </a:stretch>
          </p:blipFill>
          <p:spPr>
            <a:xfrm>
              <a:off x="203518" y="4378643"/>
              <a:ext cx="347663" cy="338138"/>
            </a:xfrm>
            <a:prstGeom prst="rect">
              <a:avLst/>
            </a:prstGeom>
          </p:spPr>
        </p:pic>
        <p:sp>
          <p:nvSpPr>
            <p:cNvPr id="228"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216" name="Gruppieren 215"/>
          <p:cNvGrpSpPr/>
          <p:nvPr/>
        </p:nvGrpSpPr>
        <p:grpSpPr>
          <a:xfrm>
            <a:off x="5740530" y="555859"/>
            <a:ext cx="2949496" cy="4004480"/>
            <a:chOff x="5476875" y="360597"/>
            <a:chExt cx="2949496" cy="4004480"/>
          </a:xfrm>
        </p:grpSpPr>
        <p:sp>
          <p:nvSpPr>
            <p:cNvPr id="217" name="Rechteck 216"/>
            <p:cNvSpPr/>
            <p:nvPr/>
          </p:nvSpPr>
          <p:spPr>
            <a:xfrm>
              <a:off x="5521568" y="581257"/>
              <a:ext cx="2873132" cy="3754999"/>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8" name="Rechteck 217"/>
            <p:cNvSpPr/>
            <p:nvPr/>
          </p:nvSpPr>
          <p:spPr>
            <a:xfrm>
              <a:off x="5491275" y="2423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9" name="Rechteck 218"/>
            <p:cNvSpPr/>
            <p:nvPr/>
          </p:nvSpPr>
          <p:spPr>
            <a:xfrm>
              <a:off x="6921023" y="430387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0" name="Ellipse 219"/>
            <p:cNvSpPr/>
            <p:nvPr/>
          </p:nvSpPr>
          <p:spPr>
            <a:xfrm>
              <a:off x="8350771" y="542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1" name="Ellipse 220"/>
            <p:cNvSpPr/>
            <p:nvPr/>
          </p:nvSpPr>
          <p:spPr>
            <a:xfrm>
              <a:off x="5476875"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2" name="Rechteck 221"/>
            <p:cNvSpPr/>
            <p:nvPr/>
          </p:nvSpPr>
          <p:spPr>
            <a:xfrm>
              <a:off x="8365171" y="2423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3" name="Ellipse 222"/>
            <p:cNvSpPr/>
            <p:nvPr/>
          </p:nvSpPr>
          <p:spPr>
            <a:xfrm>
              <a:off x="8350771"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24" name="Gruppieren 139"/>
            <p:cNvGrpSpPr/>
            <p:nvPr/>
          </p:nvGrpSpPr>
          <p:grpSpPr>
            <a:xfrm>
              <a:off x="6913823" y="360597"/>
              <a:ext cx="75600" cy="257824"/>
              <a:chOff x="5656766" y="771104"/>
              <a:chExt cx="75600" cy="257824"/>
            </a:xfrm>
          </p:grpSpPr>
          <p:sp>
            <p:nvSpPr>
              <p:cNvPr id="226" name="Ellipse 225"/>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227" name="Rechteck 226"/>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29" name="Gerade Verbindung 228"/>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225" name="Ellipse 224"/>
            <p:cNvSpPr/>
            <p:nvPr/>
          </p:nvSpPr>
          <p:spPr>
            <a:xfrm>
              <a:off x="5476875" y="542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31" name="Gruppieren 330"/>
          <p:cNvGrpSpPr/>
          <p:nvPr/>
        </p:nvGrpSpPr>
        <p:grpSpPr>
          <a:xfrm>
            <a:off x="1254848" y="566370"/>
            <a:ext cx="1107254" cy="1110862"/>
            <a:chOff x="1254848" y="566370"/>
            <a:chExt cx="1107254" cy="1110862"/>
          </a:xfrm>
        </p:grpSpPr>
        <p:sp>
          <p:nvSpPr>
            <p:cNvPr id="319" name="Rechteck 318"/>
            <p:cNvSpPr/>
            <p:nvPr/>
          </p:nvSpPr>
          <p:spPr>
            <a:xfrm>
              <a:off x="1293019" y="792180"/>
              <a:ext cx="1031081" cy="86201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20" name="Rechteck 319"/>
            <p:cNvSpPr/>
            <p:nvPr/>
          </p:nvSpPr>
          <p:spPr>
            <a:xfrm>
              <a:off x="1269248" y="119056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1" name="Rechteck 320"/>
            <p:cNvSpPr/>
            <p:nvPr/>
          </p:nvSpPr>
          <p:spPr>
            <a:xfrm>
              <a:off x="1777875" y="161603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2" name="Ellipse 321"/>
            <p:cNvSpPr/>
            <p:nvPr/>
          </p:nvSpPr>
          <p:spPr>
            <a:xfrm>
              <a:off x="2286502" y="76510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3" name="Ellipse 322"/>
            <p:cNvSpPr/>
            <p:nvPr/>
          </p:nvSpPr>
          <p:spPr>
            <a:xfrm>
              <a:off x="1254848" y="160163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4" name="Rechteck 323"/>
            <p:cNvSpPr/>
            <p:nvPr/>
          </p:nvSpPr>
          <p:spPr>
            <a:xfrm>
              <a:off x="2286502" y="119056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5" name="Ellipse 324"/>
            <p:cNvSpPr/>
            <p:nvPr/>
          </p:nvSpPr>
          <p:spPr>
            <a:xfrm>
              <a:off x="2286502" y="160163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6" name="Ellipse 325"/>
            <p:cNvSpPr/>
            <p:nvPr/>
          </p:nvSpPr>
          <p:spPr>
            <a:xfrm>
              <a:off x="1254848" y="76510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27" name="Gruppieren 139"/>
            <p:cNvGrpSpPr/>
            <p:nvPr/>
          </p:nvGrpSpPr>
          <p:grpSpPr>
            <a:xfrm>
              <a:off x="1770675" y="566370"/>
              <a:ext cx="75600" cy="257824"/>
              <a:chOff x="5656766" y="771104"/>
              <a:chExt cx="75600" cy="257824"/>
            </a:xfrm>
          </p:grpSpPr>
          <p:sp>
            <p:nvSpPr>
              <p:cNvPr id="328" name="Ellipse 327"/>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29" name="Rechteck 328"/>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30" name="Gerade Verbindung 329"/>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503" name="Gruppieren 73"/>
          <p:cNvGrpSpPr/>
          <p:nvPr/>
        </p:nvGrpSpPr>
        <p:grpSpPr>
          <a:xfrm>
            <a:off x="3516748" y="1440498"/>
            <a:ext cx="347663" cy="338138"/>
            <a:chOff x="203518" y="4378643"/>
            <a:chExt cx="347663" cy="338138"/>
          </a:xfrm>
        </p:grpSpPr>
        <p:pic>
          <p:nvPicPr>
            <p:cNvPr id="504" name="Grafik 503" descr="schatten.png"/>
            <p:cNvPicPr>
              <a:picLocks noChangeAspect="1"/>
            </p:cNvPicPr>
            <p:nvPr/>
          </p:nvPicPr>
          <p:blipFill>
            <a:blip r:embed="rId36" cstate="print">
              <a:lum bright="30000"/>
            </a:blip>
            <a:srcRect l="17603" t="9404" r="15359" b="14528"/>
            <a:stretch>
              <a:fillRect/>
            </a:stretch>
          </p:blipFill>
          <p:spPr>
            <a:xfrm>
              <a:off x="203518" y="4378643"/>
              <a:ext cx="347663" cy="338138"/>
            </a:xfrm>
            <a:prstGeom prst="rect">
              <a:avLst/>
            </a:prstGeom>
          </p:spPr>
        </p:pic>
        <p:sp>
          <p:nvSpPr>
            <p:cNvPr id="505"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grpSp>
        <p:nvGrpSpPr>
          <p:cNvPr id="506" name="Gruppieren 73"/>
          <p:cNvGrpSpPr/>
          <p:nvPr/>
        </p:nvGrpSpPr>
        <p:grpSpPr>
          <a:xfrm>
            <a:off x="5369083" y="1440498"/>
            <a:ext cx="347663" cy="338138"/>
            <a:chOff x="203518" y="4378643"/>
            <a:chExt cx="347663" cy="338138"/>
          </a:xfrm>
        </p:grpSpPr>
        <p:pic>
          <p:nvPicPr>
            <p:cNvPr id="507" name="Grafik 506" descr="schatten.png"/>
            <p:cNvPicPr>
              <a:picLocks noChangeAspect="1"/>
            </p:cNvPicPr>
            <p:nvPr/>
          </p:nvPicPr>
          <p:blipFill>
            <a:blip r:embed="rId36" cstate="print">
              <a:lum bright="30000"/>
            </a:blip>
            <a:srcRect l="17603" t="9404" r="15359" b="14528"/>
            <a:stretch>
              <a:fillRect/>
            </a:stretch>
          </p:blipFill>
          <p:spPr>
            <a:xfrm>
              <a:off x="203518" y="4378643"/>
              <a:ext cx="347663" cy="338138"/>
            </a:xfrm>
            <a:prstGeom prst="rect">
              <a:avLst/>
            </a:prstGeom>
          </p:spPr>
        </p:pic>
        <p:sp>
          <p:nvSpPr>
            <p:cNvPr id="508"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364" name="Group 363"/>
          <p:cNvGrpSpPr/>
          <p:nvPr/>
        </p:nvGrpSpPr>
        <p:grpSpPr>
          <a:xfrm>
            <a:off x="585673" y="822244"/>
            <a:ext cx="7942724" cy="4124223"/>
            <a:chOff x="585673" y="822244"/>
            <a:chExt cx="7942724" cy="4124223"/>
          </a:xfrm>
        </p:grpSpPr>
        <p:grpSp>
          <p:nvGrpSpPr>
            <p:cNvPr id="142" name="Group 19"/>
            <p:cNvGrpSpPr>
              <a:grpSpLocks/>
            </p:cNvGrpSpPr>
            <p:nvPr/>
          </p:nvGrpSpPr>
          <p:grpSpPr bwMode="auto">
            <a:xfrm>
              <a:off x="685800" y="822244"/>
              <a:ext cx="2678442" cy="3626574"/>
              <a:chOff x="670" y="640"/>
              <a:chExt cx="2195" cy="2972"/>
            </a:xfrm>
          </p:grpSpPr>
          <p:sp>
            <p:nvSpPr>
              <p:cNvPr id="143" name="Freeform 20"/>
              <p:cNvSpPr>
                <a:spLocks/>
              </p:cNvSpPr>
              <p:nvPr>
                <p:custDataLst>
                  <p:tags r:id="rId17"/>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4" name="Freeform 21"/>
              <p:cNvSpPr>
                <a:spLocks/>
              </p:cNvSpPr>
              <p:nvPr>
                <p:custDataLst>
                  <p:tags r:id="rId18"/>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5" name="Freeform 22"/>
              <p:cNvSpPr>
                <a:spLocks/>
              </p:cNvSpPr>
              <p:nvPr>
                <p:custDataLst>
                  <p:tags r:id="rId19"/>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6" name="Freeform 23"/>
              <p:cNvSpPr>
                <a:spLocks/>
              </p:cNvSpPr>
              <p:nvPr>
                <p:custDataLst>
                  <p:tags r:id="rId20"/>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7" name="Freeform 24"/>
              <p:cNvSpPr>
                <a:spLocks noEditPoints="1"/>
              </p:cNvSpPr>
              <p:nvPr>
                <p:custDataLst>
                  <p:tags r:id="rId21"/>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8" name="Freeform 25"/>
              <p:cNvSpPr>
                <a:spLocks/>
              </p:cNvSpPr>
              <p:nvPr>
                <p:custDataLst>
                  <p:tags r:id="rId22"/>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9" name="Freeform 26"/>
              <p:cNvSpPr>
                <a:spLocks/>
              </p:cNvSpPr>
              <p:nvPr>
                <p:custDataLst>
                  <p:tags r:id="rId23"/>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0" name="Freeform 27"/>
              <p:cNvSpPr>
                <a:spLocks/>
              </p:cNvSpPr>
              <p:nvPr>
                <p:custDataLst>
                  <p:tags r:id="rId24"/>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1" name="Freeform 28"/>
              <p:cNvSpPr>
                <a:spLocks/>
              </p:cNvSpPr>
              <p:nvPr>
                <p:custDataLst>
                  <p:tags r:id="rId25"/>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4" name="Freeform 29"/>
              <p:cNvSpPr>
                <a:spLocks/>
              </p:cNvSpPr>
              <p:nvPr>
                <p:custDataLst>
                  <p:tags r:id="rId26"/>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7" name="Freeform 30"/>
              <p:cNvSpPr>
                <a:spLocks noEditPoints="1"/>
              </p:cNvSpPr>
              <p:nvPr>
                <p:custDataLst>
                  <p:tags r:id="rId27"/>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8" name="Freeform 31"/>
              <p:cNvSpPr>
                <a:spLocks noEditPoints="1"/>
              </p:cNvSpPr>
              <p:nvPr>
                <p:custDataLst>
                  <p:tags r:id="rId28"/>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9" name="Freeform 32"/>
              <p:cNvSpPr>
                <a:spLocks/>
              </p:cNvSpPr>
              <p:nvPr>
                <p:custDataLst>
                  <p:tags r:id="rId29"/>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60" name="Freeform 33"/>
              <p:cNvSpPr>
                <a:spLocks noEditPoints="1"/>
              </p:cNvSpPr>
              <p:nvPr>
                <p:custDataLst>
                  <p:tags r:id="rId30"/>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61" name="Freeform 34"/>
              <p:cNvSpPr>
                <a:spLocks noEditPoints="1"/>
              </p:cNvSpPr>
              <p:nvPr>
                <p:custDataLst>
                  <p:tags r:id="rId31"/>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62" name="Freeform 35"/>
              <p:cNvSpPr>
                <a:spLocks noEditPoints="1"/>
              </p:cNvSpPr>
              <p:nvPr>
                <p:custDataLst>
                  <p:tags r:id="rId32"/>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176" name="Group 19"/>
            <p:cNvGrpSpPr>
              <a:grpSpLocks/>
            </p:cNvGrpSpPr>
            <p:nvPr/>
          </p:nvGrpSpPr>
          <p:grpSpPr bwMode="auto">
            <a:xfrm>
              <a:off x="5849955" y="822244"/>
              <a:ext cx="2678442" cy="3626574"/>
              <a:chOff x="670" y="640"/>
              <a:chExt cx="2195" cy="2972"/>
            </a:xfrm>
          </p:grpSpPr>
          <p:sp>
            <p:nvSpPr>
              <p:cNvPr id="177"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78"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79"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80"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81"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82"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83"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84"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97"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4"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5"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6"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7"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8"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9"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14"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245" name="Gruppieren 244"/>
            <p:cNvGrpSpPr/>
            <p:nvPr/>
          </p:nvGrpSpPr>
          <p:grpSpPr>
            <a:xfrm>
              <a:off x="863328" y="1073582"/>
              <a:ext cx="1600121" cy="1602170"/>
              <a:chOff x="863328" y="1073582"/>
              <a:chExt cx="1600121" cy="1602170"/>
            </a:xfrm>
          </p:grpSpPr>
          <p:sp>
            <p:nvSpPr>
              <p:cNvPr id="233" name="Rechteck 232"/>
              <p:cNvSpPr/>
              <p:nvPr/>
            </p:nvSpPr>
            <p:spPr>
              <a:xfrm>
                <a:off x="895349" y="1307603"/>
                <a:ext cx="1531425" cy="1333997"/>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4" name="Rechteck 233"/>
              <p:cNvSpPr/>
              <p:nvPr/>
            </p:nvSpPr>
            <p:spPr>
              <a:xfrm>
                <a:off x="877728" y="1943434"/>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5" name="Rechteck 234"/>
              <p:cNvSpPr/>
              <p:nvPr/>
            </p:nvSpPr>
            <p:spPr>
              <a:xfrm>
                <a:off x="1632788" y="261455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6" name="Ellipse 235"/>
              <p:cNvSpPr/>
              <p:nvPr/>
            </p:nvSpPr>
            <p:spPr>
              <a:xfrm>
                <a:off x="2387849" y="1272316"/>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7" name="Ellipse 236"/>
              <p:cNvSpPr/>
              <p:nvPr/>
            </p:nvSpPr>
            <p:spPr>
              <a:xfrm>
                <a:off x="863328" y="260015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8" name="Rechteck 237"/>
              <p:cNvSpPr/>
              <p:nvPr/>
            </p:nvSpPr>
            <p:spPr>
              <a:xfrm>
                <a:off x="2387849" y="1943434"/>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9" name="Ellipse 238"/>
              <p:cNvSpPr/>
              <p:nvPr/>
            </p:nvSpPr>
            <p:spPr>
              <a:xfrm>
                <a:off x="2387849" y="260015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0" name="Ellipse 239"/>
              <p:cNvSpPr/>
              <p:nvPr/>
            </p:nvSpPr>
            <p:spPr>
              <a:xfrm>
                <a:off x="863328" y="1272316"/>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1" name="Gruppieren 139"/>
              <p:cNvGrpSpPr/>
              <p:nvPr/>
            </p:nvGrpSpPr>
            <p:grpSpPr>
              <a:xfrm>
                <a:off x="1625588" y="1073582"/>
                <a:ext cx="75600" cy="257824"/>
                <a:chOff x="5656766" y="771104"/>
                <a:chExt cx="75600" cy="257824"/>
              </a:xfrm>
            </p:grpSpPr>
            <p:sp>
              <p:nvSpPr>
                <p:cNvPr id="242" name="Ellipse 241"/>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243" name="Rechteck 242"/>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44" name="Gerade Verbindung 243"/>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231" name="Gruppieren 230"/>
            <p:cNvGrpSpPr/>
            <p:nvPr/>
          </p:nvGrpSpPr>
          <p:grpSpPr>
            <a:xfrm>
              <a:off x="1499235" y="2615543"/>
              <a:ext cx="1692196" cy="2002220"/>
              <a:chOff x="1499235" y="2615543"/>
              <a:chExt cx="1692196" cy="2002220"/>
            </a:xfrm>
          </p:grpSpPr>
          <p:sp>
            <p:nvSpPr>
              <p:cNvPr id="164" name="Rechteck 163"/>
              <p:cNvSpPr/>
              <p:nvPr/>
            </p:nvSpPr>
            <p:spPr>
              <a:xfrm>
                <a:off x="1537335" y="2852739"/>
                <a:ext cx="1611072" cy="1733824"/>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5" name="Rechteck 164"/>
              <p:cNvSpPr/>
              <p:nvPr/>
            </p:nvSpPr>
            <p:spPr>
              <a:xfrm>
                <a:off x="1513635" y="375717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6" name="Rechteck 165"/>
              <p:cNvSpPr/>
              <p:nvPr/>
            </p:nvSpPr>
            <p:spPr>
              <a:xfrm>
                <a:off x="2314733" y="455656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Ellipse 166"/>
              <p:cNvSpPr/>
              <p:nvPr/>
            </p:nvSpPr>
            <p:spPr>
              <a:xfrm>
                <a:off x="3115831" y="28206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8" name="Ellipse 167"/>
              <p:cNvSpPr/>
              <p:nvPr/>
            </p:nvSpPr>
            <p:spPr>
              <a:xfrm>
                <a:off x="1499235" y="454216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9" name="Rechteck 168"/>
              <p:cNvSpPr/>
              <p:nvPr/>
            </p:nvSpPr>
            <p:spPr>
              <a:xfrm>
                <a:off x="3115831" y="375717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0" name="Ellipse 169"/>
              <p:cNvSpPr/>
              <p:nvPr/>
            </p:nvSpPr>
            <p:spPr>
              <a:xfrm>
                <a:off x="3115831" y="454216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Ellipse 171"/>
              <p:cNvSpPr/>
              <p:nvPr/>
            </p:nvSpPr>
            <p:spPr>
              <a:xfrm>
                <a:off x="1499235" y="28206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71" name="Gruppieren 139"/>
              <p:cNvGrpSpPr/>
              <p:nvPr/>
            </p:nvGrpSpPr>
            <p:grpSpPr>
              <a:xfrm>
                <a:off x="2284673" y="2615543"/>
                <a:ext cx="75600" cy="257824"/>
                <a:chOff x="5656766" y="771104"/>
                <a:chExt cx="75600" cy="257824"/>
              </a:xfrm>
            </p:grpSpPr>
            <p:sp>
              <p:nvSpPr>
                <p:cNvPr id="173" name="Ellipse 172"/>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174" name="Rechteck 173"/>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75" name="Gerade Verbindung 174"/>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289" name="Gruppieren 288"/>
            <p:cNvGrpSpPr/>
            <p:nvPr/>
          </p:nvGrpSpPr>
          <p:grpSpPr>
            <a:xfrm>
              <a:off x="2196827" y="1228340"/>
              <a:ext cx="1197732" cy="1380737"/>
              <a:chOff x="2196827" y="1228340"/>
              <a:chExt cx="1197732" cy="1380737"/>
            </a:xfrm>
          </p:grpSpPr>
          <p:sp>
            <p:nvSpPr>
              <p:cNvPr id="277" name="Rechteck 276"/>
              <p:cNvSpPr/>
              <p:nvPr/>
            </p:nvSpPr>
            <p:spPr>
              <a:xfrm>
                <a:off x="2245519" y="1460003"/>
                <a:ext cx="1121848" cy="1126035"/>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78" name="Rechteck 277"/>
              <p:cNvSpPr/>
              <p:nvPr/>
            </p:nvSpPr>
            <p:spPr>
              <a:xfrm>
                <a:off x="2211227" y="198747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9" name="Rechteck 278"/>
              <p:cNvSpPr/>
              <p:nvPr/>
            </p:nvSpPr>
            <p:spPr>
              <a:xfrm>
                <a:off x="2765093" y="254787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0" name="Ellipse 279"/>
              <p:cNvSpPr/>
              <p:nvPr/>
            </p:nvSpPr>
            <p:spPr>
              <a:xfrm>
                <a:off x="3318959" y="14270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1" name="Ellipse 280"/>
              <p:cNvSpPr/>
              <p:nvPr/>
            </p:nvSpPr>
            <p:spPr>
              <a:xfrm>
                <a:off x="2196827" y="2533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2" name="Rechteck 281"/>
              <p:cNvSpPr/>
              <p:nvPr/>
            </p:nvSpPr>
            <p:spPr>
              <a:xfrm>
                <a:off x="3318959" y="198747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3" name="Ellipse 282"/>
              <p:cNvSpPr/>
              <p:nvPr/>
            </p:nvSpPr>
            <p:spPr>
              <a:xfrm>
                <a:off x="3318959" y="2533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4" name="Ellipse 283"/>
              <p:cNvSpPr/>
              <p:nvPr/>
            </p:nvSpPr>
            <p:spPr>
              <a:xfrm>
                <a:off x="2196827" y="14270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85" name="Gruppieren 139"/>
              <p:cNvGrpSpPr/>
              <p:nvPr/>
            </p:nvGrpSpPr>
            <p:grpSpPr>
              <a:xfrm>
                <a:off x="2757893" y="1228340"/>
                <a:ext cx="75600" cy="257824"/>
                <a:chOff x="5656766" y="771104"/>
                <a:chExt cx="75600" cy="257824"/>
              </a:xfrm>
            </p:grpSpPr>
            <p:sp>
              <p:nvSpPr>
                <p:cNvPr id="286" name="Ellipse 285"/>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287" name="Rechteck 286"/>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88" name="Gerade Verbindung 287"/>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303" name="Gruppieren 302"/>
            <p:cNvGrpSpPr/>
            <p:nvPr/>
          </p:nvGrpSpPr>
          <p:grpSpPr>
            <a:xfrm>
              <a:off x="2680264" y="1640107"/>
              <a:ext cx="385773" cy="538020"/>
              <a:chOff x="2680264" y="1640107"/>
              <a:chExt cx="385773" cy="538020"/>
            </a:xfrm>
          </p:grpSpPr>
          <p:sp>
            <p:nvSpPr>
              <p:cNvPr id="291" name="Rechteck 290"/>
              <p:cNvSpPr/>
              <p:nvPr/>
            </p:nvSpPr>
            <p:spPr>
              <a:xfrm>
                <a:off x="2717005" y="1869579"/>
                <a:ext cx="319367" cy="278310"/>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2" name="Rechteck 291"/>
              <p:cNvSpPr/>
              <p:nvPr/>
            </p:nvSpPr>
            <p:spPr>
              <a:xfrm>
                <a:off x="2694664" y="197439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3" name="Rechteck 292"/>
              <p:cNvSpPr/>
              <p:nvPr/>
            </p:nvSpPr>
            <p:spPr>
              <a:xfrm>
                <a:off x="2842550" y="211205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4" name="Ellipse 293"/>
              <p:cNvSpPr/>
              <p:nvPr/>
            </p:nvSpPr>
            <p:spPr>
              <a:xfrm>
                <a:off x="2990437" y="1831855"/>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5" name="Ellipse 294"/>
              <p:cNvSpPr/>
              <p:nvPr/>
            </p:nvSpPr>
            <p:spPr>
              <a:xfrm>
                <a:off x="2680264" y="21025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6" name="Rechteck 295"/>
              <p:cNvSpPr/>
              <p:nvPr/>
            </p:nvSpPr>
            <p:spPr>
              <a:xfrm>
                <a:off x="2999913" y="197439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7" name="Ellipse 296"/>
              <p:cNvSpPr/>
              <p:nvPr/>
            </p:nvSpPr>
            <p:spPr>
              <a:xfrm>
                <a:off x="2990437" y="21025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8" name="Ellipse 297"/>
              <p:cNvSpPr/>
              <p:nvPr/>
            </p:nvSpPr>
            <p:spPr>
              <a:xfrm>
                <a:off x="2685027" y="1831855"/>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9" name="Gruppieren 139"/>
              <p:cNvGrpSpPr/>
              <p:nvPr/>
            </p:nvGrpSpPr>
            <p:grpSpPr>
              <a:xfrm>
                <a:off x="2837732" y="1640107"/>
                <a:ext cx="75600" cy="257824"/>
                <a:chOff x="5656766" y="771104"/>
                <a:chExt cx="75600" cy="257824"/>
              </a:xfrm>
            </p:grpSpPr>
            <p:sp>
              <p:nvSpPr>
                <p:cNvPr id="300" name="Ellipse 299"/>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01" name="Rechteck 300"/>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02" name="Gerade Verbindung 301"/>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345" name="Gruppieren 344"/>
            <p:cNvGrpSpPr/>
            <p:nvPr/>
          </p:nvGrpSpPr>
          <p:grpSpPr>
            <a:xfrm>
              <a:off x="1716732" y="1190050"/>
              <a:ext cx="400022" cy="493567"/>
              <a:chOff x="1716732" y="1190050"/>
              <a:chExt cx="400022" cy="493567"/>
            </a:xfrm>
          </p:grpSpPr>
          <p:sp>
            <p:nvSpPr>
              <p:cNvPr id="333" name="Rechteck 332"/>
              <p:cNvSpPr/>
              <p:nvPr/>
            </p:nvSpPr>
            <p:spPr>
              <a:xfrm>
                <a:off x="1754981" y="1423212"/>
                <a:ext cx="338153" cy="236520"/>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34" name="Rechteck 333"/>
              <p:cNvSpPr/>
              <p:nvPr/>
            </p:nvSpPr>
            <p:spPr>
              <a:xfrm>
                <a:off x="1721608" y="149772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5" name="Rechteck 334"/>
              <p:cNvSpPr/>
              <p:nvPr/>
            </p:nvSpPr>
            <p:spPr>
              <a:xfrm>
                <a:off x="1886143" y="161765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6" name="Ellipse 335"/>
              <p:cNvSpPr/>
              <p:nvPr/>
            </p:nvSpPr>
            <p:spPr>
              <a:xfrm>
                <a:off x="2041154" y="1386560"/>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7" name="Ellipse 336"/>
              <p:cNvSpPr/>
              <p:nvPr/>
            </p:nvSpPr>
            <p:spPr>
              <a:xfrm>
                <a:off x="1716732" y="137303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8" name="Rechteck 337"/>
              <p:cNvSpPr/>
              <p:nvPr/>
            </p:nvSpPr>
            <p:spPr>
              <a:xfrm>
                <a:off x="2048411" y="150489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9" name="Ellipse 338"/>
              <p:cNvSpPr/>
              <p:nvPr/>
            </p:nvSpPr>
            <p:spPr>
              <a:xfrm>
                <a:off x="2041154" y="160801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0" name="Ellipse 339"/>
              <p:cNvSpPr/>
              <p:nvPr/>
            </p:nvSpPr>
            <p:spPr>
              <a:xfrm>
                <a:off x="1716732" y="160801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41" name="Gruppieren 139"/>
              <p:cNvGrpSpPr/>
              <p:nvPr/>
            </p:nvGrpSpPr>
            <p:grpSpPr>
              <a:xfrm>
                <a:off x="1878943" y="1190050"/>
                <a:ext cx="75600" cy="257824"/>
                <a:chOff x="5656766" y="771104"/>
                <a:chExt cx="75600" cy="257824"/>
              </a:xfrm>
            </p:grpSpPr>
            <p:sp>
              <p:nvSpPr>
                <p:cNvPr id="342" name="Ellipse 341"/>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43" name="Rechteck 342"/>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44" name="Gerade Verbindung 343"/>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359" name="Gruppieren 358"/>
            <p:cNvGrpSpPr/>
            <p:nvPr/>
          </p:nvGrpSpPr>
          <p:grpSpPr>
            <a:xfrm>
              <a:off x="585673" y="1716307"/>
              <a:ext cx="1256515" cy="1347646"/>
              <a:chOff x="585673" y="1716307"/>
              <a:chExt cx="1256515" cy="1347646"/>
            </a:xfrm>
          </p:grpSpPr>
          <p:sp>
            <p:nvSpPr>
              <p:cNvPr id="347" name="Rechteck 346"/>
              <p:cNvSpPr/>
              <p:nvPr/>
            </p:nvSpPr>
            <p:spPr>
              <a:xfrm>
                <a:off x="623888" y="1962150"/>
                <a:ext cx="1185862" cy="1064112"/>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48" name="Rechteck 347"/>
              <p:cNvSpPr/>
              <p:nvPr/>
            </p:nvSpPr>
            <p:spPr>
              <a:xfrm>
                <a:off x="585673" y="245268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9" name="Rechteck 348"/>
              <p:cNvSpPr/>
              <p:nvPr/>
            </p:nvSpPr>
            <p:spPr>
              <a:xfrm>
                <a:off x="1168986" y="298835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0" name="Ellipse 349"/>
              <p:cNvSpPr/>
              <p:nvPr/>
            </p:nvSpPr>
            <p:spPr>
              <a:xfrm>
                <a:off x="1766588" y="191758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1" name="Ellipse 350"/>
              <p:cNvSpPr/>
              <p:nvPr/>
            </p:nvSpPr>
            <p:spPr>
              <a:xfrm>
                <a:off x="585673" y="29808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2" name="Rechteck 351"/>
              <p:cNvSpPr/>
              <p:nvPr/>
            </p:nvSpPr>
            <p:spPr>
              <a:xfrm>
                <a:off x="1780988" y="246016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3" name="Ellipse 352"/>
              <p:cNvSpPr/>
              <p:nvPr/>
            </p:nvSpPr>
            <p:spPr>
              <a:xfrm>
                <a:off x="1766588" y="298835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4" name="Ellipse 353"/>
              <p:cNvSpPr/>
              <p:nvPr/>
            </p:nvSpPr>
            <p:spPr>
              <a:xfrm>
                <a:off x="585673" y="19101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55" name="Gruppieren 139"/>
              <p:cNvGrpSpPr/>
              <p:nvPr/>
            </p:nvGrpSpPr>
            <p:grpSpPr>
              <a:xfrm>
                <a:off x="1192857" y="1716307"/>
                <a:ext cx="75600" cy="257824"/>
                <a:chOff x="5656766" y="771104"/>
                <a:chExt cx="75600" cy="257824"/>
              </a:xfrm>
            </p:grpSpPr>
            <p:sp>
              <p:nvSpPr>
                <p:cNvPr id="356" name="Ellipse 355"/>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57" name="Rechteck 356"/>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8" name="Gerade Verbindung 357"/>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03" name="Gruppieren 402"/>
            <p:cNvGrpSpPr/>
            <p:nvPr/>
          </p:nvGrpSpPr>
          <p:grpSpPr>
            <a:xfrm>
              <a:off x="646113" y="2440207"/>
              <a:ext cx="885040" cy="1277796"/>
              <a:chOff x="646113" y="2440207"/>
              <a:chExt cx="885040" cy="1277796"/>
            </a:xfrm>
          </p:grpSpPr>
          <p:sp>
            <p:nvSpPr>
              <p:cNvPr id="391" name="Rechteck 390"/>
              <p:cNvSpPr/>
              <p:nvPr/>
            </p:nvSpPr>
            <p:spPr>
              <a:xfrm>
                <a:off x="679450" y="2663824"/>
                <a:ext cx="819265" cy="1016487"/>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92" name="Rechteck 391"/>
              <p:cNvSpPr/>
              <p:nvPr/>
            </p:nvSpPr>
            <p:spPr>
              <a:xfrm>
                <a:off x="646113" y="314325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3" name="Rechteck 392"/>
              <p:cNvSpPr/>
              <p:nvPr/>
            </p:nvSpPr>
            <p:spPr>
              <a:xfrm>
                <a:off x="1058033" y="364240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4" name="Ellipse 393"/>
              <p:cNvSpPr/>
              <p:nvPr/>
            </p:nvSpPr>
            <p:spPr>
              <a:xfrm>
                <a:off x="1455553" y="2644656"/>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5" name="Ellipse 394"/>
              <p:cNvSpPr/>
              <p:nvPr/>
            </p:nvSpPr>
            <p:spPr>
              <a:xfrm>
                <a:off x="646113" y="363492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6" name="Rechteck 395"/>
              <p:cNvSpPr/>
              <p:nvPr/>
            </p:nvSpPr>
            <p:spPr>
              <a:xfrm>
                <a:off x="1469953" y="3150730"/>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7" name="Ellipse 396"/>
              <p:cNvSpPr/>
              <p:nvPr/>
            </p:nvSpPr>
            <p:spPr>
              <a:xfrm>
                <a:off x="1455553" y="364240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8" name="Ellipse 397"/>
              <p:cNvSpPr/>
              <p:nvPr/>
            </p:nvSpPr>
            <p:spPr>
              <a:xfrm>
                <a:off x="646113" y="26371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99" name="Gruppieren 139"/>
              <p:cNvGrpSpPr/>
              <p:nvPr/>
            </p:nvGrpSpPr>
            <p:grpSpPr>
              <a:xfrm>
                <a:off x="1050833" y="2440207"/>
                <a:ext cx="75600" cy="257824"/>
                <a:chOff x="5656766" y="771104"/>
                <a:chExt cx="75600" cy="257824"/>
              </a:xfrm>
            </p:grpSpPr>
            <p:sp>
              <p:nvSpPr>
                <p:cNvPr id="400" name="Ellipse 399"/>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01" name="Rechteck 400"/>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02" name="Gerade Verbindung 401"/>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17" name="Gruppieren 416"/>
            <p:cNvGrpSpPr/>
            <p:nvPr/>
          </p:nvGrpSpPr>
          <p:grpSpPr>
            <a:xfrm>
              <a:off x="719138" y="3037107"/>
              <a:ext cx="459590" cy="611046"/>
              <a:chOff x="719138" y="3037107"/>
              <a:chExt cx="459590" cy="611046"/>
            </a:xfrm>
          </p:grpSpPr>
          <p:sp>
            <p:nvSpPr>
              <p:cNvPr id="405" name="Rechteck 404"/>
              <p:cNvSpPr/>
              <p:nvPr/>
            </p:nvSpPr>
            <p:spPr>
              <a:xfrm>
                <a:off x="752475" y="3273424"/>
                <a:ext cx="384290" cy="342901"/>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6" name="Rechteck 405"/>
              <p:cNvSpPr/>
              <p:nvPr/>
            </p:nvSpPr>
            <p:spPr>
              <a:xfrm>
                <a:off x="719138" y="340360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7" name="Rechteck 406"/>
              <p:cNvSpPr/>
              <p:nvPr/>
            </p:nvSpPr>
            <p:spPr>
              <a:xfrm>
                <a:off x="918333" y="357890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8" name="Ellipse 407"/>
              <p:cNvSpPr/>
              <p:nvPr/>
            </p:nvSpPr>
            <p:spPr>
              <a:xfrm>
                <a:off x="1103128" y="3235206"/>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9" name="Ellipse 408"/>
              <p:cNvSpPr/>
              <p:nvPr/>
            </p:nvSpPr>
            <p:spPr>
              <a:xfrm>
                <a:off x="719138" y="35650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0" name="Rechteck 409"/>
              <p:cNvSpPr/>
              <p:nvPr/>
            </p:nvSpPr>
            <p:spPr>
              <a:xfrm>
                <a:off x="1114353" y="3411080"/>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1" name="Ellipse 410"/>
              <p:cNvSpPr/>
              <p:nvPr/>
            </p:nvSpPr>
            <p:spPr>
              <a:xfrm>
                <a:off x="1103128" y="357255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2" name="Ellipse 411"/>
              <p:cNvSpPr/>
              <p:nvPr/>
            </p:nvSpPr>
            <p:spPr>
              <a:xfrm>
                <a:off x="719138" y="32277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13" name="Gruppieren 139"/>
              <p:cNvGrpSpPr/>
              <p:nvPr/>
            </p:nvGrpSpPr>
            <p:grpSpPr>
              <a:xfrm>
                <a:off x="911133" y="3037107"/>
                <a:ext cx="75600" cy="257824"/>
                <a:chOff x="5656766" y="771104"/>
                <a:chExt cx="75600" cy="257824"/>
              </a:xfrm>
            </p:grpSpPr>
            <p:sp>
              <p:nvSpPr>
                <p:cNvPr id="414" name="Ellipse 413"/>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15" name="Rechteck 414"/>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16" name="Gerade Verbindung 415"/>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31" name="Gruppieren 430"/>
            <p:cNvGrpSpPr/>
            <p:nvPr/>
          </p:nvGrpSpPr>
          <p:grpSpPr>
            <a:xfrm>
              <a:off x="1173163" y="2138582"/>
              <a:ext cx="897740" cy="1407971"/>
              <a:chOff x="1173163" y="2138582"/>
              <a:chExt cx="897740" cy="1407971"/>
            </a:xfrm>
          </p:grpSpPr>
          <p:sp>
            <p:nvSpPr>
              <p:cNvPr id="419" name="Rechteck 418"/>
              <p:cNvSpPr/>
              <p:nvPr/>
            </p:nvSpPr>
            <p:spPr>
              <a:xfrm>
                <a:off x="1212850" y="2374899"/>
                <a:ext cx="816090" cy="1125539"/>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20" name="Rechteck 419"/>
              <p:cNvSpPr/>
              <p:nvPr/>
            </p:nvSpPr>
            <p:spPr>
              <a:xfrm>
                <a:off x="1173163" y="290353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1" name="Rechteck 420"/>
              <p:cNvSpPr/>
              <p:nvPr/>
            </p:nvSpPr>
            <p:spPr>
              <a:xfrm>
                <a:off x="1591433" y="347730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2" name="Ellipse 421"/>
              <p:cNvSpPr/>
              <p:nvPr/>
            </p:nvSpPr>
            <p:spPr>
              <a:xfrm>
                <a:off x="1995303" y="233668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3" name="Ellipse 422"/>
              <p:cNvSpPr/>
              <p:nvPr/>
            </p:nvSpPr>
            <p:spPr>
              <a:xfrm>
                <a:off x="1173163" y="34634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4" name="Rechteck 423"/>
              <p:cNvSpPr/>
              <p:nvPr/>
            </p:nvSpPr>
            <p:spPr>
              <a:xfrm>
                <a:off x="2006528" y="291101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5" name="Ellipse 424"/>
              <p:cNvSpPr/>
              <p:nvPr/>
            </p:nvSpPr>
            <p:spPr>
              <a:xfrm>
                <a:off x="1995303" y="347095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6" name="Ellipse 425"/>
              <p:cNvSpPr/>
              <p:nvPr/>
            </p:nvSpPr>
            <p:spPr>
              <a:xfrm>
                <a:off x="1173163" y="23292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7" name="Gruppieren 139"/>
              <p:cNvGrpSpPr/>
              <p:nvPr/>
            </p:nvGrpSpPr>
            <p:grpSpPr>
              <a:xfrm>
                <a:off x="1584233" y="2138582"/>
                <a:ext cx="75600" cy="257824"/>
                <a:chOff x="5656766" y="771104"/>
                <a:chExt cx="75600" cy="257824"/>
              </a:xfrm>
            </p:grpSpPr>
            <p:sp>
              <p:nvSpPr>
                <p:cNvPr id="428" name="Ellipse 427"/>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29" name="Rechteck 428"/>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30" name="Gerade Verbindung 429"/>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59" name="Gruppieren 458"/>
            <p:cNvGrpSpPr/>
            <p:nvPr/>
          </p:nvGrpSpPr>
          <p:grpSpPr>
            <a:xfrm>
              <a:off x="971590" y="2971143"/>
              <a:ext cx="1149271" cy="1430720"/>
              <a:chOff x="971590" y="2971143"/>
              <a:chExt cx="1149271" cy="1430720"/>
            </a:xfrm>
          </p:grpSpPr>
          <p:sp>
            <p:nvSpPr>
              <p:cNvPr id="447" name="Rechteck 446"/>
              <p:cNvSpPr/>
              <p:nvPr/>
            </p:nvSpPr>
            <p:spPr>
              <a:xfrm>
                <a:off x="1009649" y="3208339"/>
                <a:ext cx="1068187" cy="1154111"/>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48" name="Rechteck 447"/>
              <p:cNvSpPr/>
              <p:nvPr/>
            </p:nvSpPr>
            <p:spPr>
              <a:xfrm>
                <a:off x="985990" y="375844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9" name="Rechteck 448"/>
              <p:cNvSpPr/>
              <p:nvPr/>
            </p:nvSpPr>
            <p:spPr>
              <a:xfrm>
                <a:off x="1515626" y="434066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0" name="Ellipse 449"/>
              <p:cNvSpPr/>
              <p:nvPr/>
            </p:nvSpPr>
            <p:spPr>
              <a:xfrm>
                <a:off x="2045261" y="31762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1" name="Ellipse 450"/>
              <p:cNvSpPr/>
              <p:nvPr/>
            </p:nvSpPr>
            <p:spPr>
              <a:xfrm>
                <a:off x="971590" y="432626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2" name="Rechteck 451"/>
              <p:cNvSpPr/>
              <p:nvPr/>
            </p:nvSpPr>
            <p:spPr>
              <a:xfrm>
                <a:off x="2045261" y="375844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3" name="Ellipse 452"/>
              <p:cNvSpPr/>
              <p:nvPr/>
            </p:nvSpPr>
            <p:spPr>
              <a:xfrm>
                <a:off x="2045261" y="432626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4" name="Ellipse 453"/>
              <p:cNvSpPr/>
              <p:nvPr/>
            </p:nvSpPr>
            <p:spPr>
              <a:xfrm>
                <a:off x="971590" y="31762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55" name="Gruppieren 139"/>
              <p:cNvGrpSpPr/>
              <p:nvPr/>
            </p:nvGrpSpPr>
            <p:grpSpPr>
              <a:xfrm>
                <a:off x="1508426" y="2971143"/>
                <a:ext cx="75600" cy="257824"/>
                <a:chOff x="5656766" y="771104"/>
                <a:chExt cx="75600" cy="257824"/>
              </a:xfrm>
            </p:grpSpPr>
            <p:sp>
              <p:nvSpPr>
                <p:cNvPr id="456" name="Ellipse 455"/>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57" name="Rechteck 456"/>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58" name="Gerade Verbindung 457"/>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73" name="Gruppieren 472"/>
            <p:cNvGrpSpPr/>
            <p:nvPr/>
          </p:nvGrpSpPr>
          <p:grpSpPr>
            <a:xfrm>
              <a:off x="2353989" y="2119701"/>
              <a:ext cx="1097709" cy="1037801"/>
              <a:chOff x="2353989" y="2119701"/>
              <a:chExt cx="1097709" cy="1037801"/>
            </a:xfrm>
          </p:grpSpPr>
          <p:sp>
            <p:nvSpPr>
              <p:cNvPr id="461" name="Rechteck 460"/>
              <p:cNvSpPr/>
              <p:nvPr/>
            </p:nvSpPr>
            <p:spPr>
              <a:xfrm>
                <a:off x="2402681" y="2351364"/>
                <a:ext cx="1021557" cy="777599"/>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62" name="Rechteck 461"/>
              <p:cNvSpPr/>
              <p:nvPr/>
            </p:nvSpPr>
            <p:spPr>
              <a:xfrm>
                <a:off x="2368389" y="270736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Rechteck 462"/>
              <p:cNvSpPr/>
              <p:nvPr/>
            </p:nvSpPr>
            <p:spPr>
              <a:xfrm>
                <a:off x="2872243" y="309630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Ellipse 463"/>
              <p:cNvSpPr/>
              <p:nvPr/>
            </p:nvSpPr>
            <p:spPr>
              <a:xfrm>
                <a:off x="3376098" y="2318435"/>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Ellipse 464"/>
              <p:cNvSpPr/>
              <p:nvPr/>
            </p:nvSpPr>
            <p:spPr>
              <a:xfrm>
                <a:off x="2353989" y="3081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Rechteck 465"/>
              <p:cNvSpPr/>
              <p:nvPr/>
            </p:nvSpPr>
            <p:spPr>
              <a:xfrm>
                <a:off x="3390387" y="270736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Ellipse 466"/>
              <p:cNvSpPr/>
              <p:nvPr/>
            </p:nvSpPr>
            <p:spPr>
              <a:xfrm>
                <a:off x="3376098" y="3081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Ellipse 467"/>
              <p:cNvSpPr/>
              <p:nvPr/>
            </p:nvSpPr>
            <p:spPr>
              <a:xfrm>
                <a:off x="2353989" y="2318435"/>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69" name="Gruppieren 139"/>
              <p:cNvGrpSpPr/>
              <p:nvPr/>
            </p:nvGrpSpPr>
            <p:grpSpPr>
              <a:xfrm>
                <a:off x="2865043" y="2119701"/>
                <a:ext cx="75600" cy="257824"/>
                <a:chOff x="5656766" y="771104"/>
                <a:chExt cx="75600" cy="257824"/>
              </a:xfrm>
            </p:grpSpPr>
            <p:sp>
              <p:nvSpPr>
                <p:cNvPr id="470" name="Ellipse 469"/>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71" name="Rechteck 470"/>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72" name="Gerade Verbindung 471"/>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363" name="Gruppieren 362"/>
            <p:cNvGrpSpPr/>
            <p:nvPr/>
          </p:nvGrpSpPr>
          <p:grpSpPr>
            <a:xfrm>
              <a:off x="1393769" y="1367850"/>
              <a:ext cx="320647" cy="471342"/>
              <a:chOff x="1393769" y="1367850"/>
              <a:chExt cx="320647" cy="471342"/>
            </a:xfrm>
          </p:grpSpPr>
          <p:sp>
            <p:nvSpPr>
              <p:cNvPr id="273" name="Rechteck 272"/>
              <p:cNvSpPr/>
              <p:nvPr/>
            </p:nvSpPr>
            <p:spPr>
              <a:xfrm>
                <a:off x="1425575" y="1590675"/>
                <a:ext cx="252521" cy="224632"/>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74" name="Rechteck 273"/>
              <p:cNvSpPr/>
              <p:nvPr/>
            </p:nvSpPr>
            <p:spPr>
              <a:xfrm>
                <a:off x="1398645" y="166917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5" name="Rechteck 274"/>
              <p:cNvSpPr/>
              <p:nvPr/>
            </p:nvSpPr>
            <p:spPr>
              <a:xfrm>
                <a:off x="1523492" y="1773230"/>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6" name="Ellipse 275"/>
              <p:cNvSpPr/>
              <p:nvPr/>
            </p:nvSpPr>
            <p:spPr>
              <a:xfrm>
                <a:off x="1638816" y="156035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0" name="Ellipse 289"/>
              <p:cNvSpPr/>
              <p:nvPr/>
            </p:nvSpPr>
            <p:spPr>
              <a:xfrm>
                <a:off x="1393769" y="156035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4" name="Rechteck 303"/>
              <p:cNvSpPr/>
              <p:nvPr/>
            </p:nvSpPr>
            <p:spPr>
              <a:xfrm>
                <a:off x="1646073" y="1669174"/>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8" name="Ellipse 317"/>
              <p:cNvSpPr/>
              <p:nvPr/>
            </p:nvSpPr>
            <p:spPr>
              <a:xfrm>
                <a:off x="1638816" y="176359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2" name="Ellipse 331"/>
              <p:cNvSpPr/>
              <p:nvPr/>
            </p:nvSpPr>
            <p:spPr>
              <a:xfrm>
                <a:off x="1393769" y="176359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46" name="Gruppieren 139"/>
              <p:cNvGrpSpPr/>
              <p:nvPr/>
            </p:nvGrpSpPr>
            <p:grpSpPr>
              <a:xfrm>
                <a:off x="1516292" y="1367850"/>
                <a:ext cx="75600" cy="257824"/>
                <a:chOff x="5656766" y="771104"/>
                <a:chExt cx="75600" cy="257824"/>
              </a:xfrm>
            </p:grpSpPr>
            <p:sp>
              <p:nvSpPr>
                <p:cNvPr id="360" name="Ellipse 359"/>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61" name="Rechteck 360"/>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62" name="Gerade Verbindung 361"/>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46" name="Gruppieren 445"/>
            <p:cNvGrpSpPr/>
            <p:nvPr/>
          </p:nvGrpSpPr>
          <p:grpSpPr>
            <a:xfrm>
              <a:off x="1770063" y="2135407"/>
              <a:ext cx="986640" cy="1001571"/>
              <a:chOff x="1770063" y="2135407"/>
              <a:chExt cx="986640" cy="1001571"/>
            </a:xfrm>
          </p:grpSpPr>
          <p:sp>
            <p:nvSpPr>
              <p:cNvPr id="434" name="Rechteck 433"/>
              <p:cNvSpPr/>
              <p:nvPr/>
            </p:nvSpPr>
            <p:spPr>
              <a:xfrm>
                <a:off x="1809750" y="2365375"/>
                <a:ext cx="904990" cy="739775"/>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35" name="Rechteck 434"/>
              <p:cNvSpPr/>
              <p:nvPr/>
            </p:nvSpPr>
            <p:spPr>
              <a:xfrm>
                <a:off x="1770063" y="269716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6" name="Rechteck 435"/>
              <p:cNvSpPr/>
              <p:nvPr/>
            </p:nvSpPr>
            <p:spPr>
              <a:xfrm>
                <a:off x="2232783" y="306772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7" name="Ellipse 436"/>
              <p:cNvSpPr/>
              <p:nvPr/>
            </p:nvSpPr>
            <p:spPr>
              <a:xfrm>
                <a:off x="2681103" y="2333506"/>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8" name="Ellipse 437"/>
              <p:cNvSpPr/>
              <p:nvPr/>
            </p:nvSpPr>
            <p:spPr>
              <a:xfrm>
                <a:off x="1770063" y="30538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9" name="Rechteck 438"/>
              <p:cNvSpPr/>
              <p:nvPr/>
            </p:nvSpPr>
            <p:spPr>
              <a:xfrm>
                <a:off x="2692328" y="270464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0" name="Ellipse 439"/>
              <p:cNvSpPr/>
              <p:nvPr/>
            </p:nvSpPr>
            <p:spPr>
              <a:xfrm>
                <a:off x="2681103" y="3061378"/>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1" name="Ellipse 440"/>
              <p:cNvSpPr/>
              <p:nvPr/>
            </p:nvSpPr>
            <p:spPr>
              <a:xfrm>
                <a:off x="1770063" y="23260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42" name="Gruppieren 139"/>
              <p:cNvGrpSpPr/>
              <p:nvPr/>
            </p:nvGrpSpPr>
            <p:grpSpPr>
              <a:xfrm>
                <a:off x="2225583" y="2135407"/>
                <a:ext cx="75600" cy="257824"/>
                <a:chOff x="5656766" y="771104"/>
                <a:chExt cx="75600" cy="257824"/>
              </a:xfrm>
            </p:grpSpPr>
            <p:sp>
              <p:nvSpPr>
                <p:cNvPr id="443" name="Ellipse 442"/>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44" name="Rechteck 443"/>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45" name="Gerade Verbindung 444"/>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86" name="Gruppieren 485"/>
            <p:cNvGrpSpPr/>
            <p:nvPr/>
          </p:nvGrpSpPr>
          <p:grpSpPr>
            <a:xfrm>
              <a:off x="1985963" y="1497232"/>
              <a:ext cx="923140" cy="1271446"/>
              <a:chOff x="1985963" y="1497232"/>
              <a:chExt cx="923140" cy="1271446"/>
            </a:xfrm>
          </p:grpSpPr>
          <p:sp>
            <p:nvSpPr>
              <p:cNvPr id="474" name="Rechteck 473"/>
              <p:cNvSpPr/>
              <p:nvPr/>
            </p:nvSpPr>
            <p:spPr>
              <a:xfrm>
                <a:off x="2019300" y="1733549"/>
                <a:ext cx="857250" cy="1000126"/>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75" name="Rechteck 474"/>
              <p:cNvSpPr/>
              <p:nvPr/>
            </p:nvSpPr>
            <p:spPr>
              <a:xfrm>
                <a:off x="1985963" y="219392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6" name="Rechteck 475"/>
              <p:cNvSpPr/>
              <p:nvPr/>
            </p:nvSpPr>
            <p:spPr>
              <a:xfrm>
                <a:off x="2416933" y="2690474"/>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7" name="Ellipse 476"/>
              <p:cNvSpPr/>
              <p:nvPr/>
            </p:nvSpPr>
            <p:spPr>
              <a:xfrm>
                <a:off x="2833503" y="169533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8" name="Ellipse 477"/>
              <p:cNvSpPr/>
              <p:nvPr/>
            </p:nvSpPr>
            <p:spPr>
              <a:xfrm>
                <a:off x="1985963" y="26855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9" name="Rechteck 478"/>
              <p:cNvSpPr/>
              <p:nvPr/>
            </p:nvSpPr>
            <p:spPr>
              <a:xfrm>
                <a:off x="2844728" y="220140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0" name="Ellipse 479"/>
              <p:cNvSpPr/>
              <p:nvPr/>
            </p:nvSpPr>
            <p:spPr>
              <a:xfrm>
                <a:off x="2833503" y="2693078"/>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1" name="Ellipse 480"/>
              <p:cNvSpPr/>
              <p:nvPr/>
            </p:nvSpPr>
            <p:spPr>
              <a:xfrm>
                <a:off x="1985963" y="168785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82" name="Gruppieren 139"/>
              <p:cNvGrpSpPr/>
              <p:nvPr/>
            </p:nvGrpSpPr>
            <p:grpSpPr>
              <a:xfrm>
                <a:off x="2409733" y="1497232"/>
                <a:ext cx="75600" cy="257824"/>
                <a:chOff x="5656766" y="771104"/>
                <a:chExt cx="75600" cy="257824"/>
              </a:xfrm>
            </p:grpSpPr>
            <p:sp>
              <p:nvSpPr>
                <p:cNvPr id="483" name="Ellipse 482"/>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84" name="Rechteck 483"/>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85" name="Gerade Verbindung 484"/>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90" name="Group 45"/>
            <p:cNvGrpSpPr>
              <a:grpSpLocks/>
            </p:cNvGrpSpPr>
            <p:nvPr/>
          </p:nvGrpSpPr>
          <p:grpSpPr bwMode="auto">
            <a:xfrm rot="-1312736">
              <a:off x="2678793" y="4336867"/>
              <a:ext cx="374650" cy="609600"/>
              <a:chOff x="1950" y="1045"/>
              <a:chExt cx="568" cy="928"/>
            </a:xfrm>
          </p:grpSpPr>
          <p:sp>
            <p:nvSpPr>
              <p:cNvPr id="491"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492"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sp>
            <p:nvSpPr>
              <p:cNvPr id="493"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494"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495"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496"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497"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498"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499"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500"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501"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502"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grpSp>
        <p:grpSp>
          <p:nvGrpSpPr>
            <p:cNvPr id="511" name="Gruppieren 510"/>
            <p:cNvGrpSpPr/>
            <p:nvPr/>
          </p:nvGrpSpPr>
          <p:grpSpPr>
            <a:xfrm>
              <a:off x="3522482" y="1999985"/>
              <a:ext cx="2199049" cy="1323423"/>
              <a:chOff x="1536928" y="477883"/>
              <a:chExt cx="3671886" cy="2209800"/>
            </a:xfrm>
          </p:grpSpPr>
          <p:pic>
            <p:nvPicPr>
              <p:cNvPr id="512" name="Picture 2"/>
              <p:cNvPicPr>
                <a:picLocks noChangeAspect="1" noChangeArrowheads="1"/>
              </p:cNvPicPr>
              <p:nvPr/>
            </p:nvPicPr>
            <p:blipFill>
              <a:blip r:embed="rId38"/>
              <a:srcRect/>
              <a:stretch>
                <a:fillRect/>
              </a:stretch>
            </p:blipFill>
            <p:spPr bwMode="auto">
              <a:xfrm>
                <a:off x="1536928" y="477883"/>
                <a:ext cx="1628775" cy="220980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513" name="Picture 3"/>
              <p:cNvPicPr>
                <a:picLocks noChangeAspect="1" noChangeArrowheads="1"/>
              </p:cNvPicPr>
              <p:nvPr/>
            </p:nvPicPr>
            <p:blipFill>
              <a:blip r:embed="rId39"/>
              <a:srcRect/>
              <a:stretch>
                <a:fillRect/>
              </a:stretch>
            </p:blipFill>
            <p:spPr bwMode="auto">
              <a:xfrm>
                <a:off x="3151414" y="1127079"/>
                <a:ext cx="2057400" cy="68580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grpSp>
        <p:sp>
          <p:nvSpPr>
            <p:cNvPr id="514" name="Rechteck 513"/>
            <p:cNvSpPr/>
            <p:nvPr/>
          </p:nvSpPr>
          <p:spPr>
            <a:xfrm>
              <a:off x="3518484" y="2394857"/>
              <a:ext cx="949013" cy="13063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6" name="Rechteck 515"/>
            <p:cNvSpPr/>
            <p:nvPr/>
          </p:nvSpPr>
          <p:spPr>
            <a:xfrm>
              <a:off x="4510088" y="2394857"/>
              <a:ext cx="1202735" cy="12926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7" name="Gruppieren 316"/>
          <p:cNvGrpSpPr/>
          <p:nvPr/>
        </p:nvGrpSpPr>
        <p:grpSpPr>
          <a:xfrm>
            <a:off x="1984102" y="704465"/>
            <a:ext cx="1197732" cy="1110862"/>
            <a:chOff x="1984102" y="704465"/>
            <a:chExt cx="1197732" cy="1110862"/>
          </a:xfrm>
        </p:grpSpPr>
        <p:sp>
          <p:nvSpPr>
            <p:cNvPr id="305" name="Rechteck 304"/>
            <p:cNvSpPr/>
            <p:nvPr/>
          </p:nvSpPr>
          <p:spPr>
            <a:xfrm>
              <a:off x="2032794" y="930275"/>
              <a:ext cx="1121848" cy="86201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06" name="Rechteck 305"/>
            <p:cNvSpPr/>
            <p:nvPr/>
          </p:nvSpPr>
          <p:spPr>
            <a:xfrm>
              <a:off x="1998502" y="132866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7" name="Rechteck 306"/>
            <p:cNvSpPr/>
            <p:nvPr/>
          </p:nvSpPr>
          <p:spPr>
            <a:xfrm>
              <a:off x="2552368" y="175412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8" name="Ellipse 307"/>
            <p:cNvSpPr/>
            <p:nvPr/>
          </p:nvSpPr>
          <p:spPr>
            <a:xfrm>
              <a:off x="3106234" y="9031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9" name="Ellipse 308"/>
            <p:cNvSpPr/>
            <p:nvPr/>
          </p:nvSpPr>
          <p:spPr>
            <a:xfrm>
              <a:off x="1984102" y="17397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0" name="Rechteck 309"/>
            <p:cNvSpPr/>
            <p:nvPr/>
          </p:nvSpPr>
          <p:spPr>
            <a:xfrm>
              <a:off x="3106234" y="132866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1" name="Ellipse 310"/>
            <p:cNvSpPr/>
            <p:nvPr/>
          </p:nvSpPr>
          <p:spPr>
            <a:xfrm>
              <a:off x="3106234" y="17397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2" name="Ellipse 311"/>
            <p:cNvSpPr/>
            <p:nvPr/>
          </p:nvSpPr>
          <p:spPr>
            <a:xfrm>
              <a:off x="1984102" y="9031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13" name="Gruppieren 139"/>
            <p:cNvGrpSpPr/>
            <p:nvPr/>
          </p:nvGrpSpPr>
          <p:grpSpPr>
            <a:xfrm>
              <a:off x="2545168" y="704465"/>
              <a:ext cx="75600" cy="257824"/>
              <a:chOff x="5656766" y="771104"/>
              <a:chExt cx="75600" cy="257824"/>
            </a:xfrm>
          </p:grpSpPr>
          <p:sp>
            <p:nvSpPr>
              <p:cNvPr id="314" name="Ellipse 313"/>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15" name="Rechteck 314"/>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16" name="Gerade Verbindung 315"/>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pic>
        <p:nvPicPr>
          <p:cNvPr id="2050" name="Picture 2"/>
          <p:cNvPicPr>
            <a:picLocks noChangeAspect="1" noChangeArrowheads="1"/>
          </p:cNvPicPr>
          <p:nvPr/>
        </p:nvPicPr>
        <p:blipFill>
          <a:blip r:embed="rId40"/>
          <a:srcRect/>
          <a:stretch>
            <a:fillRect/>
          </a:stretch>
        </p:blipFill>
        <p:spPr bwMode="auto">
          <a:xfrm>
            <a:off x="4343400" y="2641600"/>
            <a:ext cx="2057400" cy="6858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4"/>
          <a:srcRect/>
          <a:stretch>
            <a:fillRect/>
          </a:stretch>
        </p:blipFill>
        <p:spPr bwMode="auto">
          <a:xfrm>
            <a:off x="-12700" y="305435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800" b="0" i="0" u="none" strike="noStrike" kern="0" cap="none" spc="0" normalizeH="0" baseline="0" noProof="0" dirty="0" smtClean="0">
                <a:ln>
                  <a:noFill/>
                </a:ln>
                <a:solidFill>
                  <a:schemeClr val="tx2"/>
                </a:solidFill>
                <a:effectLst/>
                <a:uLnTx/>
                <a:uFillTx/>
                <a:latin typeface="Myriad Pro" pitchFamily="34" charset="0"/>
                <a:ea typeface="+mj-ea"/>
                <a:cs typeface="+mj-cs"/>
              </a:rPr>
              <a:t>Karte Skalieren</a:t>
            </a:r>
          </a:p>
        </p:txBody>
      </p:sp>
      <p:sp>
        <p:nvSpPr>
          <p:cNvPr id="4" name="Textfeld 3"/>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7</a:t>
            </a:r>
            <a:endParaRPr lang="de-DE" sz="900" dirty="0">
              <a:solidFill>
                <a:schemeClr val="bg1">
                  <a:lumMod val="50000"/>
                </a:schemeClr>
              </a:solidFill>
            </a:endParaRPr>
          </a:p>
        </p:txBody>
      </p:sp>
      <p:grpSp>
        <p:nvGrpSpPr>
          <p:cNvPr id="1043" name="Group 19"/>
          <p:cNvGrpSpPr>
            <a:grpSpLocks/>
          </p:cNvGrpSpPr>
          <p:nvPr/>
        </p:nvGrpSpPr>
        <p:grpSpPr bwMode="auto">
          <a:xfrm>
            <a:off x="1252279" y="1624805"/>
            <a:ext cx="1935058" cy="2620043"/>
            <a:chOff x="670" y="640"/>
            <a:chExt cx="2195" cy="2972"/>
          </a:xfrm>
          <a:effectLst>
            <a:reflection blurRad="6350" stA="52000" endA="300" endPos="35000" dir="5400000" sy="-100000" algn="bl" rotWithShape="0"/>
          </a:effectLst>
        </p:grpSpPr>
        <p:sp>
          <p:nvSpPr>
            <p:cNvPr id="1044" name="Freeform 20"/>
            <p:cNvSpPr>
              <a:spLocks/>
            </p:cNvSpPr>
            <p:nvPr>
              <p:custDataLst>
                <p:tags r:id="rId17"/>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5" name="Freeform 21"/>
            <p:cNvSpPr>
              <a:spLocks/>
            </p:cNvSpPr>
            <p:nvPr>
              <p:custDataLst>
                <p:tags r:id="rId18"/>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6" name="Freeform 22"/>
            <p:cNvSpPr>
              <a:spLocks/>
            </p:cNvSpPr>
            <p:nvPr>
              <p:custDataLst>
                <p:tags r:id="rId19"/>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7" name="Freeform 23"/>
            <p:cNvSpPr>
              <a:spLocks/>
            </p:cNvSpPr>
            <p:nvPr>
              <p:custDataLst>
                <p:tags r:id="rId20"/>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8" name="Freeform 24"/>
            <p:cNvSpPr>
              <a:spLocks noEditPoints="1"/>
            </p:cNvSpPr>
            <p:nvPr>
              <p:custDataLst>
                <p:tags r:id="rId21"/>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9" name="Freeform 25"/>
            <p:cNvSpPr>
              <a:spLocks/>
            </p:cNvSpPr>
            <p:nvPr>
              <p:custDataLst>
                <p:tags r:id="rId22"/>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0" name="Freeform 26"/>
            <p:cNvSpPr>
              <a:spLocks/>
            </p:cNvSpPr>
            <p:nvPr>
              <p:custDataLst>
                <p:tags r:id="rId23"/>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1" name="Freeform 27"/>
            <p:cNvSpPr>
              <a:spLocks/>
            </p:cNvSpPr>
            <p:nvPr>
              <p:custDataLst>
                <p:tags r:id="rId24"/>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2" name="Freeform 28"/>
            <p:cNvSpPr>
              <a:spLocks/>
            </p:cNvSpPr>
            <p:nvPr>
              <p:custDataLst>
                <p:tags r:id="rId25"/>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3" name="Freeform 29"/>
            <p:cNvSpPr>
              <a:spLocks/>
            </p:cNvSpPr>
            <p:nvPr>
              <p:custDataLst>
                <p:tags r:id="rId26"/>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4" name="Freeform 30"/>
            <p:cNvSpPr>
              <a:spLocks noEditPoints="1"/>
            </p:cNvSpPr>
            <p:nvPr>
              <p:custDataLst>
                <p:tags r:id="rId27"/>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5" name="Freeform 31"/>
            <p:cNvSpPr>
              <a:spLocks noEditPoints="1"/>
            </p:cNvSpPr>
            <p:nvPr>
              <p:custDataLst>
                <p:tags r:id="rId28"/>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6" name="Freeform 32"/>
            <p:cNvSpPr>
              <a:spLocks/>
            </p:cNvSpPr>
            <p:nvPr>
              <p:custDataLst>
                <p:tags r:id="rId29"/>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7" name="Freeform 33"/>
            <p:cNvSpPr>
              <a:spLocks noEditPoints="1"/>
            </p:cNvSpPr>
            <p:nvPr>
              <p:custDataLst>
                <p:tags r:id="rId30"/>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8" name="Freeform 34"/>
            <p:cNvSpPr>
              <a:spLocks noEditPoints="1"/>
            </p:cNvSpPr>
            <p:nvPr>
              <p:custDataLst>
                <p:tags r:id="rId31"/>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9" name="Freeform 35"/>
            <p:cNvSpPr>
              <a:spLocks noEditPoints="1"/>
            </p:cNvSpPr>
            <p:nvPr>
              <p:custDataLst>
                <p:tags r:id="rId32"/>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88" name="Group 19"/>
          <p:cNvGrpSpPr>
            <a:grpSpLocks/>
          </p:cNvGrpSpPr>
          <p:nvPr/>
        </p:nvGrpSpPr>
        <p:grpSpPr bwMode="auto">
          <a:xfrm>
            <a:off x="5586300" y="626982"/>
            <a:ext cx="2678442" cy="3626574"/>
            <a:chOff x="670" y="640"/>
            <a:chExt cx="2195" cy="2972"/>
          </a:xfrm>
          <a:effectLst>
            <a:reflection blurRad="6350" stA="52000" endA="300" endPos="35000" dir="5400000" sy="-100000" algn="bl" rotWithShape="0"/>
          </a:effectLst>
        </p:grpSpPr>
        <p:sp>
          <p:nvSpPr>
            <p:cNvPr id="89"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0"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1"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2"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3"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4"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5"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6"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7"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8"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9"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0"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1"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2"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3"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132" name="Gruppieren 77"/>
          <p:cNvGrpSpPr/>
          <p:nvPr/>
        </p:nvGrpSpPr>
        <p:grpSpPr>
          <a:xfrm>
            <a:off x="211756" y="5538253"/>
            <a:ext cx="347663" cy="338138"/>
            <a:chOff x="203518" y="4966018"/>
            <a:chExt cx="347663" cy="338138"/>
          </a:xfrm>
        </p:grpSpPr>
        <p:pic>
          <p:nvPicPr>
            <p:cNvPr id="133" name="Grafik 132"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134"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135"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Skalieren Sie die Karte proportional auf eine beliebige Größe. Wählen Sie hierzu die Karte mit der linken Maustaste aus. </a:t>
            </a:r>
            <a:r>
              <a:rPr lang="de-DE" sz="1200" dirty="0">
                <a:latin typeface="Myriad Pro" pitchFamily="34" charset="0"/>
                <a:ea typeface="Arial Unicode MS" pitchFamily="34" charset="-128"/>
                <a:cs typeface="Arial" charset="0"/>
              </a:rPr>
              <a:t/>
            </a:r>
            <a:br>
              <a:rPr lang="de-DE" sz="1200" dirty="0">
                <a:latin typeface="Myriad Pro" pitchFamily="34" charset="0"/>
                <a:ea typeface="Arial Unicode MS" pitchFamily="34" charset="-128"/>
                <a:cs typeface="Arial" charset="0"/>
              </a:rPr>
            </a:br>
            <a:endParaRPr lang="de-DE" sz="1200" dirty="0">
              <a:latin typeface="Myriad Pro" pitchFamily="34" charset="0"/>
              <a:ea typeface="Arial Unicode MS" pitchFamily="34" charset="-128"/>
              <a:cs typeface="Arial" charset="0"/>
            </a:endParaRPr>
          </a:p>
          <a:p>
            <a:endParaRPr lang="de-DE" sz="1200" dirty="0">
              <a:latin typeface="Myriad Pro" pitchFamily="34" charset="0"/>
              <a:ea typeface="Arial Unicode MS" pitchFamily="34" charset="-128"/>
              <a:cs typeface="Arial" charset="0"/>
            </a:endParaRPr>
          </a:p>
        </p:txBody>
      </p:sp>
      <p:sp>
        <p:nvSpPr>
          <p:cNvPr id="136" name="Rectangle 5"/>
          <p:cNvSpPr>
            <a:spLocks noChangeArrowheads="1"/>
          </p:cNvSpPr>
          <p:nvPr/>
        </p:nvSpPr>
        <p:spPr bwMode="gray">
          <a:xfrm>
            <a:off x="639763" y="5538253"/>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Ziehen Sie mit gedrückter linker Maus- und Umschalt-Taste (Shift) die Karte an einem der erschienenen Eckpunkte </a:t>
            </a:r>
            <a:br>
              <a:rPr lang="de-DE" sz="1200" dirty="0" smtClean="0">
                <a:solidFill>
                  <a:srgbClr val="000000"/>
                </a:solidFill>
                <a:latin typeface="Myriad Pro" pitchFamily="34" charset="0"/>
                <a:ea typeface="Arial Unicode MS" pitchFamily="34" charset="-128"/>
                <a:cs typeface="Arial" charset="0"/>
              </a:rPr>
            </a:br>
            <a:r>
              <a:rPr lang="de-DE" sz="1200" dirty="0" smtClean="0">
                <a:solidFill>
                  <a:srgbClr val="000000"/>
                </a:solidFill>
                <a:latin typeface="Myriad Pro" pitchFamily="34" charset="0"/>
                <a:ea typeface="Arial Unicode MS" pitchFamily="34" charset="-128"/>
                <a:cs typeface="Arial" charset="0"/>
              </a:rPr>
              <a:t>und verändern Sie diese auf die gewünschte Größe. </a:t>
            </a:r>
          </a:p>
        </p:txBody>
      </p:sp>
      <p:grpSp>
        <p:nvGrpSpPr>
          <p:cNvPr id="137" name="Gruppieren 73"/>
          <p:cNvGrpSpPr/>
          <p:nvPr/>
        </p:nvGrpSpPr>
        <p:grpSpPr>
          <a:xfrm>
            <a:off x="211756" y="4979777"/>
            <a:ext cx="347663" cy="338138"/>
            <a:chOff x="203518" y="4378643"/>
            <a:chExt cx="347663" cy="338138"/>
          </a:xfrm>
        </p:grpSpPr>
        <p:pic>
          <p:nvPicPr>
            <p:cNvPr id="138" name="Grafik 137"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139"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40" name="Gruppieren 77"/>
          <p:cNvGrpSpPr/>
          <p:nvPr/>
        </p:nvGrpSpPr>
        <p:grpSpPr>
          <a:xfrm>
            <a:off x="5101970" y="653616"/>
            <a:ext cx="347663" cy="338138"/>
            <a:chOff x="203518" y="4966018"/>
            <a:chExt cx="347663" cy="338138"/>
          </a:xfrm>
        </p:grpSpPr>
        <p:pic>
          <p:nvPicPr>
            <p:cNvPr id="141" name="Grafik 140"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142"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43" name="Gruppieren 73"/>
          <p:cNvGrpSpPr/>
          <p:nvPr/>
        </p:nvGrpSpPr>
        <p:grpSpPr>
          <a:xfrm>
            <a:off x="775647" y="1666618"/>
            <a:ext cx="347663" cy="338138"/>
            <a:chOff x="203518" y="4378643"/>
            <a:chExt cx="347663" cy="338138"/>
          </a:xfrm>
        </p:grpSpPr>
        <p:pic>
          <p:nvPicPr>
            <p:cNvPr id="144" name="Grafik 143"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145"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46" name="Gruppieren 145"/>
          <p:cNvGrpSpPr/>
          <p:nvPr/>
        </p:nvGrpSpPr>
        <p:grpSpPr>
          <a:xfrm>
            <a:off x="5476875" y="360597"/>
            <a:ext cx="2949496" cy="4004480"/>
            <a:chOff x="5476875" y="360597"/>
            <a:chExt cx="2949496" cy="4004480"/>
          </a:xfrm>
        </p:grpSpPr>
        <p:sp>
          <p:nvSpPr>
            <p:cNvPr id="120" name="Rechteck 119"/>
            <p:cNvSpPr/>
            <p:nvPr/>
          </p:nvSpPr>
          <p:spPr>
            <a:xfrm>
              <a:off x="5521568" y="581257"/>
              <a:ext cx="2873132" cy="3754999"/>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1" name="Rechteck 120"/>
            <p:cNvSpPr/>
            <p:nvPr/>
          </p:nvSpPr>
          <p:spPr>
            <a:xfrm>
              <a:off x="5491275" y="2423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2" name="Rechteck 121"/>
            <p:cNvSpPr/>
            <p:nvPr/>
          </p:nvSpPr>
          <p:spPr>
            <a:xfrm>
              <a:off x="6921023" y="430387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3" name="Ellipse 122"/>
            <p:cNvSpPr/>
            <p:nvPr/>
          </p:nvSpPr>
          <p:spPr>
            <a:xfrm>
              <a:off x="8350771" y="542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4" name="Ellipse 123"/>
            <p:cNvSpPr/>
            <p:nvPr/>
          </p:nvSpPr>
          <p:spPr>
            <a:xfrm>
              <a:off x="5476875"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5" name="Rechteck 124"/>
            <p:cNvSpPr/>
            <p:nvPr/>
          </p:nvSpPr>
          <p:spPr>
            <a:xfrm>
              <a:off x="8365171" y="2423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6" name="Ellipse 125"/>
            <p:cNvSpPr/>
            <p:nvPr/>
          </p:nvSpPr>
          <p:spPr>
            <a:xfrm>
              <a:off x="8350771"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27" name="Gruppieren 139"/>
            <p:cNvGrpSpPr/>
            <p:nvPr/>
          </p:nvGrpSpPr>
          <p:grpSpPr>
            <a:xfrm>
              <a:off x="6913823" y="360597"/>
              <a:ext cx="75600" cy="257824"/>
              <a:chOff x="5656766" y="771104"/>
              <a:chExt cx="75600" cy="257824"/>
            </a:xfrm>
          </p:grpSpPr>
          <p:sp>
            <p:nvSpPr>
              <p:cNvPr id="129" name="Ellipse 128"/>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130" name="Rechteck 129"/>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1" name="Gerade Verbindung 130"/>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128" name="Ellipse 127"/>
            <p:cNvSpPr/>
            <p:nvPr/>
          </p:nvSpPr>
          <p:spPr>
            <a:xfrm>
              <a:off x="5476875" y="542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60" name="Gruppieren 159"/>
          <p:cNvGrpSpPr/>
          <p:nvPr/>
        </p:nvGrpSpPr>
        <p:grpSpPr>
          <a:xfrm>
            <a:off x="1155648" y="1376597"/>
            <a:ext cx="2130346" cy="2988480"/>
            <a:chOff x="1155648" y="1376597"/>
            <a:chExt cx="2130346" cy="2988480"/>
          </a:xfrm>
        </p:grpSpPr>
        <p:sp>
          <p:nvSpPr>
            <p:cNvPr id="148" name="Rechteck 147"/>
            <p:cNvSpPr/>
            <p:nvPr/>
          </p:nvSpPr>
          <p:spPr>
            <a:xfrm>
              <a:off x="1197769" y="1593850"/>
              <a:ext cx="2056553" cy="2742406"/>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49" name="Rechteck 148"/>
            <p:cNvSpPr/>
            <p:nvPr/>
          </p:nvSpPr>
          <p:spPr>
            <a:xfrm>
              <a:off x="1170048" y="2931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0" name="Rechteck 149"/>
            <p:cNvSpPr/>
            <p:nvPr/>
          </p:nvSpPr>
          <p:spPr>
            <a:xfrm>
              <a:off x="2190221" y="430387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1" name="Ellipse 150"/>
            <p:cNvSpPr/>
            <p:nvPr/>
          </p:nvSpPr>
          <p:spPr>
            <a:xfrm>
              <a:off x="3210394" y="1558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2" name="Ellipse 151"/>
            <p:cNvSpPr/>
            <p:nvPr/>
          </p:nvSpPr>
          <p:spPr>
            <a:xfrm>
              <a:off x="1155648"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3" name="Rechteck 152"/>
            <p:cNvSpPr/>
            <p:nvPr/>
          </p:nvSpPr>
          <p:spPr>
            <a:xfrm>
              <a:off x="3224794" y="2931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4" name="Ellipse 153"/>
            <p:cNvSpPr/>
            <p:nvPr/>
          </p:nvSpPr>
          <p:spPr>
            <a:xfrm>
              <a:off x="3210394"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55" name="Gruppieren 139"/>
            <p:cNvGrpSpPr/>
            <p:nvPr/>
          </p:nvGrpSpPr>
          <p:grpSpPr>
            <a:xfrm>
              <a:off x="2183021" y="1376597"/>
              <a:ext cx="75600" cy="257824"/>
              <a:chOff x="5656766" y="771104"/>
              <a:chExt cx="75600" cy="257824"/>
            </a:xfrm>
          </p:grpSpPr>
          <p:sp>
            <p:nvSpPr>
              <p:cNvPr id="157" name="Ellipse 156"/>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158" name="Rechteck 157"/>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9" name="Gerade Verbindung 158"/>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156" name="Ellipse 155"/>
            <p:cNvSpPr/>
            <p:nvPr/>
          </p:nvSpPr>
          <p:spPr>
            <a:xfrm>
              <a:off x="1155648" y="1558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7" name="Gruppieren 106"/>
          <p:cNvGrpSpPr/>
          <p:nvPr/>
        </p:nvGrpSpPr>
        <p:grpSpPr>
          <a:xfrm>
            <a:off x="2654493" y="4091090"/>
            <a:ext cx="6336862" cy="736478"/>
            <a:chOff x="2654493" y="4091090"/>
            <a:chExt cx="6336862" cy="736478"/>
          </a:xfrm>
        </p:grpSpPr>
        <p:grpSp>
          <p:nvGrpSpPr>
            <p:cNvPr id="105" name="Group 104"/>
            <p:cNvGrpSpPr/>
            <p:nvPr/>
          </p:nvGrpSpPr>
          <p:grpSpPr>
            <a:xfrm>
              <a:off x="6646328" y="4387832"/>
              <a:ext cx="921473" cy="377403"/>
              <a:chOff x="6646328" y="4387832"/>
              <a:chExt cx="921473" cy="377403"/>
            </a:xfrm>
          </p:grpSpPr>
          <p:sp>
            <p:nvSpPr>
              <p:cNvPr id="31" name="Rectangle 4"/>
              <p:cNvSpPr>
                <a:spLocks noChangeArrowheads="1"/>
              </p:cNvSpPr>
              <p:nvPr/>
            </p:nvSpPr>
            <p:spPr bwMode="gray">
              <a:xfrm>
                <a:off x="7243947" y="4387832"/>
                <a:ext cx="323854" cy="342900"/>
              </a:xfrm>
              <a:prstGeom prst="rect">
                <a:avLst/>
              </a:prstGeom>
              <a:noFill/>
              <a:ln w="9525">
                <a:noFill/>
                <a:miter lim="800000"/>
                <a:headEnd/>
                <a:tailEnd/>
              </a:ln>
            </p:spPr>
            <p:txBody>
              <a:bodyPr lIns="0" tIns="0" rIns="0" bIns="0" anchor="ctr"/>
              <a:lstStyle/>
              <a:p>
                <a:pPr algn="ctr" defTabSz="801688" eaLnBrk="0" fontAlgn="auto" hangingPunct="0">
                  <a:spcBef>
                    <a:spcPts val="0"/>
                  </a:spcBef>
                  <a:spcAft>
                    <a:spcPts val="0"/>
                  </a:spcAft>
                  <a:defRPr/>
                </a:pPr>
                <a:r>
                  <a:rPr lang="en-GB" sz="3200" kern="0" dirty="0">
                    <a:latin typeface="Myriad Pro" pitchFamily="34" charset="0"/>
                  </a:rPr>
                  <a:t>+</a:t>
                </a:r>
              </a:p>
            </p:txBody>
          </p:sp>
          <p:grpSp>
            <p:nvGrpSpPr>
              <p:cNvPr id="22" name="Gruppieren 146"/>
              <p:cNvGrpSpPr/>
              <p:nvPr/>
            </p:nvGrpSpPr>
            <p:grpSpPr bwMode="auto">
              <a:xfrm>
                <a:off x="6646328" y="4422335"/>
                <a:ext cx="516974" cy="342900"/>
                <a:chOff x="7027139" y="784239"/>
                <a:chExt cx="517075" cy="343745"/>
              </a:xfrm>
              <a:effectLst>
                <a:outerShdw blurRad="50800" dist="38100" dir="2700000" algn="tl" rotWithShape="0">
                  <a:prstClr val="black">
                    <a:alpha val="40000"/>
                  </a:prstClr>
                </a:outerShdw>
              </a:effectLst>
            </p:grpSpPr>
            <p:sp>
              <p:nvSpPr>
                <p:cNvPr id="23" name="AutoShape 74"/>
                <p:cNvSpPr>
                  <a:spLocks noChangeAspect="1" noChangeArrowheads="1" noTextEdit="1"/>
                </p:cNvSpPr>
                <p:nvPr/>
              </p:nvSpPr>
              <p:spPr bwMode="gray">
                <a:xfrm>
                  <a:off x="7027139" y="784239"/>
                  <a:ext cx="517075" cy="343745"/>
                </a:xfrm>
                <a:prstGeom prst="rect">
                  <a:avLst/>
                </a:prstGeom>
                <a:noFill/>
                <a:ln w="9525">
                  <a:noFill/>
                  <a:miter lim="800000"/>
                  <a:headEnd/>
                  <a:tailEnd/>
                </a:ln>
              </p:spPr>
              <p:txBody>
                <a:bodyPr/>
                <a:lstStyle/>
                <a:p>
                  <a:pPr>
                    <a:defRPr/>
                  </a:pPr>
                  <a:endParaRPr lang="de-DE">
                    <a:latin typeface="Myriad Pro" pitchFamily="34" charset="0"/>
                  </a:endParaRPr>
                </a:p>
              </p:txBody>
            </p:sp>
            <p:sp>
              <p:nvSpPr>
                <p:cNvPr id="24" name="Freeform 75"/>
                <p:cNvSpPr>
                  <a:spLocks/>
                </p:cNvSpPr>
                <p:nvPr/>
              </p:nvSpPr>
              <p:spPr bwMode="gray">
                <a:xfrm>
                  <a:off x="7033261" y="787025"/>
                  <a:ext cx="500933" cy="337060"/>
                </a:xfrm>
                <a:custGeom>
                  <a:avLst/>
                  <a:gdLst>
                    <a:gd name="T0" fmla="*/ 158630 w 247"/>
                    <a:gd name="T1" fmla="*/ 17252 h 256"/>
                    <a:gd name="T2" fmla="*/ 144543 w 247"/>
                    <a:gd name="T3" fmla="*/ 18873 h 256"/>
                    <a:gd name="T4" fmla="*/ 14804 w 247"/>
                    <a:gd name="T5" fmla="*/ 18873 h 256"/>
                    <a:gd name="T6" fmla="*/ 0 w 247"/>
                    <a:gd name="T7" fmla="*/ 17252 h 256"/>
                    <a:gd name="T8" fmla="*/ 0 w 247"/>
                    <a:gd name="T9" fmla="*/ 1626 h 256"/>
                    <a:gd name="T10" fmla="*/ 14804 w 247"/>
                    <a:gd name="T11" fmla="*/ 0 h 256"/>
                    <a:gd name="T12" fmla="*/ 144543 w 247"/>
                    <a:gd name="T13" fmla="*/ 0 h 256"/>
                    <a:gd name="T14" fmla="*/ 158630 w 247"/>
                    <a:gd name="T15" fmla="*/ 1626 h 256"/>
                    <a:gd name="T16" fmla="*/ 158630 w 247"/>
                    <a:gd name="T17" fmla="*/ 17252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7"/>
                    <a:gd name="T28" fmla="*/ 0 h 256"/>
                    <a:gd name="T29" fmla="*/ 247 w 24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7" h="256">
                      <a:moveTo>
                        <a:pt x="247" y="234"/>
                      </a:moveTo>
                      <a:cubicBezTo>
                        <a:pt x="247" y="246"/>
                        <a:pt x="237" y="256"/>
                        <a:pt x="225" y="256"/>
                      </a:cubicBezTo>
                      <a:cubicBezTo>
                        <a:pt x="23" y="256"/>
                        <a:pt x="23" y="256"/>
                        <a:pt x="23" y="256"/>
                      </a:cubicBezTo>
                      <a:cubicBezTo>
                        <a:pt x="10" y="256"/>
                        <a:pt x="0" y="246"/>
                        <a:pt x="0" y="234"/>
                      </a:cubicBezTo>
                      <a:cubicBezTo>
                        <a:pt x="0" y="22"/>
                        <a:pt x="0" y="22"/>
                        <a:pt x="0" y="22"/>
                      </a:cubicBezTo>
                      <a:cubicBezTo>
                        <a:pt x="0" y="10"/>
                        <a:pt x="10" y="0"/>
                        <a:pt x="23" y="0"/>
                      </a:cubicBezTo>
                      <a:cubicBezTo>
                        <a:pt x="225" y="0"/>
                        <a:pt x="225" y="0"/>
                        <a:pt x="225" y="0"/>
                      </a:cubicBezTo>
                      <a:cubicBezTo>
                        <a:pt x="237" y="0"/>
                        <a:pt x="247" y="10"/>
                        <a:pt x="247" y="22"/>
                      </a:cubicBezTo>
                      <a:lnTo>
                        <a:pt x="247" y="234"/>
                      </a:lnTo>
                      <a:close/>
                    </a:path>
                  </a:pathLst>
                </a:custGeom>
                <a:solidFill>
                  <a:srgbClr val="E0E0DE"/>
                </a:solidFill>
                <a:ln w="9525">
                  <a:noFill/>
                  <a:round/>
                  <a:headEnd/>
                  <a:tailEnd/>
                </a:ln>
              </p:spPr>
              <p:txBody>
                <a:bodyPr/>
                <a:lstStyle/>
                <a:p>
                  <a:pPr>
                    <a:defRPr/>
                  </a:pPr>
                  <a:endParaRPr lang="de-DE">
                    <a:latin typeface="Myriad Pro" pitchFamily="34" charset="0"/>
                  </a:endParaRPr>
                </a:p>
              </p:txBody>
            </p:sp>
            <p:sp>
              <p:nvSpPr>
                <p:cNvPr id="25" name="Freeform 76"/>
                <p:cNvSpPr>
                  <a:spLocks/>
                </p:cNvSpPr>
                <p:nvPr/>
              </p:nvSpPr>
              <p:spPr bwMode="gray">
                <a:xfrm>
                  <a:off x="7086138" y="804295"/>
                  <a:ext cx="291655" cy="255163"/>
                </a:xfrm>
                <a:custGeom>
                  <a:avLst/>
                  <a:gdLst>
                    <a:gd name="T0" fmla="*/ 130119 w 132"/>
                    <a:gd name="T1" fmla="*/ 5132 h 194"/>
                    <a:gd name="T2" fmla="*/ 111477 w 132"/>
                    <a:gd name="T3" fmla="*/ 0 h 194"/>
                    <a:gd name="T4" fmla="*/ 22584 w 132"/>
                    <a:gd name="T5" fmla="*/ 0 h 194"/>
                    <a:gd name="T6" fmla="*/ 0 w 132"/>
                    <a:gd name="T7" fmla="*/ 1671 h 194"/>
                    <a:gd name="T8" fmla="*/ 0 w 132"/>
                    <a:gd name="T9" fmla="*/ 12607 h 194"/>
                    <a:gd name="T10" fmla="*/ 18642 w 132"/>
                    <a:gd name="T11" fmla="*/ 14224 h 194"/>
                    <a:gd name="T12" fmla="*/ 130119 w 132"/>
                    <a:gd name="T13" fmla="*/ 5132 h 194"/>
                    <a:gd name="T14" fmla="*/ 0 60000 65536"/>
                    <a:gd name="T15" fmla="*/ 0 60000 65536"/>
                    <a:gd name="T16" fmla="*/ 0 60000 65536"/>
                    <a:gd name="T17" fmla="*/ 0 60000 65536"/>
                    <a:gd name="T18" fmla="*/ 0 60000 65536"/>
                    <a:gd name="T19" fmla="*/ 0 60000 65536"/>
                    <a:gd name="T20" fmla="*/ 0 60000 65536"/>
                    <a:gd name="T21" fmla="*/ 0 w 132"/>
                    <a:gd name="T22" fmla="*/ 0 h 194"/>
                    <a:gd name="T23" fmla="*/ 132 w 132"/>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194">
                      <a:moveTo>
                        <a:pt x="132" y="70"/>
                      </a:moveTo>
                      <a:cubicBezTo>
                        <a:pt x="132" y="44"/>
                        <a:pt x="125" y="20"/>
                        <a:pt x="113" y="0"/>
                      </a:cubicBezTo>
                      <a:cubicBezTo>
                        <a:pt x="23" y="0"/>
                        <a:pt x="23" y="0"/>
                        <a:pt x="23" y="0"/>
                      </a:cubicBezTo>
                      <a:cubicBezTo>
                        <a:pt x="10" y="0"/>
                        <a:pt x="0" y="11"/>
                        <a:pt x="0" y="23"/>
                      </a:cubicBezTo>
                      <a:cubicBezTo>
                        <a:pt x="0" y="172"/>
                        <a:pt x="0" y="172"/>
                        <a:pt x="0" y="172"/>
                      </a:cubicBezTo>
                      <a:cubicBezTo>
                        <a:pt x="0" y="183"/>
                        <a:pt x="8" y="192"/>
                        <a:pt x="19" y="194"/>
                      </a:cubicBezTo>
                      <a:cubicBezTo>
                        <a:pt x="81" y="193"/>
                        <a:pt x="132" y="138"/>
                        <a:pt x="132" y="70"/>
                      </a:cubicBezTo>
                      <a:close/>
                    </a:path>
                  </a:pathLst>
                </a:custGeom>
                <a:solidFill>
                  <a:srgbClr val="DEDEDC"/>
                </a:solidFill>
                <a:ln w="9525">
                  <a:noFill/>
                  <a:round/>
                  <a:headEnd/>
                  <a:tailEnd/>
                </a:ln>
              </p:spPr>
              <p:txBody>
                <a:bodyPr/>
                <a:lstStyle/>
                <a:p>
                  <a:pPr>
                    <a:defRPr/>
                  </a:pPr>
                  <a:endParaRPr lang="de-DE">
                    <a:latin typeface="Myriad Pro" pitchFamily="34" charset="0"/>
                  </a:endParaRPr>
                </a:p>
              </p:txBody>
            </p:sp>
            <p:sp>
              <p:nvSpPr>
                <p:cNvPr id="26" name="Freeform 77"/>
                <p:cNvSpPr>
                  <a:spLocks/>
                </p:cNvSpPr>
                <p:nvPr/>
              </p:nvSpPr>
              <p:spPr bwMode="gray">
                <a:xfrm>
                  <a:off x="7172966" y="806524"/>
                  <a:ext cx="342305" cy="255720"/>
                </a:xfrm>
                <a:custGeom>
                  <a:avLst/>
                  <a:gdLst>
                    <a:gd name="T0" fmla="*/ 128856 w 155"/>
                    <a:gd name="T1" fmla="*/ 0 h 194"/>
                    <a:gd name="T2" fmla="*/ 43356 w 155"/>
                    <a:gd name="T3" fmla="*/ 0 h 194"/>
                    <a:gd name="T4" fmla="*/ 81517 w 155"/>
                    <a:gd name="T5" fmla="*/ 4730 h 194"/>
                    <a:gd name="T6" fmla="*/ 0 w 155"/>
                    <a:gd name="T7" fmla="*/ 14380 h 194"/>
                    <a:gd name="T8" fmla="*/ 128856 w 155"/>
                    <a:gd name="T9" fmla="*/ 14380 h 194"/>
                    <a:gd name="T10" fmla="*/ 152409 w 155"/>
                    <a:gd name="T11" fmla="*/ 12691 h 194"/>
                    <a:gd name="T12" fmla="*/ 152409 w 155"/>
                    <a:gd name="T13" fmla="*/ 1630 h 194"/>
                    <a:gd name="T14" fmla="*/ 128856 w 155"/>
                    <a:gd name="T15" fmla="*/ 0 h 194"/>
                    <a:gd name="T16" fmla="*/ 0 60000 65536"/>
                    <a:gd name="T17" fmla="*/ 0 60000 65536"/>
                    <a:gd name="T18" fmla="*/ 0 60000 65536"/>
                    <a:gd name="T19" fmla="*/ 0 60000 65536"/>
                    <a:gd name="T20" fmla="*/ 0 60000 65536"/>
                    <a:gd name="T21" fmla="*/ 0 60000 65536"/>
                    <a:gd name="T22" fmla="*/ 0 60000 65536"/>
                    <a:gd name="T23" fmla="*/ 0 60000 65536"/>
                    <a:gd name="T24" fmla="*/ 0 w 155"/>
                    <a:gd name="T25" fmla="*/ 0 h 194"/>
                    <a:gd name="T26" fmla="*/ 155 w 155"/>
                    <a:gd name="T27" fmla="*/ 194 h 19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5" h="194">
                      <a:moveTo>
                        <a:pt x="131" y="0"/>
                      </a:moveTo>
                      <a:cubicBezTo>
                        <a:pt x="44" y="0"/>
                        <a:pt x="44" y="0"/>
                        <a:pt x="44" y="0"/>
                      </a:cubicBezTo>
                      <a:cubicBezTo>
                        <a:pt x="44" y="0"/>
                        <a:pt x="80" y="19"/>
                        <a:pt x="83" y="64"/>
                      </a:cubicBezTo>
                      <a:cubicBezTo>
                        <a:pt x="87" y="108"/>
                        <a:pt x="57" y="178"/>
                        <a:pt x="0" y="194"/>
                      </a:cubicBezTo>
                      <a:cubicBezTo>
                        <a:pt x="131" y="194"/>
                        <a:pt x="131" y="194"/>
                        <a:pt x="131" y="194"/>
                      </a:cubicBezTo>
                      <a:cubicBezTo>
                        <a:pt x="144" y="194"/>
                        <a:pt x="155" y="183"/>
                        <a:pt x="155" y="171"/>
                      </a:cubicBezTo>
                      <a:cubicBezTo>
                        <a:pt x="155" y="22"/>
                        <a:pt x="155" y="22"/>
                        <a:pt x="155" y="22"/>
                      </a:cubicBezTo>
                      <a:cubicBezTo>
                        <a:pt x="155" y="10"/>
                        <a:pt x="144" y="0"/>
                        <a:pt x="131" y="0"/>
                      </a:cubicBezTo>
                      <a:close/>
                    </a:path>
                  </a:pathLst>
                </a:custGeom>
                <a:solidFill>
                  <a:srgbClr val="E7E6E5"/>
                </a:solidFill>
                <a:ln w="9525">
                  <a:noFill/>
                  <a:round/>
                  <a:headEnd/>
                  <a:tailEnd/>
                </a:ln>
              </p:spPr>
              <p:txBody>
                <a:bodyPr/>
                <a:lstStyle/>
                <a:p>
                  <a:pPr>
                    <a:defRPr/>
                  </a:pPr>
                  <a:endParaRPr lang="de-DE">
                    <a:latin typeface="Myriad Pro" pitchFamily="34" charset="0"/>
                  </a:endParaRPr>
                </a:p>
              </p:txBody>
            </p:sp>
            <p:sp>
              <p:nvSpPr>
                <p:cNvPr id="27" name="Freeform 78"/>
                <p:cNvSpPr>
                  <a:spLocks/>
                </p:cNvSpPr>
                <p:nvPr/>
              </p:nvSpPr>
              <p:spPr bwMode="gray">
                <a:xfrm>
                  <a:off x="7037157" y="789810"/>
                  <a:ext cx="497037" cy="334274"/>
                </a:xfrm>
                <a:custGeom>
                  <a:avLst/>
                  <a:gdLst>
                    <a:gd name="T0" fmla="*/ 152488 w 245"/>
                    <a:gd name="T1" fmla="*/ 222 h 254"/>
                    <a:gd name="T2" fmla="*/ 152488 w 245"/>
                    <a:gd name="T3" fmla="*/ 222 h 254"/>
                    <a:gd name="T4" fmla="*/ 139603 w 245"/>
                    <a:gd name="T5" fmla="*/ 1188 h 254"/>
                    <a:gd name="T6" fmla="*/ 144014 w 245"/>
                    <a:gd name="T7" fmla="*/ 2717 h 254"/>
                    <a:gd name="T8" fmla="*/ 143481 w 245"/>
                    <a:gd name="T9" fmla="*/ 4046 h 254"/>
                    <a:gd name="T10" fmla="*/ 143481 w 245"/>
                    <a:gd name="T11" fmla="*/ 13443 h 254"/>
                    <a:gd name="T12" fmla="*/ 143481 w 245"/>
                    <a:gd name="T13" fmla="*/ 13828 h 254"/>
                    <a:gd name="T14" fmla="*/ 129387 w 245"/>
                    <a:gd name="T15" fmla="*/ 15161 h 254"/>
                    <a:gd name="T16" fmla="*/ 30172 w 245"/>
                    <a:gd name="T17" fmla="*/ 15161 h 254"/>
                    <a:gd name="T18" fmla="*/ 28962 w 245"/>
                    <a:gd name="T19" fmla="*/ 15066 h 254"/>
                    <a:gd name="T20" fmla="*/ 0 w 245"/>
                    <a:gd name="T21" fmla="*/ 17650 h 254"/>
                    <a:gd name="T22" fmla="*/ 13603 w 245"/>
                    <a:gd name="T23" fmla="*/ 18676 h 254"/>
                    <a:gd name="T24" fmla="*/ 143481 w 245"/>
                    <a:gd name="T25" fmla="*/ 18676 h 254"/>
                    <a:gd name="T26" fmla="*/ 157616 w 245"/>
                    <a:gd name="T27" fmla="*/ 17057 h 254"/>
                    <a:gd name="T28" fmla="*/ 157616 w 245"/>
                    <a:gd name="T29" fmla="*/ 1462 h 254"/>
                    <a:gd name="T30" fmla="*/ 152488 w 245"/>
                    <a:gd name="T31" fmla="*/ 222 h 25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5"/>
                    <a:gd name="T49" fmla="*/ 0 h 254"/>
                    <a:gd name="T50" fmla="*/ 245 w 245"/>
                    <a:gd name="T51" fmla="*/ 254 h 25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5" h="254">
                      <a:moveTo>
                        <a:pt x="237" y="3"/>
                      </a:moveTo>
                      <a:cubicBezTo>
                        <a:pt x="237" y="3"/>
                        <a:pt x="237" y="3"/>
                        <a:pt x="237" y="3"/>
                      </a:cubicBezTo>
                      <a:cubicBezTo>
                        <a:pt x="220" y="0"/>
                        <a:pt x="217" y="8"/>
                        <a:pt x="217" y="16"/>
                      </a:cubicBezTo>
                      <a:cubicBezTo>
                        <a:pt x="222" y="22"/>
                        <a:pt x="224" y="29"/>
                        <a:pt x="224" y="37"/>
                      </a:cubicBezTo>
                      <a:cubicBezTo>
                        <a:pt x="224" y="42"/>
                        <a:pt x="225" y="50"/>
                        <a:pt x="223" y="55"/>
                      </a:cubicBezTo>
                      <a:cubicBezTo>
                        <a:pt x="223" y="183"/>
                        <a:pt x="223" y="183"/>
                        <a:pt x="223" y="183"/>
                      </a:cubicBezTo>
                      <a:cubicBezTo>
                        <a:pt x="223" y="185"/>
                        <a:pt x="223" y="186"/>
                        <a:pt x="223" y="188"/>
                      </a:cubicBezTo>
                      <a:cubicBezTo>
                        <a:pt x="220" y="198"/>
                        <a:pt x="211" y="206"/>
                        <a:pt x="201" y="206"/>
                      </a:cubicBezTo>
                      <a:cubicBezTo>
                        <a:pt x="47" y="206"/>
                        <a:pt x="47" y="206"/>
                        <a:pt x="47" y="206"/>
                      </a:cubicBezTo>
                      <a:cubicBezTo>
                        <a:pt x="46" y="206"/>
                        <a:pt x="46" y="205"/>
                        <a:pt x="45" y="205"/>
                      </a:cubicBezTo>
                      <a:cubicBezTo>
                        <a:pt x="21" y="205"/>
                        <a:pt x="5" y="211"/>
                        <a:pt x="0" y="240"/>
                      </a:cubicBezTo>
                      <a:cubicBezTo>
                        <a:pt x="3" y="248"/>
                        <a:pt x="11" y="254"/>
                        <a:pt x="21" y="254"/>
                      </a:cubicBezTo>
                      <a:cubicBezTo>
                        <a:pt x="223" y="254"/>
                        <a:pt x="223" y="254"/>
                        <a:pt x="223" y="254"/>
                      </a:cubicBezTo>
                      <a:cubicBezTo>
                        <a:pt x="235" y="254"/>
                        <a:pt x="245" y="244"/>
                        <a:pt x="245" y="232"/>
                      </a:cubicBezTo>
                      <a:cubicBezTo>
                        <a:pt x="245" y="20"/>
                        <a:pt x="245" y="20"/>
                        <a:pt x="245" y="20"/>
                      </a:cubicBezTo>
                      <a:cubicBezTo>
                        <a:pt x="245" y="13"/>
                        <a:pt x="242" y="7"/>
                        <a:pt x="237" y="3"/>
                      </a:cubicBezTo>
                      <a:close/>
                    </a:path>
                  </a:pathLst>
                </a:custGeom>
                <a:solidFill>
                  <a:srgbClr val="CDCEC0"/>
                </a:solidFill>
                <a:ln w="9525">
                  <a:noFill/>
                  <a:round/>
                  <a:headEnd/>
                  <a:tailEnd/>
                </a:ln>
              </p:spPr>
              <p:txBody>
                <a:bodyPr/>
                <a:lstStyle/>
                <a:p>
                  <a:pPr>
                    <a:defRPr/>
                  </a:pPr>
                  <a:endParaRPr lang="de-DE">
                    <a:latin typeface="Myriad Pro" pitchFamily="34" charset="0"/>
                  </a:endParaRPr>
                </a:p>
              </p:txBody>
            </p:sp>
            <p:sp>
              <p:nvSpPr>
                <p:cNvPr id="28" name="Freeform 79"/>
                <p:cNvSpPr>
                  <a:spLocks/>
                </p:cNvSpPr>
                <p:nvPr/>
              </p:nvSpPr>
              <p:spPr bwMode="gray">
                <a:xfrm>
                  <a:off x="7083911" y="804295"/>
                  <a:ext cx="401303" cy="256277"/>
                </a:xfrm>
                <a:custGeom>
                  <a:avLst/>
                  <a:gdLst>
                    <a:gd name="T0" fmla="*/ 126750 w 198"/>
                    <a:gd name="T1" fmla="*/ 12576 h 195"/>
                    <a:gd name="T2" fmla="*/ 112021 w 198"/>
                    <a:gd name="T3" fmla="*/ 14241 h 195"/>
                    <a:gd name="T4" fmla="*/ 14773 w 198"/>
                    <a:gd name="T5" fmla="*/ 14241 h 195"/>
                    <a:gd name="T6" fmla="*/ 0 w 198"/>
                    <a:gd name="T7" fmla="*/ 12576 h 195"/>
                    <a:gd name="T8" fmla="*/ 0 w 198"/>
                    <a:gd name="T9" fmla="*/ 1670 h 195"/>
                    <a:gd name="T10" fmla="*/ 14773 w 198"/>
                    <a:gd name="T11" fmla="*/ 0 h 195"/>
                    <a:gd name="T12" fmla="*/ 112021 w 198"/>
                    <a:gd name="T13" fmla="*/ 0 h 195"/>
                    <a:gd name="T14" fmla="*/ 126750 w 198"/>
                    <a:gd name="T15" fmla="*/ 1670 h 195"/>
                    <a:gd name="T16" fmla="*/ 126750 w 198"/>
                    <a:gd name="T17" fmla="*/ 12576 h 1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8"/>
                    <a:gd name="T28" fmla="*/ 0 h 195"/>
                    <a:gd name="T29" fmla="*/ 198 w 198"/>
                    <a:gd name="T30" fmla="*/ 195 h 1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8" h="195">
                      <a:moveTo>
                        <a:pt x="198" y="172"/>
                      </a:moveTo>
                      <a:cubicBezTo>
                        <a:pt x="198" y="184"/>
                        <a:pt x="188" y="195"/>
                        <a:pt x="175" y="195"/>
                      </a:cubicBezTo>
                      <a:cubicBezTo>
                        <a:pt x="23" y="195"/>
                        <a:pt x="23" y="195"/>
                        <a:pt x="23" y="195"/>
                      </a:cubicBezTo>
                      <a:cubicBezTo>
                        <a:pt x="10" y="195"/>
                        <a:pt x="0" y="184"/>
                        <a:pt x="0" y="172"/>
                      </a:cubicBezTo>
                      <a:cubicBezTo>
                        <a:pt x="0" y="23"/>
                        <a:pt x="0" y="23"/>
                        <a:pt x="0" y="23"/>
                      </a:cubicBezTo>
                      <a:cubicBezTo>
                        <a:pt x="0" y="11"/>
                        <a:pt x="10" y="0"/>
                        <a:pt x="23" y="0"/>
                      </a:cubicBezTo>
                      <a:cubicBezTo>
                        <a:pt x="175" y="0"/>
                        <a:pt x="175" y="0"/>
                        <a:pt x="175" y="0"/>
                      </a:cubicBezTo>
                      <a:cubicBezTo>
                        <a:pt x="188" y="0"/>
                        <a:pt x="198" y="11"/>
                        <a:pt x="198" y="23"/>
                      </a:cubicBezTo>
                      <a:lnTo>
                        <a:pt x="198" y="172"/>
                      </a:lnTo>
                      <a:close/>
                    </a:path>
                  </a:pathLst>
                </a:custGeom>
                <a:noFill/>
                <a:ln w="14288">
                  <a:solidFill>
                    <a:srgbClr val="FFFFFF"/>
                  </a:solidFill>
                  <a:miter lim="800000"/>
                  <a:headEnd/>
                  <a:tailEnd/>
                </a:ln>
              </p:spPr>
              <p:txBody>
                <a:bodyPr/>
                <a:lstStyle/>
                <a:p>
                  <a:pPr>
                    <a:defRPr/>
                  </a:pPr>
                  <a:endParaRPr lang="de-DE">
                    <a:latin typeface="Myriad Pro" pitchFamily="34" charset="0"/>
                  </a:endParaRPr>
                </a:p>
              </p:txBody>
            </p:sp>
            <p:sp>
              <p:nvSpPr>
                <p:cNvPr id="29" name="Freeform 80"/>
                <p:cNvSpPr>
                  <a:spLocks/>
                </p:cNvSpPr>
                <p:nvPr/>
              </p:nvSpPr>
              <p:spPr bwMode="gray">
                <a:xfrm>
                  <a:off x="7046063" y="788139"/>
                  <a:ext cx="469208" cy="335946"/>
                </a:xfrm>
                <a:custGeom>
                  <a:avLst/>
                  <a:gdLst>
                    <a:gd name="T0" fmla="*/ 110744 w 249"/>
                    <a:gd name="T1" fmla="*/ 17161 h 255"/>
                    <a:gd name="T2" fmla="*/ 100510 w 249"/>
                    <a:gd name="T3" fmla="*/ 18856 h 255"/>
                    <a:gd name="T4" fmla="*/ 10248 w 249"/>
                    <a:gd name="T5" fmla="*/ 18856 h 255"/>
                    <a:gd name="T6" fmla="*/ 0 w 249"/>
                    <a:gd name="T7" fmla="*/ 17161 h 255"/>
                    <a:gd name="T8" fmla="*/ 0 w 249"/>
                    <a:gd name="T9" fmla="*/ 1695 h 255"/>
                    <a:gd name="T10" fmla="*/ 10248 w 249"/>
                    <a:gd name="T11" fmla="*/ 0 h 255"/>
                    <a:gd name="T12" fmla="*/ 100510 w 249"/>
                    <a:gd name="T13" fmla="*/ 0 h 255"/>
                    <a:gd name="T14" fmla="*/ 110744 w 249"/>
                    <a:gd name="T15" fmla="*/ 1695 h 255"/>
                    <a:gd name="T16" fmla="*/ 110744 w 249"/>
                    <a:gd name="T17" fmla="*/ 17161 h 2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9"/>
                    <a:gd name="T28" fmla="*/ 0 h 255"/>
                    <a:gd name="T29" fmla="*/ 249 w 249"/>
                    <a:gd name="T30" fmla="*/ 255 h 2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9" h="255">
                      <a:moveTo>
                        <a:pt x="249" y="232"/>
                      </a:moveTo>
                      <a:cubicBezTo>
                        <a:pt x="249" y="245"/>
                        <a:pt x="238" y="255"/>
                        <a:pt x="226" y="255"/>
                      </a:cubicBezTo>
                      <a:cubicBezTo>
                        <a:pt x="23" y="255"/>
                        <a:pt x="23" y="255"/>
                        <a:pt x="23" y="255"/>
                      </a:cubicBezTo>
                      <a:cubicBezTo>
                        <a:pt x="11" y="255"/>
                        <a:pt x="0" y="245"/>
                        <a:pt x="0" y="232"/>
                      </a:cubicBezTo>
                      <a:cubicBezTo>
                        <a:pt x="0" y="23"/>
                        <a:pt x="0" y="23"/>
                        <a:pt x="0" y="23"/>
                      </a:cubicBezTo>
                      <a:cubicBezTo>
                        <a:pt x="0" y="10"/>
                        <a:pt x="11" y="0"/>
                        <a:pt x="23" y="0"/>
                      </a:cubicBezTo>
                      <a:cubicBezTo>
                        <a:pt x="226" y="0"/>
                        <a:pt x="226" y="0"/>
                        <a:pt x="226" y="0"/>
                      </a:cubicBezTo>
                      <a:cubicBezTo>
                        <a:pt x="238" y="0"/>
                        <a:pt x="249" y="10"/>
                        <a:pt x="249" y="23"/>
                      </a:cubicBezTo>
                      <a:lnTo>
                        <a:pt x="249" y="232"/>
                      </a:lnTo>
                      <a:close/>
                    </a:path>
                  </a:pathLst>
                </a:custGeom>
                <a:noFill/>
                <a:ln w="14288">
                  <a:solidFill>
                    <a:srgbClr val="C6C7C8"/>
                  </a:solidFill>
                  <a:miter lim="800000"/>
                  <a:headEnd/>
                  <a:tailEnd/>
                </a:ln>
              </p:spPr>
              <p:txBody>
                <a:bodyPr/>
                <a:lstStyle/>
                <a:p>
                  <a:pPr>
                    <a:defRPr/>
                  </a:pPr>
                  <a:endParaRPr lang="de-DE">
                    <a:latin typeface="Myriad Pro" pitchFamily="34" charset="0"/>
                  </a:endParaRPr>
                </a:p>
              </p:txBody>
            </p:sp>
            <p:sp>
              <p:nvSpPr>
                <p:cNvPr id="30" name="Pfeil nach oben 29"/>
                <p:cNvSpPr/>
                <p:nvPr/>
              </p:nvSpPr>
              <p:spPr>
                <a:xfrm>
                  <a:off x="7134483" y="875522"/>
                  <a:ext cx="162000" cy="108000"/>
                </a:xfrm>
                <a:prstGeom prst="upArrow">
                  <a:avLst>
                    <a:gd name="adj1" fmla="val 56614"/>
                    <a:gd name="adj2" fmla="val 56614"/>
                  </a:avLst>
                </a:prstGeom>
                <a:noFill/>
                <a:ln w="9906">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grpSp>
        <p:grpSp>
          <p:nvGrpSpPr>
            <p:cNvPr id="106" name="Group 105"/>
            <p:cNvGrpSpPr/>
            <p:nvPr/>
          </p:nvGrpSpPr>
          <p:grpSpPr>
            <a:xfrm>
              <a:off x="2654493" y="4091090"/>
              <a:ext cx="6336862" cy="736478"/>
              <a:chOff x="2654493" y="4091090"/>
              <a:chExt cx="6336862" cy="736478"/>
            </a:xfrm>
          </p:grpSpPr>
          <p:pic>
            <p:nvPicPr>
              <p:cNvPr id="45" name="Grafik 44" descr="maus_wischen.png"/>
              <p:cNvPicPr>
                <a:picLocks noChangeAspect="1"/>
              </p:cNvPicPr>
              <p:nvPr/>
            </p:nvPicPr>
            <p:blipFill>
              <a:blip r:embed="rId36" cstate="print"/>
              <a:stretch>
                <a:fillRect/>
              </a:stretch>
            </p:blipFill>
            <p:spPr>
              <a:xfrm>
                <a:off x="7567368" y="4117956"/>
                <a:ext cx="1423987" cy="709612"/>
              </a:xfrm>
              <a:prstGeom prst="rect">
                <a:avLst/>
              </a:prstGeom>
              <a:effectLst>
                <a:outerShdw blurRad="50800" dist="38100" dir="2700000" algn="tl" rotWithShape="0">
                  <a:prstClr val="black">
                    <a:alpha val="40000"/>
                  </a:prstClr>
                </a:outerShdw>
              </a:effectLst>
            </p:spPr>
          </p:pic>
          <p:grpSp>
            <p:nvGrpSpPr>
              <p:cNvPr id="32" name="Group 45"/>
              <p:cNvGrpSpPr>
                <a:grpSpLocks/>
              </p:cNvGrpSpPr>
              <p:nvPr/>
            </p:nvGrpSpPr>
            <p:grpSpPr bwMode="auto">
              <a:xfrm rot="20287264">
                <a:off x="2654493" y="4091090"/>
                <a:ext cx="374650" cy="609600"/>
                <a:chOff x="1950" y="1045"/>
                <a:chExt cx="568" cy="928"/>
              </a:xfrm>
            </p:grpSpPr>
            <p:sp>
              <p:nvSpPr>
                <p:cNvPr id="33"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34"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35"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6"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37"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8"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39"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40"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41"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42"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43"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44"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4"/>
          <a:srcRect/>
          <a:stretch>
            <a:fillRect/>
          </a:stretch>
        </p:blipFill>
        <p:spPr bwMode="auto">
          <a:xfrm>
            <a:off x="0" y="305122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800" b="0" i="0" u="none" strike="noStrike" kern="0" cap="none" spc="0" normalizeH="0" baseline="0" noProof="0" dirty="0" smtClean="0">
                <a:ln>
                  <a:noFill/>
                </a:ln>
                <a:solidFill>
                  <a:schemeClr val="tx2"/>
                </a:solidFill>
                <a:effectLst/>
                <a:uLnTx/>
                <a:uFillTx/>
                <a:latin typeface="Myriad Pro" pitchFamily="34" charset="0"/>
                <a:ea typeface="+mj-ea"/>
                <a:cs typeface="+mj-cs"/>
              </a:rPr>
              <a:t>Regionen einfärben</a:t>
            </a:r>
          </a:p>
        </p:txBody>
      </p:sp>
      <p:grpSp>
        <p:nvGrpSpPr>
          <p:cNvPr id="4" name="Group 19"/>
          <p:cNvGrpSpPr>
            <a:grpSpLocks/>
          </p:cNvGrpSpPr>
          <p:nvPr/>
        </p:nvGrpSpPr>
        <p:grpSpPr bwMode="auto">
          <a:xfrm>
            <a:off x="749033" y="998538"/>
            <a:ext cx="2379600" cy="3222000"/>
            <a:chOff x="670" y="640"/>
            <a:chExt cx="2195" cy="2972"/>
          </a:xfrm>
          <a:effectLst>
            <a:reflection blurRad="6350" stA="52000" endA="300" endPos="35000" dir="5400000" sy="-100000" algn="bl" rotWithShape="0"/>
          </a:effectLst>
        </p:grpSpPr>
        <p:sp>
          <p:nvSpPr>
            <p:cNvPr id="89" name="Freeform 20"/>
            <p:cNvSpPr>
              <a:spLocks/>
            </p:cNvSpPr>
            <p:nvPr>
              <p:custDataLst>
                <p:tags r:id="rId17"/>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0" name="Freeform 21"/>
            <p:cNvSpPr>
              <a:spLocks/>
            </p:cNvSpPr>
            <p:nvPr>
              <p:custDataLst>
                <p:tags r:id="rId18"/>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1" name="Freeform 22"/>
            <p:cNvSpPr>
              <a:spLocks/>
            </p:cNvSpPr>
            <p:nvPr>
              <p:custDataLst>
                <p:tags r:id="rId19"/>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2" name="Freeform 23"/>
            <p:cNvSpPr>
              <a:spLocks/>
            </p:cNvSpPr>
            <p:nvPr>
              <p:custDataLst>
                <p:tags r:id="rId20"/>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3" name="Freeform 24"/>
            <p:cNvSpPr>
              <a:spLocks noEditPoints="1"/>
            </p:cNvSpPr>
            <p:nvPr>
              <p:custDataLst>
                <p:tags r:id="rId21"/>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4" name="Freeform 25"/>
            <p:cNvSpPr>
              <a:spLocks/>
            </p:cNvSpPr>
            <p:nvPr>
              <p:custDataLst>
                <p:tags r:id="rId22"/>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5" name="Freeform 26"/>
            <p:cNvSpPr>
              <a:spLocks/>
            </p:cNvSpPr>
            <p:nvPr>
              <p:custDataLst>
                <p:tags r:id="rId23"/>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6" name="Freeform 27"/>
            <p:cNvSpPr>
              <a:spLocks/>
            </p:cNvSpPr>
            <p:nvPr>
              <p:custDataLst>
                <p:tags r:id="rId24"/>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7" name="Freeform 28"/>
            <p:cNvSpPr>
              <a:spLocks/>
            </p:cNvSpPr>
            <p:nvPr>
              <p:custDataLst>
                <p:tags r:id="rId25"/>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8" name="Freeform 29"/>
            <p:cNvSpPr>
              <a:spLocks/>
            </p:cNvSpPr>
            <p:nvPr>
              <p:custDataLst>
                <p:tags r:id="rId26"/>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9" name="Freeform 30"/>
            <p:cNvSpPr>
              <a:spLocks noEditPoints="1"/>
            </p:cNvSpPr>
            <p:nvPr>
              <p:custDataLst>
                <p:tags r:id="rId27"/>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0" name="Freeform 31"/>
            <p:cNvSpPr>
              <a:spLocks noEditPoints="1"/>
            </p:cNvSpPr>
            <p:nvPr>
              <p:custDataLst>
                <p:tags r:id="rId28"/>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1" name="Freeform 32"/>
            <p:cNvSpPr>
              <a:spLocks/>
            </p:cNvSpPr>
            <p:nvPr>
              <p:custDataLst>
                <p:tags r:id="rId29"/>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2" name="Freeform 33"/>
            <p:cNvSpPr>
              <a:spLocks noEditPoints="1"/>
            </p:cNvSpPr>
            <p:nvPr>
              <p:custDataLst>
                <p:tags r:id="rId30"/>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chemeClr val="bg1">
                <a:lumMod val="75000"/>
              </a:schemeClr>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3" name="Freeform 34"/>
            <p:cNvSpPr>
              <a:spLocks noEditPoints="1"/>
            </p:cNvSpPr>
            <p:nvPr>
              <p:custDataLst>
                <p:tags r:id="rId31"/>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 name="Freeform 35"/>
            <p:cNvSpPr>
              <a:spLocks noEditPoints="1"/>
            </p:cNvSpPr>
            <p:nvPr>
              <p:custDataLst>
                <p:tags r:id="rId32"/>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sp>
        <p:nvSpPr>
          <p:cNvPr id="82" name="Ellipse 81"/>
          <p:cNvSpPr/>
          <p:nvPr/>
        </p:nvSpPr>
        <p:spPr>
          <a:xfrm>
            <a:off x="6910151" y="2310783"/>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grpSp>
        <p:nvGrpSpPr>
          <p:cNvPr id="5" name="Group 19"/>
          <p:cNvGrpSpPr>
            <a:grpSpLocks/>
          </p:cNvGrpSpPr>
          <p:nvPr/>
        </p:nvGrpSpPr>
        <p:grpSpPr bwMode="auto">
          <a:xfrm>
            <a:off x="6400623" y="989829"/>
            <a:ext cx="2379600" cy="3222000"/>
            <a:chOff x="670" y="640"/>
            <a:chExt cx="2195" cy="2972"/>
          </a:xfrm>
          <a:effectLst>
            <a:reflection blurRad="6350" stA="52000" endA="300" endPos="35000" dir="5400000" sy="-100000" algn="bl" rotWithShape="0"/>
          </a:effectLst>
        </p:grpSpPr>
        <p:sp>
          <p:nvSpPr>
            <p:cNvPr id="123"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4"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5"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6"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7"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8"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9"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30"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902017"/>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31"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32"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37"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0"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3"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6"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7"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8"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6" name="Gruppieren 73"/>
          <p:cNvGrpSpPr/>
          <p:nvPr/>
        </p:nvGrpSpPr>
        <p:grpSpPr>
          <a:xfrm>
            <a:off x="678043" y="1019142"/>
            <a:ext cx="347663" cy="338138"/>
            <a:chOff x="203518" y="4378643"/>
            <a:chExt cx="347663" cy="338138"/>
          </a:xfrm>
        </p:grpSpPr>
        <p:pic>
          <p:nvPicPr>
            <p:cNvPr id="162" name="Grafik 161"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163"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7" name="Gruppieren 77"/>
          <p:cNvGrpSpPr/>
          <p:nvPr/>
        </p:nvGrpSpPr>
        <p:grpSpPr>
          <a:xfrm>
            <a:off x="3423093" y="2646867"/>
            <a:ext cx="347663" cy="338138"/>
            <a:chOff x="203518" y="4966018"/>
            <a:chExt cx="347663" cy="338138"/>
          </a:xfrm>
        </p:grpSpPr>
        <p:pic>
          <p:nvPicPr>
            <p:cNvPr id="165" name="Grafik 164"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166"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8" name="Gruppieren 77"/>
          <p:cNvGrpSpPr/>
          <p:nvPr/>
        </p:nvGrpSpPr>
        <p:grpSpPr>
          <a:xfrm>
            <a:off x="3423093" y="1564392"/>
            <a:ext cx="347663" cy="338138"/>
            <a:chOff x="203518" y="4966018"/>
            <a:chExt cx="347663" cy="338138"/>
          </a:xfrm>
        </p:grpSpPr>
        <p:pic>
          <p:nvPicPr>
            <p:cNvPr id="172" name="Grafik 171"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173"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199" name="Rectangle 5"/>
          <p:cNvSpPr>
            <a:spLocks noChangeArrowheads="1"/>
          </p:cNvSpPr>
          <p:nvPr/>
        </p:nvSpPr>
        <p:spPr bwMode="gray">
          <a:xfrm>
            <a:off x="639763" y="4627750"/>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Um eine Region einzufärben, klicken Sie diese mit der linken Maustaste an.</a:t>
            </a:r>
            <a:endParaRPr lang="de-DE" sz="1200" dirty="0">
              <a:latin typeface="Myriad Pro" pitchFamily="34" charset="0"/>
              <a:ea typeface="Arial Unicode MS" pitchFamily="34" charset="-128"/>
              <a:cs typeface="Arial" charset="0"/>
            </a:endParaRPr>
          </a:p>
        </p:txBody>
      </p:sp>
      <p:sp>
        <p:nvSpPr>
          <p:cNvPr id="200" name="PPTShape_5"/>
          <p:cNvSpPr>
            <a:spLocks noChangeArrowheads="1"/>
          </p:cNvSpPr>
          <p:nvPr/>
        </p:nvSpPr>
        <p:spPr bwMode="gray">
          <a:xfrm>
            <a:off x="639763" y="5244706"/>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Im 2. Schritt wählen Sie die Option “Fülleffekte“ aus. </a:t>
            </a:r>
            <a:endParaRPr lang="de-DE" dirty="0">
              <a:solidFill>
                <a:srgbClr val="000000"/>
              </a:solidFill>
              <a:ea typeface="Arial Unicode MS" pitchFamily="34" charset="-128"/>
              <a:cs typeface="Arial" charset="0"/>
            </a:endParaRPr>
          </a:p>
        </p:txBody>
      </p:sp>
      <p:sp>
        <p:nvSpPr>
          <p:cNvPr id="201" name="PPTShape_6"/>
          <p:cNvSpPr>
            <a:spLocks noChangeArrowheads="1"/>
          </p:cNvSpPr>
          <p:nvPr/>
        </p:nvSpPr>
        <p:spPr bwMode="gray">
          <a:xfrm>
            <a:off x="639763" y="5833668"/>
            <a:ext cx="8251825" cy="423862"/>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Hier können Sie die neue Farbe für Ihre Region definieren. </a:t>
            </a:r>
            <a:endParaRPr lang="de-DE" sz="1200" dirty="0">
              <a:solidFill>
                <a:srgbClr val="000000"/>
              </a:solidFill>
              <a:latin typeface="Myriad Pro" pitchFamily="34" charset="0"/>
              <a:ea typeface="Arial Unicode MS" pitchFamily="34" charset="-128"/>
              <a:cs typeface="Arial" charset="0"/>
            </a:endParaRPr>
          </a:p>
        </p:txBody>
      </p:sp>
      <p:grpSp>
        <p:nvGrpSpPr>
          <p:cNvPr id="9" name="Gruppieren 275"/>
          <p:cNvGrpSpPr/>
          <p:nvPr/>
        </p:nvGrpSpPr>
        <p:grpSpPr>
          <a:xfrm>
            <a:off x="203518" y="4627750"/>
            <a:ext cx="347663" cy="338138"/>
            <a:chOff x="203518" y="4378643"/>
            <a:chExt cx="347663" cy="338138"/>
          </a:xfrm>
        </p:grpSpPr>
        <p:pic>
          <p:nvPicPr>
            <p:cNvPr id="203" name="Grafik 202"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204"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0" name="Gruppieren 278"/>
          <p:cNvGrpSpPr/>
          <p:nvPr/>
        </p:nvGrpSpPr>
        <p:grpSpPr>
          <a:xfrm>
            <a:off x="203518" y="5244706"/>
            <a:ext cx="347663" cy="338138"/>
            <a:chOff x="203518" y="4966018"/>
            <a:chExt cx="347663" cy="338138"/>
          </a:xfrm>
        </p:grpSpPr>
        <p:pic>
          <p:nvPicPr>
            <p:cNvPr id="206" name="Grafik 205"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207"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1" name="Gruppieren 281"/>
          <p:cNvGrpSpPr/>
          <p:nvPr/>
        </p:nvGrpSpPr>
        <p:grpSpPr>
          <a:xfrm>
            <a:off x="203518" y="5833668"/>
            <a:ext cx="347663" cy="338138"/>
            <a:chOff x="203518" y="5554980"/>
            <a:chExt cx="347663" cy="338138"/>
          </a:xfrm>
        </p:grpSpPr>
        <p:pic>
          <p:nvPicPr>
            <p:cNvPr id="209" name="Grafik 208" descr="schatten.png"/>
            <p:cNvPicPr>
              <a:picLocks noChangeAspect="1"/>
            </p:cNvPicPr>
            <p:nvPr/>
          </p:nvPicPr>
          <p:blipFill>
            <a:blip r:embed="rId35" cstate="print">
              <a:lum bright="30000"/>
            </a:blip>
            <a:srcRect l="17603" t="9404" r="15359" b="14528"/>
            <a:stretch>
              <a:fillRect/>
            </a:stretch>
          </p:blipFill>
          <p:spPr>
            <a:xfrm>
              <a:off x="203518" y="5554980"/>
              <a:ext cx="347663" cy="338138"/>
            </a:xfrm>
            <a:prstGeom prst="rect">
              <a:avLst/>
            </a:prstGeom>
          </p:spPr>
        </p:pic>
        <p:sp>
          <p:nvSpPr>
            <p:cNvPr id="210"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12" name="Group 132"/>
          <p:cNvGrpSpPr/>
          <p:nvPr/>
        </p:nvGrpSpPr>
        <p:grpSpPr>
          <a:xfrm>
            <a:off x="1138187" y="1494951"/>
            <a:ext cx="6488084" cy="2878130"/>
            <a:chOff x="1138187" y="1494951"/>
            <a:chExt cx="6488084" cy="2878130"/>
          </a:xfrm>
        </p:grpSpPr>
        <p:pic>
          <p:nvPicPr>
            <p:cNvPr id="136" name="Picture 2"/>
            <p:cNvPicPr>
              <a:picLocks noChangeAspect="1" noChangeArrowheads="1"/>
            </p:cNvPicPr>
            <p:nvPr/>
          </p:nvPicPr>
          <p:blipFill>
            <a:blip r:embed="rId36"/>
            <a:srcRect/>
            <a:stretch>
              <a:fillRect/>
            </a:stretch>
          </p:blipFill>
          <p:spPr bwMode="auto">
            <a:xfrm>
              <a:off x="3837758" y="1494951"/>
              <a:ext cx="2509200" cy="556872"/>
            </a:xfrm>
            <a:prstGeom prst="rect">
              <a:avLst/>
            </a:prstGeom>
            <a:noFill/>
            <a:effectLst>
              <a:outerShdw blurRad="50800" dist="38100" dir="2700000" algn="tl" rotWithShape="0">
                <a:prstClr val="black">
                  <a:alpha val="40000"/>
                </a:prstClr>
              </a:outerShdw>
            </a:effectLst>
          </p:spPr>
        </p:pic>
        <p:sp>
          <p:nvSpPr>
            <p:cNvPr id="174" name="Rechteck 173"/>
            <p:cNvSpPr/>
            <p:nvPr/>
          </p:nvSpPr>
          <p:spPr>
            <a:xfrm>
              <a:off x="5512746" y="1497873"/>
              <a:ext cx="844513" cy="182881"/>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uppieren 278"/>
            <p:cNvGrpSpPr/>
            <p:nvPr/>
          </p:nvGrpSpPr>
          <p:grpSpPr>
            <a:xfrm>
              <a:off x="6185101" y="1589409"/>
              <a:ext cx="218637" cy="381655"/>
              <a:chOff x="2806936" y="1682676"/>
              <a:chExt cx="852584" cy="1488282"/>
            </a:xfrm>
            <a:effectLst>
              <a:outerShdw blurRad="50800" dist="38100" dir="2700000" algn="tl" rotWithShape="0">
                <a:prstClr val="black">
                  <a:alpha val="40000"/>
                </a:prstClr>
              </a:outerShdw>
            </a:effectLst>
          </p:grpSpPr>
          <p:sp>
            <p:nvSpPr>
              <p:cNvPr id="176" name="Freeform 209"/>
              <p:cNvSpPr>
                <a:spLocks/>
              </p:cNvSpPr>
              <p:nvPr/>
            </p:nvSpPr>
            <p:spPr bwMode="auto">
              <a:xfrm>
                <a:off x="2877569" y="1823942"/>
                <a:ext cx="639853" cy="1276382"/>
              </a:xfrm>
              <a:custGeom>
                <a:avLst/>
                <a:gdLst/>
                <a:ahLst/>
                <a:cxnLst>
                  <a:cxn ang="0">
                    <a:pos x="770" y="1366"/>
                  </a:cxn>
                  <a:cxn ang="0">
                    <a:pos x="770" y="1536"/>
                  </a:cxn>
                  <a:cxn ang="0">
                    <a:pos x="598" y="1536"/>
                  </a:cxn>
                  <a:cxn ang="0">
                    <a:pos x="598" y="1366"/>
                  </a:cxn>
                  <a:cxn ang="0">
                    <a:pos x="513" y="1366"/>
                  </a:cxn>
                  <a:cxn ang="0">
                    <a:pos x="513" y="1195"/>
                  </a:cxn>
                  <a:cxn ang="0">
                    <a:pos x="428" y="1195"/>
                  </a:cxn>
                  <a:cxn ang="0">
                    <a:pos x="428" y="1023"/>
                  </a:cxn>
                  <a:cxn ang="0">
                    <a:pos x="343" y="1023"/>
                  </a:cxn>
                  <a:cxn ang="0">
                    <a:pos x="343" y="853"/>
                  </a:cxn>
                  <a:cxn ang="0">
                    <a:pos x="258" y="853"/>
                  </a:cxn>
                  <a:cxn ang="0">
                    <a:pos x="258" y="938"/>
                  </a:cxn>
                  <a:cxn ang="0">
                    <a:pos x="173" y="938"/>
                  </a:cxn>
                  <a:cxn ang="0">
                    <a:pos x="173" y="1023"/>
                  </a:cxn>
                  <a:cxn ang="0">
                    <a:pos x="87" y="1023"/>
                  </a:cxn>
                  <a:cxn ang="0">
                    <a:pos x="87" y="1108"/>
                  </a:cxn>
                  <a:cxn ang="0">
                    <a:pos x="0" y="1108"/>
                  </a:cxn>
                  <a:cxn ang="0">
                    <a:pos x="0" y="0"/>
                  </a:cxn>
                  <a:cxn ang="0">
                    <a:pos x="87" y="0"/>
                  </a:cxn>
                  <a:cxn ang="0">
                    <a:pos x="87" y="85"/>
                  </a:cxn>
                  <a:cxn ang="0">
                    <a:pos x="173" y="85"/>
                  </a:cxn>
                  <a:cxn ang="0">
                    <a:pos x="173" y="170"/>
                  </a:cxn>
                  <a:cxn ang="0">
                    <a:pos x="258" y="170"/>
                  </a:cxn>
                  <a:cxn ang="0">
                    <a:pos x="258" y="255"/>
                  </a:cxn>
                  <a:cxn ang="0">
                    <a:pos x="343" y="255"/>
                  </a:cxn>
                  <a:cxn ang="0">
                    <a:pos x="343" y="340"/>
                  </a:cxn>
                  <a:cxn ang="0">
                    <a:pos x="428" y="340"/>
                  </a:cxn>
                  <a:cxn ang="0">
                    <a:pos x="428" y="425"/>
                  </a:cxn>
                  <a:cxn ang="0">
                    <a:pos x="513" y="425"/>
                  </a:cxn>
                  <a:cxn ang="0">
                    <a:pos x="513" y="513"/>
                  </a:cxn>
                  <a:cxn ang="0">
                    <a:pos x="598" y="513"/>
                  </a:cxn>
                  <a:cxn ang="0">
                    <a:pos x="598" y="598"/>
                  </a:cxn>
                  <a:cxn ang="0">
                    <a:pos x="683" y="598"/>
                  </a:cxn>
                  <a:cxn ang="0">
                    <a:pos x="683" y="683"/>
                  </a:cxn>
                  <a:cxn ang="0">
                    <a:pos x="770" y="683"/>
                  </a:cxn>
                  <a:cxn ang="0">
                    <a:pos x="770" y="768"/>
                  </a:cxn>
                  <a:cxn ang="0">
                    <a:pos x="513" y="768"/>
                  </a:cxn>
                  <a:cxn ang="0">
                    <a:pos x="513" y="1023"/>
                  </a:cxn>
                  <a:cxn ang="0">
                    <a:pos x="598" y="1023"/>
                  </a:cxn>
                  <a:cxn ang="0">
                    <a:pos x="598" y="1195"/>
                  </a:cxn>
                  <a:cxn ang="0">
                    <a:pos x="683" y="1195"/>
                  </a:cxn>
                  <a:cxn ang="0">
                    <a:pos x="683" y="1366"/>
                  </a:cxn>
                  <a:cxn ang="0">
                    <a:pos x="770" y="1366"/>
                  </a:cxn>
                </a:cxnLst>
                <a:rect l="0" t="0" r="r" b="b"/>
                <a:pathLst>
                  <a:path w="770" h="1536">
                    <a:moveTo>
                      <a:pt x="770" y="1366"/>
                    </a:moveTo>
                    <a:lnTo>
                      <a:pt x="770" y="1536"/>
                    </a:lnTo>
                    <a:lnTo>
                      <a:pt x="598" y="1536"/>
                    </a:lnTo>
                    <a:lnTo>
                      <a:pt x="598" y="1366"/>
                    </a:lnTo>
                    <a:lnTo>
                      <a:pt x="513" y="1366"/>
                    </a:lnTo>
                    <a:lnTo>
                      <a:pt x="513" y="1195"/>
                    </a:lnTo>
                    <a:lnTo>
                      <a:pt x="428" y="1195"/>
                    </a:lnTo>
                    <a:lnTo>
                      <a:pt x="428" y="1023"/>
                    </a:lnTo>
                    <a:lnTo>
                      <a:pt x="343" y="1023"/>
                    </a:lnTo>
                    <a:lnTo>
                      <a:pt x="343" y="853"/>
                    </a:lnTo>
                    <a:lnTo>
                      <a:pt x="258" y="853"/>
                    </a:lnTo>
                    <a:lnTo>
                      <a:pt x="258" y="938"/>
                    </a:lnTo>
                    <a:lnTo>
                      <a:pt x="173" y="938"/>
                    </a:lnTo>
                    <a:lnTo>
                      <a:pt x="173" y="1023"/>
                    </a:lnTo>
                    <a:lnTo>
                      <a:pt x="87" y="1023"/>
                    </a:lnTo>
                    <a:lnTo>
                      <a:pt x="87" y="1108"/>
                    </a:lnTo>
                    <a:lnTo>
                      <a:pt x="0" y="1108"/>
                    </a:lnTo>
                    <a:lnTo>
                      <a:pt x="0" y="0"/>
                    </a:lnTo>
                    <a:lnTo>
                      <a:pt x="87" y="0"/>
                    </a:lnTo>
                    <a:lnTo>
                      <a:pt x="87" y="85"/>
                    </a:lnTo>
                    <a:lnTo>
                      <a:pt x="173" y="85"/>
                    </a:lnTo>
                    <a:lnTo>
                      <a:pt x="173" y="170"/>
                    </a:lnTo>
                    <a:lnTo>
                      <a:pt x="258" y="170"/>
                    </a:lnTo>
                    <a:lnTo>
                      <a:pt x="258" y="255"/>
                    </a:lnTo>
                    <a:lnTo>
                      <a:pt x="343" y="255"/>
                    </a:lnTo>
                    <a:lnTo>
                      <a:pt x="343" y="340"/>
                    </a:lnTo>
                    <a:lnTo>
                      <a:pt x="428" y="340"/>
                    </a:lnTo>
                    <a:lnTo>
                      <a:pt x="428" y="425"/>
                    </a:lnTo>
                    <a:lnTo>
                      <a:pt x="513" y="425"/>
                    </a:lnTo>
                    <a:lnTo>
                      <a:pt x="513" y="513"/>
                    </a:lnTo>
                    <a:lnTo>
                      <a:pt x="598" y="513"/>
                    </a:lnTo>
                    <a:lnTo>
                      <a:pt x="598" y="598"/>
                    </a:lnTo>
                    <a:lnTo>
                      <a:pt x="683" y="598"/>
                    </a:lnTo>
                    <a:lnTo>
                      <a:pt x="683" y="683"/>
                    </a:lnTo>
                    <a:lnTo>
                      <a:pt x="770" y="683"/>
                    </a:lnTo>
                    <a:lnTo>
                      <a:pt x="770" y="768"/>
                    </a:lnTo>
                    <a:lnTo>
                      <a:pt x="513" y="768"/>
                    </a:lnTo>
                    <a:lnTo>
                      <a:pt x="513" y="1023"/>
                    </a:lnTo>
                    <a:lnTo>
                      <a:pt x="598" y="1023"/>
                    </a:lnTo>
                    <a:lnTo>
                      <a:pt x="598" y="1195"/>
                    </a:lnTo>
                    <a:lnTo>
                      <a:pt x="683" y="1195"/>
                    </a:lnTo>
                    <a:lnTo>
                      <a:pt x="683" y="1366"/>
                    </a:lnTo>
                    <a:lnTo>
                      <a:pt x="770" y="1366"/>
                    </a:lnTo>
                    <a:close/>
                  </a:path>
                </a:pathLst>
              </a:custGeom>
              <a:gradFill flip="none" rotWithShape="1">
                <a:gsLst>
                  <a:gs pos="0">
                    <a:schemeClr val="bg1">
                      <a:lumMod val="85000"/>
                    </a:schemeClr>
                  </a:gs>
                  <a:gs pos="50000">
                    <a:schemeClr val="bg1">
                      <a:lumMod val="95000"/>
                    </a:schemeClr>
                  </a:gs>
                  <a:gs pos="100000">
                    <a:schemeClr val="bg1">
                      <a:shade val="100000"/>
                      <a:satMod val="11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77" name="Freeform 210"/>
              <p:cNvSpPr>
                <a:spLocks/>
              </p:cNvSpPr>
              <p:nvPr/>
            </p:nvSpPr>
            <p:spPr bwMode="auto">
              <a:xfrm>
                <a:off x="3303861" y="2391501"/>
                <a:ext cx="355659" cy="282533"/>
              </a:xfrm>
              <a:custGeom>
                <a:avLst/>
                <a:gdLst/>
                <a:ahLst/>
                <a:cxnLst>
                  <a:cxn ang="0">
                    <a:pos x="428" y="85"/>
                  </a:cxn>
                  <a:cxn ang="0">
                    <a:pos x="428" y="170"/>
                  </a:cxn>
                  <a:cxn ang="0">
                    <a:pos x="85" y="170"/>
                  </a:cxn>
                  <a:cxn ang="0">
                    <a:pos x="85" y="340"/>
                  </a:cxn>
                  <a:cxn ang="0">
                    <a:pos x="0" y="340"/>
                  </a:cxn>
                  <a:cxn ang="0">
                    <a:pos x="0" y="85"/>
                  </a:cxn>
                  <a:cxn ang="0">
                    <a:pos x="257" y="85"/>
                  </a:cxn>
                  <a:cxn ang="0">
                    <a:pos x="257" y="0"/>
                  </a:cxn>
                  <a:cxn ang="0">
                    <a:pos x="343" y="0"/>
                  </a:cxn>
                  <a:cxn ang="0">
                    <a:pos x="343" y="85"/>
                  </a:cxn>
                  <a:cxn ang="0">
                    <a:pos x="428" y="85"/>
                  </a:cxn>
                </a:cxnLst>
                <a:rect l="0" t="0" r="r" b="b"/>
                <a:pathLst>
                  <a:path w="428" h="340">
                    <a:moveTo>
                      <a:pt x="428" y="85"/>
                    </a:moveTo>
                    <a:lnTo>
                      <a:pt x="428" y="170"/>
                    </a:lnTo>
                    <a:lnTo>
                      <a:pt x="85" y="170"/>
                    </a:lnTo>
                    <a:lnTo>
                      <a:pt x="85" y="340"/>
                    </a:lnTo>
                    <a:lnTo>
                      <a:pt x="0" y="340"/>
                    </a:lnTo>
                    <a:lnTo>
                      <a:pt x="0" y="85"/>
                    </a:lnTo>
                    <a:lnTo>
                      <a:pt x="257" y="85"/>
                    </a:lnTo>
                    <a:lnTo>
                      <a:pt x="257" y="0"/>
                    </a:lnTo>
                    <a:lnTo>
                      <a:pt x="343" y="0"/>
                    </a:lnTo>
                    <a:lnTo>
                      <a:pt x="343" y="85"/>
                    </a:lnTo>
                    <a:lnTo>
                      <a:pt x="428" y="85"/>
                    </a:lnTo>
                    <a:close/>
                  </a:path>
                </a:pathLst>
              </a:custGeom>
              <a:solidFill>
                <a:schemeClr val="bg1">
                  <a:lumMod val="50000"/>
                </a:schemeClr>
              </a:solidFill>
              <a:ln w="9525">
                <a:noFill/>
                <a:round/>
                <a:headEnd/>
                <a:tailEnd/>
              </a:ln>
            </p:spPr>
            <p:txBody>
              <a:bodyPr/>
              <a:lstStyle/>
              <a:p>
                <a:pPr>
                  <a:defRPr/>
                </a:pPr>
                <a:endParaRPr lang="de-DE"/>
              </a:p>
            </p:txBody>
          </p:sp>
          <p:sp>
            <p:nvSpPr>
              <p:cNvPr id="178" name="Rectangle 211"/>
              <p:cNvSpPr>
                <a:spLocks noChangeArrowheads="1"/>
              </p:cNvSpPr>
              <p:nvPr/>
            </p:nvSpPr>
            <p:spPr bwMode="auto">
              <a:xfrm>
                <a:off x="3517423" y="2959058"/>
                <a:ext cx="71464" cy="141266"/>
              </a:xfrm>
              <a:prstGeom prst="rect">
                <a:avLst/>
              </a:prstGeom>
              <a:solidFill>
                <a:schemeClr val="bg1">
                  <a:lumMod val="50000"/>
                </a:schemeClr>
              </a:solidFill>
              <a:ln w="9525">
                <a:noFill/>
                <a:miter lim="800000"/>
                <a:headEnd/>
                <a:tailEnd/>
              </a:ln>
            </p:spPr>
            <p:txBody>
              <a:bodyPr/>
              <a:lstStyle/>
              <a:p>
                <a:pPr>
                  <a:defRPr/>
                </a:pPr>
                <a:endParaRPr lang="de-DE"/>
              </a:p>
            </p:txBody>
          </p:sp>
          <p:sp>
            <p:nvSpPr>
              <p:cNvPr id="179" name="Rectangle 212"/>
              <p:cNvSpPr>
                <a:spLocks noChangeArrowheads="1"/>
              </p:cNvSpPr>
              <p:nvPr/>
            </p:nvSpPr>
            <p:spPr bwMode="auto">
              <a:xfrm>
                <a:off x="3374495" y="3100325"/>
                <a:ext cx="142928"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0" name="Rectangle 213"/>
              <p:cNvSpPr>
                <a:spLocks noChangeArrowheads="1"/>
              </p:cNvSpPr>
              <p:nvPr/>
            </p:nvSpPr>
            <p:spPr bwMode="auto">
              <a:xfrm>
                <a:off x="3445128" y="2816961"/>
                <a:ext cx="72295" cy="142098"/>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1" name="Rectangle 214"/>
              <p:cNvSpPr>
                <a:spLocks noChangeArrowheads="1"/>
              </p:cNvSpPr>
              <p:nvPr/>
            </p:nvSpPr>
            <p:spPr bwMode="auto">
              <a:xfrm>
                <a:off x="3445128" y="2320867"/>
                <a:ext cx="72295"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2" name="Rectangle 215"/>
              <p:cNvSpPr>
                <a:spLocks noChangeArrowheads="1"/>
              </p:cNvSpPr>
              <p:nvPr/>
            </p:nvSpPr>
            <p:spPr bwMode="auto">
              <a:xfrm>
                <a:off x="3374495" y="2674033"/>
                <a:ext cx="70633" cy="142928"/>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3" name="Rectangle 216"/>
              <p:cNvSpPr>
                <a:spLocks noChangeArrowheads="1"/>
              </p:cNvSpPr>
              <p:nvPr/>
            </p:nvSpPr>
            <p:spPr bwMode="auto">
              <a:xfrm>
                <a:off x="3374495" y="2250234"/>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4" name="Rectangle 217"/>
              <p:cNvSpPr>
                <a:spLocks noChangeArrowheads="1"/>
              </p:cNvSpPr>
              <p:nvPr/>
            </p:nvSpPr>
            <p:spPr bwMode="auto">
              <a:xfrm>
                <a:off x="3303861" y="2959058"/>
                <a:ext cx="70633" cy="141266"/>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5" name="Rectangle 218"/>
              <p:cNvSpPr>
                <a:spLocks noChangeArrowheads="1"/>
              </p:cNvSpPr>
              <p:nvPr/>
            </p:nvSpPr>
            <p:spPr bwMode="auto">
              <a:xfrm>
                <a:off x="3303861" y="2177108"/>
                <a:ext cx="70633" cy="73126"/>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6" name="Rectangle 219"/>
              <p:cNvSpPr>
                <a:spLocks noChangeArrowheads="1"/>
              </p:cNvSpPr>
              <p:nvPr/>
            </p:nvSpPr>
            <p:spPr bwMode="auto">
              <a:xfrm>
                <a:off x="3233228" y="2816961"/>
                <a:ext cx="70633" cy="142098"/>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7" name="Rectangle 220"/>
              <p:cNvSpPr>
                <a:spLocks noChangeArrowheads="1"/>
              </p:cNvSpPr>
              <p:nvPr/>
            </p:nvSpPr>
            <p:spPr bwMode="auto">
              <a:xfrm>
                <a:off x="3233228" y="2106475"/>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8" name="Rectangle 221"/>
              <p:cNvSpPr>
                <a:spLocks noChangeArrowheads="1"/>
              </p:cNvSpPr>
              <p:nvPr/>
            </p:nvSpPr>
            <p:spPr bwMode="auto">
              <a:xfrm>
                <a:off x="3162595" y="2674033"/>
                <a:ext cx="70633" cy="142928"/>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9" name="Rectangle 222"/>
              <p:cNvSpPr>
                <a:spLocks noChangeArrowheads="1"/>
              </p:cNvSpPr>
              <p:nvPr/>
            </p:nvSpPr>
            <p:spPr bwMode="auto">
              <a:xfrm>
                <a:off x="3162595" y="2035842"/>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90" name="Freeform 223"/>
              <p:cNvSpPr>
                <a:spLocks/>
              </p:cNvSpPr>
              <p:nvPr/>
            </p:nvSpPr>
            <p:spPr bwMode="auto">
              <a:xfrm>
                <a:off x="3021328" y="2532767"/>
                <a:ext cx="141266" cy="141266"/>
              </a:xfrm>
              <a:custGeom>
                <a:avLst/>
                <a:gdLst/>
                <a:ahLst/>
                <a:cxnLst>
                  <a:cxn ang="0">
                    <a:pos x="170" y="0"/>
                  </a:cxn>
                  <a:cxn ang="0">
                    <a:pos x="170" y="170"/>
                  </a:cxn>
                  <a:cxn ang="0">
                    <a:pos x="0" y="170"/>
                  </a:cxn>
                  <a:cxn ang="0">
                    <a:pos x="0" y="85"/>
                  </a:cxn>
                  <a:cxn ang="0">
                    <a:pos x="85" y="85"/>
                  </a:cxn>
                  <a:cxn ang="0">
                    <a:pos x="85" y="0"/>
                  </a:cxn>
                  <a:cxn ang="0">
                    <a:pos x="170" y="0"/>
                  </a:cxn>
                </a:cxnLst>
                <a:rect l="0" t="0" r="r" b="b"/>
                <a:pathLst>
                  <a:path w="170" h="170">
                    <a:moveTo>
                      <a:pt x="170" y="0"/>
                    </a:moveTo>
                    <a:lnTo>
                      <a:pt x="170" y="170"/>
                    </a:lnTo>
                    <a:lnTo>
                      <a:pt x="0" y="170"/>
                    </a:lnTo>
                    <a:lnTo>
                      <a:pt x="0" y="85"/>
                    </a:lnTo>
                    <a:lnTo>
                      <a:pt x="85" y="85"/>
                    </a:lnTo>
                    <a:lnTo>
                      <a:pt x="85" y="0"/>
                    </a:lnTo>
                    <a:lnTo>
                      <a:pt x="170" y="0"/>
                    </a:lnTo>
                    <a:close/>
                  </a:path>
                </a:pathLst>
              </a:custGeom>
              <a:solidFill>
                <a:schemeClr val="bg1">
                  <a:lumMod val="50000"/>
                </a:schemeClr>
              </a:solidFill>
              <a:ln w="9525">
                <a:noFill/>
                <a:round/>
                <a:headEnd/>
                <a:tailEnd/>
              </a:ln>
            </p:spPr>
            <p:txBody>
              <a:bodyPr/>
              <a:lstStyle/>
              <a:p>
                <a:pPr>
                  <a:defRPr/>
                </a:pPr>
                <a:endParaRPr lang="de-DE"/>
              </a:p>
            </p:txBody>
          </p:sp>
          <p:sp>
            <p:nvSpPr>
              <p:cNvPr id="191" name="Rectangle 224"/>
              <p:cNvSpPr>
                <a:spLocks noChangeArrowheads="1"/>
              </p:cNvSpPr>
              <p:nvPr/>
            </p:nvSpPr>
            <p:spPr bwMode="auto">
              <a:xfrm>
                <a:off x="3091962" y="1965209"/>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92" name="Rectangle 225"/>
              <p:cNvSpPr>
                <a:spLocks noChangeArrowheads="1"/>
              </p:cNvSpPr>
              <p:nvPr/>
            </p:nvSpPr>
            <p:spPr bwMode="auto">
              <a:xfrm>
                <a:off x="3021328" y="1894576"/>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93" name="Rectangle 226"/>
              <p:cNvSpPr>
                <a:spLocks noChangeArrowheads="1"/>
              </p:cNvSpPr>
              <p:nvPr/>
            </p:nvSpPr>
            <p:spPr bwMode="auto">
              <a:xfrm>
                <a:off x="2949864" y="2674033"/>
                <a:ext cx="71464"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94" name="Rectangle 227"/>
              <p:cNvSpPr>
                <a:spLocks noChangeArrowheads="1"/>
              </p:cNvSpPr>
              <p:nvPr/>
            </p:nvSpPr>
            <p:spPr bwMode="auto">
              <a:xfrm>
                <a:off x="2949864" y="1823942"/>
                <a:ext cx="71464"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95" name="Freeform 228"/>
              <p:cNvSpPr>
                <a:spLocks/>
              </p:cNvSpPr>
              <p:nvPr/>
            </p:nvSpPr>
            <p:spPr bwMode="auto">
              <a:xfrm>
                <a:off x="2806936" y="1682676"/>
                <a:ext cx="142928" cy="1205749"/>
              </a:xfrm>
              <a:custGeom>
                <a:avLst/>
                <a:gdLst/>
                <a:ahLst/>
                <a:cxnLst>
                  <a:cxn ang="0">
                    <a:pos x="172" y="1278"/>
                  </a:cxn>
                  <a:cxn ang="0">
                    <a:pos x="172" y="1365"/>
                  </a:cxn>
                  <a:cxn ang="0">
                    <a:pos x="85" y="1365"/>
                  </a:cxn>
                  <a:cxn ang="0">
                    <a:pos x="85" y="1451"/>
                  </a:cxn>
                  <a:cxn ang="0">
                    <a:pos x="0" y="1451"/>
                  </a:cxn>
                  <a:cxn ang="0">
                    <a:pos x="0" y="0"/>
                  </a:cxn>
                  <a:cxn ang="0">
                    <a:pos x="85" y="0"/>
                  </a:cxn>
                  <a:cxn ang="0">
                    <a:pos x="85" y="85"/>
                  </a:cxn>
                  <a:cxn ang="0">
                    <a:pos x="172" y="85"/>
                  </a:cxn>
                  <a:cxn ang="0">
                    <a:pos x="172" y="170"/>
                  </a:cxn>
                  <a:cxn ang="0">
                    <a:pos x="85" y="170"/>
                  </a:cxn>
                  <a:cxn ang="0">
                    <a:pos x="85" y="1278"/>
                  </a:cxn>
                  <a:cxn ang="0">
                    <a:pos x="172" y="1278"/>
                  </a:cxn>
                </a:cxnLst>
                <a:rect l="0" t="0" r="r" b="b"/>
                <a:pathLst>
                  <a:path w="172" h="1451">
                    <a:moveTo>
                      <a:pt x="172" y="1278"/>
                    </a:moveTo>
                    <a:lnTo>
                      <a:pt x="172" y="1365"/>
                    </a:lnTo>
                    <a:lnTo>
                      <a:pt x="85" y="1365"/>
                    </a:lnTo>
                    <a:lnTo>
                      <a:pt x="85" y="1451"/>
                    </a:lnTo>
                    <a:lnTo>
                      <a:pt x="0" y="1451"/>
                    </a:lnTo>
                    <a:lnTo>
                      <a:pt x="0" y="0"/>
                    </a:lnTo>
                    <a:lnTo>
                      <a:pt x="85" y="0"/>
                    </a:lnTo>
                    <a:lnTo>
                      <a:pt x="85" y="85"/>
                    </a:lnTo>
                    <a:lnTo>
                      <a:pt x="172" y="85"/>
                    </a:lnTo>
                    <a:lnTo>
                      <a:pt x="172" y="170"/>
                    </a:lnTo>
                    <a:lnTo>
                      <a:pt x="85" y="170"/>
                    </a:lnTo>
                    <a:lnTo>
                      <a:pt x="85" y="1278"/>
                    </a:lnTo>
                    <a:lnTo>
                      <a:pt x="172" y="1278"/>
                    </a:lnTo>
                    <a:close/>
                  </a:path>
                </a:pathLst>
              </a:custGeom>
              <a:solidFill>
                <a:schemeClr val="bg1">
                  <a:lumMod val="50000"/>
                </a:schemeClr>
              </a:solidFill>
              <a:ln w="9525">
                <a:noFill/>
                <a:round/>
                <a:headEnd/>
                <a:tailEnd/>
              </a:ln>
            </p:spPr>
            <p:txBody>
              <a:bodyPr/>
              <a:lstStyle/>
              <a:p>
                <a:pPr>
                  <a:defRPr/>
                </a:pPr>
                <a:endParaRPr lang="de-DE"/>
              </a:p>
            </p:txBody>
          </p:sp>
        </p:grpSp>
        <p:pic>
          <p:nvPicPr>
            <p:cNvPr id="138" name="Picture 5"/>
            <p:cNvPicPr>
              <a:picLocks noChangeAspect="1" noChangeArrowheads="1"/>
            </p:cNvPicPr>
            <p:nvPr/>
          </p:nvPicPr>
          <p:blipFill>
            <a:blip r:embed="rId37"/>
            <a:srcRect/>
            <a:stretch>
              <a:fillRect/>
            </a:stretch>
          </p:blipFill>
          <p:spPr bwMode="auto">
            <a:xfrm>
              <a:off x="3837758" y="2569481"/>
              <a:ext cx="1335431" cy="180360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grpSp>
          <p:nvGrpSpPr>
            <p:cNvPr id="14" name="Gruppieren 212"/>
            <p:cNvGrpSpPr/>
            <p:nvPr/>
          </p:nvGrpSpPr>
          <p:grpSpPr>
            <a:xfrm>
              <a:off x="6787515" y="2128437"/>
              <a:ext cx="838756" cy="1268900"/>
              <a:chOff x="6787515" y="2128437"/>
              <a:chExt cx="838756" cy="1268900"/>
            </a:xfrm>
          </p:grpSpPr>
          <p:sp>
            <p:nvSpPr>
              <p:cNvPr id="141" name="Rechteck 140"/>
              <p:cNvSpPr/>
              <p:nvPr/>
            </p:nvSpPr>
            <p:spPr>
              <a:xfrm>
                <a:off x="6819900" y="2347913"/>
                <a:ext cx="771841" cy="101679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42" name="Rechteck 141"/>
              <p:cNvSpPr/>
              <p:nvPr/>
            </p:nvSpPr>
            <p:spPr>
              <a:xfrm>
                <a:off x="6801915" y="282340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4" name="Rechteck 143"/>
              <p:cNvSpPr/>
              <p:nvPr/>
            </p:nvSpPr>
            <p:spPr>
              <a:xfrm>
                <a:off x="7176293" y="333613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5" name="Ellipse 144"/>
              <p:cNvSpPr/>
              <p:nvPr/>
            </p:nvSpPr>
            <p:spPr>
              <a:xfrm>
                <a:off x="7550671" y="23106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Ellipse 166"/>
              <p:cNvSpPr/>
              <p:nvPr/>
            </p:nvSpPr>
            <p:spPr>
              <a:xfrm>
                <a:off x="6787515" y="332173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8" name="Rechteck 167"/>
              <p:cNvSpPr/>
              <p:nvPr/>
            </p:nvSpPr>
            <p:spPr>
              <a:xfrm>
                <a:off x="7565071" y="282340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9" name="Ellipse 168"/>
              <p:cNvSpPr/>
              <p:nvPr/>
            </p:nvSpPr>
            <p:spPr>
              <a:xfrm>
                <a:off x="7550671" y="332173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5" name="Gruppieren 139"/>
              <p:cNvGrpSpPr/>
              <p:nvPr/>
            </p:nvGrpSpPr>
            <p:grpSpPr>
              <a:xfrm>
                <a:off x="7169093" y="2128437"/>
                <a:ext cx="75600" cy="257824"/>
                <a:chOff x="5656766" y="771104"/>
                <a:chExt cx="75600" cy="257824"/>
              </a:xfrm>
            </p:grpSpPr>
            <p:sp>
              <p:nvSpPr>
                <p:cNvPr id="197" name="Ellipse 196"/>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198" name="Rechteck 197"/>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11" name="Gerade Verbindung 210"/>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196" name="Ellipse 195"/>
              <p:cNvSpPr/>
              <p:nvPr/>
            </p:nvSpPr>
            <p:spPr>
              <a:xfrm>
                <a:off x="6787515" y="23106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6" name="Gruppieren 213"/>
            <p:cNvGrpSpPr/>
            <p:nvPr/>
          </p:nvGrpSpPr>
          <p:grpSpPr>
            <a:xfrm>
              <a:off x="1138187" y="2128437"/>
              <a:ext cx="838756" cy="1268900"/>
              <a:chOff x="6787515" y="2128437"/>
              <a:chExt cx="838756" cy="1268900"/>
            </a:xfrm>
          </p:grpSpPr>
          <p:sp>
            <p:nvSpPr>
              <p:cNvPr id="215" name="Rechteck 214"/>
              <p:cNvSpPr/>
              <p:nvPr/>
            </p:nvSpPr>
            <p:spPr>
              <a:xfrm>
                <a:off x="6819900" y="2347913"/>
                <a:ext cx="771841" cy="101679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6" name="Rechteck 215"/>
              <p:cNvSpPr/>
              <p:nvPr/>
            </p:nvSpPr>
            <p:spPr>
              <a:xfrm>
                <a:off x="6801915" y="282340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7" name="Rechteck 216"/>
              <p:cNvSpPr/>
              <p:nvPr/>
            </p:nvSpPr>
            <p:spPr>
              <a:xfrm>
                <a:off x="7176293" y="333613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8" name="Ellipse 217"/>
              <p:cNvSpPr/>
              <p:nvPr/>
            </p:nvSpPr>
            <p:spPr>
              <a:xfrm>
                <a:off x="7550671" y="23106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9" name="Ellipse 218"/>
              <p:cNvSpPr/>
              <p:nvPr/>
            </p:nvSpPr>
            <p:spPr>
              <a:xfrm>
                <a:off x="6787515" y="332173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0" name="Rechteck 219"/>
              <p:cNvSpPr/>
              <p:nvPr/>
            </p:nvSpPr>
            <p:spPr>
              <a:xfrm>
                <a:off x="7565071" y="282340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1" name="Ellipse 220"/>
              <p:cNvSpPr/>
              <p:nvPr/>
            </p:nvSpPr>
            <p:spPr>
              <a:xfrm>
                <a:off x="7550671" y="332173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7" name="Gruppieren 139"/>
              <p:cNvGrpSpPr/>
              <p:nvPr/>
            </p:nvGrpSpPr>
            <p:grpSpPr>
              <a:xfrm>
                <a:off x="7169093" y="2128437"/>
                <a:ext cx="75600" cy="257824"/>
                <a:chOff x="5656766" y="771104"/>
                <a:chExt cx="75600" cy="257824"/>
              </a:xfrm>
            </p:grpSpPr>
            <p:sp>
              <p:nvSpPr>
                <p:cNvPr id="224" name="Ellipse 223"/>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225" name="Rechteck 224"/>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26" name="Gerade Verbindung 225"/>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223" name="Ellipse 222"/>
              <p:cNvSpPr/>
              <p:nvPr/>
            </p:nvSpPr>
            <p:spPr>
              <a:xfrm>
                <a:off x="6787515" y="23106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8" name="Group 45"/>
            <p:cNvGrpSpPr>
              <a:grpSpLocks/>
            </p:cNvGrpSpPr>
            <p:nvPr/>
          </p:nvGrpSpPr>
          <p:grpSpPr bwMode="auto">
            <a:xfrm rot="20287264">
              <a:off x="1753529" y="3198563"/>
              <a:ext cx="327150" cy="532312"/>
              <a:chOff x="1950" y="1045"/>
              <a:chExt cx="568" cy="928"/>
            </a:xfrm>
          </p:grpSpPr>
          <p:sp>
            <p:nvSpPr>
              <p:cNvPr id="33"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34"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35"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6"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37"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8"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39"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40"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41"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42"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43"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44"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sp>
        <p:nvSpPr>
          <p:cNvPr id="134"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7</a:t>
            </a:r>
            <a:endParaRPr lang="de-DE" sz="900" dirty="0">
              <a:solidFill>
                <a:schemeClr val="bg1">
                  <a:lumMod val="50000"/>
                </a:schemeClr>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srcRect/>
          <a:stretch>
            <a:fillRect/>
          </a:stretch>
        </p:blipFill>
        <p:spPr bwMode="auto">
          <a:xfrm>
            <a:off x="-12700" y="305435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2800" kern="0" dirty="0" smtClean="0">
                <a:solidFill>
                  <a:schemeClr val="tx2"/>
                </a:solidFill>
                <a:latin typeface="Myriad Pro" pitchFamily="34" charset="0"/>
                <a:ea typeface="+mj-ea"/>
                <a:cs typeface="+mj-cs"/>
              </a:rPr>
              <a:t>Schatten erstellen</a:t>
            </a:r>
            <a:endParaRPr kumimoji="0" lang="de-DE" sz="2800" b="0" i="0" u="none" strike="noStrike" kern="0" cap="none" spc="0" normalizeH="0" baseline="0" noProof="0" dirty="0" smtClean="0">
              <a:ln>
                <a:noFill/>
              </a:ln>
              <a:solidFill>
                <a:schemeClr val="tx2"/>
              </a:solidFill>
              <a:effectLst/>
              <a:uLnTx/>
              <a:uFillTx/>
              <a:latin typeface="Myriad Pro" pitchFamily="34" charset="0"/>
              <a:ea typeface="+mj-ea"/>
              <a:cs typeface="+mj-cs"/>
            </a:endParaRPr>
          </a:p>
        </p:txBody>
      </p:sp>
      <p:sp>
        <p:nvSpPr>
          <p:cNvPr id="25" name="Freeform 273"/>
          <p:cNvSpPr>
            <a:spLocks noEditPoints="1"/>
          </p:cNvSpPr>
          <p:nvPr/>
        </p:nvSpPr>
        <p:spPr bwMode="auto">
          <a:xfrm>
            <a:off x="604212" y="1133474"/>
            <a:ext cx="2588888" cy="3083383"/>
          </a:xfrm>
          <a:custGeom>
            <a:avLst/>
            <a:gdLst>
              <a:gd name="T0" fmla="*/ 2147483647 w 1562"/>
              <a:gd name="T1" fmla="*/ 2147483647 h 1861"/>
              <a:gd name="T2" fmla="*/ 2147483647 w 1562"/>
              <a:gd name="T3" fmla="*/ 2147483647 h 1861"/>
              <a:gd name="T4" fmla="*/ 2147483647 w 1562"/>
              <a:gd name="T5" fmla="*/ 2147483647 h 1861"/>
              <a:gd name="T6" fmla="*/ 2147483647 w 1562"/>
              <a:gd name="T7" fmla="*/ 2147483647 h 1861"/>
              <a:gd name="T8" fmla="*/ 2147483647 w 1562"/>
              <a:gd name="T9" fmla="*/ 2147483647 h 1861"/>
              <a:gd name="T10" fmla="*/ 2147483647 w 1562"/>
              <a:gd name="T11" fmla="*/ 2147483647 h 1861"/>
              <a:gd name="T12" fmla="*/ 2147483647 w 1562"/>
              <a:gd name="T13" fmla="*/ 2147483647 h 1861"/>
              <a:gd name="T14" fmla="*/ 2147483647 w 1562"/>
              <a:gd name="T15" fmla="*/ 2147483647 h 1861"/>
              <a:gd name="T16" fmla="*/ 2147483647 w 1562"/>
              <a:gd name="T17" fmla="*/ 2147483647 h 1861"/>
              <a:gd name="T18" fmla="*/ 2147483647 w 1562"/>
              <a:gd name="T19" fmla="*/ 2147483647 h 1861"/>
              <a:gd name="T20" fmla="*/ 2147483647 w 1562"/>
              <a:gd name="T21" fmla="*/ 2147483647 h 1861"/>
              <a:gd name="T22" fmla="*/ 2147483647 w 1562"/>
              <a:gd name="T23" fmla="*/ 2147483647 h 1861"/>
              <a:gd name="T24" fmla="*/ 2147483647 w 1562"/>
              <a:gd name="T25" fmla="*/ 2147483647 h 1861"/>
              <a:gd name="T26" fmla="*/ 2147483647 w 1562"/>
              <a:gd name="T27" fmla="*/ 2147483647 h 1861"/>
              <a:gd name="T28" fmla="*/ 2147483647 w 1562"/>
              <a:gd name="T29" fmla="*/ 2147483647 h 1861"/>
              <a:gd name="T30" fmla="*/ 2147483647 w 1562"/>
              <a:gd name="T31" fmla="*/ 2147483647 h 1861"/>
              <a:gd name="T32" fmla="*/ 2147483647 w 1562"/>
              <a:gd name="T33" fmla="*/ 2147483647 h 1861"/>
              <a:gd name="T34" fmla="*/ 2147483647 w 1562"/>
              <a:gd name="T35" fmla="*/ 2147483647 h 1861"/>
              <a:gd name="T36" fmla="*/ 2147483647 w 1562"/>
              <a:gd name="T37" fmla="*/ 2147483647 h 1861"/>
              <a:gd name="T38" fmla="*/ 2147483647 w 1562"/>
              <a:gd name="T39" fmla="*/ 2147483647 h 1861"/>
              <a:gd name="T40" fmla="*/ 2147483647 w 1562"/>
              <a:gd name="T41" fmla="*/ 2147483647 h 1861"/>
              <a:gd name="T42" fmla="*/ 2147483647 w 1562"/>
              <a:gd name="T43" fmla="*/ 2147483647 h 1861"/>
              <a:gd name="T44" fmla="*/ 2147483647 w 1562"/>
              <a:gd name="T45" fmla="*/ 2147483647 h 1861"/>
              <a:gd name="T46" fmla="*/ 2147483647 w 1562"/>
              <a:gd name="T47" fmla="*/ 2147483647 h 1861"/>
              <a:gd name="T48" fmla="*/ 2147483647 w 1562"/>
              <a:gd name="T49" fmla="*/ 2147483647 h 1861"/>
              <a:gd name="T50" fmla="*/ 2147483647 w 1562"/>
              <a:gd name="T51" fmla="*/ 2147483647 h 1861"/>
              <a:gd name="T52" fmla="*/ 2147483647 w 1562"/>
              <a:gd name="T53" fmla="*/ 2147483647 h 1861"/>
              <a:gd name="T54" fmla="*/ 2147483647 w 1562"/>
              <a:gd name="T55" fmla="*/ 2147483647 h 1861"/>
              <a:gd name="T56" fmla="*/ 2147483647 w 1562"/>
              <a:gd name="T57" fmla="*/ 2147483647 h 1861"/>
              <a:gd name="T58" fmla="*/ 2147483647 w 1562"/>
              <a:gd name="T59" fmla="*/ 2147483647 h 1861"/>
              <a:gd name="T60" fmla="*/ 2147483647 w 1562"/>
              <a:gd name="T61" fmla="*/ 2147483647 h 1861"/>
              <a:gd name="T62" fmla="*/ 2147483647 w 1562"/>
              <a:gd name="T63" fmla="*/ 2147483647 h 1861"/>
              <a:gd name="T64" fmla="*/ 2147483647 w 1562"/>
              <a:gd name="T65" fmla="*/ 2147483647 h 1861"/>
              <a:gd name="T66" fmla="*/ 2147483647 w 1562"/>
              <a:gd name="T67" fmla="*/ 2147483647 h 1861"/>
              <a:gd name="T68" fmla="*/ 2147483647 w 1562"/>
              <a:gd name="T69" fmla="*/ 2147483647 h 1861"/>
              <a:gd name="T70" fmla="*/ 2147483647 w 1562"/>
              <a:gd name="T71" fmla="*/ 2147483647 h 1861"/>
              <a:gd name="T72" fmla="*/ 2147483647 w 1562"/>
              <a:gd name="T73" fmla="*/ 2147483647 h 1861"/>
              <a:gd name="T74" fmla="*/ 2147483647 w 1562"/>
              <a:gd name="T75" fmla="*/ 2147483647 h 1861"/>
              <a:gd name="T76" fmla="*/ 2147483647 w 1562"/>
              <a:gd name="T77" fmla="*/ 2147483647 h 1861"/>
              <a:gd name="T78" fmla="*/ 2147483647 w 1562"/>
              <a:gd name="T79" fmla="*/ 2147483647 h 1861"/>
              <a:gd name="T80" fmla="*/ 2147483647 w 1562"/>
              <a:gd name="T81" fmla="*/ 2147483647 h 1861"/>
              <a:gd name="T82" fmla="*/ 2147483647 w 1562"/>
              <a:gd name="T83" fmla="*/ 2147483647 h 1861"/>
              <a:gd name="T84" fmla="*/ 2147483647 w 1562"/>
              <a:gd name="T85" fmla="*/ 2147483647 h 1861"/>
              <a:gd name="T86" fmla="*/ 2147483647 w 1562"/>
              <a:gd name="T87" fmla="*/ 2147483647 h 1861"/>
              <a:gd name="T88" fmla="*/ 2147483647 w 1562"/>
              <a:gd name="T89" fmla="*/ 2147483647 h 1861"/>
              <a:gd name="T90" fmla="*/ 2147483647 w 1562"/>
              <a:gd name="T91" fmla="*/ 2147483647 h 1861"/>
              <a:gd name="T92" fmla="*/ 2147483647 w 1562"/>
              <a:gd name="T93" fmla="*/ 2147483647 h 1861"/>
              <a:gd name="T94" fmla="*/ 2147483647 w 1562"/>
              <a:gd name="T95" fmla="*/ 2147483647 h 1861"/>
              <a:gd name="T96" fmla="*/ 2147483647 w 1562"/>
              <a:gd name="T97" fmla="*/ 2147483647 h 1861"/>
              <a:gd name="T98" fmla="*/ 2147483647 w 1562"/>
              <a:gd name="T99" fmla="*/ 2147483647 h 1861"/>
              <a:gd name="T100" fmla="*/ 2147483647 w 1562"/>
              <a:gd name="T101" fmla="*/ 2147483647 h 1861"/>
              <a:gd name="T102" fmla="*/ 2147483647 w 1562"/>
              <a:gd name="T103" fmla="*/ 2147483647 h 1861"/>
              <a:gd name="T104" fmla="*/ 2147483647 w 1562"/>
              <a:gd name="T105" fmla="*/ 2147483647 h 1861"/>
              <a:gd name="T106" fmla="*/ 2147483647 w 1562"/>
              <a:gd name="T107" fmla="*/ 2147483647 h 1861"/>
              <a:gd name="T108" fmla="*/ 2147483647 w 1562"/>
              <a:gd name="T109" fmla="*/ 2147483647 h 1861"/>
              <a:gd name="T110" fmla="*/ 2147483647 w 1562"/>
              <a:gd name="T111" fmla="*/ 2147483647 h 1861"/>
              <a:gd name="T112" fmla="*/ 2147483647 w 1562"/>
              <a:gd name="T113" fmla="*/ 2147483647 h 1861"/>
              <a:gd name="T114" fmla="*/ 2147483647 w 1562"/>
              <a:gd name="T115" fmla="*/ 2147483647 h 1861"/>
              <a:gd name="T116" fmla="*/ 2147483647 w 1562"/>
              <a:gd name="T117" fmla="*/ 2147483647 h 1861"/>
              <a:gd name="T118" fmla="*/ 2147483647 w 1562"/>
              <a:gd name="T119" fmla="*/ 2147483647 h 1861"/>
              <a:gd name="T120" fmla="*/ 2147483647 w 1562"/>
              <a:gd name="T121" fmla="*/ 2147483647 h 1861"/>
              <a:gd name="T122" fmla="*/ 2147483647 w 1562"/>
              <a:gd name="T123" fmla="*/ 2147483647 h 18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62"/>
              <a:gd name="T187" fmla="*/ 0 h 1861"/>
              <a:gd name="T188" fmla="*/ 1562 w 1562"/>
              <a:gd name="T189" fmla="*/ 1861 h 18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62" h="1861">
                <a:moveTo>
                  <a:pt x="320" y="1025"/>
                </a:moveTo>
                <a:cubicBezTo>
                  <a:pt x="320" y="1025"/>
                  <a:pt x="318" y="1030"/>
                  <a:pt x="319" y="1030"/>
                </a:cubicBezTo>
                <a:cubicBezTo>
                  <a:pt x="321" y="1030"/>
                  <a:pt x="324" y="1025"/>
                  <a:pt x="320" y="1025"/>
                </a:cubicBezTo>
                <a:close/>
                <a:moveTo>
                  <a:pt x="331" y="1051"/>
                </a:moveTo>
                <a:cubicBezTo>
                  <a:pt x="333" y="1044"/>
                  <a:pt x="333" y="1044"/>
                  <a:pt x="333" y="1044"/>
                </a:cubicBezTo>
                <a:cubicBezTo>
                  <a:pt x="333" y="1038"/>
                  <a:pt x="333" y="1038"/>
                  <a:pt x="333" y="1038"/>
                </a:cubicBezTo>
                <a:cubicBezTo>
                  <a:pt x="322" y="1050"/>
                  <a:pt x="331" y="1051"/>
                  <a:pt x="331" y="1051"/>
                </a:cubicBezTo>
                <a:close/>
                <a:moveTo>
                  <a:pt x="317" y="1039"/>
                </a:moveTo>
                <a:cubicBezTo>
                  <a:pt x="319" y="1037"/>
                  <a:pt x="314" y="1034"/>
                  <a:pt x="314" y="1034"/>
                </a:cubicBezTo>
                <a:cubicBezTo>
                  <a:pt x="311" y="1039"/>
                  <a:pt x="314" y="1041"/>
                  <a:pt x="317" y="1039"/>
                </a:cubicBezTo>
                <a:close/>
                <a:moveTo>
                  <a:pt x="324" y="1044"/>
                </a:moveTo>
                <a:cubicBezTo>
                  <a:pt x="325" y="1045"/>
                  <a:pt x="328" y="1042"/>
                  <a:pt x="328" y="1039"/>
                </a:cubicBezTo>
                <a:cubicBezTo>
                  <a:pt x="328" y="1036"/>
                  <a:pt x="325" y="1033"/>
                  <a:pt x="325" y="1033"/>
                </a:cubicBezTo>
                <a:cubicBezTo>
                  <a:pt x="320" y="1033"/>
                  <a:pt x="322" y="1044"/>
                  <a:pt x="324" y="1044"/>
                </a:cubicBezTo>
                <a:close/>
                <a:moveTo>
                  <a:pt x="179" y="1053"/>
                </a:moveTo>
                <a:cubicBezTo>
                  <a:pt x="173" y="1050"/>
                  <a:pt x="169" y="1064"/>
                  <a:pt x="178" y="1065"/>
                </a:cubicBezTo>
                <a:cubicBezTo>
                  <a:pt x="178" y="1065"/>
                  <a:pt x="185" y="1055"/>
                  <a:pt x="179" y="1053"/>
                </a:cubicBezTo>
                <a:close/>
                <a:moveTo>
                  <a:pt x="146" y="1404"/>
                </a:moveTo>
                <a:cubicBezTo>
                  <a:pt x="146" y="1406"/>
                  <a:pt x="151" y="1409"/>
                  <a:pt x="151" y="1409"/>
                </a:cubicBezTo>
                <a:cubicBezTo>
                  <a:pt x="151" y="1409"/>
                  <a:pt x="147" y="1413"/>
                  <a:pt x="152" y="1413"/>
                </a:cubicBezTo>
                <a:cubicBezTo>
                  <a:pt x="157" y="1413"/>
                  <a:pt x="161" y="1406"/>
                  <a:pt x="159" y="1403"/>
                </a:cubicBezTo>
                <a:cubicBezTo>
                  <a:pt x="156" y="1400"/>
                  <a:pt x="147" y="1400"/>
                  <a:pt x="146" y="1404"/>
                </a:cubicBezTo>
                <a:close/>
                <a:moveTo>
                  <a:pt x="165" y="1414"/>
                </a:moveTo>
                <a:cubicBezTo>
                  <a:pt x="163" y="1420"/>
                  <a:pt x="168" y="1440"/>
                  <a:pt x="172" y="1440"/>
                </a:cubicBezTo>
                <a:cubicBezTo>
                  <a:pt x="175" y="1440"/>
                  <a:pt x="181" y="1423"/>
                  <a:pt x="181" y="1423"/>
                </a:cubicBezTo>
                <a:cubicBezTo>
                  <a:pt x="175" y="1416"/>
                  <a:pt x="175" y="1416"/>
                  <a:pt x="175" y="1416"/>
                </a:cubicBezTo>
                <a:lnTo>
                  <a:pt x="165" y="1414"/>
                </a:lnTo>
                <a:close/>
                <a:moveTo>
                  <a:pt x="169" y="1075"/>
                </a:moveTo>
                <a:cubicBezTo>
                  <a:pt x="165" y="1067"/>
                  <a:pt x="165" y="1067"/>
                  <a:pt x="165" y="1067"/>
                </a:cubicBezTo>
                <a:cubicBezTo>
                  <a:pt x="162" y="1085"/>
                  <a:pt x="169" y="1075"/>
                  <a:pt x="169" y="1075"/>
                </a:cubicBezTo>
                <a:close/>
                <a:moveTo>
                  <a:pt x="402" y="653"/>
                </a:moveTo>
                <a:cubicBezTo>
                  <a:pt x="407" y="652"/>
                  <a:pt x="402" y="646"/>
                  <a:pt x="402" y="646"/>
                </a:cubicBezTo>
                <a:cubicBezTo>
                  <a:pt x="402" y="646"/>
                  <a:pt x="397" y="653"/>
                  <a:pt x="402" y="653"/>
                </a:cubicBezTo>
                <a:close/>
                <a:moveTo>
                  <a:pt x="420" y="801"/>
                </a:moveTo>
                <a:cubicBezTo>
                  <a:pt x="416" y="801"/>
                  <a:pt x="416" y="801"/>
                  <a:pt x="416" y="801"/>
                </a:cubicBezTo>
                <a:cubicBezTo>
                  <a:pt x="416" y="801"/>
                  <a:pt x="419" y="803"/>
                  <a:pt x="422" y="803"/>
                </a:cubicBezTo>
                <a:cubicBezTo>
                  <a:pt x="425" y="803"/>
                  <a:pt x="422" y="797"/>
                  <a:pt x="422" y="797"/>
                </a:cubicBezTo>
                <a:lnTo>
                  <a:pt x="420" y="801"/>
                </a:lnTo>
                <a:close/>
                <a:moveTo>
                  <a:pt x="526" y="839"/>
                </a:moveTo>
                <a:cubicBezTo>
                  <a:pt x="523" y="844"/>
                  <a:pt x="523" y="844"/>
                  <a:pt x="523" y="844"/>
                </a:cubicBezTo>
                <a:cubicBezTo>
                  <a:pt x="531" y="852"/>
                  <a:pt x="531" y="852"/>
                  <a:pt x="531" y="852"/>
                </a:cubicBezTo>
                <a:cubicBezTo>
                  <a:pt x="531" y="847"/>
                  <a:pt x="531" y="847"/>
                  <a:pt x="531" y="847"/>
                </a:cubicBezTo>
                <a:cubicBezTo>
                  <a:pt x="531" y="847"/>
                  <a:pt x="536" y="842"/>
                  <a:pt x="526" y="839"/>
                </a:cubicBezTo>
                <a:close/>
                <a:moveTo>
                  <a:pt x="448" y="844"/>
                </a:moveTo>
                <a:cubicBezTo>
                  <a:pt x="448" y="849"/>
                  <a:pt x="448" y="849"/>
                  <a:pt x="448" y="849"/>
                </a:cubicBezTo>
                <a:cubicBezTo>
                  <a:pt x="453" y="849"/>
                  <a:pt x="453" y="849"/>
                  <a:pt x="453" y="849"/>
                </a:cubicBezTo>
                <a:cubicBezTo>
                  <a:pt x="451" y="843"/>
                  <a:pt x="451" y="843"/>
                  <a:pt x="451" y="843"/>
                </a:cubicBezTo>
                <a:lnTo>
                  <a:pt x="448" y="844"/>
                </a:lnTo>
                <a:close/>
                <a:moveTo>
                  <a:pt x="386" y="717"/>
                </a:moveTo>
                <a:cubicBezTo>
                  <a:pt x="386" y="725"/>
                  <a:pt x="386" y="725"/>
                  <a:pt x="386" y="725"/>
                </a:cubicBezTo>
                <a:cubicBezTo>
                  <a:pt x="395" y="721"/>
                  <a:pt x="395" y="721"/>
                  <a:pt x="395" y="721"/>
                </a:cubicBezTo>
                <a:cubicBezTo>
                  <a:pt x="392" y="713"/>
                  <a:pt x="392" y="713"/>
                  <a:pt x="392" y="713"/>
                </a:cubicBezTo>
                <a:cubicBezTo>
                  <a:pt x="393" y="719"/>
                  <a:pt x="386" y="717"/>
                  <a:pt x="386" y="717"/>
                </a:cubicBezTo>
                <a:close/>
                <a:moveTo>
                  <a:pt x="972" y="1165"/>
                </a:moveTo>
                <a:cubicBezTo>
                  <a:pt x="971" y="1169"/>
                  <a:pt x="971" y="1169"/>
                  <a:pt x="971" y="1169"/>
                </a:cubicBezTo>
                <a:cubicBezTo>
                  <a:pt x="971" y="1169"/>
                  <a:pt x="981" y="1168"/>
                  <a:pt x="981" y="1164"/>
                </a:cubicBezTo>
                <a:cubicBezTo>
                  <a:pt x="981" y="1159"/>
                  <a:pt x="972" y="1165"/>
                  <a:pt x="972" y="1165"/>
                </a:cubicBezTo>
                <a:close/>
                <a:moveTo>
                  <a:pt x="466" y="749"/>
                </a:moveTo>
                <a:cubicBezTo>
                  <a:pt x="458" y="760"/>
                  <a:pt x="458" y="760"/>
                  <a:pt x="458" y="760"/>
                </a:cubicBezTo>
                <a:cubicBezTo>
                  <a:pt x="458" y="760"/>
                  <a:pt x="454" y="759"/>
                  <a:pt x="450" y="759"/>
                </a:cubicBezTo>
                <a:cubicBezTo>
                  <a:pt x="445" y="759"/>
                  <a:pt x="443" y="764"/>
                  <a:pt x="443" y="764"/>
                </a:cubicBezTo>
                <a:cubicBezTo>
                  <a:pt x="443" y="764"/>
                  <a:pt x="440" y="761"/>
                  <a:pt x="430" y="760"/>
                </a:cubicBezTo>
                <a:cubicBezTo>
                  <a:pt x="426" y="765"/>
                  <a:pt x="426" y="765"/>
                  <a:pt x="426" y="765"/>
                </a:cubicBezTo>
                <a:cubicBezTo>
                  <a:pt x="426" y="765"/>
                  <a:pt x="427" y="771"/>
                  <a:pt x="429" y="775"/>
                </a:cubicBezTo>
                <a:cubicBezTo>
                  <a:pt x="431" y="778"/>
                  <a:pt x="443" y="776"/>
                  <a:pt x="443" y="776"/>
                </a:cubicBezTo>
                <a:cubicBezTo>
                  <a:pt x="444" y="773"/>
                  <a:pt x="444" y="773"/>
                  <a:pt x="444" y="773"/>
                </a:cubicBezTo>
                <a:cubicBezTo>
                  <a:pt x="453" y="774"/>
                  <a:pt x="453" y="774"/>
                  <a:pt x="453" y="774"/>
                </a:cubicBezTo>
                <a:cubicBezTo>
                  <a:pt x="454" y="770"/>
                  <a:pt x="454" y="770"/>
                  <a:pt x="454" y="770"/>
                </a:cubicBezTo>
                <a:cubicBezTo>
                  <a:pt x="454" y="770"/>
                  <a:pt x="459" y="776"/>
                  <a:pt x="462" y="779"/>
                </a:cubicBezTo>
                <a:cubicBezTo>
                  <a:pt x="464" y="781"/>
                  <a:pt x="469" y="779"/>
                  <a:pt x="469" y="779"/>
                </a:cubicBezTo>
                <a:cubicBezTo>
                  <a:pt x="469" y="774"/>
                  <a:pt x="469" y="774"/>
                  <a:pt x="469" y="774"/>
                </a:cubicBezTo>
                <a:cubicBezTo>
                  <a:pt x="463" y="768"/>
                  <a:pt x="463" y="768"/>
                  <a:pt x="463" y="768"/>
                </a:cubicBezTo>
                <a:cubicBezTo>
                  <a:pt x="469" y="768"/>
                  <a:pt x="469" y="768"/>
                  <a:pt x="469" y="768"/>
                </a:cubicBezTo>
                <a:cubicBezTo>
                  <a:pt x="472" y="756"/>
                  <a:pt x="472" y="756"/>
                  <a:pt x="472" y="756"/>
                </a:cubicBezTo>
                <a:cubicBezTo>
                  <a:pt x="470" y="754"/>
                  <a:pt x="470" y="754"/>
                  <a:pt x="470" y="754"/>
                </a:cubicBezTo>
                <a:lnTo>
                  <a:pt x="466" y="749"/>
                </a:lnTo>
                <a:close/>
                <a:moveTo>
                  <a:pt x="1562" y="1219"/>
                </a:moveTo>
                <a:cubicBezTo>
                  <a:pt x="1562" y="1213"/>
                  <a:pt x="1554" y="1204"/>
                  <a:pt x="1554" y="1204"/>
                </a:cubicBezTo>
                <a:cubicBezTo>
                  <a:pt x="1555" y="1192"/>
                  <a:pt x="1521" y="1163"/>
                  <a:pt x="1515" y="1160"/>
                </a:cubicBezTo>
                <a:cubicBezTo>
                  <a:pt x="1510" y="1156"/>
                  <a:pt x="1496" y="1150"/>
                  <a:pt x="1492" y="1141"/>
                </a:cubicBezTo>
                <a:cubicBezTo>
                  <a:pt x="1494" y="1126"/>
                  <a:pt x="1478" y="1129"/>
                  <a:pt x="1478" y="1129"/>
                </a:cubicBezTo>
                <a:cubicBezTo>
                  <a:pt x="1478" y="1123"/>
                  <a:pt x="1470" y="1122"/>
                  <a:pt x="1459" y="1121"/>
                </a:cubicBezTo>
                <a:cubicBezTo>
                  <a:pt x="1449" y="1112"/>
                  <a:pt x="1414" y="1103"/>
                  <a:pt x="1414" y="1103"/>
                </a:cubicBezTo>
                <a:cubicBezTo>
                  <a:pt x="1399" y="1088"/>
                  <a:pt x="1399" y="1088"/>
                  <a:pt x="1399" y="1088"/>
                </a:cubicBezTo>
                <a:cubicBezTo>
                  <a:pt x="1395" y="1089"/>
                  <a:pt x="1395" y="1089"/>
                  <a:pt x="1395" y="1089"/>
                </a:cubicBezTo>
                <a:cubicBezTo>
                  <a:pt x="1395" y="1089"/>
                  <a:pt x="1374" y="1072"/>
                  <a:pt x="1366" y="1066"/>
                </a:cubicBezTo>
                <a:cubicBezTo>
                  <a:pt x="1357" y="1060"/>
                  <a:pt x="1312" y="1048"/>
                  <a:pt x="1293" y="1041"/>
                </a:cubicBezTo>
                <a:cubicBezTo>
                  <a:pt x="1275" y="1033"/>
                  <a:pt x="1205" y="1000"/>
                  <a:pt x="1205" y="1000"/>
                </a:cubicBezTo>
                <a:cubicBezTo>
                  <a:pt x="1195" y="982"/>
                  <a:pt x="1195" y="982"/>
                  <a:pt x="1195" y="982"/>
                </a:cubicBezTo>
                <a:cubicBezTo>
                  <a:pt x="1195" y="982"/>
                  <a:pt x="1195" y="982"/>
                  <a:pt x="1195" y="982"/>
                </a:cubicBezTo>
                <a:cubicBezTo>
                  <a:pt x="1195" y="982"/>
                  <a:pt x="1195" y="982"/>
                  <a:pt x="1195" y="982"/>
                </a:cubicBezTo>
                <a:cubicBezTo>
                  <a:pt x="1195" y="982"/>
                  <a:pt x="1195" y="979"/>
                  <a:pt x="1196" y="969"/>
                </a:cubicBezTo>
                <a:cubicBezTo>
                  <a:pt x="1207" y="958"/>
                  <a:pt x="1231" y="940"/>
                  <a:pt x="1231" y="940"/>
                </a:cubicBezTo>
                <a:cubicBezTo>
                  <a:pt x="1228" y="921"/>
                  <a:pt x="1228" y="921"/>
                  <a:pt x="1228" y="921"/>
                </a:cubicBezTo>
                <a:cubicBezTo>
                  <a:pt x="1218" y="912"/>
                  <a:pt x="1218" y="912"/>
                  <a:pt x="1218" y="912"/>
                </a:cubicBezTo>
                <a:cubicBezTo>
                  <a:pt x="1218" y="912"/>
                  <a:pt x="1197" y="912"/>
                  <a:pt x="1180" y="916"/>
                </a:cubicBezTo>
                <a:cubicBezTo>
                  <a:pt x="1163" y="920"/>
                  <a:pt x="1155" y="916"/>
                  <a:pt x="1155" y="916"/>
                </a:cubicBezTo>
                <a:cubicBezTo>
                  <a:pt x="1123" y="922"/>
                  <a:pt x="1123" y="922"/>
                  <a:pt x="1123" y="922"/>
                </a:cubicBezTo>
                <a:cubicBezTo>
                  <a:pt x="1112" y="918"/>
                  <a:pt x="1112" y="918"/>
                  <a:pt x="1112" y="918"/>
                </a:cubicBezTo>
                <a:cubicBezTo>
                  <a:pt x="1093" y="917"/>
                  <a:pt x="1093" y="917"/>
                  <a:pt x="1093" y="917"/>
                </a:cubicBezTo>
                <a:cubicBezTo>
                  <a:pt x="1081" y="916"/>
                  <a:pt x="1081" y="916"/>
                  <a:pt x="1081" y="916"/>
                </a:cubicBezTo>
                <a:cubicBezTo>
                  <a:pt x="1081" y="916"/>
                  <a:pt x="1078" y="908"/>
                  <a:pt x="1072" y="905"/>
                </a:cubicBezTo>
                <a:cubicBezTo>
                  <a:pt x="1065" y="901"/>
                  <a:pt x="1059" y="901"/>
                  <a:pt x="1059" y="901"/>
                </a:cubicBezTo>
                <a:cubicBezTo>
                  <a:pt x="1042" y="894"/>
                  <a:pt x="1042" y="894"/>
                  <a:pt x="1042" y="894"/>
                </a:cubicBezTo>
                <a:cubicBezTo>
                  <a:pt x="1033" y="890"/>
                  <a:pt x="1033" y="890"/>
                  <a:pt x="1033" y="890"/>
                </a:cubicBezTo>
                <a:cubicBezTo>
                  <a:pt x="1033" y="876"/>
                  <a:pt x="1033" y="876"/>
                  <a:pt x="1033" y="876"/>
                </a:cubicBezTo>
                <a:cubicBezTo>
                  <a:pt x="1006" y="862"/>
                  <a:pt x="1006" y="862"/>
                  <a:pt x="1006" y="862"/>
                </a:cubicBezTo>
                <a:cubicBezTo>
                  <a:pt x="1006" y="862"/>
                  <a:pt x="997" y="845"/>
                  <a:pt x="987" y="839"/>
                </a:cubicBezTo>
                <a:cubicBezTo>
                  <a:pt x="977" y="833"/>
                  <a:pt x="958" y="813"/>
                  <a:pt x="946" y="799"/>
                </a:cubicBezTo>
                <a:cubicBezTo>
                  <a:pt x="934" y="785"/>
                  <a:pt x="926" y="747"/>
                  <a:pt x="926" y="747"/>
                </a:cubicBezTo>
                <a:cubicBezTo>
                  <a:pt x="926" y="747"/>
                  <a:pt x="925" y="747"/>
                  <a:pt x="925" y="746"/>
                </a:cubicBezTo>
                <a:cubicBezTo>
                  <a:pt x="922" y="738"/>
                  <a:pt x="887" y="647"/>
                  <a:pt x="885" y="641"/>
                </a:cubicBezTo>
                <a:cubicBezTo>
                  <a:pt x="883" y="635"/>
                  <a:pt x="887" y="634"/>
                  <a:pt x="887" y="634"/>
                </a:cubicBezTo>
                <a:cubicBezTo>
                  <a:pt x="879" y="626"/>
                  <a:pt x="879" y="626"/>
                  <a:pt x="879" y="626"/>
                </a:cubicBezTo>
                <a:cubicBezTo>
                  <a:pt x="872" y="618"/>
                  <a:pt x="872" y="618"/>
                  <a:pt x="872" y="618"/>
                </a:cubicBezTo>
                <a:cubicBezTo>
                  <a:pt x="872" y="618"/>
                  <a:pt x="872" y="618"/>
                  <a:pt x="861" y="621"/>
                </a:cubicBezTo>
                <a:cubicBezTo>
                  <a:pt x="837" y="613"/>
                  <a:pt x="799" y="569"/>
                  <a:pt x="796" y="567"/>
                </a:cubicBezTo>
                <a:cubicBezTo>
                  <a:pt x="792" y="564"/>
                  <a:pt x="773" y="558"/>
                  <a:pt x="773" y="558"/>
                </a:cubicBezTo>
                <a:cubicBezTo>
                  <a:pt x="773" y="558"/>
                  <a:pt x="772" y="558"/>
                  <a:pt x="772" y="558"/>
                </a:cubicBezTo>
                <a:cubicBezTo>
                  <a:pt x="766" y="553"/>
                  <a:pt x="735" y="528"/>
                  <a:pt x="725" y="513"/>
                </a:cubicBezTo>
                <a:cubicBezTo>
                  <a:pt x="714" y="496"/>
                  <a:pt x="712" y="445"/>
                  <a:pt x="709" y="434"/>
                </a:cubicBezTo>
                <a:cubicBezTo>
                  <a:pt x="706" y="423"/>
                  <a:pt x="712" y="405"/>
                  <a:pt x="712" y="406"/>
                </a:cubicBezTo>
                <a:cubicBezTo>
                  <a:pt x="712" y="408"/>
                  <a:pt x="716" y="409"/>
                  <a:pt x="722" y="410"/>
                </a:cubicBezTo>
                <a:cubicBezTo>
                  <a:pt x="724" y="410"/>
                  <a:pt x="726" y="410"/>
                  <a:pt x="728" y="410"/>
                </a:cubicBezTo>
                <a:cubicBezTo>
                  <a:pt x="736" y="409"/>
                  <a:pt x="747" y="381"/>
                  <a:pt x="747" y="381"/>
                </a:cubicBezTo>
                <a:cubicBezTo>
                  <a:pt x="740" y="373"/>
                  <a:pt x="740" y="373"/>
                  <a:pt x="740" y="373"/>
                </a:cubicBezTo>
                <a:cubicBezTo>
                  <a:pt x="736" y="374"/>
                  <a:pt x="736" y="374"/>
                  <a:pt x="736" y="374"/>
                </a:cubicBezTo>
                <a:cubicBezTo>
                  <a:pt x="719" y="358"/>
                  <a:pt x="719" y="358"/>
                  <a:pt x="719" y="358"/>
                </a:cubicBezTo>
                <a:cubicBezTo>
                  <a:pt x="718" y="342"/>
                  <a:pt x="718" y="342"/>
                  <a:pt x="718" y="342"/>
                </a:cubicBezTo>
                <a:cubicBezTo>
                  <a:pt x="718" y="342"/>
                  <a:pt x="715" y="334"/>
                  <a:pt x="716" y="322"/>
                </a:cubicBezTo>
                <a:cubicBezTo>
                  <a:pt x="717" y="310"/>
                  <a:pt x="728" y="295"/>
                  <a:pt x="728" y="295"/>
                </a:cubicBezTo>
                <a:cubicBezTo>
                  <a:pt x="731" y="297"/>
                  <a:pt x="731" y="297"/>
                  <a:pt x="731" y="297"/>
                </a:cubicBezTo>
                <a:cubicBezTo>
                  <a:pt x="731" y="297"/>
                  <a:pt x="756" y="281"/>
                  <a:pt x="770" y="277"/>
                </a:cubicBezTo>
                <a:cubicBezTo>
                  <a:pt x="785" y="274"/>
                  <a:pt x="790" y="265"/>
                  <a:pt x="790" y="265"/>
                </a:cubicBezTo>
                <a:cubicBezTo>
                  <a:pt x="790" y="265"/>
                  <a:pt x="808" y="260"/>
                  <a:pt x="813" y="260"/>
                </a:cubicBezTo>
                <a:cubicBezTo>
                  <a:pt x="813" y="260"/>
                  <a:pt x="813" y="260"/>
                  <a:pt x="814" y="260"/>
                </a:cubicBezTo>
                <a:cubicBezTo>
                  <a:pt x="817" y="260"/>
                  <a:pt x="820" y="253"/>
                  <a:pt x="822" y="249"/>
                </a:cubicBezTo>
                <a:cubicBezTo>
                  <a:pt x="824" y="244"/>
                  <a:pt x="838" y="245"/>
                  <a:pt x="838" y="245"/>
                </a:cubicBezTo>
                <a:cubicBezTo>
                  <a:pt x="838" y="245"/>
                  <a:pt x="846" y="252"/>
                  <a:pt x="853" y="252"/>
                </a:cubicBezTo>
                <a:cubicBezTo>
                  <a:pt x="861" y="253"/>
                  <a:pt x="872" y="242"/>
                  <a:pt x="872" y="242"/>
                </a:cubicBezTo>
                <a:cubicBezTo>
                  <a:pt x="866" y="239"/>
                  <a:pt x="866" y="239"/>
                  <a:pt x="866" y="239"/>
                </a:cubicBezTo>
                <a:cubicBezTo>
                  <a:pt x="866" y="239"/>
                  <a:pt x="871" y="235"/>
                  <a:pt x="872" y="234"/>
                </a:cubicBezTo>
                <a:cubicBezTo>
                  <a:pt x="873" y="234"/>
                  <a:pt x="872" y="234"/>
                  <a:pt x="877" y="234"/>
                </a:cubicBezTo>
                <a:cubicBezTo>
                  <a:pt x="882" y="234"/>
                  <a:pt x="892" y="245"/>
                  <a:pt x="897" y="251"/>
                </a:cubicBezTo>
                <a:cubicBezTo>
                  <a:pt x="902" y="258"/>
                  <a:pt x="897" y="257"/>
                  <a:pt x="897" y="257"/>
                </a:cubicBezTo>
                <a:cubicBezTo>
                  <a:pt x="903" y="263"/>
                  <a:pt x="903" y="263"/>
                  <a:pt x="903" y="263"/>
                </a:cubicBezTo>
                <a:cubicBezTo>
                  <a:pt x="894" y="262"/>
                  <a:pt x="894" y="262"/>
                  <a:pt x="894" y="262"/>
                </a:cubicBezTo>
                <a:cubicBezTo>
                  <a:pt x="894" y="262"/>
                  <a:pt x="895" y="265"/>
                  <a:pt x="899" y="267"/>
                </a:cubicBezTo>
                <a:cubicBezTo>
                  <a:pt x="903" y="268"/>
                  <a:pt x="907" y="267"/>
                  <a:pt x="907" y="267"/>
                </a:cubicBezTo>
                <a:cubicBezTo>
                  <a:pt x="907" y="267"/>
                  <a:pt x="908" y="268"/>
                  <a:pt x="910" y="267"/>
                </a:cubicBezTo>
                <a:cubicBezTo>
                  <a:pt x="909" y="257"/>
                  <a:pt x="909" y="257"/>
                  <a:pt x="909" y="257"/>
                </a:cubicBezTo>
                <a:cubicBezTo>
                  <a:pt x="902" y="245"/>
                  <a:pt x="902" y="245"/>
                  <a:pt x="902" y="245"/>
                </a:cubicBezTo>
                <a:cubicBezTo>
                  <a:pt x="887" y="235"/>
                  <a:pt x="887" y="235"/>
                  <a:pt x="887" y="235"/>
                </a:cubicBezTo>
                <a:cubicBezTo>
                  <a:pt x="880" y="229"/>
                  <a:pt x="880" y="229"/>
                  <a:pt x="880" y="229"/>
                </a:cubicBezTo>
                <a:cubicBezTo>
                  <a:pt x="879" y="227"/>
                  <a:pt x="878" y="227"/>
                  <a:pt x="878" y="226"/>
                </a:cubicBezTo>
                <a:cubicBezTo>
                  <a:pt x="877" y="226"/>
                  <a:pt x="877" y="225"/>
                  <a:pt x="875" y="223"/>
                </a:cubicBezTo>
                <a:cubicBezTo>
                  <a:pt x="874" y="223"/>
                  <a:pt x="877" y="213"/>
                  <a:pt x="879" y="210"/>
                </a:cubicBezTo>
                <a:cubicBezTo>
                  <a:pt x="883" y="205"/>
                  <a:pt x="882" y="197"/>
                  <a:pt x="882" y="197"/>
                </a:cubicBezTo>
                <a:cubicBezTo>
                  <a:pt x="876" y="197"/>
                  <a:pt x="876" y="197"/>
                  <a:pt x="876" y="197"/>
                </a:cubicBezTo>
                <a:cubicBezTo>
                  <a:pt x="873" y="200"/>
                  <a:pt x="873" y="200"/>
                  <a:pt x="873" y="200"/>
                </a:cubicBezTo>
                <a:cubicBezTo>
                  <a:pt x="873" y="200"/>
                  <a:pt x="870" y="200"/>
                  <a:pt x="864" y="197"/>
                </a:cubicBezTo>
                <a:cubicBezTo>
                  <a:pt x="859" y="193"/>
                  <a:pt x="864" y="193"/>
                  <a:pt x="865" y="189"/>
                </a:cubicBezTo>
                <a:cubicBezTo>
                  <a:pt x="865" y="186"/>
                  <a:pt x="864" y="184"/>
                  <a:pt x="864" y="184"/>
                </a:cubicBezTo>
                <a:cubicBezTo>
                  <a:pt x="864" y="184"/>
                  <a:pt x="885" y="164"/>
                  <a:pt x="885" y="162"/>
                </a:cubicBezTo>
                <a:cubicBezTo>
                  <a:pt x="885" y="161"/>
                  <a:pt x="873" y="162"/>
                  <a:pt x="873" y="162"/>
                </a:cubicBezTo>
                <a:cubicBezTo>
                  <a:pt x="873" y="162"/>
                  <a:pt x="877" y="157"/>
                  <a:pt x="868" y="153"/>
                </a:cubicBezTo>
                <a:cubicBezTo>
                  <a:pt x="858" y="149"/>
                  <a:pt x="855" y="156"/>
                  <a:pt x="855" y="156"/>
                </a:cubicBezTo>
                <a:cubicBezTo>
                  <a:pt x="850" y="142"/>
                  <a:pt x="850" y="142"/>
                  <a:pt x="850" y="142"/>
                </a:cubicBezTo>
                <a:cubicBezTo>
                  <a:pt x="854" y="138"/>
                  <a:pt x="854" y="138"/>
                  <a:pt x="854" y="138"/>
                </a:cubicBezTo>
                <a:cubicBezTo>
                  <a:pt x="856" y="130"/>
                  <a:pt x="856" y="130"/>
                  <a:pt x="856" y="130"/>
                </a:cubicBezTo>
                <a:cubicBezTo>
                  <a:pt x="872" y="122"/>
                  <a:pt x="872" y="122"/>
                  <a:pt x="872" y="122"/>
                </a:cubicBezTo>
                <a:cubicBezTo>
                  <a:pt x="874" y="116"/>
                  <a:pt x="874" y="116"/>
                  <a:pt x="874" y="116"/>
                </a:cubicBezTo>
                <a:cubicBezTo>
                  <a:pt x="888" y="116"/>
                  <a:pt x="888" y="116"/>
                  <a:pt x="888" y="116"/>
                </a:cubicBezTo>
                <a:cubicBezTo>
                  <a:pt x="890" y="101"/>
                  <a:pt x="890" y="101"/>
                  <a:pt x="890" y="101"/>
                </a:cubicBezTo>
                <a:cubicBezTo>
                  <a:pt x="890" y="101"/>
                  <a:pt x="889" y="101"/>
                  <a:pt x="888" y="100"/>
                </a:cubicBezTo>
                <a:cubicBezTo>
                  <a:pt x="884" y="99"/>
                  <a:pt x="876" y="95"/>
                  <a:pt x="875" y="95"/>
                </a:cubicBezTo>
                <a:cubicBezTo>
                  <a:pt x="874" y="95"/>
                  <a:pt x="866" y="96"/>
                  <a:pt x="866" y="96"/>
                </a:cubicBezTo>
                <a:cubicBezTo>
                  <a:pt x="854" y="93"/>
                  <a:pt x="854" y="93"/>
                  <a:pt x="854" y="93"/>
                </a:cubicBezTo>
                <a:cubicBezTo>
                  <a:pt x="849" y="91"/>
                  <a:pt x="849" y="91"/>
                  <a:pt x="849" y="91"/>
                </a:cubicBezTo>
                <a:cubicBezTo>
                  <a:pt x="849" y="91"/>
                  <a:pt x="843" y="96"/>
                  <a:pt x="836" y="96"/>
                </a:cubicBezTo>
                <a:cubicBezTo>
                  <a:pt x="834" y="96"/>
                  <a:pt x="832" y="96"/>
                  <a:pt x="830" y="95"/>
                </a:cubicBezTo>
                <a:cubicBezTo>
                  <a:pt x="826" y="93"/>
                  <a:pt x="824" y="90"/>
                  <a:pt x="824" y="90"/>
                </a:cubicBezTo>
                <a:cubicBezTo>
                  <a:pt x="783" y="86"/>
                  <a:pt x="783" y="86"/>
                  <a:pt x="783" y="86"/>
                </a:cubicBezTo>
                <a:cubicBezTo>
                  <a:pt x="783" y="86"/>
                  <a:pt x="783" y="86"/>
                  <a:pt x="782" y="81"/>
                </a:cubicBezTo>
                <a:cubicBezTo>
                  <a:pt x="781" y="76"/>
                  <a:pt x="773" y="81"/>
                  <a:pt x="769" y="81"/>
                </a:cubicBezTo>
                <a:cubicBezTo>
                  <a:pt x="769" y="81"/>
                  <a:pt x="769" y="81"/>
                  <a:pt x="769" y="81"/>
                </a:cubicBezTo>
                <a:cubicBezTo>
                  <a:pt x="765" y="81"/>
                  <a:pt x="763" y="78"/>
                  <a:pt x="763" y="78"/>
                </a:cubicBezTo>
                <a:cubicBezTo>
                  <a:pt x="747" y="76"/>
                  <a:pt x="747" y="76"/>
                  <a:pt x="747" y="76"/>
                </a:cubicBezTo>
                <a:cubicBezTo>
                  <a:pt x="742" y="73"/>
                  <a:pt x="742" y="73"/>
                  <a:pt x="742" y="73"/>
                </a:cubicBezTo>
                <a:cubicBezTo>
                  <a:pt x="742" y="73"/>
                  <a:pt x="741" y="73"/>
                  <a:pt x="739" y="73"/>
                </a:cubicBezTo>
                <a:cubicBezTo>
                  <a:pt x="733" y="73"/>
                  <a:pt x="733" y="73"/>
                  <a:pt x="733" y="73"/>
                </a:cubicBezTo>
                <a:cubicBezTo>
                  <a:pt x="728" y="73"/>
                  <a:pt x="724" y="63"/>
                  <a:pt x="724" y="57"/>
                </a:cubicBezTo>
                <a:cubicBezTo>
                  <a:pt x="724" y="52"/>
                  <a:pt x="713" y="56"/>
                  <a:pt x="713" y="56"/>
                </a:cubicBezTo>
                <a:cubicBezTo>
                  <a:pt x="716" y="41"/>
                  <a:pt x="716" y="41"/>
                  <a:pt x="716" y="41"/>
                </a:cubicBezTo>
                <a:cubicBezTo>
                  <a:pt x="713" y="37"/>
                  <a:pt x="713" y="37"/>
                  <a:pt x="713" y="37"/>
                </a:cubicBezTo>
                <a:cubicBezTo>
                  <a:pt x="713" y="37"/>
                  <a:pt x="704" y="40"/>
                  <a:pt x="704" y="37"/>
                </a:cubicBezTo>
                <a:cubicBezTo>
                  <a:pt x="703" y="35"/>
                  <a:pt x="698" y="31"/>
                  <a:pt x="698" y="31"/>
                </a:cubicBezTo>
                <a:cubicBezTo>
                  <a:pt x="698" y="31"/>
                  <a:pt x="704" y="26"/>
                  <a:pt x="698" y="23"/>
                </a:cubicBezTo>
                <a:cubicBezTo>
                  <a:pt x="691" y="19"/>
                  <a:pt x="697" y="17"/>
                  <a:pt x="697" y="12"/>
                </a:cubicBezTo>
                <a:cubicBezTo>
                  <a:pt x="698" y="8"/>
                  <a:pt x="704" y="11"/>
                  <a:pt x="704" y="11"/>
                </a:cubicBezTo>
                <a:cubicBezTo>
                  <a:pt x="708" y="4"/>
                  <a:pt x="708" y="4"/>
                  <a:pt x="708" y="4"/>
                </a:cubicBezTo>
                <a:cubicBezTo>
                  <a:pt x="702" y="0"/>
                  <a:pt x="702" y="0"/>
                  <a:pt x="702" y="0"/>
                </a:cubicBezTo>
                <a:cubicBezTo>
                  <a:pt x="668" y="9"/>
                  <a:pt x="668" y="9"/>
                  <a:pt x="668" y="9"/>
                </a:cubicBezTo>
                <a:cubicBezTo>
                  <a:pt x="647" y="22"/>
                  <a:pt x="647" y="22"/>
                  <a:pt x="647" y="22"/>
                </a:cubicBezTo>
                <a:cubicBezTo>
                  <a:pt x="649" y="14"/>
                  <a:pt x="637" y="17"/>
                  <a:pt x="637" y="17"/>
                </a:cubicBezTo>
                <a:cubicBezTo>
                  <a:pt x="634" y="14"/>
                  <a:pt x="634" y="14"/>
                  <a:pt x="634" y="14"/>
                </a:cubicBezTo>
                <a:cubicBezTo>
                  <a:pt x="622" y="17"/>
                  <a:pt x="622" y="17"/>
                  <a:pt x="622" y="17"/>
                </a:cubicBezTo>
                <a:cubicBezTo>
                  <a:pt x="622" y="17"/>
                  <a:pt x="618" y="13"/>
                  <a:pt x="615" y="13"/>
                </a:cubicBezTo>
                <a:cubicBezTo>
                  <a:pt x="612" y="13"/>
                  <a:pt x="605" y="22"/>
                  <a:pt x="605" y="22"/>
                </a:cubicBezTo>
                <a:cubicBezTo>
                  <a:pt x="601" y="16"/>
                  <a:pt x="601" y="16"/>
                  <a:pt x="601" y="16"/>
                </a:cubicBezTo>
                <a:cubicBezTo>
                  <a:pt x="576" y="20"/>
                  <a:pt x="576" y="20"/>
                  <a:pt x="576" y="20"/>
                </a:cubicBezTo>
                <a:cubicBezTo>
                  <a:pt x="576" y="25"/>
                  <a:pt x="576" y="25"/>
                  <a:pt x="576" y="25"/>
                </a:cubicBezTo>
                <a:cubicBezTo>
                  <a:pt x="576" y="25"/>
                  <a:pt x="572" y="29"/>
                  <a:pt x="569" y="33"/>
                </a:cubicBezTo>
                <a:cubicBezTo>
                  <a:pt x="566" y="37"/>
                  <a:pt x="568" y="46"/>
                  <a:pt x="568" y="46"/>
                </a:cubicBezTo>
                <a:cubicBezTo>
                  <a:pt x="555" y="57"/>
                  <a:pt x="555" y="57"/>
                  <a:pt x="555" y="57"/>
                </a:cubicBezTo>
                <a:cubicBezTo>
                  <a:pt x="547" y="54"/>
                  <a:pt x="547" y="54"/>
                  <a:pt x="547" y="54"/>
                </a:cubicBezTo>
                <a:cubicBezTo>
                  <a:pt x="541" y="56"/>
                  <a:pt x="541" y="56"/>
                  <a:pt x="541" y="56"/>
                </a:cubicBezTo>
                <a:cubicBezTo>
                  <a:pt x="536" y="52"/>
                  <a:pt x="536" y="52"/>
                  <a:pt x="536" y="52"/>
                </a:cubicBezTo>
                <a:cubicBezTo>
                  <a:pt x="534" y="55"/>
                  <a:pt x="534" y="55"/>
                  <a:pt x="534" y="55"/>
                </a:cubicBezTo>
                <a:cubicBezTo>
                  <a:pt x="530" y="50"/>
                  <a:pt x="530" y="50"/>
                  <a:pt x="530" y="50"/>
                </a:cubicBezTo>
                <a:cubicBezTo>
                  <a:pt x="523" y="50"/>
                  <a:pt x="523" y="50"/>
                  <a:pt x="523" y="50"/>
                </a:cubicBezTo>
                <a:cubicBezTo>
                  <a:pt x="527" y="45"/>
                  <a:pt x="527" y="45"/>
                  <a:pt x="527" y="45"/>
                </a:cubicBezTo>
                <a:cubicBezTo>
                  <a:pt x="516" y="35"/>
                  <a:pt x="516" y="35"/>
                  <a:pt x="516" y="35"/>
                </a:cubicBezTo>
                <a:cubicBezTo>
                  <a:pt x="504" y="43"/>
                  <a:pt x="504" y="43"/>
                  <a:pt x="504" y="43"/>
                </a:cubicBezTo>
                <a:cubicBezTo>
                  <a:pt x="497" y="41"/>
                  <a:pt x="497" y="41"/>
                  <a:pt x="497" y="41"/>
                </a:cubicBezTo>
                <a:cubicBezTo>
                  <a:pt x="492" y="40"/>
                  <a:pt x="492" y="40"/>
                  <a:pt x="492" y="40"/>
                </a:cubicBezTo>
                <a:cubicBezTo>
                  <a:pt x="487" y="51"/>
                  <a:pt x="487" y="51"/>
                  <a:pt x="487" y="51"/>
                </a:cubicBezTo>
                <a:cubicBezTo>
                  <a:pt x="487" y="57"/>
                  <a:pt x="487" y="57"/>
                  <a:pt x="487" y="57"/>
                </a:cubicBezTo>
                <a:cubicBezTo>
                  <a:pt x="484" y="62"/>
                  <a:pt x="484" y="62"/>
                  <a:pt x="484" y="62"/>
                </a:cubicBezTo>
                <a:cubicBezTo>
                  <a:pt x="485" y="67"/>
                  <a:pt x="485" y="67"/>
                  <a:pt x="485" y="67"/>
                </a:cubicBezTo>
                <a:cubicBezTo>
                  <a:pt x="482" y="68"/>
                  <a:pt x="482" y="68"/>
                  <a:pt x="482" y="68"/>
                </a:cubicBezTo>
                <a:cubicBezTo>
                  <a:pt x="482" y="72"/>
                  <a:pt x="482" y="72"/>
                  <a:pt x="482" y="72"/>
                </a:cubicBezTo>
                <a:cubicBezTo>
                  <a:pt x="483" y="73"/>
                  <a:pt x="483" y="75"/>
                  <a:pt x="484" y="76"/>
                </a:cubicBezTo>
                <a:cubicBezTo>
                  <a:pt x="488" y="77"/>
                  <a:pt x="488" y="77"/>
                  <a:pt x="488" y="77"/>
                </a:cubicBezTo>
                <a:cubicBezTo>
                  <a:pt x="493" y="82"/>
                  <a:pt x="493" y="82"/>
                  <a:pt x="493" y="82"/>
                </a:cubicBezTo>
                <a:cubicBezTo>
                  <a:pt x="489" y="93"/>
                  <a:pt x="489" y="93"/>
                  <a:pt x="489" y="93"/>
                </a:cubicBezTo>
                <a:cubicBezTo>
                  <a:pt x="487" y="97"/>
                  <a:pt x="487" y="97"/>
                  <a:pt x="487" y="97"/>
                </a:cubicBezTo>
                <a:cubicBezTo>
                  <a:pt x="487" y="97"/>
                  <a:pt x="487" y="97"/>
                  <a:pt x="487" y="97"/>
                </a:cubicBezTo>
                <a:cubicBezTo>
                  <a:pt x="485" y="92"/>
                  <a:pt x="469" y="96"/>
                  <a:pt x="469" y="92"/>
                </a:cubicBezTo>
                <a:cubicBezTo>
                  <a:pt x="469" y="89"/>
                  <a:pt x="462" y="89"/>
                  <a:pt x="462" y="89"/>
                </a:cubicBezTo>
                <a:cubicBezTo>
                  <a:pt x="465" y="83"/>
                  <a:pt x="465" y="83"/>
                  <a:pt x="465" y="83"/>
                </a:cubicBezTo>
                <a:cubicBezTo>
                  <a:pt x="463" y="78"/>
                  <a:pt x="463" y="78"/>
                  <a:pt x="463" y="78"/>
                </a:cubicBezTo>
                <a:cubicBezTo>
                  <a:pt x="459" y="82"/>
                  <a:pt x="459" y="82"/>
                  <a:pt x="459" y="82"/>
                </a:cubicBezTo>
                <a:cubicBezTo>
                  <a:pt x="444" y="81"/>
                  <a:pt x="444" y="81"/>
                  <a:pt x="444" y="81"/>
                </a:cubicBezTo>
                <a:cubicBezTo>
                  <a:pt x="443" y="87"/>
                  <a:pt x="443" y="87"/>
                  <a:pt x="443" y="87"/>
                </a:cubicBezTo>
                <a:cubicBezTo>
                  <a:pt x="436" y="94"/>
                  <a:pt x="436" y="94"/>
                  <a:pt x="436" y="94"/>
                </a:cubicBezTo>
                <a:cubicBezTo>
                  <a:pt x="436" y="94"/>
                  <a:pt x="437" y="112"/>
                  <a:pt x="440" y="113"/>
                </a:cubicBezTo>
                <a:cubicBezTo>
                  <a:pt x="442" y="114"/>
                  <a:pt x="448" y="113"/>
                  <a:pt x="448" y="113"/>
                </a:cubicBezTo>
                <a:cubicBezTo>
                  <a:pt x="451" y="119"/>
                  <a:pt x="451" y="119"/>
                  <a:pt x="451" y="119"/>
                </a:cubicBezTo>
                <a:cubicBezTo>
                  <a:pt x="446" y="130"/>
                  <a:pt x="446" y="130"/>
                  <a:pt x="446" y="130"/>
                </a:cubicBezTo>
                <a:cubicBezTo>
                  <a:pt x="454" y="144"/>
                  <a:pt x="454" y="144"/>
                  <a:pt x="454" y="144"/>
                </a:cubicBezTo>
                <a:cubicBezTo>
                  <a:pt x="454" y="144"/>
                  <a:pt x="453" y="147"/>
                  <a:pt x="450" y="149"/>
                </a:cubicBezTo>
                <a:cubicBezTo>
                  <a:pt x="447" y="151"/>
                  <a:pt x="440" y="152"/>
                  <a:pt x="437" y="150"/>
                </a:cubicBezTo>
                <a:cubicBezTo>
                  <a:pt x="433" y="148"/>
                  <a:pt x="438" y="145"/>
                  <a:pt x="438" y="142"/>
                </a:cubicBezTo>
                <a:cubicBezTo>
                  <a:pt x="438" y="140"/>
                  <a:pt x="431" y="139"/>
                  <a:pt x="431" y="139"/>
                </a:cubicBezTo>
                <a:cubicBezTo>
                  <a:pt x="429" y="131"/>
                  <a:pt x="429" y="131"/>
                  <a:pt x="429" y="131"/>
                </a:cubicBezTo>
                <a:cubicBezTo>
                  <a:pt x="431" y="127"/>
                  <a:pt x="431" y="127"/>
                  <a:pt x="431" y="127"/>
                </a:cubicBezTo>
                <a:cubicBezTo>
                  <a:pt x="426" y="121"/>
                  <a:pt x="426" y="121"/>
                  <a:pt x="426" y="121"/>
                </a:cubicBezTo>
                <a:cubicBezTo>
                  <a:pt x="423" y="125"/>
                  <a:pt x="423" y="125"/>
                  <a:pt x="423" y="125"/>
                </a:cubicBezTo>
                <a:cubicBezTo>
                  <a:pt x="420" y="121"/>
                  <a:pt x="420" y="121"/>
                  <a:pt x="420" y="121"/>
                </a:cubicBezTo>
                <a:cubicBezTo>
                  <a:pt x="405" y="129"/>
                  <a:pt x="405" y="129"/>
                  <a:pt x="405" y="129"/>
                </a:cubicBezTo>
                <a:cubicBezTo>
                  <a:pt x="400" y="127"/>
                  <a:pt x="400" y="127"/>
                  <a:pt x="400" y="127"/>
                </a:cubicBezTo>
                <a:cubicBezTo>
                  <a:pt x="400" y="127"/>
                  <a:pt x="400" y="127"/>
                  <a:pt x="394" y="136"/>
                </a:cubicBezTo>
                <a:cubicBezTo>
                  <a:pt x="376" y="137"/>
                  <a:pt x="372" y="131"/>
                  <a:pt x="372" y="128"/>
                </a:cubicBezTo>
                <a:cubicBezTo>
                  <a:pt x="372" y="126"/>
                  <a:pt x="366" y="120"/>
                  <a:pt x="366" y="120"/>
                </a:cubicBezTo>
                <a:cubicBezTo>
                  <a:pt x="367" y="97"/>
                  <a:pt x="367" y="97"/>
                  <a:pt x="367" y="97"/>
                </a:cubicBezTo>
                <a:cubicBezTo>
                  <a:pt x="360" y="104"/>
                  <a:pt x="360" y="104"/>
                  <a:pt x="360" y="104"/>
                </a:cubicBezTo>
                <a:cubicBezTo>
                  <a:pt x="354" y="96"/>
                  <a:pt x="354" y="96"/>
                  <a:pt x="354" y="96"/>
                </a:cubicBezTo>
                <a:cubicBezTo>
                  <a:pt x="343" y="98"/>
                  <a:pt x="343" y="98"/>
                  <a:pt x="343" y="98"/>
                </a:cubicBezTo>
                <a:cubicBezTo>
                  <a:pt x="343" y="106"/>
                  <a:pt x="343" y="106"/>
                  <a:pt x="343" y="106"/>
                </a:cubicBezTo>
                <a:cubicBezTo>
                  <a:pt x="341" y="108"/>
                  <a:pt x="341" y="108"/>
                  <a:pt x="341" y="108"/>
                </a:cubicBezTo>
                <a:cubicBezTo>
                  <a:pt x="343" y="114"/>
                  <a:pt x="343" y="114"/>
                  <a:pt x="343" y="114"/>
                </a:cubicBezTo>
                <a:cubicBezTo>
                  <a:pt x="345" y="126"/>
                  <a:pt x="345" y="126"/>
                  <a:pt x="345" y="126"/>
                </a:cubicBezTo>
                <a:cubicBezTo>
                  <a:pt x="339" y="145"/>
                  <a:pt x="339" y="145"/>
                  <a:pt x="339" y="145"/>
                </a:cubicBezTo>
                <a:cubicBezTo>
                  <a:pt x="333" y="146"/>
                  <a:pt x="333" y="146"/>
                  <a:pt x="333" y="146"/>
                </a:cubicBezTo>
                <a:cubicBezTo>
                  <a:pt x="329" y="155"/>
                  <a:pt x="329" y="155"/>
                  <a:pt x="329" y="155"/>
                </a:cubicBezTo>
                <a:cubicBezTo>
                  <a:pt x="316" y="162"/>
                  <a:pt x="316" y="162"/>
                  <a:pt x="316" y="162"/>
                </a:cubicBezTo>
                <a:cubicBezTo>
                  <a:pt x="316" y="162"/>
                  <a:pt x="316" y="169"/>
                  <a:pt x="316" y="173"/>
                </a:cubicBezTo>
                <a:cubicBezTo>
                  <a:pt x="316" y="176"/>
                  <a:pt x="308" y="176"/>
                  <a:pt x="308" y="176"/>
                </a:cubicBezTo>
                <a:cubicBezTo>
                  <a:pt x="308" y="176"/>
                  <a:pt x="308" y="182"/>
                  <a:pt x="307" y="187"/>
                </a:cubicBezTo>
                <a:cubicBezTo>
                  <a:pt x="307" y="191"/>
                  <a:pt x="303" y="189"/>
                  <a:pt x="303" y="189"/>
                </a:cubicBezTo>
                <a:cubicBezTo>
                  <a:pt x="308" y="192"/>
                  <a:pt x="308" y="192"/>
                  <a:pt x="308" y="192"/>
                </a:cubicBezTo>
                <a:cubicBezTo>
                  <a:pt x="308" y="199"/>
                  <a:pt x="308" y="199"/>
                  <a:pt x="308" y="199"/>
                </a:cubicBezTo>
                <a:cubicBezTo>
                  <a:pt x="317" y="206"/>
                  <a:pt x="317" y="206"/>
                  <a:pt x="317" y="206"/>
                </a:cubicBezTo>
                <a:cubicBezTo>
                  <a:pt x="306" y="218"/>
                  <a:pt x="306" y="218"/>
                  <a:pt x="306" y="218"/>
                </a:cubicBezTo>
                <a:cubicBezTo>
                  <a:pt x="299" y="214"/>
                  <a:pt x="299" y="214"/>
                  <a:pt x="299" y="214"/>
                </a:cubicBezTo>
                <a:cubicBezTo>
                  <a:pt x="294" y="213"/>
                  <a:pt x="294" y="213"/>
                  <a:pt x="294" y="213"/>
                </a:cubicBezTo>
                <a:cubicBezTo>
                  <a:pt x="294" y="213"/>
                  <a:pt x="295" y="203"/>
                  <a:pt x="295" y="201"/>
                </a:cubicBezTo>
                <a:cubicBezTo>
                  <a:pt x="295" y="200"/>
                  <a:pt x="288" y="191"/>
                  <a:pt x="288" y="191"/>
                </a:cubicBezTo>
                <a:cubicBezTo>
                  <a:pt x="285" y="186"/>
                  <a:pt x="285" y="186"/>
                  <a:pt x="285" y="186"/>
                </a:cubicBezTo>
                <a:cubicBezTo>
                  <a:pt x="278" y="186"/>
                  <a:pt x="278" y="186"/>
                  <a:pt x="278" y="186"/>
                </a:cubicBezTo>
                <a:cubicBezTo>
                  <a:pt x="287" y="172"/>
                  <a:pt x="287" y="172"/>
                  <a:pt x="287" y="172"/>
                </a:cubicBezTo>
                <a:cubicBezTo>
                  <a:pt x="284" y="166"/>
                  <a:pt x="284" y="166"/>
                  <a:pt x="284" y="166"/>
                </a:cubicBezTo>
                <a:cubicBezTo>
                  <a:pt x="277" y="165"/>
                  <a:pt x="277" y="165"/>
                  <a:pt x="277" y="165"/>
                </a:cubicBezTo>
                <a:cubicBezTo>
                  <a:pt x="257" y="162"/>
                  <a:pt x="257" y="162"/>
                  <a:pt x="257" y="162"/>
                </a:cubicBezTo>
                <a:cubicBezTo>
                  <a:pt x="248" y="143"/>
                  <a:pt x="248" y="143"/>
                  <a:pt x="248" y="143"/>
                </a:cubicBezTo>
                <a:cubicBezTo>
                  <a:pt x="238" y="139"/>
                  <a:pt x="238" y="139"/>
                  <a:pt x="238" y="139"/>
                </a:cubicBezTo>
                <a:cubicBezTo>
                  <a:pt x="238" y="139"/>
                  <a:pt x="238" y="131"/>
                  <a:pt x="238" y="128"/>
                </a:cubicBezTo>
                <a:cubicBezTo>
                  <a:pt x="238" y="125"/>
                  <a:pt x="242" y="122"/>
                  <a:pt x="242" y="122"/>
                </a:cubicBezTo>
                <a:cubicBezTo>
                  <a:pt x="242" y="122"/>
                  <a:pt x="243" y="108"/>
                  <a:pt x="241" y="100"/>
                </a:cubicBezTo>
                <a:cubicBezTo>
                  <a:pt x="239" y="92"/>
                  <a:pt x="222" y="110"/>
                  <a:pt x="222" y="110"/>
                </a:cubicBezTo>
                <a:cubicBezTo>
                  <a:pt x="222" y="110"/>
                  <a:pt x="222" y="110"/>
                  <a:pt x="223" y="115"/>
                </a:cubicBezTo>
                <a:cubicBezTo>
                  <a:pt x="214" y="116"/>
                  <a:pt x="211" y="126"/>
                  <a:pt x="211" y="126"/>
                </a:cubicBezTo>
                <a:cubicBezTo>
                  <a:pt x="199" y="127"/>
                  <a:pt x="199" y="127"/>
                  <a:pt x="199" y="127"/>
                </a:cubicBezTo>
                <a:cubicBezTo>
                  <a:pt x="194" y="132"/>
                  <a:pt x="194" y="132"/>
                  <a:pt x="194" y="132"/>
                </a:cubicBezTo>
                <a:cubicBezTo>
                  <a:pt x="202" y="142"/>
                  <a:pt x="202" y="142"/>
                  <a:pt x="202" y="142"/>
                </a:cubicBezTo>
                <a:cubicBezTo>
                  <a:pt x="202" y="142"/>
                  <a:pt x="202" y="156"/>
                  <a:pt x="197" y="159"/>
                </a:cubicBezTo>
                <a:cubicBezTo>
                  <a:pt x="193" y="161"/>
                  <a:pt x="187" y="161"/>
                  <a:pt x="187" y="161"/>
                </a:cubicBezTo>
                <a:cubicBezTo>
                  <a:pt x="187" y="161"/>
                  <a:pt x="187" y="168"/>
                  <a:pt x="185" y="174"/>
                </a:cubicBezTo>
                <a:cubicBezTo>
                  <a:pt x="183" y="181"/>
                  <a:pt x="171" y="179"/>
                  <a:pt x="168" y="180"/>
                </a:cubicBezTo>
                <a:cubicBezTo>
                  <a:pt x="165" y="181"/>
                  <a:pt x="163" y="191"/>
                  <a:pt x="163" y="191"/>
                </a:cubicBezTo>
                <a:cubicBezTo>
                  <a:pt x="154" y="193"/>
                  <a:pt x="154" y="193"/>
                  <a:pt x="154" y="193"/>
                </a:cubicBezTo>
                <a:cubicBezTo>
                  <a:pt x="154" y="193"/>
                  <a:pt x="151" y="189"/>
                  <a:pt x="150" y="189"/>
                </a:cubicBezTo>
                <a:cubicBezTo>
                  <a:pt x="148" y="189"/>
                  <a:pt x="147" y="192"/>
                  <a:pt x="147" y="192"/>
                </a:cubicBezTo>
                <a:cubicBezTo>
                  <a:pt x="139" y="182"/>
                  <a:pt x="139" y="182"/>
                  <a:pt x="139" y="182"/>
                </a:cubicBezTo>
                <a:cubicBezTo>
                  <a:pt x="127" y="182"/>
                  <a:pt x="127" y="182"/>
                  <a:pt x="127" y="182"/>
                </a:cubicBezTo>
                <a:cubicBezTo>
                  <a:pt x="129" y="177"/>
                  <a:pt x="129" y="177"/>
                  <a:pt x="129" y="177"/>
                </a:cubicBezTo>
                <a:cubicBezTo>
                  <a:pt x="124" y="176"/>
                  <a:pt x="124" y="176"/>
                  <a:pt x="124" y="176"/>
                </a:cubicBezTo>
                <a:cubicBezTo>
                  <a:pt x="123" y="184"/>
                  <a:pt x="123" y="184"/>
                  <a:pt x="123" y="184"/>
                </a:cubicBezTo>
                <a:cubicBezTo>
                  <a:pt x="118" y="184"/>
                  <a:pt x="118" y="184"/>
                  <a:pt x="118" y="184"/>
                </a:cubicBezTo>
                <a:cubicBezTo>
                  <a:pt x="104" y="192"/>
                  <a:pt x="104" y="192"/>
                  <a:pt x="104" y="192"/>
                </a:cubicBezTo>
                <a:cubicBezTo>
                  <a:pt x="93" y="189"/>
                  <a:pt x="93" y="189"/>
                  <a:pt x="93" y="189"/>
                </a:cubicBezTo>
                <a:cubicBezTo>
                  <a:pt x="93" y="189"/>
                  <a:pt x="91" y="192"/>
                  <a:pt x="89" y="195"/>
                </a:cubicBezTo>
                <a:cubicBezTo>
                  <a:pt x="86" y="197"/>
                  <a:pt x="82" y="191"/>
                  <a:pt x="82" y="191"/>
                </a:cubicBezTo>
                <a:cubicBezTo>
                  <a:pt x="79" y="198"/>
                  <a:pt x="79" y="198"/>
                  <a:pt x="79" y="198"/>
                </a:cubicBezTo>
                <a:cubicBezTo>
                  <a:pt x="74" y="193"/>
                  <a:pt x="74" y="193"/>
                  <a:pt x="74" y="193"/>
                </a:cubicBezTo>
                <a:cubicBezTo>
                  <a:pt x="69" y="198"/>
                  <a:pt x="69" y="198"/>
                  <a:pt x="69" y="198"/>
                </a:cubicBezTo>
                <a:cubicBezTo>
                  <a:pt x="61" y="188"/>
                  <a:pt x="61" y="188"/>
                  <a:pt x="61" y="188"/>
                </a:cubicBezTo>
                <a:cubicBezTo>
                  <a:pt x="57" y="184"/>
                  <a:pt x="58" y="190"/>
                  <a:pt x="53" y="195"/>
                </a:cubicBezTo>
                <a:cubicBezTo>
                  <a:pt x="48" y="198"/>
                  <a:pt x="43" y="199"/>
                  <a:pt x="41" y="199"/>
                </a:cubicBezTo>
                <a:cubicBezTo>
                  <a:pt x="40" y="199"/>
                  <a:pt x="40" y="199"/>
                  <a:pt x="40" y="199"/>
                </a:cubicBezTo>
                <a:cubicBezTo>
                  <a:pt x="37" y="200"/>
                  <a:pt x="37" y="200"/>
                  <a:pt x="37" y="200"/>
                </a:cubicBezTo>
                <a:cubicBezTo>
                  <a:pt x="34" y="200"/>
                  <a:pt x="34" y="200"/>
                  <a:pt x="34" y="200"/>
                </a:cubicBezTo>
                <a:cubicBezTo>
                  <a:pt x="34" y="200"/>
                  <a:pt x="29" y="209"/>
                  <a:pt x="30" y="216"/>
                </a:cubicBezTo>
                <a:cubicBezTo>
                  <a:pt x="30" y="223"/>
                  <a:pt x="33" y="227"/>
                  <a:pt x="40" y="228"/>
                </a:cubicBezTo>
                <a:cubicBezTo>
                  <a:pt x="46" y="229"/>
                  <a:pt x="44" y="234"/>
                  <a:pt x="44" y="234"/>
                </a:cubicBezTo>
                <a:cubicBezTo>
                  <a:pt x="53" y="236"/>
                  <a:pt x="53" y="236"/>
                  <a:pt x="53" y="236"/>
                </a:cubicBezTo>
                <a:cubicBezTo>
                  <a:pt x="48" y="246"/>
                  <a:pt x="48" y="246"/>
                  <a:pt x="48" y="246"/>
                </a:cubicBezTo>
                <a:cubicBezTo>
                  <a:pt x="51" y="247"/>
                  <a:pt x="51" y="247"/>
                  <a:pt x="51" y="247"/>
                </a:cubicBezTo>
                <a:cubicBezTo>
                  <a:pt x="50" y="260"/>
                  <a:pt x="50" y="260"/>
                  <a:pt x="50" y="260"/>
                </a:cubicBezTo>
                <a:cubicBezTo>
                  <a:pt x="50" y="260"/>
                  <a:pt x="53" y="262"/>
                  <a:pt x="57" y="262"/>
                </a:cubicBezTo>
                <a:cubicBezTo>
                  <a:pt x="61" y="262"/>
                  <a:pt x="57" y="268"/>
                  <a:pt x="57" y="268"/>
                </a:cubicBezTo>
                <a:cubicBezTo>
                  <a:pt x="57" y="268"/>
                  <a:pt x="58" y="268"/>
                  <a:pt x="62" y="268"/>
                </a:cubicBezTo>
                <a:cubicBezTo>
                  <a:pt x="62" y="268"/>
                  <a:pt x="63" y="268"/>
                  <a:pt x="64" y="268"/>
                </a:cubicBezTo>
                <a:cubicBezTo>
                  <a:pt x="68" y="268"/>
                  <a:pt x="64" y="274"/>
                  <a:pt x="64" y="274"/>
                </a:cubicBezTo>
                <a:cubicBezTo>
                  <a:pt x="71" y="279"/>
                  <a:pt x="71" y="279"/>
                  <a:pt x="71" y="279"/>
                </a:cubicBezTo>
                <a:cubicBezTo>
                  <a:pt x="67" y="292"/>
                  <a:pt x="67" y="292"/>
                  <a:pt x="67" y="292"/>
                </a:cubicBezTo>
                <a:cubicBezTo>
                  <a:pt x="63" y="293"/>
                  <a:pt x="63" y="293"/>
                  <a:pt x="63" y="293"/>
                </a:cubicBezTo>
                <a:cubicBezTo>
                  <a:pt x="63" y="293"/>
                  <a:pt x="65" y="299"/>
                  <a:pt x="66" y="304"/>
                </a:cubicBezTo>
                <a:cubicBezTo>
                  <a:pt x="66" y="310"/>
                  <a:pt x="60" y="311"/>
                  <a:pt x="58" y="312"/>
                </a:cubicBezTo>
                <a:cubicBezTo>
                  <a:pt x="57" y="313"/>
                  <a:pt x="57" y="313"/>
                  <a:pt x="56" y="313"/>
                </a:cubicBezTo>
                <a:cubicBezTo>
                  <a:pt x="54" y="313"/>
                  <a:pt x="51" y="312"/>
                  <a:pt x="46" y="312"/>
                </a:cubicBezTo>
                <a:cubicBezTo>
                  <a:pt x="39" y="313"/>
                  <a:pt x="43" y="320"/>
                  <a:pt x="43" y="320"/>
                </a:cubicBezTo>
                <a:cubicBezTo>
                  <a:pt x="33" y="320"/>
                  <a:pt x="33" y="320"/>
                  <a:pt x="33" y="320"/>
                </a:cubicBezTo>
                <a:cubicBezTo>
                  <a:pt x="33" y="320"/>
                  <a:pt x="33" y="326"/>
                  <a:pt x="29" y="326"/>
                </a:cubicBezTo>
                <a:cubicBezTo>
                  <a:pt x="25" y="326"/>
                  <a:pt x="17" y="320"/>
                  <a:pt x="17" y="320"/>
                </a:cubicBezTo>
                <a:cubicBezTo>
                  <a:pt x="17" y="320"/>
                  <a:pt x="15" y="321"/>
                  <a:pt x="12" y="323"/>
                </a:cubicBezTo>
                <a:cubicBezTo>
                  <a:pt x="8" y="325"/>
                  <a:pt x="6" y="323"/>
                  <a:pt x="6" y="323"/>
                </a:cubicBezTo>
                <a:cubicBezTo>
                  <a:pt x="0" y="328"/>
                  <a:pt x="0" y="328"/>
                  <a:pt x="0" y="328"/>
                </a:cubicBezTo>
                <a:cubicBezTo>
                  <a:pt x="2" y="344"/>
                  <a:pt x="2" y="344"/>
                  <a:pt x="2" y="344"/>
                </a:cubicBezTo>
                <a:cubicBezTo>
                  <a:pt x="2" y="344"/>
                  <a:pt x="7" y="345"/>
                  <a:pt x="12" y="347"/>
                </a:cubicBezTo>
                <a:cubicBezTo>
                  <a:pt x="18" y="349"/>
                  <a:pt x="12" y="362"/>
                  <a:pt x="12" y="362"/>
                </a:cubicBezTo>
                <a:cubicBezTo>
                  <a:pt x="12" y="362"/>
                  <a:pt x="28" y="377"/>
                  <a:pt x="32" y="377"/>
                </a:cubicBezTo>
                <a:cubicBezTo>
                  <a:pt x="37" y="377"/>
                  <a:pt x="36" y="375"/>
                  <a:pt x="36" y="375"/>
                </a:cubicBezTo>
                <a:cubicBezTo>
                  <a:pt x="46" y="383"/>
                  <a:pt x="46" y="383"/>
                  <a:pt x="46" y="383"/>
                </a:cubicBezTo>
                <a:cubicBezTo>
                  <a:pt x="46" y="383"/>
                  <a:pt x="43" y="386"/>
                  <a:pt x="42" y="388"/>
                </a:cubicBezTo>
                <a:cubicBezTo>
                  <a:pt x="41" y="391"/>
                  <a:pt x="46" y="392"/>
                  <a:pt x="46" y="392"/>
                </a:cubicBezTo>
                <a:cubicBezTo>
                  <a:pt x="46" y="398"/>
                  <a:pt x="46" y="398"/>
                  <a:pt x="46" y="398"/>
                </a:cubicBezTo>
                <a:cubicBezTo>
                  <a:pt x="52" y="408"/>
                  <a:pt x="52" y="408"/>
                  <a:pt x="52" y="408"/>
                </a:cubicBezTo>
                <a:cubicBezTo>
                  <a:pt x="52" y="408"/>
                  <a:pt x="52" y="408"/>
                  <a:pt x="40" y="405"/>
                </a:cubicBezTo>
                <a:cubicBezTo>
                  <a:pt x="29" y="403"/>
                  <a:pt x="36" y="424"/>
                  <a:pt x="28" y="428"/>
                </a:cubicBezTo>
                <a:cubicBezTo>
                  <a:pt x="20" y="433"/>
                  <a:pt x="21" y="438"/>
                  <a:pt x="21" y="438"/>
                </a:cubicBezTo>
                <a:cubicBezTo>
                  <a:pt x="31" y="452"/>
                  <a:pt x="31" y="452"/>
                  <a:pt x="31" y="452"/>
                </a:cubicBezTo>
                <a:cubicBezTo>
                  <a:pt x="23" y="453"/>
                  <a:pt x="23" y="453"/>
                  <a:pt x="23" y="453"/>
                </a:cubicBezTo>
                <a:cubicBezTo>
                  <a:pt x="23" y="453"/>
                  <a:pt x="23" y="465"/>
                  <a:pt x="26" y="466"/>
                </a:cubicBezTo>
                <a:cubicBezTo>
                  <a:pt x="28" y="467"/>
                  <a:pt x="28" y="471"/>
                  <a:pt x="31" y="477"/>
                </a:cubicBezTo>
                <a:cubicBezTo>
                  <a:pt x="33" y="482"/>
                  <a:pt x="36" y="478"/>
                  <a:pt x="36" y="484"/>
                </a:cubicBezTo>
                <a:cubicBezTo>
                  <a:pt x="36" y="490"/>
                  <a:pt x="40" y="488"/>
                  <a:pt x="43" y="488"/>
                </a:cubicBezTo>
                <a:cubicBezTo>
                  <a:pt x="47" y="488"/>
                  <a:pt x="52" y="496"/>
                  <a:pt x="56" y="496"/>
                </a:cubicBezTo>
                <a:cubicBezTo>
                  <a:pt x="61" y="496"/>
                  <a:pt x="69" y="506"/>
                  <a:pt x="69" y="506"/>
                </a:cubicBezTo>
                <a:cubicBezTo>
                  <a:pt x="79" y="506"/>
                  <a:pt x="79" y="506"/>
                  <a:pt x="79" y="506"/>
                </a:cubicBezTo>
                <a:cubicBezTo>
                  <a:pt x="78" y="511"/>
                  <a:pt x="78" y="511"/>
                  <a:pt x="78" y="511"/>
                </a:cubicBezTo>
                <a:cubicBezTo>
                  <a:pt x="85" y="511"/>
                  <a:pt x="85" y="511"/>
                  <a:pt x="85" y="511"/>
                </a:cubicBezTo>
                <a:cubicBezTo>
                  <a:pt x="88" y="513"/>
                  <a:pt x="88" y="513"/>
                  <a:pt x="88" y="513"/>
                </a:cubicBezTo>
                <a:cubicBezTo>
                  <a:pt x="88" y="513"/>
                  <a:pt x="88" y="511"/>
                  <a:pt x="91" y="509"/>
                </a:cubicBezTo>
                <a:cubicBezTo>
                  <a:pt x="93" y="508"/>
                  <a:pt x="113" y="507"/>
                  <a:pt x="113" y="507"/>
                </a:cubicBezTo>
                <a:cubicBezTo>
                  <a:pt x="117" y="502"/>
                  <a:pt x="117" y="502"/>
                  <a:pt x="117" y="502"/>
                </a:cubicBezTo>
                <a:cubicBezTo>
                  <a:pt x="124" y="505"/>
                  <a:pt x="124" y="505"/>
                  <a:pt x="124" y="505"/>
                </a:cubicBezTo>
                <a:cubicBezTo>
                  <a:pt x="118" y="510"/>
                  <a:pt x="118" y="510"/>
                  <a:pt x="118" y="510"/>
                </a:cubicBezTo>
                <a:cubicBezTo>
                  <a:pt x="118" y="510"/>
                  <a:pt x="123" y="517"/>
                  <a:pt x="126" y="521"/>
                </a:cubicBezTo>
                <a:cubicBezTo>
                  <a:pt x="127" y="522"/>
                  <a:pt x="127" y="523"/>
                  <a:pt x="126" y="524"/>
                </a:cubicBezTo>
                <a:cubicBezTo>
                  <a:pt x="124" y="526"/>
                  <a:pt x="119" y="528"/>
                  <a:pt x="119" y="530"/>
                </a:cubicBezTo>
                <a:cubicBezTo>
                  <a:pt x="118" y="533"/>
                  <a:pt x="120" y="534"/>
                  <a:pt x="116" y="539"/>
                </a:cubicBezTo>
                <a:cubicBezTo>
                  <a:pt x="113" y="544"/>
                  <a:pt x="106" y="542"/>
                  <a:pt x="106" y="542"/>
                </a:cubicBezTo>
                <a:cubicBezTo>
                  <a:pt x="103" y="552"/>
                  <a:pt x="103" y="552"/>
                  <a:pt x="103" y="552"/>
                </a:cubicBezTo>
                <a:cubicBezTo>
                  <a:pt x="95" y="557"/>
                  <a:pt x="95" y="557"/>
                  <a:pt x="95" y="557"/>
                </a:cubicBezTo>
                <a:cubicBezTo>
                  <a:pt x="98" y="571"/>
                  <a:pt x="98" y="571"/>
                  <a:pt x="98" y="571"/>
                </a:cubicBezTo>
                <a:cubicBezTo>
                  <a:pt x="108" y="574"/>
                  <a:pt x="108" y="574"/>
                  <a:pt x="108" y="574"/>
                </a:cubicBezTo>
                <a:cubicBezTo>
                  <a:pt x="115" y="575"/>
                  <a:pt x="115" y="575"/>
                  <a:pt x="115" y="575"/>
                </a:cubicBezTo>
                <a:cubicBezTo>
                  <a:pt x="118" y="570"/>
                  <a:pt x="118" y="570"/>
                  <a:pt x="118" y="570"/>
                </a:cubicBezTo>
                <a:cubicBezTo>
                  <a:pt x="125" y="571"/>
                  <a:pt x="125" y="571"/>
                  <a:pt x="125" y="571"/>
                </a:cubicBezTo>
                <a:cubicBezTo>
                  <a:pt x="132" y="567"/>
                  <a:pt x="132" y="567"/>
                  <a:pt x="132" y="567"/>
                </a:cubicBezTo>
                <a:cubicBezTo>
                  <a:pt x="138" y="569"/>
                  <a:pt x="138" y="569"/>
                  <a:pt x="138" y="569"/>
                </a:cubicBezTo>
                <a:cubicBezTo>
                  <a:pt x="168" y="557"/>
                  <a:pt x="168" y="557"/>
                  <a:pt x="168" y="557"/>
                </a:cubicBezTo>
                <a:cubicBezTo>
                  <a:pt x="181" y="545"/>
                  <a:pt x="181" y="545"/>
                  <a:pt x="181" y="545"/>
                </a:cubicBezTo>
                <a:cubicBezTo>
                  <a:pt x="182" y="537"/>
                  <a:pt x="182" y="537"/>
                  <a:pt x="182" y="537"/>
                </a:cubicBezTo>
                <a:cubicBezTo>
                  <a:pt x="193" y="531"/>
                  <a:pt x="193" y="531"/>
                  <a:pt x="193" y="531"/>
                </a:cubicBezTo>
                <a:cubicBezTo>
                  <a:pt x="193" y="531"/>
                  <a:pt x="191" y="519"/>
                  <a:pt x="195" y="515"/>
                </a:cubicBezTo>
                <a:cubicBezTo>
                  <a:pt x="200" y="510"/>
                  <a:pt x="214" y="506"/>
                  <a:pt x="218" y="504"/>
                </a:cubicBezTo>
                <a:cubicBezTo>
                  <a:pt x="221" y="503"/>
                  <a:pt x="216" y="501"/>
                  <a:pt x="216" y="501"/>
                </a:cubicBezTo>
                <a:cubicBezTo>
                  <a:pt x="222" y="495"/>
                  <a:pt x="222" y="495"/>
                  <a:pt x="222" y="495"/>
                </a:cubicBezTo>
                <a:cubicBezTo>
                  <a:pt x="221" y="486"/>
                  <a:pt x="221" y="486"/>
                  <a:pt x="221" y="486"/>
                </a:cubicBezTo>
                <a:cubicBezTo>
                  <a:pt x="260" y="466"/>
                  <a:pt x="260" y="466"/>
                  <a:pt x="260" y="466"/>
                </a:cubicBezTo>
                <a:cubicBezTo>
                  <a:pt x="271" y="467"/>
                  <a:pt x="271" y="467"/>
                  <a:pt x="271" y="467"/>
                </a:cubicBezTo>
                <a:cubicBezTo>
                  <a:pt x="277" y="471"/>
                  <a:pt x="277" y="471"/>
                  <a:pt x="277" y="471"/>
                </a:cubicBezTo>
                <a:cubicBezTo>
                  <a:pt x="284" y="469"/>
                  <a:pt x="284" y="469"/>
                  <a:pt x="284" y="469"/>
                </a:cubicBezTo>
                <a:cubicBezTo>
                  <a:pt x="287" y="475"/>
                  <a:pt x="287" y="475"/>
                  <a:pt x="287" y="475"/>
                </a:cubicBezTo>
                <a:cubicBezTo>
                  <a:pt x="313" y="479"/>
                  <a:pt x="313" y="479"/>
                  <a:pt x="313" y="479"/>
                </a:cubicBezTo>
                <a:cubicBezTo>
                  <a:pt x="313" y="488"/>
                  <a:pt x="313" y="488"/>
                  <a:pt x="313" y="488"/>
                </a:cubicBezTo>
                <a:cubicBezTo>
                  <a:pt x="318" y="491"/>
                  <a:pt x="318" y="491"/>
                  <a:pt x="318" y="491"/>
                </a:cubicBezTo>
                <a:cubicBezTo>
                  <a:pt x="323" y="481"/>
                  <a:pt x="323" y="481"/>
                  <a:pt x="323" y="481"/>
                </a:cubicBezTo>
                <a:cubicBezTo>
                  <a:pt x="323" y="481"/>
                  <a:pt x="336" y="490"/>
                  <a:pt x="340" y="492"/>
                </a:cubicBezTo>
                <a:cubicBezTo>
                  <a:pt x="343" y="494"/>
                  <a:pt x="343" y="499"/>
                  <a:pt x="343" y="499"/>
                </a:cubicBezTo>
                <a:cubicBezTo>
                  <a:pt x="343" y="499"/>
                  <a:pt x="347" y="501"/>
                  <a:pt x="353" y="501"/>
                </a:cubicBezTo>
                <a:cubicBezTo>
                  <a:pt x="359" y="501"/>
                  <a:pt x="356" y="505"/>
                  <a:pt x="356" y="505"/>
                </a:cubicBezTo>
                <a:cubicBezTo>
                  <a:pt x="356" y="505"/>
                  <a:pt x="362" y="510"/>
                  <a:pt x="366" y="512"/>
                </a:cubicBezTo>
                <a:cubicBezTo>
                  <a:pt x="371" y="515"/>
                  <a:pt x="372" y="521"/>
                  <a:pt x="372" y="521"/>
                </a:cubicBezTo>
                <a:cubicBezTo>
                  <a:pt x="372" y="518"/>
                  <a:pt x="381" y="522"/>
                  <a:pt x="382" y="526"/>
                </a:cubicBezTo>
                <a:cubicBezTo>
                  <a:pt x="384" y="529"/>
                  <a:pt x="396" y="538"/>
                  <a:pt x="396" y="538"/>
                </a:cubicBezTo>
                <a:cubicBezTo>
                  <a:pt x="400" y="537"/>
                  <a:pt x="400" y="537"/>
                  <a:pt x="400" y="537"/>
                </a:cubicBezTo>
                <a:cubicBezTo>
                  <a:pt x="400" y="537"/>
                  <a:pt x="396" y="528"/>
                  <a:pt x="400" y="527"/>
                </a:cubicBezTo>
                <a:cubicBezTo>
                  <a:pt x="404" y="526"/>
                  <a:pt x="416" y="541"/>
                  <a:pt x="416" y="541"/>
                </a:cubicBezTo>
                <a:cubicBezTo>
                  <a:pt x="419" y="540"/>
                  <a:pt x="419" y="540"/>
                  <a:pt x="419" y="540"/>
                </a:cubicBezTo>
                <a:cubicBezTo>
                  <a:pt x="419" y="540"/>
                  <a:pt x="420" y="541"/>
                  <a:pt x="421" y="541"/>
                </a:cubicBezTo>
                <a:cubicBezTo>
                  <a:pt x="423" y="541"/>
                  <a:pt x="426" y="542"/>
                  <a:pt x="429" y="543"/>
                </a:cubicBezTo>
                <a:cubicBezTo>
                  <a:pt x="433" y="545"/>
                  <a:pt x="444" y="564"/>
                  <a:pt x="446" y="567"/>
                </a:cubicBezTo>
                <a:cubicBezTo>
                  <a:pt x="449" y="571"/>
                  <a:pt x="451" y="591"/>
                  <a:pt x="451" y="598"/>
                </a:cubicBezTo>
                <a:cubicBezTo>
                  <a:pt x="451" y="606"/>
                  <a:pt x="451" y="615"/>
                  <a:pt x="455" y="623"/>
                </a:cubicBezTo>
                <a:cubicBezTo>
                  <a:pt x="459" y="630"/>
                  <a:pt x="457" y="641"/>
                  <a:pt x="457" y="641"/>
                </a:cubicBezTo>
                <a:cubicBezTo>
                  <a:pt x="457" y="641"/>
                  <a:pt x="462" y="648"/>
                  <a:pt x="467" y="654"/>
                </a:cubicBezTo>
                <a:cubicBezTo>
                  <a:pt x="471" y="659"/>
                  <a:pt x="471" y="659"/>
                  <a:pt x="473" y="665"/>
                </a:cubicBezTo>
                <a:cubicBezTo>
                  <a:pt x="475" y="670"/>
                  <a:pt x="481" y="679"/>
                  <a:pt x="484" y="686"/>
                </a:cubicBezTo>
                <a:cubicBezTo>
                  <a:pt x="487" y="694"/>
                  <a:pt x="484" y="711"/>
                  <a:pt x="483" y="722"/>
                </a:cubicBezTo>
                <a:cubicBezTo>
                  <a:pt x="482" y="733"/>
                  <a:pt x="476" y="729"/>
                  <a:pt x="476" y="731"/>
                </a:cubicBezTo>
                <a:cubicBezTo>
                  <a:pt x="476" y="732"/>
                  <a:pt x="482" y="743"/>
                  <a:pt x="482" y="743"/>
                </a:cubicBezTo>
                <a:cubicBezTo>
                  <a:pt x="487" y="736"/>
                  <a:pt x="487" y="736"/>
                  <a:pt x="487" y="736"/>
                </a:cubicBezTo>
                <a:cubicBezTo>
                  <a:pt x="487" y="736"/>
                  <a:pt x="495" y="736"/>
                  <a:pt x="502" y="736"/>
                </a:cubicBezTo>
                <a:cubicBezTo>
                  <a:pt x="510" y="736"/>
                  <a:pt x="514" y="748"/>
                  <a:pt x="514" y="751"/>
                </a:cubicBezTo>
                <a:cubicBezTo>
                  <a:pt x="514" y="754"/>
                  <a:pt x="507" y="765"/>
                  <a:pt x="507" y="765"/>
                </a:cubicBezTo>
                <a:cubicBezTo>
                  <a:pt x="507" y="765"/>
                  <a:pt x="514" y="767"/>
                  <a:pt x="516" y="768"/>
                </a:cubicBezTo>
                <a:cubicBezTo>
                  <a:pt x="518" y="768"/>
                  <a:pt x="528" y="774"/>
                  <a:pt x="538" y="778"/>
                </a:cubicBezTo>
                <a:cubicBezTo>
                  <a:pt x="548" y="782"/>
                  <a:pt x="542" y="786"/>
                  <a:pt x="543" y="792"/>
                </a:cubicBezTo>
                <a:cubicBezTo>
                  <a:pt x="544" y="799"/>
                  <a:pt x="547" y="793"/>
                  <a:pt x="554" y="798"/>
                </a:cubicBezTo>
                <a:cubicBezTo>
                  <a:pt x="560" y="802"/>
                  <a:pt x="560" y="810"/>
                  <a:pt x="560" y="810"/>
                </a:cubicBezTo>
                <a:cubicBezTo>
                  <a:pt x="562" y="808"/>
                  <a:pt x="562" y="808"/>
                  <a:pt x="562" y="808"/>
                </a:cubicBezTo>
                <a:cubicBezTo>
                  <a:pt x="562" y="808"/>
                  <a:pt x="564" y="809"/>
                  <a:pt x="568" y="813"/>
                </a:cubicBezTo>
                <a:cubicBezTo>
                  <a:pt x="571" y="816"/>
                  <a:pt x="563" y="826"/>
                  <a:pt x="563" y="828"/>
                </a:cubicBezTo>
                <a:cubicBezTo>
                  <a:pt x="562" y="831"/>
                  <a:pt x="556" y="828"/>
                  <a:pt x="556" y="828"/>
                </a:cubicBezTo>
                <a:cubicBezTo>
                  <a:pt x="556" y="828"/>
                  <a:pt x="553" y="834"/>
                  <a:pt x="553" y="837"/>
                </a:cubicBezTo>
                <a:cubicBezTo>
                  <a:pt x="553" y="840"/>
                  <a:pt x="562" y="842"/>
                  <a:pt x="566" y="842"/>
                </a:cubicBezTo>
                <a:cubicBezTo>
                  <a:pt x="569" y="842"/>
                  <a:pt x="568" y="836"/>
                  <a:pt x="571" y="834"/>
                </a:cubicBezTo>
                <a:cubicBezTo>
                  <a:pt x="572" y="832"/>
                  <a:pt x="587" y="838"/>
                  <a:pt x="598" y="842"/>
                </a:cubicBezTo>
                <a:cubicBezTo>
                  <a:pt x="602" y="843"/>
                  <a:pt x="605" y="844"/>
                  <a:pt x="607" y="845"/>
                </a:cubicBezTo>
                <a:cubicBezTo>
                  <a:pt x="618" y="847"/>
                  <a:pt x="633" y="867"/>
                  <a:pt x="635" y="874"/>
                </a:cubicBezTo>
                <a:cubicBezTo>
                  <a:pt x="638" y="881"/>
                  <a:pt x="653" y="904"/>
                  <a:pt x="653" y="904"/>
                </a:cubicBezTo>
                <a:cubicBezTo>
                  <a:pt x="660" y="901"/>
                  <a:pt x="660" y="901"/>
                  <a:pt x="660" y="901"/>
                </a:cubicBezTo>
                <a:cubicBezTo>
                  <a:pt x="660" y="901"/>
                  <a:pt x="688" y="922"/>
                  <a:pt x="695" y="928"/>
                </a:cubicBezTo>
                <a:cubicBezTo>
                  <a:pt x="701" y="935"/>
                  <a:pt x="702" y="955"/>
                  <a:pt x="702" y="955"/>
                </a:cubicBezTo>
                <a:cubicBezTo>
                  <a:pt x="702" y="955"/>
                  <a:pt x="717" y="964"/>
                  <a:pt x="731" y="976"/>
                </a:cubicBezTo>
                <a:cubicBezTo>
                  <a:pt x="745" y="989"/>
                  <a:pt x="754" y="1008"/>
                  <a:pt x="754" y="1008"/>
                </a:cubicBezTo>
                <a:cubicBezTo>
                  <a:pt x="754" y="1008"/>
                  <a:pt x="757" y="1007"/>
                  <a:pt x="762" y="1007"/>
                </a:cubicBezTo>
                <a:cubicBezTo>
                  <a:pt x="768" y="1008"/>
                  <a:pt x="777" y="1015"/>
                  <a:pt x="777" y="1015"/>
                </a:cubicBezTo>
                <a:cubicBezTo>
                  <a:pt x="777" y="1015"/>
                  <a:pt x="787" y="1016"/>
                  <a:pt x="792" y="1017"/>
                </a:cubicBezTo>
                <a:cubicBezTo>
                  <a:pt x="797" y="1019"/>
                  <a:pt x="804" y="1032"/>
                  <a:pt x="808" y="1040"/>
                </a:cubicBezTo>
                <a:cubicBezTo>
                  <a:pt x="812" y="1048"/>
                  <a:pt x="816" y="1049"/>
                  <a:pt x="816" y="1049"/>
                </a:cubicBezTo>
                <a:cubicBezTo>
                  <a:pt x="821" y="1039"/>
                  <a:pt x="847" y="1034"/>
                  <a:pt x="852" y="1035"/>
                </a:cubicBezTo>
                <a:cubicBezTo>
                  <a:pt x="857" y="1035"/>
                  <a:pt x="877" y="1048"/>
                  <a:pt x="877" y="1048"/>
                </a:cubicBezTo>
                <a:cubicBezTo>
                  <a:pt x="886" y="1048"/>
                  <a:pt x="886" y="1048"/>
                  <a:pt x="886" y="1048"/>
                </a:cubicBezTo>
                <a:cubicBezTo>
                  <a:pt x="881" y="1042"/>
                  <a:pt x="899" y="1043"/>
                  <a:pt x="906" y="1045"/>
                </a:cubicBezTo>
                <a:cubicBezTo>
                  <a:pt x="907" y="1045"/>
                  <a:pt x="908" y="1046"/>
                  <a:pt x="909" y="1047"/>
                </a:cubicBezTo>
                <a:cubicBezTo>
                  <a:pt x="916" y="1053"/>
                  <a:pt x="927" y="1069"/>
                  <a:pt x="927" y="1069"/>
                </a:cubicBezTo>
                <a:cubicBezTo>
                  <a:pt x="927" y="1069"/>
                  <a:pt x="928" y="1082"/>
                  <a:pt x="935" y="1087"/>
                </a:cubicBezTo>
                <a:cubicBezTo>
                  <a:pt x="942" y="1092"/>
                  <a:pt x="944" y="1101"/>
                  <a:pt x="946" y="1107"/>
                </a:cubicBezTo>
                <a:cubicBezTo>
                  <a:pt x="948" y="1112"/>
                  <a:pt x="948" y="1123"/>
                  <a:pt x="948" y="1123"/>
                </a:cubicBezTo>
                <a:cubicBezTo>
                  <a:pt x="956" y="1125"/>
                  <a:pt x="956" y="1125"/>
                  <a:pt x="956" y="1125"/>
                </a:cubicBezTo>
                <a:cubicBezTo>
                  <a:pt x="956" y="1125"/>
                  <a:pt x="956" y="1120"/>
                  <a:pt x="957" y="1117"/>
                </a:cubicBezTo>
                <a:cubicBezTo>
                  <a:pt x="957" y="1115"/>
                  <a:pt x="966" y="1124"/>
                  <a:pt x="966" y="1124"/>
                </a:cubicBezTo>
                <a:cubicBezTo>
                  <a:pt x="966" y="1124"/>
                  <a:pt x="974" y="1115"/>
                  <a:pt x="978" y="1114"/>
                </a:cubicBezTo>
                <a:cubicBezTo>
                  <a:pt x="983" y="1112"/>
                  <a:pt x="996" y="1129"/>
                  <a:pt x="996" y="1129"/>
                </a:cubicBezTo>
                <a:cubicBezTo>
                  <a:pt x="996" y="1129"/>
                  <a:pt x="1003" y="1130"/>
                  <a:pt x="1005" y="1130"/>
                </a:cubicBezTo>
                <a:cubicBezTo>
                  <a:pt x="1007" y="1130"/>
                  <a:pt x="1009" y="1139"/>
                  <a:pt x="1009" y="1139"/>
                </a:cubicBezTo>
                <a:cubicBezTo>
                  <a:pt x="1009" y="1139"/>
                  <a:pt x="1005" y="1141"/>
                  <a:pt x="1003" y="1141"/>
                </a:cubicBezTo>
                <a:cubicBezTo>
                  <a:pt x="1000" y="1141"/>
                  <a:pt x="1001" y="1149"/>
                  <a:pt x="1000" y="1151"/>
                </a:cubicBezTo>
                <a:cubicBezTo>
                  <a:pt x="1000" y="1152"/>
                  <a:pt x="994" y="1151"/>
                  <a:pt x="991" y="1151"/>
                </a:cubicBezTo>
                <a:cubicBezTo>
                  <a:pt x="988" y="1151"/>
                  <a:pt x="987" y="1164"/>
                  <a:pt x="987" y="1164"/>
                </a:cubicBezTo>
                <a:cubicBezTo>
                  <a:pt x="1007" y="1155"/>
                  <a:pt x="1007" y="1155"/>
                  <a:pt x="1007" y="1155"/>
                </a:cubicBezTo>
                <a:cubicBezTo>
                  <a:pt x="1019" y="1155"/>
                  <a:pt x="1019" y="1155"/>
                  <a:pt x="1019" y="1155"/>
                </a:cubicBezTo>
                <a:cubicBezTo>
                  <a:pt x="1029" y="1148"/>
                  <a:pt x="1029" y="1148"/>
                  <a:pt x="1029" y="1148"/>
                </a:cubicBezTo>
                <a:cubicBezTo>
                  <a:pt x="1037" y="1151"/>
                  <a:pt x="1037" y="1151"/>
                  <a:pt x="1037" y="1151"/>
                </a:cubicBezTo>
                <a:cubicBezTo>
                  <a:pt x="1037" y="1151"/>
                  <a:pt x="1042" y="1143"/>
                  <a:pt x="1047" y="1143"/>
                </a:cubicBezTo>
                <a:cubicBezTo>
                  <a:pt x="1051" y="1143"/>
                  <a:pt x="1059" y="1158"/>
                  <a:pt x="1065" y="1162"/>
                </a:cubicBezTo>
                <a:cubicBezTo>
                  <a:pt x="1071" y="1166"/>
                  <a:pt x="1079" y="1190"/>
                  <a:pt x="1080" y="1195"/>
                </a:cubicBezTo>
                <a:cubicBezTo>
                  <a:pt x="1081" y="1200"/>
                  <a:pt x="1073" y="1203"/>
                  <a:pt x="1073" y="1203"/>
                </a:cubicBezTo>
                <a:cubicBezTo>
                  <a:pt x="1075" y="1213"/>
                  <a:pt x="1075" y="1213"/>
                  <a:pt x="1075" y="1213"/>
                </a:cubicBezTo>
                <a:cubicBezTo>
                  <a:pt x="1075" y="1213"/>
                  <a:pt x="1070" y="1217"/>
                  <a:pt x="1068" y="1220"/>
                </a:cubicBezTo>
                <a:cubicBezTo>
                  <a:pt x="1067" y="1222"/>
                  <a:pt x="1072" y="1221"/>
                  <a:pt x="1078" y="1223"/>
                </a:cubicBezTo>
                <a:cubicBezTo>
                  <a:pt x="1083" y="1226"/>
                  <a:pt x="1088" y="1235"/>
                  <a:pt x="1088" y="1235"/>
                </a:cubicBezTo>
                <a:cubicBezTo>
                  <a:pt x="1099" y="1231"/>
                  <a:pt x="1099" y="1231"/>
                  <a:pt x="1099" y="1231"/>
                </a:cubicBezTo>
                <a:cubicBezTo>
                  <a:pt x="1099" y="1231"/>
                  <a:pt x="1114" y="1245"/>
                  <a:pt x="1119" y="1248"/>
                </a:cubicBezTo>
                <a:cubicBezTo>
                  <a:pt x="1123" y="1251"/>
                  <a:pt x="1119" y="1257"/>
                  <a:pt x="1119" y="1257"/>
                </a:cubicBezTo>
                <a:cubicBezTo>
                  <a:pt x="1119" y="1257"/>
                  <a:pt x="1121" y="1255"/>
                  <a:pt x="1127" y="1255"/>
                </a:cubicBezTo>
                <a:cubicBezTo>
                  <a:pt x="1132" y="1255"/>
                  <a:pt x="1133" y="1263"/>
                  <a:pt x="1136" y="1263"/>
                </a:cubicBezTo>
                <a:cubicBezTo>
                  <a:pt x="1139" y="1264"/>
                  <a:pt x="1144" y="1255"/>
                  <a:pt x="1148" y="1249"/>
                </a:cubicBezTo>
                <a:cubicBezTo>
                  <a:pt x="1152" y="1244"/>
                  <a:pt x="1167" y="1247"/>
                  <a:pt x="1167" y="1247"/>
                </a:cubicBezTo>
                <a:cubicBezTo>
                  <a:pt x="1168" y="1254"/>
                  <a:pt x="1168" y="1254"/>
                  <a:pt x="1168" y="1254"/>
                </a:cubicBezTo>
                <a:cubicBezTo>
                  <a:pt x="1168" y="1254"/>
                  <a:pt x="1169" y="1254"/>
                  <a:pt x="1170" y="1254"/>
                </a:cubicBezTo>
                <a:cubicBezTo>
                  <a:pt x="1172" y="1254"/>
                  <a:pt x="1174" y="1255"/>
                  <a:pt x="1175" y="1255"/>
                </a:cubicBezTo>
                <a:cubicBezTo>
                  <a:pt x="1176" y="1255"/>
                  <a:pt x="1181" y="1265"/>
                  <a:pt x="1184" y="1273"/>
                </a:cubicBezTo>
                <a:cubicBezTo>
                  <a:pt x="1187" y="1279"/>
                  <a:pt x="1190" y="1284"/>
                  <a:pt x="1190" y="1284"/>
                </a:cubicBezTo>
                <a:cubicBezTo>
                  <a:pt x="1188" y="1290"/>
                  <a:pt x="1188" y="1290"/>
                  <a:pt x="1188" y="1290"/>
                </a:cubicBezTo>
                <a:cubicBezTo>
                  <a:pt x="1204" y="1337"/>
                  <a:pt x="1204" y="1337"/>
                  <a:pt x="1204" y="1337"/>
                </a:cubicBezTo>
                <a:cubicBezTo>
                  <a:pt x="1204" y="1337"/>
                  <a:pt x="1217" y="1352"/>
                  <a:pt x="1223" y="1363"/>
                </a:cubicBezTo>
                <a:cubicBezTo>
                  <a:pt x="1229" y="1374"/>
                  <a:pt x="1236" y="1427"/>
                  <a:pt x="1236" y="1427"/>
                </a:cubicBezTo>
                <a:cubicBezTo>
                  <a:pt x="1246" y="1444"/>
                  <a:pt x="1246" y="1444"/>
                  <a:pt x="1246" y="1444"/>
                </a:cubicBezTo>
                <a:cubicBezTo>
                  <a:pt x="1256" y="1451"/>
                  <a:pt x="1256" y="1451"/>
                  <a:pt x="1256" y="1451"/>
                </a:cubicBezTo>
                <a:cubicBezTo>
                  <a:pt x="1256" y="1451"/>
                  <a:pt x="1256" y="1466"/>
                  <a:pt x="1256" y="1473"/>
                </a:cubicBezTo>
                <a:cubicBezTo>
                  <a:pt x="1256" y="1480"/>
                  <a:pt x="1246" y="1487"/>
                  <a:pt x="1246" y="1487"/>
                </a:cubicBezTo>
                <a:cubicBezTo>
                  <a:pt x="1225" y="1487"/>
                  <a:pt x="1225" y="1487"/>
                  <a:pt x="1225" y="1487"/>
                </a:cubicBezTo>
                <a:cubicBezTo>
                  <a:pt x="1221" y="1493"/>
                  <a:pt x="1221" y="1493"/>
                  <a:pt x="1221" y="1493"/>
                </a:cubicBezTo>
                <a:cubicBezTo>
                  <a:pt x="1221" y="1493"/>
                  <a:pt x="1210" y="1496"/>
                  <a:pt x="1207" y="1498"/>
                </a:cubicBezTo>
                <a:cubicBezTo>
                  <a:pt x="1203" y="1499"/>
                  <a:pt x="1204" y="1505"/>
                  <a:pt x="1204" y="1505"/>
                </a:cubicBezTo>
                <a:cubicBezTo>
                  <a:pt x="1218" y="1517"/>
                  <a:pt x="1218" y="1517"/>
                  <a:pt x="1218" y="1517"/>
                </a:cubicBezTo>
                <a:cubicBezTo>
                  <a:pt x="1218" y="1517"/>
                  <a:pt x="1207" y="1555"/>
                  <a:pt x="1204" y="1563"/>
                </a:cubicBezTo>
                <a:cubicBezTo>
                  <a:pt x="1200" y="1571"/>
                  <a:pt x="1179" y="1577"/>
                  <a:pt x="1179" y="1577"/>
                </a:cubicBezTo>
                <a:cubicBezTo>
                  <a:pt x="1182" y="1593"/>
                  <a:pt x="1182" y="1593"/>
                  <a:pt x="1182" y="1593"/>
                </a:cubicBezTo>
                <a:cubicBezTo>
                  <a:pt x="1178" y="1599"/>
                  <a:pt x="1178" y="1599"/>
                  <a:pt x="1178" y="1599"/>
                </a:cubicBezTo>
                <a:cubicBezTo>
                  <a:pt x="1184" y="1608"/>
                  <a:pt x="1184" y="1608"/>
                  <a:pt x="1184" y="1608"/>
                </a:cubicBezTo>
                <a:cubicBezTo>
                  <a:pt x="1181" y="1618"/>
                  <a:pt x="1181" y="1618"/>
                  <a:pt x="1181" y="1618"/>
                </a:cubicBezTo>
                <a:cubicBezTo>
                  <a:pt x="1181" y="1618"/>
                  <a:pt x="1188" y="1624"/>
                  <a:pt x="1189" y="1626"/>
                </a:cubicBezTo>
                <a:cubicBezTo>
                  <a:pt x="1190" y="1627"/>
                  <a:pt x="1200" y="1632"/>
                  <a:pt x="1200" y="1632"/>
                </a:cubicBezTo>
                <a:cubicBezTo>
                  <a:pt x="1242" y="1630"/>
                  <a:pt x="1242" y="1630"/>
                  <a:pt x="1242" y="1630"/>
                </a:cubicBezTo>
                <a:cubicBezTo>
                  <a:pt x="1254" y="1610"/>
                  <a:pt x="1254" y="1610"/>
                  <a:pt x="1254" y="1610"/>
                </a:cubicBezTo>
                <a:cubicBezTo>
                  <a:pt x="1255" y="1589"/>
                  <a:pt x="1255" y="1589"/>
                  <a:pt x="1255" y="1589"/>
                </a:cubicBezTo>
                <a:cubicBezTo>
                  <a:pt x="1278" y="1561"/>
                  <a:pt x="1278" y="1561"/>
                  <a:pt x="1278" y="1561"/>
                </a:cubicBezTo>
                <a:cubicBezTo>
                  <a:pt x="1302" y="1549"/>
                  <a:pt x="1305" y="1541"/>
                  <a:pt x="1309" y="1534"/>
                </a:cubicBezTo>
                <a:cubicBezTo>
                  <a:pt x="1313" y="1526"/>
                  <a:pt x="1307" y="1490"/>
                  <a:pt x="1307" y="1490"/>
                </a:cubicBezTo>
                <a:cubicBezTo>
                  <a:pt x="1301" y="1485"/>
                  <a:pt x="1301" y="1485"/>
                  <a:pt x="1301" y="1485"/>
                </a:cubicBezTo>
                <a:cubicBezTo>
                  <a:pt x="1301" y="1485"/>
                  <a:pt x="1317" y="1462"/>
                  <a:pt x="1329" y="1455"/>
                </a:cubicBezTo>
                <a:cubicBezTo>
                  <a:pt x="1341" y="1447"/>
                  <a:pt x="1363" y="1442"/>
                  <a:pt x="1363" y="1442"/>
                </a:cubicBezTo>
                <a:cubicBezTo>
                  <a:pt x="1367" y="1448"/>
                  <a:pt x="1367" y="1448"/>
                  <a:pt x="1367" y="1448"/>
                </a:cubicBezTo>
                <a:cubicBezTo>
                  <a:pt x="1376" y="1445"/>
                  <a:pt x="1376" y="1445"/>
                  <a:pt x="1376" y="1445"/>
                </a:cubicBezTo>
                <a:cubicBezTo>
                  <a:pt x="1378" y="1446"/>
                  <a:pt x="1378" y="1446"/>
                  <a:pt x="1378" y="1446"/>
                </a:cubicBezTo>
                <a:cubicBezTo>
                  <a:pt x="1389" y="1440"/>
                  <a:pt x="1389" y="1440"/>
                  <a:pt x="1389" y="1440"/>
                </a:cubicBezTo>
                <a:cubicBezTo>
                  <a:pt x="1388" y="1433"/>
                  <a:pt x="1388" y="1433"/>
                  <a:pt x="1388" y="1433"/>
                </a:cubicBezTo>
                <a:cubicBezTo>
                  <a:pt x="1392" y="1427"/>
                  <a:pt x="1392" y="1427"/>
                  <a:pt x="1392" y="1427"/>
                </a:cubicBezTo>
                <a:cubicBezTo>
                  <a:pt x="1392" y="1427"/>
                  <a:pt x="1383" y="1422"/>
                  <a:pt x="1380" y="1416"/>
                </a:cubicBezTo>
                <a:cubicBezTo>
                  <a:pt x="1377" y="1410"/>
                  <a:pt x="1383" y="1394"/>
                  <a:pt x="1383" y="1394"/>
                </a:cubicBezTo>
                <a:cubicBezTo>
                  <a:pt x="1383" y="1394"/>
                  <a:pt x="1381" y="1389"/>
                  <a:pt x="1376" y="1386"/>
                </a:cubicBezTo>
                <a:cubicBezTo>
                  <a:pt x="1371" y="1383"/>
                  <a:pt x="1381" y="1359"/>
                  <a:pt x="1381" y="1359"/>
                </a:cubicBezTo>
                <a:cubicBezTo>
                  <a:pt x="1369" y="1352"/>
                  <a:pt x="1369" y="1352"/>
                  <a:pt x="1369" y="1352"/>
                </a:cubicBezTo>
                <a:cubicBezTo>
                  <a:pt x="1369" y="1352"/>
                  <a:pt x="1365" y="1344"/>
                  <a:pt x="1361" y="1344"/>
                </a:cubicBezTo>
                <a:cubicBezTo>
                  <a:pt x="1356" y="1344"/>
                  <a:pt x="1341" y="1336"/>
                  <a:pt x="1341" y="1336"/>
                </a:cubicBezTo>
                <a:cubicBezTo>
                  <a:pt x="1327" y="1323"/>
                  <a:pt x="1327" y="1323"/>
                  <a:pt x="1327" y="1323"/>
                </a:cubicBezTo>
                <a:cubicBezTo>
                  <a:pt x="1308" y="1322"/>
                  <a:pt x="1308" y="1322"/>
                  <a:pt x="1308" y="1322"/>
                </a:cubicBezTo>
                <a:cubicBezTo>
                  <a:pt x="1293" y="1314"/>
                  <a:pt x="1293" y="1314"/>
                  <a:pt x="1293" y="1314"/>
                </a:cubicBezTo>
                <a:cubicBezTo>
                  <a:pt x="1293" y="1305"/>
                  <a:pt x="1293" y="1305"/>
                  <a:pt x="1293" y="1305"/>
                </a:cubicBezTo>
                <a:cubicBezTo>
                  <a:pt x="1287" y="1301"/>
                  <a:pt x="1287" y="1301"/>
                  <a:pt x="1287" y="1301"/>
                </a:cubicBezTo>
                <a:cubicBezTo>
                  <a:pt x="1287" y="1292"/>
                  <a:pt x="1287" y="1292"/>
                  <a:pt x="1287" y="1292"/>
                </a:cubicBezTo>
                <a:cubicBezTo>
                  <a:pt x="1304" y="1263"/>
                  <a:pt x="1304" y="1263"/>
                  <a:pt x="1304" y="1263"/>
                </a:cubicBezTo>
                <a:cubicBezTo>
                  <a:pt x="1300" y="1240"/>
                  <a:pt x="1300" y="1240"/>
                  <a:pt x="1300" y="1240"/>
                </a:cubicBezTo>
                <a:cubicBezTo>
                  <a:pt x="1306" y="1233"/>
                  <a:pt x="1306" y="1233"/>
                  <a:pt x="1306" y="1233"/>
                </a:cubicBezTo>
                <a:cubicBezTo>
                  <a:pt x="1310" y="1228"/>
                  <a:pt x="1310" y="1228"/>
                  <a:pt x="1310" y="1228"/>
                </a:cubicBezTo>
                <a:cubicBezTo>
                  <a:pt x="1333" y="1184"/>
                  <a:pt x="1333" y="1184"/>
                  <a:pt x="1333" y="1184"/>
                </a:cubicBezTo>
                <a:cubicBezTo>
                  <a:pt x="1334" y="1183"/>
                  <a:pt x="1334" y="1183"/>
                  <a:pt x="1334" y="1183"/>
                </a:cubicBezTo>
                <a:cubicBezTo>
                  <a:pt x="1334" y="1183"/>
                  <a:pt x="1355" y="1160"/>
                  <a:pt x="1364" y="1158"/>
                </a:cubicBezTo>
                <a:cubicBezTo>
                  <a:pt x="1373" y="1157"/>
                  <a:pt x="1380" y="1166"/>
                  <a:pt x="1386" y="1171"/>
                </a:cubicBezTo>
                <a:cubicBezTo>
                  <a:pt x="1392" y="1176"/>
                  <a:pt x="1379" y="1177"/>
                  <a:pt x="1379" y="1177"/>
                </a:cubicBezTo>
                <a:cubicBezTo>
                  <a:pt x="1406" y="1190"/>
                  <a:pt x="1406" y="1190"/>
                  <a:pt x="1406" y="1190"/>
                </a:cubicBezTo>
                <a:cubicBezTo>
                  <a:pt x="1411" y="1189"/>
                  <a:pt x="1411" y="1189"/>
                  <a:pt x="1411" y="1189"/>
                </a:cubicBezTo>
                <a:cubicBezTo>
                  <a:pt x="1420" y="1194"/>
                  <a:pt x="1420" y="1194"/>
                  <a:pt x="1420" y="1194"/>
                </a:cubicBezTo>
                <a:cubicBezTo>
                  <a:pt x="1420" y="1194"/>
                  <a:pt x="1469" y="1194"/>
                  <a:pt x="1474" y="1198"/>
                </a:cubicBezTo>
                <a:cubicBezTo>
                  <a:pt x="1479" y="1201"/>
                  <a:pt x="1478" y="1211"/>
                  <a:pt x="1478" y="1211"/>
                </a:cubicBezTo>
                <a:cubicBezTo>
                  <a:pt x="1491" y="1224"/>
                  <a:pt x="1491" y="1224"/>
                  <a:pt x="1491" y="1224"/>
                </a:cubicBezTo>
                <a:cubicBezTo>
                  <a:pt x="1489" y="1234"/>
                  <a:pt x="1489" y="1234"/>
                  <a:pt x="1489" y="1234"/>
                </a:cubicBezTo>
                <a:cubicBezTo>
                  <a:pt x="1494" y="1244"/>
                  <a:pt x="1494" y="1244"/>
                  <a:pt x="1494" y="1244"/>
                </a:cubicBezTo>
                <a:cubicBezTo>
                  <a:pt x="1494" y="1244"/>
                  <a:pt x="1487" y="1244"/>
                  <a:pt x="1499" y="1258"/>
                </a:cubicBezTo>
                <a:cubicBezTo>
                  <a:pt x="1510" y="1272"/>
                  <a:pt x="1532" y="1271"/>
                  <a:pt x="1532" y="1271"/>
                </a:cubicBezTo>
                <a:cubicBezTo>
                  <a:pt x="1532" y="1271"/>
                  <a:pt x="1540" y="1278"/>
                  <a:pt x="1544" y="1279"/>
                </a:cubicBezTo>
                <a:cubicBezTo>
                  <a:pt x="1549" y="1281"/>
                  <a:pt x="1548" y="1244"/>
                  <a:pt x="1548" y="1244"/>
                </a:cubicBezTo>
                <a:cubicBezTo>
                  <a:pt x="1548" y="1244"/>
                  <a:pt x="1562" y="1225"/>
                  <a:pt x="1562" y="1219"/>
                </a:cubicBezTo>
                <a:close/>
                <a:moveTo>
                  <a:pt x="937" y="1140"/>
                </a:moveTo>
                <a:cubicBezTo>
                  <a:pt x="938" y="1138"/>
                  <a:pt x="937" y="1134"/>
                  <a:pt x="937" y="1134"/>
                </a:cubicBezTo>
                <a:cubicBezTo>
                  <a:pt x="923" y="1132"/>
                  <a:pt x="923" y="1132"/>
                  <a:pt x="923" y="1132"/>
                </a:cubicBezTo>
                <a:cubicBezTo>
                  <a:pt x="924" y="1140"/>
                  <a:pt x="924" y="1140"/>
                  <a:pt x="924" y="1140"/>
                </a:cubicBezTo>
                <a:cubicBezTo>
                  <a:pt x="924" y="1140"/>
                  <a:pt x="937" y="1143"/>
                  <a:pt x="937" y="1140"/>
                </a:cubicBezTo>
                <a:close/>
                <a:moveTo>
                  <a:pt x="367" y="1140"/>
                </a:moveTo>
                <a:cubicBezTo>
                  <a:pt x="362" y="1132"/>
                  <a:pt x="362" y="1132"/>
                  <a:pt x="362" y="1132"/>
                </a:cubicBezTo>
                <a:cubicBezTo>
                  <a:pt x="363" y="1126"/>
                  <a:pt x="363" y="1126"/>
                  <a:pt x="363" y="1126"/>
                </a:cubicBezTo>
                <a:cubicBezTo>
                  <a:pt x="354" y="1119"/>
                  <a:pt x="354" y="1119"/>
                  <a:pt x="354" y="1119"/>
                </a:cubicBezTo>
                <a:cubicBezTo>
                  <a:pt x="359" y="1118"/>
                  <a:pt x="359" y="1118"/>
                  <a:pt x="359" y="1118"/>
                </a:cubicBezTo>
                <a:cubicBezTo>
                  <a:pt x="359" y="1112"/>
                  <a:pt x="359" y="1112"/>
                  <a:pt x="359" y="1112"/>
                </a:cubicBezTo>
                <a:cubicBezTo>
                  <a:pt x="365" y="1110"/>
                  <a:pt x="365" y="1110"/>
                  <a:pt x="365" y="1110"/>
                </a:cubicBezTo>
                <a:cubicBezTo>
                  <a:pt x="364" y="1106"/>
                  <a:pt x="364" y="1106"/>
                  <a:pt x="364" y="1106"/>
                </a:cubicBezTo>
                <a:cubicBezTo>
                  <a:pt x="357" y="1110"/>
                  <a:pt x="357" y="1110"/>
                  <a:pt x="357" y="1110"/>
                </a:cubicBezTo>
                <a:cubicBezTo>
                  <a:pt x="356" y="1104"/>
                  <a:pt x="356" y="1104"/>
                  <a:pt x="356" y="1104"/>
                </a:cubicBezTo>
                <a:cubicBezTo>
                  <a:pt x="365" y="1097"/>
                  <a:pt x="365" y="1097"/>
                  <a:pt x="365" y="1097"/>
                </a:cubicBezTo>
                <a:cubicBezTo>
                  <a:pt x="352" y="1102"/>
                  <a:pt x="352" y="1102"/>
                  <a:pt x="352" y="1102"/>
                </a:cubicBezTo>
                <a:cubicBezTo>
                  <a:pt x="353" y="1095"/>
                  <a:pt x="353" y="1095"/>
                  <a:pt x="353" y="1095"/>
                </a:cubicBezTo>
                <a:cubicBezTo>
                  <a:pt x="347" y="1099"/>
                  <a:pt x="347" y="1099"/>
                  <a:pt x="347" y="1099"/>
                </a:cubicBezTo>
                <a:cubicBezTo>
                  <a:pt x="333" y="1097"/>
                  <a:pt x="333" y="1097"/>
                  <a:pt x="333" y="1097"/>
                </a:cubicBezTo>
                <a:cubicBezTo>
                  <a:pt x="337" y="1093"/>
                  <a:pt x="337" y="1093"/>
                  <a:pt x="337" y="1093"/>
                </a:cubicBezTo>
                <a:cubicBezTo>
                  <a:pt x="344" y="1094"/>
                  <a:pt x="344" y="1094"/>
                  <a:pt x="344" y="1094"/>
                </a:cubicBezTo>
                <a:cubicBezTo>
                  <a:pt x="345" y="1085"/>
                  <a:pt x="345" y="1085"/>
                  <a:pt x="345" y="1085"/>
                </a:cubicBezTo>
                <a:cubicBezTo>
                  <a:pt x="351" y="1082"/>
                  <a:pt x="351" y="1082"/>
                  <a:pt x="351" y="1082"/>
                </a:cubicBezTo>
                <a:cubicBezTo>
                  <a:pt x="354" y="1086"/>
                  <a:pt x="354" y="1086"/>
                  <a:pt x="354" y="1086"/>
                </a:cubicBezTo>
                <a:cubicBezTo>
                  <a:pt x="359" y="1083"/>
                  <a:pt x="359" y="1083"/>
                  <a:pt x="359" y="1083"/>
                </a:cubicBezTo>
                <a:cubicBezTo>
                  <a:pt x="359" y="1083"/>
                  <a:pt x="353" y="1079"/>
                  <a:pt x="350" y="1079"/>
                </a:cubicBezTo>
                <a:cubicBezTo>
                  <a:pt x="347" y="1079"/>
                  <a:pt x="341" y="1080"/>
                  <a:pt x="341" y="1080"/>
                </a:cubicBezTo>
                <a:cubicBezTo>
                  <a:pt x="341" y="1075"/>
                  <a:pt x="341" y="1075"/>
                  <a:pt x="341" y="1075"/>
                </a:cubicBezTo>
                <a:cubicBezTo>
                  <a:pt x="336" y="1079"/>
                  <a:pt x="336" y="1079"/>
                  <a:pt x="336" y="1079"/>
                </a:cubicBezTo>
                <a:cubicBezTo>
                  <a:pt x="339" y="1067"/>
                  <a:pt x="339" y="1067"/>
                  <a:pt x="339" y="1067"/>
                </a:cubicBezTo>
                <a:cubicBezTo>
                  <a:pt x="345" y="1064"/>
                  <a:pt x="345" y="1064"/>
                  <a:pt x="345" y="1064"/>
                </a:cubicBezTo>
                <a:cubicBezTo>
                  <a:pt x="345" y="1064"/>
                  <a:pt x="341" y="1055"/>
                  <a:pt x="340" y="1053"/>
                </a:cubicBezTo>
                <a:cubicBezTo>
                  <a:pt x="339" y="1051"/>
                  <a:pt x="332" y="1057"/>
                  <a:pt x="332" y="1057"/>
                </a:cubicBezTo>
                <a:cubicBezTo>
                  <a:pt x="326" y="1061"/>
                  <a:pt x="326" y="1061"/>
                  <a:pt x="326" y="1061"/>
                </a:cubicBezTo>
                <a:cubicBezTo>
                  <a:pt x="326" y="1055"/>
                  <a:pt x="326" y="1055"/>
                  <a:pt x="326" y="1055"/>
                </a:cubicBezTo>
                <a:cubicBezTo>
                  <a:pt x="326" y="1055"/>
                  <a:pt x="323" y="1053"/>
                  <a:pt x="322" y="1049"/>
                </a:cubicBezTo>
                <a:cubicBezTo>
                  <a:pt x="320" y="1045"/>
                  <a:pt x="316" y="1044"/>
                  <a:pt x="316" y="1044"/>
                </a:cubicBezTo>
                <a:cubicBezTo>
                  <a:pt x="316" y="1044"/>
                  <a:pt x="311" y="1049"/>
                  <a:pt x="306" y="1049"/>
                </a:cubicBezTo>
                <a:cubicBezTo>
                  <a:pt x="302" y="1049"/>
                  <a:pt x="305" y="1042"/>
                  <a:pt x="305" y="1040"/>
                </a:cubicBezTo>
                <a:cubicBezTo>
                  <a:pt x="305" y="1037"/>
                  <a:pt x="301" y="1036"/>
                  <a:pt x="301" y="1036"/>
                </a:cubicBezTo>
                <a:cubicBezTo>
                  <a:pt x="301" y="1036"/>
                  <a:pt x="287" y="1036"/>
                  <a:pt x="290" y="1038"/>
                </a:cubicBezTo>
                <a:cubicBezTo>
                  <a:pt x="293" y="1039"/>
                  <a:pt x="290" y="1050"/>
                  <a:pt x="290" y="1050"/>
                </a:cubicBezTo>
                <a:cubicBezTo>
                  <a:pt x="286" y="1056"/>
                  <a:pt x="286" y="1056"/>
                  <a:pt x="286" y="1056"/>
                </a:cubicBezTo>
                <a:cubicBezTo>
                  <a:pt x="286" y="1056"/>
                  <a:pt x="280" y="1055"/>
                  <a:pt x="275" y="1055"/>
                </a:cubicBezTo>
                <a:cubicBezTo>
                  <a:pt x="269" y="1055"/>
                  <a:pt x="264" y="1064"/>
                  <a:pt x="261" y="1069"/>
                </a:cubicBezTo>
                <a:cubicBezTo>
                  <a:pt x="258" y="1074"/>
                  <a:pt x="256" y="1072"/>
                  <a:pt x="251" y="1073"/>
                </a:cubicBezTo>
                <a:cubicBezTo>
                  <a:pt x="246" y="1074"/>
                  <a:pt x="251" y="1080"/>
                  <a:pt x="241" y="1088"/>
                </a:cubicBezTo>
                <a:cubicBezTo>
                  <a:pt x="232" y="1095"/>
                  <a:pt x="219" y="1096"/>
                  <a:pt x="219" y="1096"/>
                </a:cubicBezTo>
                <a:cubicBezTo>
                  <a:pt x="219" y="1096"/>
                  <a:pt x="214" y="1105"/>
                  <a:pt x="206" y="1108"/>
                </a:cubicBezTo>
                <a:cubicBezTo>
                  <a:pt x="199" y="1110"/>
                  <a:pt x="192" y="1108"/>
                  <a:pt x="192" y="1108"/>
                </a:cubicBezTo>
                <a:cubicBezTo>
                  <a:pt x="186" y="1103"/>
                  <a:pt x="186" y="1103"/>
                  <a:pt x="186" y="1103"/>
                </a:cubicBezTo>
                <a:cubicBezTo>
                  <a:pt x="174" y="1102"/>
                  <a:pt x="174" y="1102"/>
                  <a:pt x="174" y="1102"/>
                </a:cubicBezTo>
                <a:cubicBezTo>
                  <a:pt x="174" y="1102"/>
                  <a:pt x="166" y="1096"/>
                  <a:pt x="164" y="1091"/>
                </a:cubicBezTo>
                <a:cubicBezTo>
                  <a:pt x="161" y="1087"/>
                  <a:pt x="164" y="1083"/>
                  <a:pt x="164" y="1083"/>
                </a:cubicBezTo>
                <a:cubicBezTo>
                  <a:pt x="162" y="1077"/>
                  <a:pt x="162" y="1077"/>
                  <a:pt x="162" y="1077"/>
                </a:cubicBezTo>
                <a:cubicBezTo>
                  <a:pt x="162" y="1077"/>
                  <a:pt x="156" y="1085"/>
                  <a:pt x="156" y="1086"/>
                </a:cubicBezTo>
                <a:cubicBezTo>
                  <a:pt x="156" y="1088"/>
                  <a:pt x="159" y="1095"/>
                  <a:pt x="162" y="1097"/>
                </a:cubicBezTo>
                <a:cubicBezTo>
                  <a:pt x="165" y="1100"/>
                  <a:pt x="148" y="1120"/>
                  <a:pt x="148" y="1120"/>
                </a:cubicBezTo>
                <a:cubicBezTo>
                  <a:pt x="156" y="1130"/>
                  <a:pt x="156" y="1130"/>
                  <a:pt x="156" y="1130"/>
                </a:cubicBezTo>
                <a:cubicBezTo>
                  <a:pt x="155" y="1140"/>
                  <a:pt x="155" y="1140"/>
                  <a:pt x="155" y="1140"/>
                </a:cubicBezTo>
                <a:cubicBezTo>
                  <a:pt x="149" y="1141"/>
                  <a:pt x="149" y="1141"/>
                  <a:pt x="149" y="1141"/>
                </a:cubicBezTo>
                <a:cubicBezTo>
                  <a:pt x="151" y="1153"/>
                  <a:pt x="151" y="1153"/>
                  <a:pt x="151" y="1153"/>
                </a:cubicBezTo>
                <a:cubicBezTo>
                  <a:pt x="151" y="1153"/>
                  <a:pt x="151" y="1153"/>
                  <a:pt x="157" y="1143"/>
                </a:cubicBezTo>
                <a:cubicBezTo>
                  <a:pt x="164" y="1133"/>
                  <a:pt x="151" y="1153"/>
                  <a:pt x="158" y="1151"/>
                </a:cubicBezTo>
                <a:cubicBezTo>
                  <a:pt x="165" y="1149"/>
                  <a:pt x="169" y="1148"/>
                  <a:pt x="169" y="1148"/>
                </a:cubicBezTo>
                <a:cubicBezTo>
                  <a:pt x="169" y="1148"/>
                  <a:pt x="174" y="1162"/>
                  <a:pt x="174" y="1164"/>
                </a:cubicBezTo>
                <a:cubicBezTo>
                  <a:pt x="174" y="1165"/>
                  <a:pt x="180" y="1168"/>
                  <a:pt x="182" y="1175"/>
                </a:cubicBezTo>
                <a:cubicBezTo>
                  <a:pt x="184" y="1182"/>
                  <a:pt x="178" y="1193"/>
                  <a:pt x="178" y="1193"/>
                </a:cubicBezTo>
                <a:cubicBezTo>
                  <a:pt x="178" y="1193"/>
                  <a:pt x="184" y="1193"/>
                  <a:pt x="189" y="1198"/>
                </a:cubicBezTo>
                <a:cubicBezTo>
                  <a:pt x="193" y="1204"/>
                  <a:pt x="188" y="1216"/>
                  <a:pt x="187" y="1220"/>
                </a:cubicBezTo>
                <a:cubicBezTo>
                  <a:pt x="187" y="1225"/>
                  <a:pt x="193" y="1237"/>
                  <a:pt x="193" y="1237"/>
                </a:cubicBezTo>
                <a:cubicBezTo>
                  <a:pt x="187" y="1243"/>
                  <a:pt x="187" y="1243"/>
                  <a:pt x="187" y="1243"/>
                </a:cubicBezTo>
                <a:cubicBezTo>
                  <a:pt x="178" y="1243"/>
                  <a:pt x="178" y="1243"/>
                  <a:pt x="178" y="1243"/>
                </a:cubicBezTo>
                <a:cubicBezTo>
                  <a:pt x="177" y="1246"/>
                  <a:pt x="177" y="1246"/>
                  <a:pt x="177" y="1246"/>
                </a:cubicBezTo>
                <a:cubicBezTo>
                  <a:pt x="180" y="1252"/>
                  <a:pt x="180" y="1252"/>
                  <a:pt x="180" y="1252"/>
                </a:cubicBezTo>
                <a:cubicBezTo>
                  <a:pt x="180" y="1252"/>
                  <a:pt x="177" y="1257"/>
                  <a:pt x="177" y="1262"/>
                </a:cubicBezTo>
                <a:cubicBezTo>
                  <a:pt x="177" y="1268"/>
                  <a:pt x="181" y="1272"/>
                  <a:pt x="181" y="1272"/>
                </a:cubicBezTo>
                <a:cubicBezTo>
                  <a:pt x="187" y="1268"/>
                  <a:pt x="187" y="1268"/>
                  <a:pt x="187" y="1268"/>
                </a:cubicBezTo>
                <a:cubicBezTo>
                  <a:pt x="187" y="1268"/>
                  <a:pt x="196" y="1275"/>
                  <a:pt x="198" y="1275"/>
                </a:cubicBezTo>
                <a:cubicBezTo>
                  <a:pt x="199" y="1276"/>
                  <a:pt x="202" y="1285"/>
                  <a:pt x="197" y="1285"/>
                </a:cubicBezTo>
                <a:cubicBezTo>
                  <a:pt x="192" y="1285"/>
                  <a:pt x="193" y="1300"/>
                  <a:pt x="193" y="1300"/>
                </a:cubicBezTo>
                <a:cubicBezTo>
                  <a:pt x="197" y="1309"/>
                  <a:pt x="197" y="1309"/>
                  <a:pt x="197" y="1309"/>
                </a:cubicBezTo>
                <a:cubicBezTo>
                  <a:pt x="192" y="1309"/>
                  <a:pt x="192" y="1309"/>
                  <a:pt x="192" y="1309"/>
                </a:cubicBezTo>
                <a:cubicBezTo>
                  <a:pt x="182" y="1296"/>
                  <a:pt x="182" y="1296"/>
                  <a:pt x="182" y="1296"/>
                </a:cubicBezTo>
                <a:cubicBezTo>
                  <a:pt x="182" y="1296"/>
                  <a:pt x="182" y="1329"/>
                  <a:pt x="182" y="1333"/>
                </a:cubicBezTo>
                <a:cubicBezTo>
                  <a:pt x="182" y="1337"/>
                  <a:pt x="173" y="1349"/>
                  <a:pt x="170" y="1352"/>
                </a:cubicBezTo>
                <a:cubicBezTo>
                  <a:pt x="166" y="1355"/>
                  <a:pt x="175" y="1357"/>
                  <a:pt x="175" y="1357"/>
                </a:cubicBezTo>
                <a:cubicBezTo>
                  <a:pt x="175" y="1357"/>
                  <a:pt x="173" y="1362"/>
                  <a:pt x="168" y="1364"/>
                </a:cubicBezTo>
                <a:cubicBezTo>
                  <a:pt x="164" y="1366"/>
                  <a:pt x="172" y="1370"/>
                  <a:pt x="172" y="1370"/>
                </a:cubicBezTo>
                <a:cubicBezTo>
                  <a:pt x="176" y="1372"/>
                  <a:pt x="176" y="1372"/>
                  <a:pt x="176" y="1372"/>
                </a:cubicBezTo>
                <a:cubicBezTo>
                  <a:pt x="178" y="1381"/>
                  <a:pt x="178" y="1381"/>
                  <a:pt x="178" y="1381"/>
                </a:cubicBezTo>
                <a:cubicBezTo>
                  <a:pt x="168" y="1393"/>
                  <a:pt x="168" y="1393"/>
                  <a:pt x="168" y="1393"/>
                </a:cubicBezTo>
                <a:cubicBezTo>
                  <a:pt x="172" y="1398"/>
                  <a:pt x="172" y="1398"/>
                  <a:pt x="172" y="1398"/>
                </a:cubicBezTo>
                <a:cubicBezTo>
                  <a:pt x="172" y="1398"/>
                  <a:pt x="173" y="1402"/>
                  <a:pt x="176" y="1402"/>
                </a:cubicBezTo>
                <a:cubicBezTo>
                  <a:pt x="179" y="1403"/>
                  <a:pt x="175" y="1412"/>
                  <a:pt x="175" y="1412"/>
                </a:cubicBezTo>
                <a:cubicBezTo>
                  <a:pt x="181" y="1412"/>
                  <a:pt x="181" y="1412"/>
                  <a:pt x="181" y="1412"/>
                </a:cubicBezTo>
                <a:cubicBezTo>
                  <a:pt x="187" y="1420"/>
                  <a:pt x="187" y="1420"/>
                  <a:pt x="187" y="1420"/>
                </a:cubicBezTo>
                <a:cubicBezTo>
                  <a:pt x="194" y="1430"/>
                  <a:pt x="194" y="1430"/>
                  <a:pt x="194" y="1430"/>
                </a:cubicBezTo>
                <a:cubicBezTo>
                  <a:pt x="195" y="1442"/>
                  <a:pt x="195" y="1442"/>
                  <a:pt x="195" y="1442"/>
                </a:cubicBezTo>
                <a:cubicBezTo>
                  <a:pt x="195" y="1442"/>
                  <a:pt x="195" y="1442"/>
                  <a:pt x="200" y="1443"/>
                </a:cubicBezTo>
                <a:cubicBezTo>
                  <a:pt x="204" y="1444"/>
                  <a:pt x="198" y="1450"/>
                  <a:pt x="199" y="1451"/>
                </a:cubicBezTo>
                <a:cubicBezTo>
                  <a:pt x="201" y="1451"/>
                  <a:pt x="200" y="1457"/>
                  <a:pt x="200" y="1457"/>
                </a:cubicBezTo>
                <a:cubicBezTo>
                  <a:pt x="206" y="1450"/>
                  <a:pt x="206" y="1450"/>
                  <a:pt x="206" y="1450"/>
                </a:cubicBezTo>
                <a:cubicBezTo>
                  <a:pt x="211" y="1451"/>
                  <a:pt x="211" y="1451"/>
                  <a:pt x="211" y="1451"/>
                </a:cubicBezTo>
                <a:cubicBezTo>
                  <a:pt x="211" y="1451"/>
                  <a:pt x="213" y="1446"/>
                  <a:pt x="219" y="1449"/>
                </a:cubicBezTo>
                <a:cubicBezTo>
                  <a:pt x="224" y="1452"/>
                  <a:pt x="234" y="1458"/>
                  <a:pt x="234" y="1458"/>
                </a:cubicBezTo>
                <a:cubicBezTo>
                  <a:pt x="266" y="1435"/>
                  <a:pt x="259" y="1426"/>
                  <a:pt x="259" y="1426"/>
                </a:cubicBezTo>
                <a:cubicBezTo>
                  <a:pt x="257" y="1420"/>
                  <a:pt x="257" y="1420"/>
                  <a:pt x="257" y="1420"/>
                </a:cubicBezTo>
                <a:cubicBezTo>
                  <a:pt x="256" y="1408"/>
                  <a:pt x="256" y="1408"/>
                  <a:pt x="256" y="1408"/>
                </a:cubicBezTo>
                <a:cubicBezTo>
                  <a:pt x="269" y="1400"/>
                  <a:pt x="269" y="1400"/>
                  <a:pt x="269" y="1400"/>
                </a:cubicBezTo>
                <a:cubicBezTo>
                  <a:pt x="276" y="1404"/>
                  <a:pt x="276" y="1404"/>
                  <a:pt x="276" y="1404"/>
                </a:cubicBezTo>
                <a:cubicBezTo>
                  <a:pt x="276" y="1404"/>
                  <a:pt x="282" y="1398"/>
                  <a:pt x="290" y="1398"/>
                </a:cubicBezTo>
                <a:cubicBezTo>
                  <a:pt x="298" y="1398"/>
                  <a:pt x="313" y="1415"/>
                  <a:pt x="313" y="1415"/>
                </a:cubicBezTo>
                <a:cubicBezTo>
                  <a:pt x="324" y="1415"/>
                  <a:pt x="324" y="1415"/>
                  <a:pt x="324" y="1415"/>
                </a:cubicBezTo>
                <a:cubicBezTo>
                  <a:pt x="325" y="1419"/>
                  <a:pt x="325" y="1419"/>
                  <a:pt x="325" y="1419"/>
                </a:cubicBezTo>
                <a:cubicBezTo>
                  <a:pt x="335" y="1407"/>
                  <a:pt x="335" y="1407"/>
                  <a:pt x="335" y="1407"/>
                </a:cubicBezTo>
                <a:cubicBezTo>
                  <a:pt x="335" y="1407"/>
                  <a:pt x="334" y="1396"/>
                  <a:pt x="334" y="1393"/>
                </a:cubicBezTo>
                <a:cubicBezTo>
                  <a:pt x="335" y="1390"/>
                  <a:pt x="343" y="1386"/>
                  <a:pt x="343" y="1386"/>
                </a:cubicBezTo>
                <a:cubicBezTo>
                  <a:pt x="343" y="1386"/>
                  <a:pt x="339" y="1384"/>
                  <a:pt x="338" y="1376"/>
                </a:cubicBezTo>
                <a:cubicBezTo>
                  <a:pt x="338" y="1369"/>
                  <a:pt x="343" y="1362"/>
                  <a:pt x="345" y="1357"/>
                </a:cubicBezTo>
                <a:cubicBezTo>
                  <a:pt x="347" y="1351"/>
                  <a:pt x="345" y="1353"/>
                  <a:pt x="343" y="1348"/>
                </a:cubicBezTo>
                <a:cubicBezTo>
                  <a:pt x="342" y="1343"/>
                  <a:pt x="346" y="1341"/>
                  <a:pt x="346" y="1341"/>
                </a:cubicBezTo>
                <a:cubicBezTo>
                  <a:pt x="346" y="1341"/>
                  <a:pt x="349" y="1318"/>
                  <a:pt x="352" y="1313"/>
                </a:cubicBezTo>
                <a:cubicBezTo>
                  <a:pt x="355" y="1308"/>
                  <a:pt x="350" y="1307"/>
                  <a:pt x="349" y="1304"/>
                </a:cubicBezTo>
                <a:cubicBezTo>
                  <a:pt x="349" y="1300"/>
                  <a:pt x="353" y="1296"/>
                  <a:pt x="355" y="1290"/>
                </a:cubicBezTo>
                <a:cubicBezTo>
                  <a:pt x="358" y="1284"/>
                  <a:pt x="352" y="1281"/>
                  <a:pt x="352" y="1281"/>
                </a:cubicBezTo>
                <a:cubicBezTo>
                  <a:pt x="358" y="1273"/>
                  <a:pt x="358" y="1273"/>
                  <a:pt x="358" y="1273"/>
                </a:cubicBezTo>
                <a:cubicBezTo>
                  <a:pt x="352" y="1270"/>
                  <a:pt x="352" y="1270"/>
                  <a:pt x="352" y="1270"/>
                </a:cubicBezTo>
                <a:cubicBezTo>
                  <a:pt x="359" y="1246"/>
                  <a:pt x="359" y="1246"/>
                  <a:pt x="359" y="1246"/>
                </a:cubicBezTo>
                <a:cubicBezTo>
                  <a:pt x="351" y="1235"/>
                  <a:pt x="351" y="1235"/>
                  <a:pt x="351" y="1235"/>
                </a:cubicBezTo>
                <a:cubicBezTo>
                  <a:pt x="347" y="1216"/>
                  <a:pt x="347" y="1216"/>
                  <a:pt x="347" y="1216"/>
                </a:cubicBezTo>
                <a:cubicBezTo>
                  <a:pt x="358" y="1199"/>
                  <a:pt x="358" y="1199"/>
                  <a:pt x="358" y="1199"/>
                </a:cubicBezTo>
                <a:cubicBezTo>
                  <a:pt x="367" y="1192"/>
                  <a:pt x="367" y="1192"/>
                  <a:pt x="367" y="1192"/>
                </a:cubicBezTo>
                <a:cubicBezTo>
                  <a:pt x="376" y="1169"/>
                  <a:pt x="376" y="1169"/>
                  <a:pt x="376" y="1169"/>
                </a:cubicBezTo>
                <a:cubicBezTo>
                  <a:pt x="366" y="1154"/>
                  <a:pt x="366" y="1154"/>
                  <a:pt x="366" y="1154"/>
                </a:cubicBezTo>
                <a:lnTo>
                  <a:pt x="367" y="1140"/>
                </a:lnTo>
                <a:close/>
                <a:moveTo>
                  <a:pt x="1030" y="1523"/>
                </a:moveTo>
                <a:cubicBezTo>
                  <a:pt x="1034" y="1520"/>
                  <a:pt x="1031" y="1518"/>
                  <a:pt x="1024" y="1517"/>
                </a:cubicBezTo>
                <a:cubicBezTo>
                  <a:pt x="1024" y="1517"/>
                  <a:pt x="1026" y="1525"/>
                  <a:pt x="1030" y="1523"/>
                </a:cubicBezTo>
                <a:close/>
                <a:moveTo>
                  <a:pt x="1070" y="1517"/>
                </a:moveTo>
                <a:cubicBezTo>
                  <a:pt x="1062" y="1515"/>
                  <a:pt x="1062" y="1515"/>
                  <a:pt x="1062" y="1515"/>
                </a:cubicBezTo>
                <a:cubicBezTo>
                  <a:pt x="1058" y="1517"/>
                  <a:pt x="1058" y="1517"/>
                  <a:pt x="1058" y="1517"/>
                </a:cubicBezTo>
                <a:cubicBezTo>
                  <a:pt x="1070" y="1526"/>
                  <a:pt x="1070" y="1526"/>
                  <a:pt x="1070" y="1526"/>
                </a:cubicBezTo>
                <a:lnTo>
                  <a:pt x="1070" y="1517"/>
                </a:lnTo>
                <a:close/>
                <a:moveTo>
                  <a:pt x="1081" y="1528"/>
                </a:moveTo>
                <a:cubicBezTo>
                  <a:pt x="1075" y="1527"/>
                  <a:pt x="1075" y="1527"/>
                  <a:pt x="1075" y="1527"/>
                </a:cubicBezTo>
                <a:cubicBezTo>
                  <a:pt x="1073" y="1535"/>
                  <a:pt x="1073" y="1535"/>
                  <a:pt x="1073" y="1535"/>
                </a:cubicBezTo>
                <a:cubicBezTo>
                  <a:pt x="1082" y="1540"/>
                  <a:pt x="1082" y="1540"/>
                  <a:pt x="1082" y="1540"/>
                </a:cubicBezTo>
                <a:cubicBezTo>
                  <a:pt x="1081" y="1547"/>
                  <a:pt x="1081" y="1547"/>
                  <a:pt x="1081" y="1547"/>
                </a:cubicBezTo>
                <a:cubicBezTo>
                  <a:pt x="1092" y="1556"/>
                  <a:pt x="1092" y="1556"/>
                  <a:pt x="1092" y="1556"/>
                </a:cubicBezTo>
                <a:cubicBezTo>
                  <a:pt x="1092" y="1556"/>
                  <a:pt x="1091" y="1552"/>
                  <a:pt x="1087" y="1547"/>
                </a:cubicBezTo>
                <a:cubicBezTo>
                  <a:pt x="1084" y="1541"/>
                  <a:pt x="1090" y="1535"/>
                  <a:pt x="1090" y="1535"/>
                </a:cubicBezTo>
                <a:lnTo>
                  <a:pt x="1081" y="1528"/>
                </a:lnTo>
                <a:close/>
                <a:moveTo>
                  <a:pt x="1097" y="1506"/>
                </a:moveTo>
                <a:cubicBezTo>
                  <a:pt x="1088" y="1505"/>
                  <a:pt x="1090" y="1505"/>
                  <a:pt x="1095" y="1509"/>
                </a:cubicBezTo>
                <a:cubicBezTo>
                  <a:pt x="1100" y="1512"/>
                  <a:pt x="1097" y="1506"/>
                  <a:pt x="1097" y="1506"/>
                </a:cubicBezTo>
                <a:close/>
                <a:moveTo>
                  <a:pt x="1118" y="1472"/>
                </a:moveTo>
                <a:cubicBezTo>
                  <a:pt x="1112" y="1477"/>
                  <a:pt x="1112" y="1477"/>
                  <a:pt x="1112" y="1477"/>
                </a:cubicBezTo>
                <a:cubicBezTo>
                  <a:pt x="1114" y="1480"/>
                  <a:pt x="1115" y="1483"/>
                  <a:pt x="1115" y="1483"/>
                </a:cubicBezTo>
                <a:cubicBezTo>
                  <a:pt x="1121" y="1476"/>
                  <a:pt x="1121" y="1476"/>
                  <a:pt x="1121" y="1476"/>
                </a:cubicBezTo>
                <a:lnTo>
                  <a:pt x="1118" y="1472"/>
                </a:lnTo>
                <a:close/>
                <a:moveTo>
                  <a:pt x="1180" y="1570"/>
                </a:moveTo>
                <a:cubicBezTo>
                  <a:pt x="1176" y="1570"/>
                  <a:pt x="1166" y="1564"/>
                  <a:pt x="1166" y="1564"/>
                </a:cubicBezTo>
                <a:cubicBezTo>
                  <a:pt x="1166" y="1564"/>
                  <a:pt x="1152" y="1575"/>
                  <a:pt x="1139" y="1579"/>
                </a:cubicBezTo>
                <a:cubicBezTo>
                  <a:pt x="1127" y="1583"/>
                  <a:pt x="1126" y="1583"/>
                  <a:pt x="1126" y="1583"/>
                </a:cubicBezTo>
                <a:cubicBezTo>
                  <a:pt x="1126" y="1583"/>
                  <a:pt x="1127" y="1575"/>
                  <a:pt x="1126" y="1573"/>
                </a:cubicBezTo>
                <a:cubicBezTo>
                  <a:pt x="1125" y="1571"/>
                  <a:pt x="1121" y="1571"/>
                  <a:pt x="1123" y="1574"/>
                </a:cubicBezTo>
                <a:cubicBezTo>
                  <a:pt x="1126" y="1577"/>
                  <a:pt x="1121" y="1584"/>
                  <a:pt x="1120" y="1586"/>
                </a:cubicBezTo>
                <a:cubicBezTo>
                  <a:pt x="1120" y="1588"/>
                  <a:pt x="1103" y="1599"/>
                  <a:pt x="1103" y="1599"/>
                </a:cubicBezTo>
                <a:cubicBezTo>
                  <a:pt x="1098" y="1593"/>
                  <a:pt x="1098" y="1593"/>
                  <a:pt x="1098" y="1593"/>
                </a:cubicBezTo>
                <a:cubicBezTo>
                  <a:pt x="1085" y="1592"/>
                  <a:pt x="1085" y="1592"/>
                  <a:pt x="1085" y="1592"/>
                </a:cubicBezTo>
                <a:cubicBezTo>
                  <a:pt x="1080" y="1587"/>
                  <a:pt x="1080" y="1587"/>
                  <a:pt x="1080" y="1587"/>
                </a:cubicBezTo>
                <a:cubicBezTo>
                  <a:pt x="1080" y="1587"/>
                  <a:pt x="1072" y="1590"/>
                  <a:pt x="1065" y="1593"/>
                </a:cubicBezTo>
                <a:cubicBezTo>
                  <a:pt x="1059" y="1595"/>
                  <a:pt x="1055" y="1592"/>
                  <a:pt x="1055" y="1592"/>
                </a:cubicBezTo>
                <a:cubicBezTo>
                  <a:pt x="1055" y="1592"/>
                  <a:pt x="1040" y="1608"/>
                  <a:pt x="1031" y="1612"/>
                </a:cubicBezTo>
                <a:cubicBezTo>
                  <a:pt x="1023" y="1616"/>
                  <a:pt x="1012" y="1615"/>
                  <a:pt x="1012" y="1615"/>
                </a:cubicBezTo>
                <a:cubicBezTo>
                  <a:pt x="992" y="1622"/>
                  <a:pt x="992" y="1622"/>
                  <a:pt x="992" y="1622"/>
                </a:cubicBezTo>
                <a:cubicBezTo>
                  <a:pt x="960" y="1620"/>
                  <a:pt x="960" y="1620"/>
                  <a:pt x="960" y="1620"/>
                </a:cubicBezTo>
                <a:cubicBezTo>
                  <a:pt x="960" y="1620"/>
                  <a:pt x="953" y="1616"/>
                  <a:pt x="949" y="1616"/>
                </a:cubicBezTo>
                <a:cubicBezTo>
                  <a:pt x="945" y="1616"/>
                  <a:pt x="928" y="1627"/>
                  <a:pt x="926" y="1628"/>
                </a:cubicBezTo>
                <a:cubicBezTo>
                  <a:pt x="925" y="1629"/>
                  <a:pt x="907" y="1627"/>
                  <a:pt x="907" y="1627"/>
                </a:cubicBezTo>
                <a:cubicBezTo>
                  <a:pt x="886" y="1614"/>
                  <a:pt x="886" y="1614"/>
                  <a:pt x="886" y="1614"/>
                </a:cubicBezTo>
                <a:cubicBezTo>
                  <a:pt x="883" y="1603"/>
                  <a:pt x="883" y="1603"/>
                  <a:pt x="883" y="1603"/>
                </a:cubicBezTo>
                <a:cubicBezTo>
                  <a:pt x="883" y="1603"/>
                  <a:pt x="870" y="1608"/>
                  <a:pt x="864" y="1606"/>
                </a:cubicBezTo>
                <a:cubicBezTo>
                  <a:pt x="857" y="1605"/>
                  <a:pt x="862" y="1592"/>
                  <a:pt x="862" y="1592"/>
                </a:cubicBezTo>
                <a:cubicBezTo>
                  <a:pt x="855" y="1584"/>
                  <a:pt x="855" y="1584"/>
                  <a:pt x="855" y="1584"/>
                </a:cubicBezTo>
                <a:cubicBezTo>
                  <a:pt x="837" y="1596"/>
                  <a:pt x="837" y="1596"/>
                  <a:pt x="837" y="1596"/>
                </a:cubicBezTo>
                <a:cubicBezTo>
                  <a:pt x="824" y="1592"/>
                  <a:pt x="824" y="1592"/>
                  <a:pt x="824" y="1592"/>
                </a:cubicBezTo>
                <a:cubicBezTo>
                  <a:pt x="817" y="1601"/>
                  <a:pt x="817" y="1601"/>
                  <a:pt x="817" y="1601"/>
                </a:cubicBezTo>
                <a:cubicBezTo>
                  <a:pt x="817" y="1601"/>
                  <a:pt x="820" y="1610"/>
                  <a:pt x="817" y="1612"/>
                </a:cubicBezTo>
                <a:cubicBezTo>
                  <a:pt x="812" y="1616"/>
                  <a:pt x="791" y="1619"/>
                  <a:pt x="791" y="1619"/>
                </a:cubicBezTo>
                <a:cubicBezTo>
                  <a:pt x="781" y="1608"/>
                  <a:pt x="781" y="1608"/>
                  <a:pt x="781" y="1608"/>
                </a:cubicBezTo>
                <a:cubicBezTo>
                  <a:pt x="781" y="1608"/>
                  <a:pt x="779" y="1598"/>
                  <a:pt x="777" y="1594"/>
                </a:cubicBezTo>
                <a:cubicBezTo>
                  <a:pt x="774" y="1589"/>
                  <a:pt x="771" y="1591"/>
                  <a:pt x="771" y="1591"/>
                </a:cubicBezTo>
                <a:cubicBezTo>
                  <a:pt x="766" y="1594"/>
                  <a:pt x="772" y="1601"/>
                  <a:pt x="772" y="1601"/>
                </a:cubicBezTo>
                <a:cubicBezTo>
                  <a:pt x="769" y="1606"/>
                  <a:pt x="769" y="1606"/>
                  <a:pt x="769" y="1606"/>
                </a:cubicBezTo>
                <a:cubicBezTo>
                  <a:pt x="763" y="1606"/>
                  <a:pt x="763" y="1606"/>
                  <a:pt x="763" y="1606"/>
                </a:cubicBezTo>
                <a:cubicBezTo>
                  <a:pt x="756" y="1613"/>
                  <a:pt x="756" y="1613"/>
                  <a:pt x="756" y="1613"/>
                </a:cubicBezTo>
                <a:cubicBezTo>
                  <a:pt x="747" y="1613"/>
                  <a:pt x="747" y="1613"/>
                  <a:pt x="747" y="1613"/>
                </a:cubicBezTo>
                <a:cubicBezTo>
                  <a:pt x="747" y="1613"/>
                  <a:pt x="748" y="1615"/>
                  <a:pt x="742" y="1620"/>
                </a:cubicBezTo>
                <a:cubicBezTo>
                  <a:pt x="737" y="1626"/>
                  <a:pt x="739" y="1636"/>
                  <a:pt x="739" y="1636"/>
                </a:cubicBezTo>
                <a:cubicBezTo>
                  <a:pt x="733" y="1641"/>
                  <a:pt x="733" y="1641"/>
                  <a:pt x="733" y="1641"/>
                </a:cubicBezTo>
                <a:cubicBezTo>
                  <a:pt x="733" y="1641"/>
                  <a:pt x="736" y="1647"/>
                  <a:pt x="736" y="1649"/>
                </a:cubicBezTo>
                <a:cubicBezTo>
                  <a:pt x="736" y="1650"/>
                  <a:pt x="735" y="1655"/>
                  <a:pt x="735" y="1655"/>
                </a:cubicBezTo>
                <a:cubicBezTo>
                  <a:pt x="735" y="1655"/>
                  <a:pt x="730" y="1644"/>
                  <a:pt x="727" y="1646"/>
                </a:cubicBezTo>
                <a:cubicBezTo>
                  <a:pt x="725" y="1647"/>
                  <a:pt x="729" y="1653"/>
                  <a:pt x="733" y="1655"/>
                </a:cubicBezTo>
                <a:cubicBezTo>
                  <a:pt x="737" y="1658"/>
                  <a:pt x="729" y="1660"/>
                  <a:pt x="729" y="1660"/>
                </a:cubicBezTo>
                <a:cubicBezTo>
                  <a:pt x="735" y="1671"/>
                  <a:pt x="735" y="1671"/>
                  <a:pt x="735" y="1671"/>
                </a:cubicBezTo>
                <a:cubicBezTo>
                  <a:pt x="735" y="1681"/>
                  <a:pt x="735" y="1681"/>
                  <a:pt x="735" y="1681"/>
                </a:cubicBezTo>
                <a:cubicBezTo>
                  <a:pt x="740" y="1687"/>
                  <a:pt x="740" y="1687"/>
                  <a:pt x="740" y="1687"/>
                </a:cubicBezTo>
                <a:cubicBezTo>
                  <a:pt x="740" y="1687"/>
                  <a:pt x="749" y="1688"/>
                  <a:pt x="753" y="1690"/>
                </a:cubicBezTo>
                <a:cubicBezTo>
                  <a:pt x="756" y="1692"/>
                  <a:pt x="764" y="1704"/>
                  <a:pt x="764" y="1704"/>
                </a:cubicBezTo>
                <a:cubicBezTo>
                  <a:pt x="764" y="1704"/>
                  <a:pt x="771" y="1701"/>
                  <a:pt x="777" y="1700"/>
                </a:cubicBezTo>
                <a:cubicBezTo>
                  <a:pt x="783" y="1699"/>
                  <a:pt x="803" y="1703"/>
                  <a:pt x="803" y="1703"/>
                </a:cubicBezTo>
                <a:cubicBezTo>
                  <a:pt x="812" y="1714"/>
                  <a:pt x="812" y="1714"/>
                  <a:pt x="812" y="1714"/>
                </a:cubicBezTo>
                <a:cubicBezTo>
                  <a:pt x="812" y="1714"/>
                  <a:pt x="829" y="1716"/>
                  <a:pt x="834" y="1716"/>
                </a:cubicBezTo>
                <a:cubicBezTo>
                  <a:pt x="839" y="1716"/>
                  <a:pt x="845" y="1728"/>
                  <a:pt x="845" y="1728"/>
                </a:cubicBezTo>
                <a:cubicBezTo>
                  <a:pt x="845" y="1728"/>
                  <a:pt x="847" y="1729"/>
                  <a:pt x="849" y="1734"/>
                </a:cubicBezTo>
                <a:cubicBezTo>
                  <a:pt x="851" y="1739"/>
                  <a:pt x="864" y="1743"/>
                  <a:pt x="865" y="1743"/>
                </a:cubicBezTo>
                <a:cubicBezTo>
                  <a:pt x="866" y="1743"/>
                  <a:pt x="873" y="1752"/>
                  <a:pt x="873" y="1752"/>
                </a:cubicBezTo>
                <a:cubicBezTo>
                  <a:pt x="888" y="1752"/>
                  <a:pt x="888" y="1752"/>
                  <a:pt x="888" y="1752"/>
                </a:cubicBezTo>
                <a:cubicBezTo>
                  <a:pt x="888" y="1752"/>
                  <a:pt x="896" y="1760"/>
                  <a:pt x="901" y="1764"/>
                </a:cubicBezTo>
                <a:cubicBezTo>
                  <a:pt x="906" y="1768"/>
                  <a:pt x="916" y="1776"/>
                  <a:pt x="917" y="1777"/>
                </a:cubicBezTo>
                <a:cubicBezTo>
                  <a:pt x="918" y="1777"/>
                  <a:pt x="926" y="1776"/>
                  <a:pt x="926" y="1776"/>
                </a:cubicBezTo>
                <a:cubicBezTo>
                  <a:pt x="936" y="1784"/>
                  <a:pt x="936" y="1784"/>
                  <a:pt x="936" y="1784"/>
                </a:cubicBezTo>
                <a:cubicBezTo>
                  <a:pt x="942" y="1783"/>
                  <a:pt x="942" y="1783"/>
                  <a:pt x="942" y="1783"/>
                </a:cubicBezTo>
                <a:cubicBezTo>
                  <a:pt x="987" y="1784"/>
                  <a:pt x="992" y="1792"/>
                  <a:pt x="1000" y="1798"/>
                </a:cubicBezTo>
                <a:cubicBezTo>
                  <a:pt x="1008" y="1804"/>
                  <a:pt x="1022" y="1839"/>
                  <a:pt x="1022" y="1839"/>
                </a:cubicBezTo>
                <a:cubicBezTo>
                  <a:pt x="1041" y="1841"/>
                  <a:pt x="1041" y="1841"/>
                  <a:pt x="1041" y="1841"/>
                </a:cubicBezTo>
                <a:cubicBezTo>
                  <a:pt x="1051" y="1849"/>
                  <a:pt x="1051" y="1849"/>
                  <a:pt x="1051" y="1849"/>
                </a:cubicBezTo>
                <a:cubicBezTo>
                  <a:pt x="1061" y="1849"/>
                  <a:pt x="1061" y="1849"/>
                  <a:pt x="1061" y="1849"/>
                </a:cubicBezTo>
                <a:cubicBezTo>
                  <a:pt x="1065" y="1853"/>
                  <a:pt x="1065" y="1853"/>
                  <a:pt x="1065" y="1853"/>
                </a:cubicBezTo>
                <a:cubicBezTo>
                  <a:pt x="1065" y="1853"/>
                  <a:pt x="1078" y="1848"/>
                  <a:pt x="1080" y="1849"/>
                </a:cubicBezTo>
                <a:cubicBezTo>
                  <a:pt x="1082" y="1849"/>
                  <a:pt x="1090" y="1855"/>
                  <a:pt x="1090" y="1855"/>
                </a:cubicBezTo>
                <a:cubicBezTo>
                  <a:pt x="1090" y="1855"/>
                  <a:pt x="1091" y="1854"/>
                  <a:pt x="1101" y="1854"/>
                </a:cubicBezTo>
                <a:cubicBezTo>
                  <a:pt x="1111" y="1854"/>
                  <a:pt x="1109" y="1861"/>
                  <a:pt x="1109" y="1861"/>
                </a:cubicBezTo>
                <a:cubicBezTo>
                  <a:pt x="1117" y="1855"/>
                  <a:pt x="1117" y="1855"/>
                  <a:pt x="1117" y="1855"/>
                </a:cubicBezTo>
                <a:cubicBezTo>
                  <a:pt x="1117" y="1855"/>
                  <a:pt x="1113" y="1844"/>
                  <a:pt x="1111" y="1838"/>
                </a:cubicBezTo>
                <a:cubicBezTo>
                  <a:pt x="1109" y="1832"/>
                  <a:pt x="1118" y="1817"/>
                  <a:pt x="1119" y="1813"/>
                </a:cubicBezTo>
                <a:cubicBezTo>
                  <a:pt x="1121" y="1809"/>
                  <a:pt x="1134" y="1805"/>
                  <a:pt x="1134" y="1805"/>
                </a:cubicBezTo>
                <a:cubicBezTo>
                  <a:pt x="1136" y="1797"/>
                  <a:pt x="1136" y="1797"/>
                  <a:pt x="1136" y="1797"/>
                </a:cubicBezTo>
                <a:cubicBezTo>
                  <a:pt x="1146" y="1797"/>
                  <a:pt x="1146" y="1797"/>
                  <a:pt x="1146" y="1797"/>
                </a:cubicBezTo>
                <a:cubicBezTo>
                  <a:pt x="1146" y="1797"/>
                  <a:pt x="1145" y="1796"/>
                  <a:pt x="1142" y="1792"/>
                </a:cubicBezTo>
                <a:cubicBezTo>
                  <a:pt x="1140" y="1788"/>
                  <a:pt x="1135" y="1791"/>
                  <a:pt x="1135" y="1789"/>
                </a:cubicBezTo>
                <a:cubicBezTo>
                  <a:pt x="1135" y="1786"/>
                  <a:pt x="1139" y="1783"/>
                  <a:pt x="1137" y="1780"/>
                </a:cubicBezTo>
                <a:cubicBezTo>
                  <a:pt x="1136" y="1778"/>
                  <a:pt x="1130" y="1777"/>
                  <a:pt x="1130" y="1777"/>
                </a:cubicBezTo>
                <a:cubicBezTo>
                  <a:pt x="1129" y="1771"/>
                  <a:pt x="1129" y="1771"/>
                  <a:pt x="1129" y="1771"/>
                </a:cubicBezTo>
                <a:cubicBezTo>
                  <a:pt x="1125" y="1772"/>
                  <a:pt x="1125" y="1772"/>
                  <a:pt x="1125" y="1772"/>
                </a:cubicBezTo>
                <a:cubicBezTo>
                  <a:pt x="1122" y="1760"/>
                  <a:pt x="1122" y="1760"/>
                  <a:pt x="1122" y="1760"/>
                </a:cubicBezTo>
                <a:cubicBezTo>
                  <a:pt x="1122" y="1760"/>
                  <a:pt x="1123" y="1755"/>
                  <a:pt x="1127" y="1755"/>
                </a:cubicBezTo>
                <a:cubicBezTo>
                  <a:pt x="1130" y="1755"/>
                  <a:pt x="1128" y="1759"/>
                  <a:pt x="1128" y="1759"/>
                </a:cubicBezTo>
                <a:cubicBezTo>
                  <a:pt x="1131" y="1755"/>
                  <a:pt x="1131" y="1755"/>
                  <a:pt x="1131" y="1755"/>
                </a:cubicBezTo>
                <a:cubicBezTo>
                  <a:pt x="1131" y="1755"/>
                  <a:pt x="1129" y="1752"/>
                  <a:pt x="1124" y="1749"/>
                </a:cubicBezTo>
                <a:cubicBezTo>
                  <a:pt x="1120" y="1746"/>
                  <a:pt x="1115" y="1746"/>
                  <a:pt x="1110" y="1744"/>
                </a:cubicBezTo>
                <a:cubicBezTo>
                  <a:pt x="1106" y="1741"/>
                  <a:pt x="1105" y="1715"/>
                  <a:pt x="1105" y="1715"/>
                </a:cubicBezTo>
                <a:cubicBezTo>
                  <a:pt x="1118" y="1696"/>
                  <a:pt x="1118" y="1696"/>
                  <a:pt x="1118" y="1696"/>
                </a:cubicBezTo>
                <a:cubicBezTo>
                  <a:pt x="1117" y="1686"/>
                  <a:pt x="1117" y="1686"/>
                  <a:pt x="1117" y="1686"/>
                </a:cubicBezTo>
                <a:cubicBezTo>
                  <a:pt x="1124" y="1671"/>
                  <a:pt x="1124" y="1671"/>
                  <a:pt x="1124" y="1671"/>
                </a:cubicBezTo>
                <a:cubicBezTo>
                  <a:pt x="1124" y="1671"/>
                  <a:pt x="1121" y="1667"/>
                  <a:pt x="1122" y="1664"/>
                </a:cubicBezTo>
                <a:cubicBezTo>
                  <a:pt x="1123" y="1662"/>
                  <a:pt x="1134" y="1640"/>
                  <a:pt x="1134" y="1640"/>
                </a:cubicBezTo>
                <a:cubicBezTo>
                  <a:pt x="1134" y="1640"/>
                  <a:pt x="1157" y="1610"/>
                  <a:pt x="1162" y="1605"/>
                </a:cubicBezTo>
                <a:cubicBezTo>
                  <a:pt x="1166" y="1601"/>
                  <a:pt x="1170" y="1582"/>
                  <a:pt x="1170" y="1577"/>
                </a:cubicBezTo>
                <a:cubicBezTo>
                  <a:pt x="1170" y="1572"/>
                  <a:pt x="1185" y="1570"/>
                  <a:pt x="1180" y="1570"/>
                </a:cubicBezTo>
                <a:close/>
                <a:moveTo>
                  <a:pt x="714" y="1621"/>
                </a:moveTo>
                <a:cubicBezTo>
                  <a:pt x="714" y="1621"/>
                  <a:pt x="707" y="1629"/>
                  <a:pt x="714" y="1629"/>
                </a:cubicBezTo>
                <a:cubicBezTo>
                  <a:pt x="722" y="1629"/>
                  <a:pt x="714" y="1621"/>
                  <a:pt x="714" y="1621"/>
                </a:cubicBezTo>
                <a:close/>
                <a:moveTo>
                  <a:pt x="834" y="1495"/>
                </a:moveTo>
                <a:cubicBezTo>
                  <a:pt x="828" y="1492"/>
                  <a:pt x="828" y="1500"/>
                  <a:pt x="828" y="1500"/>
                </a:cubicBezTo>
                <a:cubicBezTo>
                  <a:pt x="828" y="1500"/>
                  <a:pt x="841" y="1499"/>
                  <a:pt x="834" y="1495"/>
                </a:cubicBezTo>
                <a:close/>
                <a:moveTo>
                  <a:pt x="996" y="1526"/>
                </a:moveTo>
                <a:cubicBezTo>
                  <a:pt x="1001" y="1525"/>
                  <a:pt x="1001" y="1525"/>
                  <a:pt x="1001" y="1525"/>
                </a:cubicBezTo>
                <a:cubicBezTo>
                  <a:pt x="1001" y="1525"/>
                  <a:pt x="992" y="1516"/>
                  <a:pt x="996" y="1526"/>
                </a:cubicBezTo>
                <a:close/>
                <a:moveTo>
                  <a:pt x="656" y="1836"/>
                </a:moveTo>
                <a:cubicBezTo>
                  <a:pt x="655" y="1841"/>
                  <a:pt x="655" y="1841"/>
                  <a:pt x="655" y="1841"/>
                </a:cubicBezTo>
                <a:cubicBezTo>
                  <a:pt x="666" y="1851"/>
                  <a:pt x="666" y="1851"/>
                  <a:pt x="666" y="1851"/>
                </a:cubicBezTo>
                <a:cubicBezTo>
                  <a:pt x="673" y="1848"/>
                  <a:pt x="673" y="1848"/>
                  <a:pt x="673" y="1848"/>
                </a:cubicBezTo>
                <a:cubicBezTo>
                  <a:pt x="673" y="1841"/>
                  <a:pt x="673" y="1841"/>
                  <a:pt x="673" y="1841"/>
                </a:cubicBezTo>
                <a:cubicBezTo>
                  <a:pt x="673" y="1841"/>
                  <a:pt x="666" y="1830"/>
                  <a:pt x="656" y="1836"/>
                </a:cubicBezTo>
                <a:close/>
                <a:moveTo>
                  <a:pt x="673" y="1627"/>
                </a:moveTo>
                <a:cubicBezTo>
                  <a:pt x="673" y="1627"/>
                  <a:pt x="673" y="1633"/>
                  <a:pt x="677" y="1632"/>
                </a:cubicBezTo>
                <a:cubicBezTo>
                  <a:pt x="681" y="1631"/>
                  <a:pt x="678" y="1627"/>
                  <a:pt x="673" y="1627"/>
                </a:cubicBezTo>
                <a:close/>
                <a:moveTo>
                  <a:pt x="707" y="1636"/>
                </a:moveTo>
                <a:cubicBezTo>
                  <a:pt x="707" y="1640"/>
                  <a:pt x="707" y="1640"/>
                  <a:pt x="707" y="1640"/>
                </a:cubicBezTo>
                <a:cubicBezTo>
                  <a:pt x="718" y="1644"/>
                  <a:pt x="718" y="1644"/>
                  <a:pt x="718" y="1644"/>
                </a:cubicBezTo>
                <a:cubicBezTo>
                  <a:pt x="718" y="1644"/>
                  <a:pt x="723" y="1638"/>
                  <a:pt x="707" y="1636"/>
                </a:cubicBezTo>
                <a:close/>
              </a:path>
            </a:pathLst>
          </a:custGeom>
          <a:solidFill>
            <a:schemeClr val="bg1">
              <a:lumMod val="65000"/>
            </a:schemeClr>
          </a:solidFill>
          <a:ln w="12700" cap="flat" cmpd="sng">
            <a:solidFill>
              <a:schemeClr val="bg1"/>
            </a:solidFill>
            <a:prstDash val="solid"/>
            <a:miter lim="800000"/>
            <a:headEnd type="none" w="med" len="med"/>
            <a:tailEnd type="none" w="med" len="med"/>
          </a:ln>
          <a:effectLst>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a:p>
        </p:txBody>
      </p:sp>
      <p:grpSp>
        <p:nvGrpSpPr>
          <p:cNvPr id="40" name="Gruppieren 137"/>
          <p:cNvGrpSpPr/>
          <p:nvPr/>
        </p:nvGrpSpPr>
        <p:grpSpPr>
          <a:xfrm>
            <a:off x="2349190" y="1011936"/>
            <a:ext cx="347663" cy="338138"/>
            <a:chOff x="203518" y="4378643"/>
            <a:chExt cx="347663" cy="338138"/>
          </a:xfrm>
        </p:grpSpPr>
        <p:pic>
          <p:nvPicPr>
            <p:cNvPr id="41" name="Grafik 40" descr="schatten.png"/>
            <p:cNvPicPr>
              <a:picLocks noChangeAspect="1"/>
            </p:cNvPicPr>
            <p:nvPr/>
          </p:nvPicPr>
          <p:blipFill>
            <a:blip r:embed="rId3" cstate="print">
              <a:lum bright="30000"/>
            </a:blip>
            <a:srcRect l="17603" t="9404" r="15359" b="14528"/>
            <a:stretch>
              <a:fillRect/>
            </a:stretch>
          </p:blipFill>
          <p:spPr>
            <a:xfrm>
              <a:off x="203518" y="4378643"/>
              <a:ext cx="347663" cy="338138"/>
            </a:xfrm>
            <a:prstGeom prst="rect">
              <a:avLst/>
            </a:prstGeom>
          </p:spPr>
        </p:pic>
        <p:sp>
          <p:nvSpPr>
            <p:cNvPr id="42"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43" name="Gruppieren 140"/>
          <p:cNvGrpSpPr/>
          <p:nvPr/>
        </p:nvGrpSpPr>
        <p:grpSpPr>
          <a:xfrm>
            <a:off x="3430878" y="2053455"/>
            <a:ext cx="347663" cy="338138"/>
            <a:chOff x="203518" y="4966018"/>
            <a:chExt cx="347663" cy="338138"/>
          </a:xfrm>
        </p:grpSpPr>
        <p:pic>
          <p:nvPicPr>
            <p:cNvPr id="44" name="Grafik 43" descr="schatten.png"/>
            <p:cNvPicPr>
              <a:picLocks noChangeAspect="1"/>
            </p:cNvPicPr>
            <p:nvPr/>
          </p:nvPicPr>
          <p:blipFill>
            <a:blip r:embed="rId3" cstate="print">
              <a:lum bright="30000"/>
            </a:blip>
            <a:srcRect l="17603" t="9404" r="15359" b="14528"/>
            <a:stretch>
              <a:fillRect/>
            </a:stretch>
          </p:blipFill>
          <p:spPr>
            <a:xfrm>
              <a:off x="203518" y="4966018"/>
              <a:ext cx="347663" cy="338138"/>
            </a:xfrm>
            <a:prstGeom prst="rect">
              <a:avLst/>
            </a:prstGeom>
          </p:spPr>
        </p:pic>
        <p:sp>
          <p:nvSpPr>
            <p:cNvPr id="45"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49" name="Gruppieren 111"/>
          <p:cNvGrpSpPr/>
          <p:nvPr/>
        </p:nvGrpSpPr>
        <p:grpSpPr>
          <a:xfrm>
            <a:off x="203518" y="4966018"/>
            <a:ext cx="347663" cy="338138"/>
            <a:chOff x="203518" y="4966018"/>
            <a:chExt cx="347663" cy="338138"/>
          </a:xfrm>
        </p:grpSpPr>
        <p:pic>
          <p:nvPicPr>
            <p:cNvPr id="50" name="Grafik 49" descr="schatten.png"/>
            <p:cNvPicPr>
              <a:picLocks noChangeAspect="1"/>
            </p:cNvPicPr>
            <p:nvPr/>
          </p:nvPicPr>
          <p:blipFill>
            <a:blip r:embed="rId3" cstate="print">
              <a:lum bright="30000"/>
            </a:blip>
            <a:srcRect l="17603" t="9404" r="15359" b="14528"/>
            <a:stretch>
              <a:fillRect/>
            </a:stretch>
          </p:blipFill>
          <p:spPr>
            <a:xfrm>
              <a:off x="203518" y="4966018"/>
              <a:ext cx="347663" cy="338138"/>
            </a:xfrm>
            <a:prstGeom prst="rect">
              <a:avLst/>
            </a:prstGeom>
          </p:spPr>
        </p:pic>
        <p:sp>
          <p:nvSpPr>
            <p:cNvPr id="51"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smtClean="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52" name="Gruppieren 115"/>
          <p:cNvGrpSpPr/>
          <p:nvPr/>
        </p:nvGrpSpPr>
        <p:grpSpPr>
          <a:xfrm>
            <a:off x="203518" y="5530850"/>
            <a:ext cx="347663" cy="338138"/>
            <a:chOff x="203518" y="5554980"/>
            <a:chExt cx="347663" cy="338138"/>
          </a:xfrm>
        </p:grpSpPr>
        <p:pic>
          <p:nvPicPr>
            <p:cNvPr id="53" name="Grafik 52" descr="schatten.png"/>
            <p:cNvPicPr>
              <a:picLocks noChangeAspect="1"/>
            </p:cNvPicPr>
            <p:nvPr/>
          </p:nvPicPr>
          <p:blipFill>
            <a:blip r:embed="rId3" cstate="print">
              <a:lum bright="30000"/>
            </a:blip>
            <a:srcRect l="17603" t="9404" r="15359" b="14528"/>
            <a:stretch>
              <a:fillRect/>
            </a:stretch>
          </p:blipFill>
          <p:spPr>
            <a:xfrm>
              <a:off x="203518" y="5554980"/>
              <a:ext cx="347663" cy="338138"/>
            </a:xfrm>
            <a:prstGeom prst="rect">
              <a:avLst/>
            </a:prstGeom>
          </p:spPr>
        </p:pic>
        <p:sp>
          <p:nvSpPr>
            <p:cNvPr id="54"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smtClean="0">
                  <a:solidFill>
                    <a:schemeClr val="bg1"/>
                  </a:solidFill>
                  <a:latin typeface="Myriad Pro" pitchFamily="34" charset="0"/>
                </a:rPr>
                <a:t>3</a:t>
              </a:r>
              <a:endParaRPr lang="de-DE" sz="1600" b="1" noProof="1">
                <a:solidFill>
                  <a:schemeClr val="bg1"/>
                </a:solidFill>
                <a:latin typeface="Myriad Pro" pitchFamily="34" charset="0"/>
              </a:endParaRPr>
            </a:p>
          </p:txBody>
        </p:sp>
      </p:grpSp>
      <p:sp>
        <p:nvSpPr>
          <p:cNvPr id="55" name="Rectangle 5"/>
          <p:cNvSpPr>
            <a:spLocks noChangeArrowheads="1"/>
          </p:cNvSpPr>
          <p:nvPr/>
        </p:nvSpPr>
        <p:spPr bwMode="gray">
          <a:xfrm>
            <a:off x="639763" y="4966018"/>
            <a:ext cx="8251825" cy="422275"/>
          </a:xfrm>
          <a:prstGeom prst="rect">
            <a:avLst/>
          </a:prstGeom>
          <a:noFill/>
          <a:ln w="12700">
            <a:noFill/>
            <a:miter lim="800000"/>
            <a:headEnd/>
            <a:tailEnd/>
          </a:ln>
        </p:spPr>
        <p:txBody>
          <a:bodyPr lIns="0" tIns="0" rIns="0" bIns="0"/>
          <a:lstStyle/>
          <a:p>
            <a:r>
              <a:rPr lang="en-US" sz="1200" dirty="0" smtClean="0">
                <a:solidFill>
                  <a:srgbClr val="000000"/>
                </a:solidFill>
                <a:latin typeface="Myriad Pro" pitchFamily="34" charset="0"/>
                <a:ea typeface="Arial Unicode MS" pitchFamily="34" charset="-128"/>
                <a:cs typeface="Arial" charset="0"/>
              </a:rPr>
              <a:t>Um </a:t>
            </a:r>
            <a:r>
              <a:rPr lang="en-US" sz="1200" dirty="0" err="1" smtClean="0">
                <a:solidFill>
                  <a:srgbClr val="000000"/>
                </a:solidFill>
                <a:latin typeface="Myriad Pro" pitchFamily="34" charset="0"/>
                <a:ea typeface="Arial Unicode MS" pitchFamily="34" charset="-128"/>
                <a:cs typeface="Arial" charset="0"/>
              </a:rPr>
              <a:t>ein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chatteneffekt</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zu</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erstell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wähl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unter</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dem</a:t>
            </a:r>
            <a:r>
              <a:rPr lang="en-US" sz="1200" dirty="0" smtClean="0">
                <a:solidFill>
                  <a:srgbClr val="000000"/>
                </a:solidFill>
                <a:latin typeface="Myriad Pro" pitchFamily="34" charset="0"/>
                <a:ea typeface="Arial Unicode MS" pitchFamily="34" charset="-128"/>
                <a:cs typeface="Arial" charset="0"/>
              </a:rPr>
              <a:t> Reiter “Format” den </a:t>
            </a:r>
            <a:r>
              <a:rPr lang="en-US" sz="1200" dirty="0" err="1" smtClean="0">
                <a:solidFill>
                  <a:srgbClr val="000000"/>
                </a:solidFill>
                <a:latin typeface="Myriad Pro" pitchFamily="34" charset="0"/>
                <a:ea typeface="Arial Unicode MS" pitchFamily="34" charset="-128"/>
                <a:cs typeface="Arial" charset="0"/>
              </a:rPr>
              <a:t>Punkt</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Formeffekte</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aus</a:t>
            </a:r>
            <a:r>
              <a:rPr lang="en-US" sz="1200" dirty="0" smtClean="0">
                <a:solidFill>
                  <a:srgbClr val="000000"/>
                </a:solidFill>
                <a:latin typeface="Myriad Pro" pitchFamily="34" charset="0"/>
                <a:ea typeface="Arial Unicode MS" pitchFamily="34" charset="-128"/>
                <a:cs typeface="Arial" charset="0"/>
              </a:rPr>
              <a:t>.</a:t>
            </a:r>
            <a:endParaRPr lang="en-US" dirty="0">
              <a:solidFill>
                <a:srgbClr val="000000"/>
              </a:solidFill>
              <a:ea typeface="Arial Unicode MS" pitchFamily="34" charset="-128"/>
              <a:cs typeface="Arial" charset="0"/>
            </a:endParaRPr>
          </a:p>
        </p:txBody>
      </p:sp>
      <p:sp>
        <p:nvSpPr>
          <p:cNvPr id="56" name="Rectangle 5"/>
          <p:cNvSpPr>
            <a:spLocks noChangeArrowheads="1"/>
          </p:cNvSpPr>
          <p:nvPr/>
        </p:nvSpPr>
        <p:spPr bwMode="gray">
          <a:xfrm>
            <a:off x="639763" y="5530850"/>
            <a:ext cx="8251825" cy="423863"/>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Anschließend können Sie unter dem Punkt „Schatten“ verschiedene Varianten auswählen.</a:t>
            </a:r>
          </a:p>
          <a:p>
            <a:endParaRPr lang="en-US" sz="1200" dirty="0">
              <a:solidFill>
                <a:srgbClr val="000000"/>
              </a:solidFill>
              <a:latin typeface="Myriad Pro" pitchFamily="34" charset="0"/>
              <a:ea typeface="Arial Unicode MS" pitchFamily="34" charset="-128"/>
              <a:cs typeface="Arial" charset="0"/>
            </a:endParaRPr>
          </a:p>
        </p:txBody>
      </p:sp>
      <p:sp>
        <p:nvSpPr>
          <p:cNvPr id="57" name="Rectangle 5"/>
          <p:cNvSpPr>
            <a:spLocks noChangeArrowheads="1"/>
          </p:cNvSpPr>
          <p:nvPr/>
        </p:nvSpPr>
        <p:spPr bwMode="gray">
          <a:xfrm>
            <a:off x="639763" y="4378643"/>
            <a:ext cx="8251825" cy="423863"/>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Klicken Sie zunächst mit der linken Maustaste auf die Karte.</a:t>
            </a:r>
            <a:endParaRPr lang="en-US" sz="1200" dirty="0" smtClean="0">
              <a:latin typeface="Myriad Pro" pitchFamily="34" charset="0"/>
              <a:ea typeface="Arial Unicode MS" pitchFamily="34" charset="-128"/>
              <a:cs typeface="Arial" charset="0"/>
            </a:endParaRPr>
          </a:p>
        </p:txBody>
      </p:sp>
      <p:grpSp>
        <p:nvGrpSpPr>
          <p:cNvPr id="58" name="Gruppieren 108"/>
          <p:cNvGrpSpPr/>
          <p:nvPr/>
        </p:nvGrpSpPr>
        <p:grpSpPr>
          <a:xfrm>
            <a:off x="203518" y="4378643"/>
            <a:ext cx="347663" cy="338138"/>
            <a:chOff x="203518" y="4378643"/>
            <a:chExt cx="347663" cy="338138"/>
          </a:xfrm>
        </p:grpSpPr>
        <p:pic>
          <p:nvPicPr>
            <p:cNvPr id="59" name="Grafik 58" descr="schatten.png"/>
            <p:cNvPicPr>
              <a:picLocks noChangeAspect="1"/>
            </p:cNvPicPr>
            <p:nvPr/>
          </p:nvPicPr>
          <p:blipFill>
            <a:blip r:embed="rId3" cstate="print">
              <a:lum bright="30000"/>
            </a:blip>
            <a:srcRect l="17603" t="9404" r="15359" b="14528"/>
            <a:stretch>
              <a:fillRect/>
            </a:stretch>
          </p:blipFill>
          <p:spPr>
            <a:xfrm>
              <a:off x="203518" y="4378643"/>
              <a:ext cx="347663" cy="338138"/>
            </a:xfrm>
            <a:prstGeom prst="rect">
              <a:avLst/>
            </a:prstGeom>
          </p:spPr>
        </p:pic>
        <p:sp>
          <p:nvSpPr>
            <p:cNvPr id="60"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smtClean="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61" name="Freeform 273"/>
          <p:cNvSpPr>
            <a:spLocks noEditPoints="1"/>
          </p:cNvSpPr>
          <p:nvPr/>
        </p:nvSpPr>
        <p:spPr bwMode="auto">
          <a:xfrm>
            <a:off x="6302700" y="1133474"/>
            <a:ext cx="2588888" cy="3083383"/>
          </a:xfrm>
          <a:custGeom>
            <a:avLst/>
            <a:gdLst>
              <a:gd name="T0" fmla="*/ 2147483647 w 1562"/>
              <a:gd name="T1" fmla="*/ 2147483647 h 1861"/>
              <a:gd name="T2" fmla="*/ 2147483647 w 1562"/>
              <a:gd name="T3" fmla="*/ 2147483647 h 1861"/>
              <a:gd name="T4" fmla="*/ 2147483647 w 1562"/>
              <a:gd name="T5" fmla="*/ 2147483647 h 1861"/>
              <a:gd name="T6" fmla="*/ 2147483647 w 1562"/>
              <a:gd name="T7" fmla="*/ 2147483647 h 1861"/>
              <a:gd name="T8" fmla="*/ 2147483647 w 1562"/>
              <a:gd name="T9" fmla="*/ 2147483647 h 1861"/>
              <a:gd name="T10" fmla="*/ 2147483647 w 1562"/>
              <a:gd name="T11" fmla="*/ 2147483647 h 1861"/>
              <a:gd name="T12" fmla="*/ 2147483647 w 1562"/>
              <a:gd name="T13" fmla="*/ 2147483647 h 1861"/>
              <a:gd name="T14" fmla="*/ 2147483647 w 1562"/>
              <a:gd name="T15" fmla="*/ 2147483647 h 1861"/>
              <a:gd name="T16" fmla="*/ 2147483647 w 1562"/>
              <a:gd name="T17" fmla="*/ 2147483647 h 1861"/>
              <a:gd name="T18" fmla="*/ 2147483647 w 1562"/>
              <a:gd name="T19" fmla="*/ 2147483647 h 1861"/>
              <a:gd name="T20" fmla="*/ 2147483647 w 1562"/>
              <a:gd name="T21" fmla="*/ 2147483647 h 1861"/>
              <a:gd name="T22" fmla="*/ 2147483647 w 1562"/>
              <a:gd name="T23" fmla="*/ 2147483647 h 1861"/>
              <a:gd name="T24" fmla="*/ 2147483647 w 1562"/>
              <a:gd name="T25" fmla="*/ 2147483647 h 1861"/>
              <a:gd name="T26" fmla="*/ 2147483647 w 1562"/>
              <a:gd name="T27" fmla="*/ 2147483647 h 1861"/>
              <a:gd name="T28" fmla="*/ 2147483647 w 1562"/>
              <a:gd name="T29" fmla="*/ 2147483647 h 1861"/>
              <a:gd name="T30" fmla="*/ 2147483647 w 1562"/>
              <a:gd name="T31" fmla="*/ 2147483647 h 1861"/>
              <a:gd name="T32" fmla="*/ 2147483647 w 1562"/>
              <a:gd name="T33" fmla="*/ 2147483647 h 1861"/>
              <a:gd name="T34" fmla="*/ 2147483647 w 1562"/>
              <a:gd name="T35" fmla="*/ 2147483647 h 1861"/>
              <a:gd name="T36" fmla="*/ 2147483647 w 1562"/>
              <a:gd name="T37" fmla="*/ 2147483647 h 1861"/>
              <a:gd name="T38" fmla="*/ 2147483647 w 1562"/>
              <a:gd name="T39" fmla="*/ 2147483647 h 1861"/>
              <a:gd name="T40" fmla="*/ 2147483647 w 1562"/>
              <a:gd name="T41" fmla="*/ 2147483647 h 1861"/>
              <a:gd name="T42" fmla="*/ 2147483647 w 1562"/>
              <a:gd name="T43" fmla="*/ 2147483647 h 1861"/>
              <a:gd name="T44" fmla="*/ 2147483647 w 1562"/>
              <a:gd name="T45" fmla="*/ 2147483647 h 1861"/>
              <a:gd name="T46" fmla="*/ 2147483647 w 1562"/>
              <a:gd name="T47" fmla="*/ 2147483647 h 1861"/>
              <a:gd name="T48" fmla="*/ 2147483647 w 1562"/>
              <a:gd name="T49" fmla="*/ 2147483647 h 1861"/>
              <a:gd name="T50" fmla="*/ 2147483647 w 1562"/>
              <a:gd name="T51" fmla="*/ 2147483647 h 1861"/>
              <a:gd name="T52" fmla="*/ 2147483647 w 1562"/>
              <a:gd name="T53" fmla="*/ 2147483647 h 1861"/>
              <a:gd name="T54" fmla="*/ 2147483647 w 1562"/>
              <a:gd name="T55" fmla="*/ 2147483647 h 1861"/>
              <a:gd name="T56" fmla="*/ 2147483647 w 1562"/>
              <a:gd name="T57" fmla="*/ 2147483647 h 1861"/>
              <a:gd name="T58" fmla="*/ 2147483647 w 1562"/>
              <a:gd name="T59" fmla="*/ 2147483647 h 1861"/>
              <a:gd name="T60" fmla="*/ 2147483647 w 1562"/>
              <a:gd name="T61" fmla="*/ 2147483647 h 1861"/>
              <a:gd name="T62" fmla="*/ 2147483647 w 1562"/>
              <a:gd name="T63" fmla="*/ 2147483647 h 1861"/>
              <a:gd name="T64" fmla="*/ 2147483647 w 1562"/>
              <a:gd name="T65" fmla="*/ 2147483647 h 1861"/>
              <a:gd name="T66" fmla="*/ 2147483647 w 1562"/>
              <a:gd name="T67" fmla="*/ 2147483647 h 1861"/>
              <a:gd name="T68" fmla="*/ 2147483647 w 1562"/>
              <a:gd name="T69" fmla="*/ 2147483647 h 1861"/>
              <a:gd name="T70" fmla="*/ 2147483647 w 1562"/>
              <a:gd name="T71" fmla="*/ 2147483647 h 1861"/>
              <a:gd name="T72" fmla="*/ 2147483647 w 1562"/>
              <a:gd name="T73" fmla="*/ 2147483647 h 1861"/>
              <a:gd name="T74" fmla="*/ 2147483647 w 1562"/>
              <a:gd name="T75" fmla="*/ 2147483647 h 1861"/>
              <a:gd name="T76" fmla="*/ 2147483647 w 1562"/>
              <a:gd name="T77" fmla="*/ 2147483647 h 1861"/>
              <a:gd name="T78" fmla="*/ 2147483647 w 1562"/>
              <a:gd name="T79" fmla="*/ 2147483647 h 1861"/>
              <a:gd name="T80" fmla="*/ 2147483647 w 1562"/>
              <a:gd name="T81" fmla="*/ 2147483647 h 1861"/>
              <a:gd name="T82" fmla="*/ 2147483647 w 1562"/>
              <a:gd name="T83" fmla="*/ 2147483647 h 1861"/>
              <a:gd name="T84" fmla="*/ 2147483647 w 1562"/>
              <a:gd name="T85" fmla="*/ 2147483647 h 1861"/>
              <a:gd name="T86" fmla="*/ 2147483647 w 1562"/>
              <a:gd name="T87" fmla="*/ 2147483647 h 1861"/>
              <a:gd name="T88" fmla="*/ 2147483647 w 1562"/>
              <a:gd name="T89" fmla="*/ 2147483647 h 1861"/>
              <a:gd name="T90" fmla="*/ 2147483647 w 1562"/>
              <a:gd name="T91" fmla="*/ 2147483647 h 1861"/>
              <a:gd name="T92" fmla="*/ 2147483647 w 1562"/>
              <a:gd name="T93" fmla="*/ 2147483647 h 1861"/>
              <a:gd name="T94" fmla="*/ 2147483647 w 1562"/>
              <a:gd name="T95" fmla="*/ 2147483647 h 1861"/>
              <a:gd name="T96" fmla="*/ 2147483647 w 1562"/>
              <a:gd name="T97" fmla="*/ 2147483647 h 1861"/>
              <a:gd name="T98" fmla="*/ 2147483647 w 1562"/>
              <a:gd name="T99" fmla="*/ 2147483647 h 1861"/>
              <a:gd name="T100" fmla="*/ 2147483647 w 1562"/>
              <a:gd name="T101" fmla="*/ 2147483647 h 1861"/>
              <a:gd name="T102" fmla="*/ 2147483647 w 1562"/>
              <a:gd name="T103" fmla="*/ 2147483647 h 1861"/>
              <a:gd name="T104" fmla="*/ 2147483647 w 1562"/>
              <a:gd name="T105" fmla="*/ 2147483647 h 1861"/>
              <a:gd name="T106" fmla="*/ 2147483647 w 1562"/>
              <a:gd name="T107" fmla="*/ 2147483647 h 1861"/>
              <a:gd name="T108" fmla="*/ 2147483647 w 1562"/>
              <a:gd name="T109" fmla="*/ 2147483647 h 1861"/>
              <a:gd name="T110" fmla="*/ 2147483647 w 1562"/>
              <a:gd name="T111" fmla="*/ 2147483647 h 1861"/>
              <a:gd name="T112" fmla="*/ 2147483647 w 1562"/>
              <a:gd name="T113" fmla="*/ 2147483647 h 1861"/>
              <a:gd name="T114" fmla="*/ 2147483647 w 1562"/>
              <a:gd name="T115" fmla="*/ 2147483647 h 1861"/>
              <a:gd name="T116" fmla="*/ 2147483647 w 1562"/>
              <a:gd name="T117" fmla="*/ 2147483647 h 1861"/>
              <a:gd name="T118" fmla="*/ 2147483647 w 1562"/>
              <a:gd name="T119" fmla="*/ 2147483647 h 1861"/>
              <a:gd name="T120" fmla="*/ 2147483647 w 1562"/>
              <a:gd name="T121" fmla="*/ 2147483647 h 1861"/>
              <a:gd name="T122" fmla="*/ 2147483647 w 1562"/>
              <a:gd name="T123" fmla="*/ 2147483647 h 18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62"/>
              <a:gd name="T187" fmla="*/ 0 h 1861"/>
              <a:gd name="T188" fmla="*/ 1562 w 1562"/>
              <a:gd name="T189" fmla="*/ 1861 h 18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62" h="1861">
                <a:moveTo>
                  <a:pt x="320" y="1025"/>
                </a:moveTo>
                <a:cubicBezTo>
                  <a:pt x="320" y="1025"/>
                  <a:pt x="318" y="1030"/>
                  <a:pt x="319" y="1030"/>
                </a:cubicBezTo>
                <a:cubicBezTo>
                  <a:pt x="321" y="1030"/>
                  <a:pt x="324" y="1025"/>
                  <a:pt x="320" y="1025"/>
                </a:cubicBezTo>
                <a:close/>
                <a:moveTo>
                  <a:pt x="331" y="1051"/>
                </a:moveTo>
                <a:cubicBezTo>
                  <a:pt x="333" y="1044"/>
                  <a:pt x="333" y="1044"/>
                  <a:pt x="333" y="1044"/>
                </a:cubicBezTo>
                <a:cubicBezTo>
                  <a:pt x="333" y="1038"/>
                  <a:pt x="333" y="1038"/>
                  <a:pt x="333" y="1038"/>
                </a:cubicBezTo>
                <a:cubicBezTo>
                  <a:pt x="322" y="1050"/>
                  <a:pt x="331" y="1051"/>
                  <a:pt x="331" y="1051"/>
                </a:cubicBezTo>
                <a:close/>
                <a:moveTo>
                  <a:pt x="317" y="1039"/>
                </a:moveTo>
                <a:cubicBezTo>
                  <a:pt x="319" y="1037"/>
                  <a:pt x="314" y="1034"/>
                  <a:pt x="314" y="1034"/>
                </a:cubicBezTo>
                <a:cubicBezTo>
                  <a:pt x="311" y="1039"/>
                  <a:pt x="314" y="1041"/>
                  <a:pt x="317" y="1039"/>
                </a:cubicBezTo>
                <a:close/>
                <a:moveTo>
                  <a:pt x="324" y="1044"/>
                </a:moveTo>
                <a:cubicBezTo>
                  <a:pt x="325" y="1045"/>
                  <a:pt x="328" y="1042"/>
                  <a:pt x="328" y="1039"/>
                </a:cubicBezTo>
                <a:cubicBezTo>
                  <a:pt x="328" y="1036"/>
                  <a:pt x="325" y="1033"/>
                  <a:pt x="325" y="1033"/>
                </a:cubicBezTo>
                <a:cubicBezTo>
                  <a:pt x="320" y="1033"/>
                  <a:pt x="322" y="1044"/>
                  <a:pt x="324" y="1044"/>
                </a:cubicBezTo>
                <a:close/>
                <a:moveTo>
                  <a:pt x="179" y="1053"/>
                </a:moveTo>
                <a:cubicBezTo>
                  <a:pt x="173" y="1050"/>
                  <a:pt x="169" y="1064"/>
                  <a:pt x="178" y="1065"/>
                </a:cubicBezTo>
                <a:cubicBezTo>
                  <a:pt x="178" y="1065"/>
                  <a:pt x="185" y="1055"/>
                  <a:pt x="179" y="1053"/>
                </a:cubicBezTo>
                <a:close/>
                <a:moveTo>
                  <a:pt x="146" y="1404"/>
                </a:moveTo>
                <a:cubicBezTo>
                  <a:pt x="146" y="1406"/>
                  <a:pt x="151" y="1409"/>
                  <a:pt x="151" y="1409"/>
                </a:cubicBezTo>
                <a:cubicBezTo>
                  <a:pt x="151" y="1409"/>
                  <a:pt x="147" y="1413"/>
                  <a:pt x="152" y="1413"/>
                </a:cubicBezTo>
                <a:cubicBezTo>
                  <a:pt x="157" y="1413"/>
                  <a:pt x="161" y="1406"/>
                  <a:pt x="159" y="1403"/>
                </a:cubicBezTo>
                <a:cubicBezTo>
                  <a:pt x="156" y="1400"/>
                  <a:pt x="147" y="1400"/>
                  <a:pt x="146" y="1404"/>
                </a:cubicBezTo>
                <a:close/>
                <a:moveTo>
                  <a:pt x="165" y="1414"/>
                </a:moveTo>
                <a:cubicBezTo>
                  <a:pt x="163" y="1420"/>
                  <a:pt x="168" y="1440"/>
                  <a:pt x="172" y="1440"/>
                </a:cubicBezTo>
                <a:cubicBezTo>
                  <a:pt x="175" y="1440"/>
                  <a:pt x="181" y="1423"/>
                  <a:pt x="181" y="1423"/>
                </a:cubicBezTo>
                <a:cubicBezTo>
                  <a:pt x="175" y="1416"/>
                  <a:pt x="175" y="1416"/>
                  <a:pt x="175" y="1416"/>
                </a:cubicBezTo>
                <a:lnTo>
                  <a:pt x="165" y="1414"/>
                </a:lnTo>
                <a:close/>
                <a:moveTo>
                  <a:pt x="169" y="1075"/>
                </a:moveTo>
                <a:cubicBezTo>
                  <a:pt x="165" y="1067"/>
                  <a:pt x="165" y="1067"/>
                  <a:pt x="165" y="1067"/>
                </a:cubicBezTo>
                <a:cubicBezTo>
                  <a:pt x="162" y="1085"/>
                  <a:pt x="169" y="1075"/>
                  <a:pt x="169" y="1075"/>
                </a:cubicBezTo>
                <a:close/>
                <a:moveTo>
                  <a:pt x="402" y="653"/>
                </a:moveTo>
                <a:cubicBezTo>
                  <a:pt x="407" y="652"/>
                  <a:pt x="402" y="646"/>
                  <a:pt x="402" y="646"/>
                </a:cubicBezTo>
                <a:cubicBezTo>
                  <a:pt x="402" y="646"/>
                  <a:pt x="397" y="653"/>
                  <a:pt x="402" y="653"/>
                </a:cubicBezTo>
                <a:close/>
                <a:moveTo>
                  <a:pt x="420" y="801"/>
                </a:moveTo>
                <a:cubicBezTo>
                  <a:pt x="416" y="801"/>
                  <a:pt x="416" y="801"/>
                  <a:pt x="416" y="801"/>
                </a:cubicBezTo>
                <a:cubicBezTo>
                  <a:pt x="416" y="801"/>
                  <a:pt x="419" y="803"/>
                  <a:pt x="422" y="803"/>
                </a:cubicBezTo>
                <a:cubicBezTo>
                  <a:pt x="425" y="803"/>
                  <a:pt x="422" y="797"/>
                  <a:pt x="422" y="797"/>
                </a:cubicBezTo>
                <a:lnTo>
                  <a:pt x="420" y="801"/>
                </a:lnTo>
                <a:close/>
                <a:moveTo>
                  <a:pt x="526" y="839"/>
                </a:moveTo>
                <a:cubicBezTo>
                  <a:pt x="523" y="844"/>
                  <a:pt x="523" y="844"/>
                  <a:pt x="523" y="844"/>
                </a:cubicBezTo>
                <a:cubicBezTo>
                  <a:pt x="531" y="852"/>
                  <a:pt x="531" y="852"/>
                  <a:pt x="531" y="852"/>
                </a:cubicBezTo>
                <a:cubicBezTo>
                  <a:pt x="531" y="847"/>
                  <a:pt x="531" y="847"/>
                  <a:pt x="531" y="847"/>
                </a:cubicBezTo>
                <a:cubicBezTo>
                  <a:pt x="531" y="847"/>
                  <a:pt x="536" y="842"/>
                  <a:pt x="526" y="839"/>
                </a:cubicBezTo>
                <a:close/>
                <a:moveTo>
                  <a:pt x="448" y="844"/>
                </a:moveTo>
                <a:cubicBezTo>
                  <a:pt x="448" y="849"/>
                  <a:pt x="448" y="849"/>
                  <a:pt x="448" y="849"/>
                </a:cubicBezTo>
                <a:cubicBezTo>
                  <a:pt x="453" y="849"/>
                  <a:pt x="453" y="849"/>
                  <a:pt x="453" y="849"/>
                </a:cubicBezTo>
                <a:cubicBezTo>
                  <a:pt x="451" y="843"/>
                  <a:pt x="451" y="843"/>
                  <a:pt x="451" y="843"/>
                </a:cubicBezTo>
                <a:lnTo>
                  <a:pt x="448" y="844"/>
                </a:lnTo>
                <a:close/>
                <a:moveTo>
                  <a:pt x="386" y="717"/>
                </a:moveTo>
                <a:cubicBezTo>
                  <a:pt x="386" y="725"/>
                  <a:pt x="386" y="725"/>
                  <a:pt x="386" y="725"/>
                </a:cubicBezTo>
                <a:cubicBezTo>
                  <a:pt x="395" y="721"/>
                  <a:pt x="395" y="721"/>
                  <a:pt x="395" y="721"/>
                </a:cubicBezTo>
                <a:cubicBezTo>
                  <a:pt x="392" y="713"/>
                  <a:pt x="392" y="713"/>
                  <a:pt x="392" y="713"/>
                </a:cubicBezTo>
                <a:cubicBezTo>
                  <a:pt x="393" y="719"/>
                  <a:pt x="386" y="717"/>
                  <a:pt x="386" y="717"/>
                </a:cubicBezTo>
                <a:close/>
                <a:moveTo>
                  <a:pt x="972" y="1165"/>
                </a:moveTo>
                <a:cubicBezTo>
                  <a:pt x="971" y="1169"/>
                  <a:pt x="971" y="1169"/>
                  <a:pt x="971" y="1169"/>
                </a:cubicBezTo>
                <a:cubicBezTo>
                  <a:pt x="971" y="1169"/>
                  <a:pt x="981" y="1168"/>
                  <a:pt x="981" y="1164"/>
                </a:cubicBezTo>
                <a:cubicBezTo>
                  <a:pt x="981" y="1159"/>
                  <a:pt x="972" y="1165"/>
                  <a:pt x="972" y="1165"/>
                </a:cubicBezTo>
                <a:close/>
                <a:moveTo>
                  <a:pt x="466" y="749"/>
                </a:moveTo>
                <a:cubicBezTo>
                  <a:pt x="458" y="760"/>
                  <a:pt x="458" y="760"/>
                  <a:pt x="458" y="760"/>
                </a:cubicBezTo>
                <a:cubicBezTo>
                  <a:pt x="458" y="760"/>
                  <a:pt x="454" y="759"/>
                  <a:pt x="450" y="759"/>
                </a:cubicBezTo>
                <a:cubicBezTo>
                  <a:pt x="445" y="759"/>
                  <a:pt x="443" y="764"/>
                  <a:pt x="443" y="764"/>
                </a:cubicBezTo>
                <a:cubicBezTo>
                  <a:pt x="443" y="764"/>
                  <a:pt x="440" y="761"/>
                  <a:pt x="430" y="760"/>
                </a:cubicBezTo>
                <a:cubicBezTo>
                  <a:pt x="426" y="765"/>
                  <a:pt x="426" y="765"/>
                  <a:pt x="426" y="765"/>
                </a:cubicBezTo>
                <a:cubicBezTo>
                  <a:pt x="426" y="765"/>
                  <a:pt x="427" y="771"/>
                  <a:pt x="429" y="775"/>
                </a:cubicBezTo>
                <a:cubicBezTo>
                  <a:pt x="431" y="778"/>
                  <a:pt x="443" y="776"/>
                  <a:pt x="443" y="776"/>
                </a:cubicBezTo>
                <a:cubicBezTo>
                  <a:pt x="444" y="773"/>
                  <a:pt x="444" y="773"/>
                  <a:pt x="444" y="773"/>
                </a:cubicBezTo>
                <a:cubicBezTo>
                  <a:pt x="453" y="774"/>
                  <a:pt x="453" y="774"/>
                  <a:pt x="453" y="774"/>
                </a:cubicBezTo>
                <a:cubicBezTo>
                  <a:pt x="454" y="770"/>
                  <a:pt x="454" y="770"/>
                  <a:pt x="454" y="770"/>
                </a:cubicBezTo>
                <a:cubicBezTo>
                  <a:pt x="454" y="770"/>
                  <a:pt x="459" y="776"/>
                  <a:pt x="462" y="779"/>
                </a:cubicBezTo>
                <a:cubicBezTo>
                  <a:pt x="464" y="781"/>
                  <a:pt x="469" y="779"/>
                  <a:pt x="469" y="779"/>
                </a:cubicBezTo>
                <a:cubicBezTo>
                  <a:pt x="469" y="774"/>
                  <a:pt x="469" y="774"/>
                  <a:pt x="469" y="774"/>
                </a:cubicBezTo>
                <a:cubicBezTo>
                  <a:pt x="463" y="768"/>
                  <a:pt x="463" y="768"/>
                  <a:pt x="463" y="768"/>
                </a:cubicBezTo>
                <a:cubicBezTo>
                  <a:pt x="469" y="768"/>
                  <a:pt x="469" y="768"/>
                  <a:pt x="469" y="768"/>
                </a:cubicBezTo>
                <a:cubicBezTo>
                  <a:pt x="472" y="756"/>
                  <a:pt x="472" y="756"/>
                  <a:pt x="472" y="756"/>
                </a:cubicBezTo>
                <a:cubicBezTo>
                  <a:pt x="470" y="754"/>
                  <a:pt x="470" y="754"/>
                  <a:pt x="470" y="754"/>
                </a:cubicBezTo>
                <a:lnTo>
                  <a:pt x="466" y="749"/>
                </a:lnTo>
                <a:close/>
                <a:moveTo>
                  <a:pt x="1562" y="1219"/>
                </a:moveTo>
                <a:cubicBezTo>
                  <a:pt x="1562" y="1213"/>
                  <a:pt x="1554" y="1204"/>
                  <a:pt x="1554" y="1204"/>
                </a:cubicBezTo>
                <a:cubicBezTo>
                  <a:pt x="1555" y="1192"/>
                  <a:pt x="1521" y="1163"/>
                  <a:pt x="1515" y="1160"/>
                </a:cubicBezTo>
                <a:cubicBezTo>
                  <a:pt x="1510" y="1156"/>
                  <a:pt x="1496" y="1150"/>
                  <a:pt x="1492" y="1141"/>
                </a:cubicBezTo>
                <a:cubicBezTo>
                  <a:pt x="1494" y="1126"/>
                  <a:pt x="1478" y="1129"/>
                  <a:pt x="1478" y="1129"/>
                </a:cubicBezTo>
                <a:cubicBezTo>
                  <a:pt x="1478" y="1123"/>
                  <a:pt x="1470" y="1122"/>
                  <a:pt x="1459" y="1121"/>
                </a:cubicBezTo>
                <a:cubicBezTo>
                  <a:pt x="1449" y="1112"/>
                  <a:pt x="1414" y="1103"/>
                  <a:pt x="1414" y="1103"/>
                </a:cubicBezTo>
                <a:cubicBezTo>
                  <a:pt x="1399" y="1088"/>
                  <a:pt x="1399" y="1088"/>
                  <a:pt x="1399" y="1088"/>
                </a:cubicBezTo>
                <a:cubicBezTo>
                  <a:pt x="1395" y="1089"/>
                  <a:pt x="1395" y="1089"/>
                  <a:pt x="1395" y="1089"/>
                </a:cubicBezTo>
                <a:cubicBezTo>
                  <a:pt x="1395" y="1089"/>
                  <a:pt x="1374" y="1072"/>
                  <a:pt x="1366" y="1066"/>
                </a:cubicBezTo>
                <a:cubicBezTo>
                  <a:pt x="1357" y="1060"/>
                  <a:pt x="1312" y="1048"/>
                  <a:pt x="1293" y="1041"/>
                </a:cubicBezTo>
                <a:cubicBezTo>
                  <a:pt x="1275" y="1033"/>
                  <a:pt x="1205" y="1000"/>
                  <a:pt x="1205" y="1000"/>
                </a:cubicBezTo>
                <a:cubicBezTo>
                  <a:pt x="1195" y="982"/>
                  <a:pt x="1195" y="982"/>
                  <a:pt x="1195" y="982"/>
                </a:cubicBezTo>
                <a:cubicBezTo>
                  <a:pt x="1195" y="982"/>
                  <a:pt x="1195" y="982"/>
                  <a:pt x="1195" y="982"/>
                </a:cubicBezTo>
                <a:cubicBezTo>
                  <a:pt x="1195" y="982"/>
                  <a:pt x="1195" y="982"/>
                  <a:pt x="1195" y="982"/>
                </a:cubicBezTo>
                <a:cubicBezTo>
                  <a:pt x="1195" y="982"/>
                  <a:pt x="1195" y="979"/>
                  <a:pt x="1196" y="969"/>
                </a:cubicBezTo>
                <a:cubicBezTo>
                  <a:pt x="1207" y="958"/>
                  <a:pt x="1231" y="940"/>
                  <a:pt x="1231" y="940"/>
                </a:cubicBezTo>
                <a:cubicBezTo>
                  <a:pt x="1228" y="921"/>
                  <a:pt x="1228" y="921"/>
                  <a:pt x="1228" y="921"/>
                </a:cubicBezTo>
                <a:cubicBezTo>
                  <a:pt x="1218" y="912"/>
                  <a:pt x="1218" y="912"/>
                  <a:pt x="1218" y="912"/>
                </a:cubicBezTo>
                <a:cubicBezTo>
                  <a:pt x="1218" y="912"/>
                  <a:pt x="1197" y="912"/>
                  <a:pt x="1180" y="916"/>
                </a:cubicBezTo>
                <a:cubicBezTo>
                  <a:pt x="1163" y="920"/>
                  <a:pt x="1155" y="916"/>
                  <a:pt x="1155" y="916"/>
                </a:cubicBezTo>
                <a:cubicBezTo>
                  <a:pt x="1123" y="922"/>
                  <a:pt x="1123" y="922"/>
                  <a:pt x="1123" y="922"/>
                </a:cubicBezTo>
                <a:cubicBezTo>
                  <a:pt x="1112" y="918"/>
                  <a:pt x="1112" y="918"/>
                  <a:pt x="1112" y="918"/>
                </a:cubicBezTo>
                <a:cubicBezTo>
                  <a:pt x="1093" y="917"/>
                  <a:pt x="1093" y="917"/>
                  <a:pt x="1093" y="917"/>
                </a:cubicBezTo>
                <a:cubicBezTo>
                  <a:pt x="1081" y="916"/>
                  <a:pt x="1081" y="916"/>
                  <a:pt x="1081" y="916"/>
                </a:cubicBezTo>
                <a:cubicBezTo>
                  <a:pt x="1081" y="916"/>
                  <a:pt x="1078" y="908"/>
                  <a:pt x="1072" y="905"/>
                </a:cubicBezTo>
                <a:cubicBezTo>
                  <a:pt x="1065" y="901"/>
                  <a:pt x="1059" y="901"/>
                  <a:pt x="1059" y="901"/>
                </a:cubicBezTo>
                <a:cubicBezTo>
                  <a:pt x="1042" y="894"/>
                  <a:pt x="1042" y="894"/>
                  <a:pt x="1042" y="894"/>
                </a:cubicBezTo>
                <a:cubicBezTo>
                  <a:pt x="1033" y="890"/>
                  <a:pt x="1033" y="890"/>
                  <a:pt x="1033" y="890"/>
                </a:cubicBezTo>
                <a:cubicBezTo>
                  <a:pt x="1033" y="876"/>
                  <a:pt x="1033" y="876"/>
                  <a:pt x="1033" y="876"/>
                </a:cubicBezTo>
                <a:cubicBezTo>
                  <a:pt x="1006" y="862"/>
                  <a:pt x="1006" y="862"/>
                  <a:pt x="1006" y="862"/>
                </a:cubicBezTo>
                <a:cubicBezTo>
                  <a:pt x="1006" y="862"/>
                  <a:pt x="997" y="845"/>
                  <a:pt x="987" y="839"/>
                </a:cubicBezTo>
                <a:cubicBezTo>
                  <a:pt x="977" y="833"/>
                  <a:pt x="958" y="813"/>
                  <a:pt x="946" y="799"/>
                </a:cubicBezTo>
                <a:cubicBezTo>
                  <a:pt x="934" y="785"/>
                  <a:pt x="926" y="747"/>
                  <a:pt x="926" y="747"/>
                </a:cubicBezTo>
                <a:cubicBezTo>
                  <a:pt x="926" y="747"/>
                  <a:pt x="925" y="747"/>
                  <a:pt x="925" y="746"/>
                </a:cubicBezTo>
                <a:cubicBezTo>
                  <a:pt x="922" y="738"/>
                  <a:pt x="887" y="647"/>
                  <a:pt x="885" y="641"/>
                </a:cubicBezTo>
                <a:cubicBezTo>
                  <a:pt x="883" y="635"/>
                  <a:pt x="887" y="634"/>
                  <a:pt x="887" y="634"/>
                </a:cubicBezTo>
                <a:cubicBezTo>
                  <a:pt x="879" y="626"/>
                  <a:pt x="879" y="626"/>
                  <a:pt x="879" y="626"/>
                </a:cubicBezTo>
                <a:cubicBezTo>
                  <a:pt x="872" y="618"/>
                  <a:pt x="872" y="618"/>
                  <a:pt x="872" y="618"/>
                </a:cubicBezTo>
                <a:cubicBezTo>
                  <a:pt x="872" y="618"/>
                  <a:pt x="872" y="618"/>
                  <a:pt x="861" y="621"/>
                </a:cubicBezTo>
                <a:cubicBezTo>
                  <a:pt x="837" y="613"/>
                  <a:pt x="799" y="569"/>
                  <a:pt x="796" y="567"/>
                </a:cubicBezTo>
                <a:cubicBezTo>
                  <a:pt x="792" y="564"/>
                  <a:pt x="773" y="558"/>
                  <a:pt x="773" y="558"/>
                </a:cubicBezTo>
                <a:cubicBezTo>
                  <a:pt x="773" y="558"/>
                  <a:pt x="772" y="558"/>
                  <a:pt x="772" y="558"/>
                </a:cubicBezTo>
                <a:cubicBezTo>
                  <a:pt x="766" y="553"/>
                  <a:pt x="735" y="528"/>
                  <a:pt x="725" y="513"/>
                </a:cubicBezTo>
                <a:cubicBezTo>
                  <a:pt x="714" y="496"/>
                  <a:pt x="712" y="445"/>
                  <a:pt x="709" y="434"/>
                </a:cubicBezTo>
                <a:cubicBezTo>
                  <a:pt x="706" y="423"/>
                  <a:pt x="712" y="405"/>
                  <a:pt x="712" y="406"/>
                </a:cubicBezTo>
                <a:cubicBezTo>
                  <a:pt x="712" y="408"/>
                  <a:pt x="716" y="409"/>
                  <a:pt x="722" y="410"/>
                </a:cubicBezTo>
                <a:cubicBezTo>
                  <a:pt x="724" y="410"/>
                  <a:pt x="726" y="410"/>
                  <a:pt x="728" y="410"/>
                </a:cubicBezTo>
                <a:cubicBezTo>
                  <a:pt x="736" y="409"/>
                  <a:pt x="747" y="381"/>
                  <a:pt x="747" y="381"/>
                </a:cubicBezTo>
                <a:cubicBezTo>
                  <a:pt x="740" y="373"/>
                  <a:pt x="740" y="373"/>
                  <a:pt x="740" y="373"/>
                </a:cubicBezTo>
                <a:cubicBezTo>
                  <a:pt x="736" y="374"/>
                  <a:pt x="736" y="374"/>
                  <a:pt x="736" y="374"/>
                </a:cubicBezTo>
                <a:cubicBezTo>
                  <a:pt x="719" y="358"/>
                  <a:pt x="719" y="358"/>
                  <a:pt x="719" y="358"/>
                </a:cubicBezTo>
                <a:cubicBezTo>
                  <a:pt x="718" y="342"/>
                  <a:pt x="718" y="342"/>
                  <a:pt x="718" y="342"/>
                </a:cubicBezTo>
                <a:cubicBezTo>
                  <a:pt x="718" y="342"/>
                  <a:pt x="715" y="334"/>
                  <a:pt x="716" y="322"/>
                </a:cubicBezTo>
                <a:cubicBezTo>
                  <a:pt x="717" y="310"/>
                  <a:pt x="728" y="295"/>
                  <a:pt x="728" y="295"/>
                </a:cubicBezTo>
                <a:cubicBezTo>
                  <a:pt x="731" y="297"/>
                  <a:pt x="731" y="297"/>
                  <a:pt x="731" y="297"/>
                </a:cubicBezTo>
                <a:cubicBezTo>
                  <a:pt x="731" y="297"/>
                  <a:pt x="756" y="281"/>
                  <a:pt x="770" y="277"/>
                </a:cubicBezTo>
                <a:cubicBezTo>
                  <a:pt x="785" y="274"/>
                  <a:pt x="790" y="265"/>
                  <a:pt x="790" y="265"/>
                </a:cubicBezTo>
                <a:cubicBezTo>
                  <a:pt x="790" y="265"/>
                  <a:pt x="808" y="260"/>
                  <a:pt x="813" y="260"/>
                </a:cubicBezTo>
                <a:cubicBezTo>
                  <a:pt x="813" y="260"/>
                  <a:pt x="813" y="260"/>
                  <a:pt x="814" y="260"/>
                </a:cubicBezTo>
                <a:cubicBezTo>
                  <a:pt x="817" y="260"/>
                  <a:pt x="820" y="253"/>
                  <a:pt x="822" y="249"/>
                </a:cubicBezTo>
                <a:cubicBezTo>
                  <a:pt x="824" y="244"/>
                  <a:pt x="838" y="245"/>
                  <a:pt x="838" y="245"/>
                </a:cubicBezTo>
                <a:cubicBezTo>
                  <a:pt x="838" y="245"/>
                  <a:pt x="846" y="252"/>
                  <a:pt x="853" y="252"/>
                </a:cubicBezTo>
                <a:cubicBezTo>
                  <a:pt x="861" y="253"/>
                  <a:pt x="872" y="242"/>
                  <a:pt x="872" y="242"/>
                </a:cubicBezTo>
                <a:cubicBezTo>
                  <a:pt x="866" y="239"/>
                  <a:pt x="866" y="239"/>
                  <a:pt x="866" y="239"/>
                </a:cubicBezTo>
                <a:cubicBezTo>
                  <a:pt x="866" y="239"/>
                  <a:pt x="871" y="235"/>
                  <a:pt x="872" y="234"/>
                </a:cubicBezTo>
                <a:cubicBezTo>
                  <a:pt x="873" y="234"/>
                  <a:pt x="872" y="234"/>
                  <a:pt x="877" y="234"/>
                </a:cubicBezTo>
                <a:cubicBezTo>
                  <a:pt x="882" y="234"/>
                  <a:pt x="892" y="245"/>
                  <a:pt x="897" y="251"/>
                </a:cubicBezTo>
                <a:cubicBezTo>
                  <a:pt x="902" y="258"/>
                  <a:pt x="897" y="257"/>
                  <a:pt x="897" y="257"/>
                </a:cubicBezTo>
                <a:cubicBezTo>
                  <a:pt x="903" y="263"/>
                  <a:pt x="903" y="263"/>
                  <a:pt x="903" y="263"/>
                </a:cubicBezTo>
                <a:cubicBezTo>
                  <a:pt x="894" y="262"/>
                  <a:pt x="894" y="262"/>
                  <a:pt x="894" y="262"/>
                </a:cubicBezTo>
                <a:cubicBezTo>
                  <a:pt x="894" y="262"/>
                  <a:pt x="895" y="265"/>
                  <a:pt x="899" y="267"/>
                </a:cubicBezTo>
                <a:cubicBezTo>
                  <a:pt x="903" y="268"/>
                  <a:pt x="907" y="267"/>
                  <a:pt x="907" y="267"/>
                </a:cubicBezTo>
                <a:cubicBezTo>
                  <a:pt x="907" y="267"/>
                  <a:pt x="908" y="268"/>
                  <a:pt x="910" y="267"/>
                </a:cubicBezTo>
                <a:cubicBezTo>
                  <a:pt x="909" y="257"/>
                  <a:pt x="909" y="257"/>
                  <a:pt x="909" y="257"/>
                </a:cubicBezTo>
                <a:cubicBezTo>
                  <a:pt x="902" y="245"/>
                  <a:pt x="902" y="245"/>
                  <a:pt x="902" y="245"/>
                </a:cubicBezTo>
                <a:cubicBezTo>
                  <a:pt x="887" y="235"/>
                  <a:pt x="887" y="235"/>
                  <a:pt x="887" y="235"/>
                </a:cubicBezTo>
                <a:cubicBezTo>
                  <a:pt x="880" y="229"/>
                  <a:pt x="880" y="229"/>
                  <a:pt x="880" y="229"/>
                </a:cubicBezTo>
                <a:cubicBezTo>
                  <a:pt x="879" y="227"/>
                  <a:pt x="878" y="227"/>
                  <a:pt x="878" y="226"/>
                </a:cubicBezTo>
                <a:cubicBezTo>
                  <a:pt x="877" y="226"/>
                  <a:pt x="877" y="225"/>
                  <a:pt x="875" y="223"/>
                </a:cubicBezTo>
                <a:cubicBezTo>
                  <a:pt x="874" y="223"/>
                  <a:pt x="877" y="213"/>
                  <a:pt x="879" y="210"/>
                </a:cubicBezTo>
                <a:cubicBezTo>
                  <a:pt x="883" y="205"/>
                  <a:pt x="882" y="197"/>
                  <a:pt x="882" y="197"/>
                </a:cubicBezTo>
                <a:cubicBezTo>
                  <a:pt x="876" y="197"/>
                  <a:pt x="876" y="197"/>
                  <a:pt x="876" y="197"/>
                </a:cubicBezTo>
                <a:cubicBezTo>
                  <a:pt x="873" y="200"/>
                  <a:pt x="873" y="200"/>
                  <a:pt x="873" y="200"/>
                </a:cubicBezTo>
                <a:cubicBezTo>
                  <a:pt x="873" y="200"/>
                  <a:pt x="870" y="200"/>
                  <a:pt x="864" y="197"/>
                </a:cubicBezTo>
                <a:cubicBezTo>
                  <a:pt x="859" y="193"/>
                  <a:pt x="864" y="193"/>
                  <a:pt x="865" y="189"/>
                </a:cubicBezTo>
                <a:cubicBezTo>
                  <a:pt x="865" y="186"/>
                  <a:pt x="864" y="184"/>
                  <a:pt x="864" y="184"/>
                </a:cubicBezTo>
                <a:cubicBezTo>
                  <a:pt x="864" y="184"/>
                  <a:pt x="885" y="164"/>
                  <a:pt x="885" y="162"/>
                </a:cubicBezTo>
                <a:cubicBezTo>
                  <a:pt x="885" y="161"/>
                  <a:pt x="873" y="162"/>
                  <a:pt x="873" y="162"/>
                </a:cubicBezTo>
                <a:cubicBezTo>
                  <a:pt x="873" y="162"/>
                  <a:pt x="877" y="157"/>
                  <a:pt x="868" y="153"/>
                </a:cubicBezTo>
                <a:cubicBezTo>
                  <a:pt x="858" y="149"/>
                  <a:pt x="855" y="156"/>
                  <a:pt x="855" y="156"/>
                </a:cubicBezTo>
                <a:cubicBezTo>
                  <a:pt x="850" y="142"/>
                  <a:pt x="850" y="142"/>
                  <a:pt x="850" y="142"/>
                </a:cubicBezTo>
                <a:cubicBezTo>
                  <a:pt x="854" y="138"/>
                  <a:pt x="854" y="138"/>
                  <a:pt x="854" y="138"/>
                </a:cubicBezTo>
                <a:cubicBezTo>
                  <a:pt x="856" y="130"/>
                  <a:pt x="856" y="130"/>
                  <a:pt x="856" y="130"/>
                </a:cubicBezTo>
                <a:cubicBezTo>
                  <a:pt x="872" y="122"/>
                  <a:pt x="872" y="122"/>
                  <a:pt x="872" y="122"/>
                </a:cubicBezTo>
                <a:cubicBezTo>
                  <a:pt x="874" y="116"/>
                  <a:pt x="874" y="116"/>
                  <a:pt x="874" y="116"/>
                </a:cubicBezTo>
                <a:cubicBezTo>
                  <a:pt x="888" y="116"/>
                  <a:pt x="888" y="116"/>
                  <a:pt x="888" y="116"/>
                </a:cubicBezTo>
                <a:cubicBezTo>
                  <a:pt x="890" y="101"/>
                  <a:pt x="890" y="101"/>
                  <a:pt x="890" y="101"/>
                </a:cubicBezTo>
                <a:cubicBezTo>
                  <a:pt x="890" y="101"/>
                  <a:pt x="889" y="101"/>
                  <a:pt x="888" y="100"/>
                </a:cubicBezTo>
                <a:cubicBezTo>
                  <a:pt x="884" y="99"/>
                  <a:pt x="876" y="95"/>
                  <a:pt x="875" y="95"/>
                </a:cubicBezTo>
                <a:cubicBezTo>
                  <a:pt x="874" y="95"/>
                  <a:pt x="866" y="96"/>
                  <a:pt x="866" y="96"/>
                </a:cubicBezTo>
                <a:cubicBezTo>
                  <a:pt x="854" y="93"/>
                  <a:pt x="854" y="93"/>
                  <a:pt x="854" y="93"/>
                </a:cubicBezTo>
                <a:cubicBezTo>
                  <a:pt x="849" y="91"/>
                  <a:pt x="849" y="91"/>
                  <a:pt x="849" y="91"/>
                </a:cubicBezTo>
                <a:cubicBezTo>
                  <a:pt x="849" y="91"/>
                  <a:pt x="843" y="96"/>
                  <a:pt x="836" y="96"/>
                </a:cubicBezTo>
                <a:cubicBezTo>
                  <a:pt x="834" y="96"/>
                  <a:pt x="832" y="96"/>
                  <a:pt x="830" y="95"/>
                </a:cubicBezTo>
                <a:cubicBezTo>
                  <a:pt x="826" y="93"/>
                  <a:pt x="824" y="90"/>
                  <a:pt x="824" y="90"/>
                </a:cubicBezTo>
                <a:cubicBezTo>
                  <a:pt x="783" y="86"/>
                  <a:pt x="783" y="86"/>
                  <a:pt x="783" y="86"/>
                </a:cubicBezTo>
                <a:cubicBezTo>
                  <a:pt x="783" y="86"/>
                  <a:pt x="783" y="86"/>
                  <a:pt x="782" y="81"/>
                </a:cubicBezTo>
                <a:cubicBezTo>
                  <a:pt x="781" y="76"/>
                  <a:pt x="773" y="81"/>
                  <a:pt x="769" y="81"/>
                </a:cubicBezTo>
                <a:cubicBezTo>
                  <a:pt x="769" y="81"/>
                  <a:pt x="769" y="81"/>
                  <a:pt x="769" y="81"/>
                </a:cubicBezTo>
                <a:cubicBezTo>
                  <a:pt x="765" y="81"/>
                  <a:pt x="763" y="78"/>
                  <a:pt x="763" y="78"/>
                </a:cubicBezTo>
                <a:cubicBezTo>
                  <a:pt x="747" y="76"/>
                  <a:pt x="747" y="76"/>
                  <a:pt x="747" y="76"/>
                </a:cubicBezTo>
                <a:cubicBezTo>
                  <a:pt x="742" y="73"/>
                  <a:pt x="742" y="73"/>
                  <a:pt x="742" y="73"/>
                </a:cubicBezTo>
                <a:cubicBezTo>
                  <a:pt x="742" y="73"/>
                  <a:pt x="741" y="73"/>
                  <a:pt x="739" y="73"/>
                </a:cubicBezTo>
                <a:cubicBezTo>
                  <a:pt x="733" y="73"/>
                  <a:pt x="733" y="73"/>
                  <a:pt x="733" y="73"/>
                </a:cubicBezTo>
                <a:cubicBezTo>
                  <a:pt x="728" y="73"/>
                  <a:pt x="724" y="63"/>
                  <a:pt x="724" y="57"/>
                </a:cubicBezTo>
                <a:cubicBezTo>
                  <a:pt x="724" y="52"/>
                  <a:pt x="713" y="56"/>
                  <a:pt x="713" y="56"/>
                </a:cubicBezTo>
                <a:cubicBezTo>
                  <a:pt x="716" y="41"/>
                  <a:pt x="716" y="41"/>
                  <a:pt x="716" y="41"/>
                </a:cubicBezTo>
                <a:cubicBezTo>
                  <a:pt x="713" y="37"/>
                  <a:pt x="713" y="37"/>
                  <a:pt x="713" y="37"/>
                </a:cubicBezTo>
                <a:cubicBezTo>
                  <a:pt x="713" y="37"/>
                  <a:pt x="704" y="40"/>
                  <a:pt x="704" y="37"/>
                </a:cubicBezTo>
                <a:cubicBezTo>
                  <a:pt x="703" y="35"/>
                  <a:pt x="698" y="31"/>
                  <a:pt x="698" y="31"/>
                </a:cubicBezTo>
                <a:cubicBezTo>
                  <a:pt x="698" y="31"/>
                  <a:pt x="704" y="26"/>
                  <a:pt x="698" y="23"/>
                </a:cubicBezTo>
                <a:cubicBezTo>
                  <a:pt x="691" y="19"/>
                  <a:pt x="697" y="17"/>
                  <a:pt x="697" y="12"/>
                </a:cubicBezTo>
                <a:cubicBezTo>
                  <a:pt x="698" y="8"/>
                  <a:pt x="704" y="11"/>
                  <a:pt x="704" y="11"/>
                </a:cubicBezTo>
                <a:cubicBezTo>
                  <a:pt x="708" y="4"/>
                  <a:pt x="708" y="4"/>
                  <a:pt x="708" y="4"/>
                </a:cubicBezTo>
                <a:cubicBezTo>
                  <a:pt x="702" y="0"/>
                  <a:pt x="702" y="0"/>
                  <a:pt x="702" y="0"/>
                </a:cubicBezTo>
                <a:cubicBezTo>
                  <a:pt x="668" y="9"/>
                  <a:pt x="668" y="9"/>
                  <a:pt x="668" y="9"/>
                </a:cubicBezTo>
                <a:cubicBezTo>
                  <a:pt x="647" y="22"/>
                  <a:pt x="647" y="22"/>
                  <a:pt x="647" y="22"/>
                </a:cubicBezTo>
                <a:cubicBezTo>
                  <a:pt x="649" y="14"/>
                  <a:pt x="637" y="17"/>
                  <a:pt x="637" y="17"/>
                </a:cubicBezTo>
                <a:cubicBezTo>
                  <a:pt x="634" y="14"/>
                  <a:pt x="634" y="14"/>
                  <a:pt x="634" y="14"/>
                </a:cubicBezTo>
                <a:cubicBezTo>
                  <a:pt x="622" y="17"/>
                  <a:pt x="622" y="17"/>
                  <a:pt x="622" y="17"/>
                </a:cubicBezTo>
                <a:cubicBezTo>
                  <a:pt x="622" y="17"/>
                  <a:pt x="618" y="13"/>
                  <a:pt x="615" y="13"/>
                </a:cubicBezTo>
                <a:cubicBezTo>
                  <a:pt x="612" y="13"/>
                  <a:pt x="605" y="22"/>
                  <a:pt x="605" y="22"/>
                </a:cubicBezTo>
                <a:cubicBezTo>
                  <a:pt x="601" y="16"/>
                  <a:pt x="601" y="16"/>
                  <a:pt x="601" y="16"/>
                </a:cubicBezTo>
                <a:cubicBezTo>
                  <a:pt x="576" y="20"/>
                  <a:pt x="576" y="20"/>
                  <a:pt x="576" y="20"/>
                </a:cubicBezTo>
                <a:cubicBezTo>
                  <a:pt x="576" y="25"/>
                  <a:pt x="576" y="25"/>
                  <a:pt x="576" y="25"/>
                </a:cubicBezTo>
                <a:cubicBezTo>
                  <a:pt x="576" y="25"/>
                  <a:pt x="572" y="29"/>
                  <a:pt x="569" y="33"/>
                </a:cubicBezTo>
                <a:cubicBezTo>
                  <a:pt x="566" y="37"/>
                  <a:pt x="568" y="46"/>
                  <a:pt x="568" y="46"/>
                </a:cubicBezTo>
                <a:cubicBezTo>
                  <a:pt x="555" y="57"/>
                  <a:pt x="555" y="57"/>
                  <a:pt x="555" y="57"/>
                </a:cubicBezTo>
                <a:cubicBezTo>
                  <a:pt x="547" y="54"/>
                  <a:pt x="547" y="54"/>
                  <a:pt x="547" y="54"/>
                </a:cubicBezTo>
                <a:cubicBezTo>
                  <a:pt x="541" y="56"/>
                  <a:pt x="541" y="56"/>
                  <a:pt x="541" y="56"/>
                </a:cubicBezTo>
                <a:cubicBezTo>
                  <a:pt x="536" y="52"/>
                  <a:pt x="536" y="52"/>
                  <a:pt x="536" y="52"/>
                </a:cubicBezTo>
                <a:cubicBezTo>
                  <a:pt x="534" y="55"/>
                  <a:pt x="534" y="55"/>
                  <a:pt x="534" y="55"/>
                </a:cubicBezTo>
                <a:cubicBezTo>
                  <a:pt x="530" y="50"/>
                  <a:pt x="530" y="50"/>
                  <a:pt x="530" y="50"/>
                </a:cubicBezTo>
                <a:cubicBezTo>
                  <a:pt x="523" y="50"/>
                  <a:pt x="523" y="50"/>
                  <a:pt x="523" y="50"/>
                </a:cubicBezTo>
                <a:cubicBezTo>
                  <a:pt x="527" y="45"/>
                  <a:pt x="527" y="45"/>
                  <a:pt x="527" y="45"/>
                </a:cubicBezTo>
                <a:cubicBezTo>
                  <a:pt x="516" y="35"/>
                  <a:pt x="516" y="35"/>
                  <a:pt x="516" y="35"/>
                </a:cubicBezTo>
                <a:cubicBezTo>
                  <a:pt x="504" y="43"/>
                  <a:pt x="504" y="43"/>
                  <a:pt x="504" y="43"/>
                </a:cubicBezTo>
                <a:cubicBezTo>
                  <a:pt x="497" y="41"/>
                  <a:pt x="497" y="41"/>
                  <a:pt x="497" y="41"/>
                </a:cubicBezTo>
                <a:cubicBezTo>
                  <a:pt x="492" y="40"/>
                  <a:pt x="492" y="40"/>
                  <a:pt x="492" y="40"/>
                </a:cubicBezTo>
                <a:cubicBezTo>
                  <a:pt x="487" y="51"/>
                  <a:pt x="487" y="51"/>
                  <a:pt x="487" y="51"/>
                </a:cubicBezTo>
                <a:cubicBezTo>
                  <a:pt x="487" y="57"/>
                  <a:pt x="487" y="57"/>
                  <a:pt x="487" y="57"/>
                </a:cubicBezTo>
                <a:cubicBezTo>
                  <a:pt x="484" y="62"/>
                  <a:pt x="484" y="62"/>
                  <a:pt x="484" y="62"/>
                </a:cubicBezTo>
                <a:cubicBezTo>
                  <a:pt x="485" y="67"/>
                  <a:pt x="485" y="67"/>
                  <a:pt x="485" y="67"/>
                </a:cubicBezTo>
                <a:cubicBezTo>
                  <a:pt x="482" y="68"/>
                  <a:pt x="482" y="68"/>
                  <a:pt x="482" y="68"/>
                </a:cubicBezTo>
                <a:cubicBezTo>
                  <a:pt x="482" y="72"/>
                  <a:pt x="482" y="72"/>
                  <a:pt x="482" y="72"/>
                </a:cubicBezTo>
                <a:cubicBezTo>
                  <a:pt x="483" y="73"/>
                  <a:pt x="483" y="75"/>
                  <a:pt x="484" y="76"/>
                </a:cubicBezTo>
                <a:cubicBezTo>
                  <a:pt x="488" y="77"/>
                  <a:pt x="488" y="77"/>
                  <a:pt x="488" y="77"/>
                </a:cubicBezTo>
                <a:cubicBezTo>
                  <a:pt x="493" y="82"/>
                  <a:pt x="493" y="82"/>
                  <a:pt x="493" y="82"/>
                </a:cubicBezTo>
                <a:cubicBezTo>
                  <a:pt x="489" y="93"/>
                  <a:pt x="489" y="93"/>
                  <a:pt x="489" y="93"/>
                </a:cubicBezTo>
                <a:cubicBezTo>
                  <a:pt x="487" y="97"/>
                  <a:pt x="487" y="97"/>
                  <a:pt x="487" y="97"/>
                </a:cubicBezTo>
                <a:cubicBezTo>
                  <a:pt x="487" y="97"/>
                  <a:pt x="487" y="97"/>
                  <a:pt x="487" y="97"/>
                </a:cubicBezTo>
                <a:cubicBezTo>
                  <a:pt x="485" y="92"/>
                  <a:pt x="469" y="96"/>
                  <a:pt x="469" y="92"/>
                </a:cubicBezTo>
                <a:cubicBezTo>
                  <a:pt x="469" y="89"/>
                  <a:pt x="462" y="89"/>
                  <a:pt x="462" y="89"/>
                </a:cubicBezTo>
                <a:cubicBezTo>
                  <a:pt x="465" y="83"/>
                  <a:pt x="465" y="83"/>
                  <a:pt x="465" y="83"/>
                </a:cubicBezTo>
                <a:cubicBezTo>
                  <a:pt x="463" y="78"/>
                  <a:pt x="463" y="78"/>
                  <a:pt x="463" y="78"/>
                </a:cubicBezTo>
                <a:cubicBezTo>
                  <a:pt x="459" y="82"/>
                  <a:pt x="459" y="82"/>
                  <a:pt x="459" y="82"/>
                </a:cubicBezTo>
                <a:cubicBezTo>
                  <a:pt x="444" y="81"/>
                  <a:pt x="444" y="81"/>
                  <a:pt x="444" y="81"/>
                </a:cubicBezTo>
                <a:cubicBezTo>
                  <a:pt x="443" y="87"/>
                  <a:pt x="443" y="87"/>
                  <a:pt x="443" y="87"/>
                </a:cubicBezTo>
                <a:cubicBezTo>
                  <a:pt x="436" y="94"/>
                  <a:pt x="436" y="94"/>
                  <a:pt x="436" y="94"/>
                </a:cubicBezTo>
                <a:cubicBezTo>
                  <a:pt x="436" y="94"/>
                  <a:pt x="437" y="112"/>
                  <a:pt x="440" y="113"/>
                </a:cubicBezTo>
                <a:cubicBezTo>
                  <a:pt x="442" y="114"/>
                  <a:pt x="448" y="113"/>
                  <a:pt x="448" y="113"/>
                </a:cubicBezTo>
                <a:cubicBezTo>
                  <a:pt x="451" y="119"/>
                  <a:pt x="451" y="119"/>
                  <a:pt x="451" y="119"/>
                </a:cubicBezTo>
                <a:cubicBezTo>
                  <a:pt x="446" y="130"/>
                  <a:pt x="446" y="130"/>
                  <a:pt x="446" y="130"/>
                </a:cubicBezTo>
                <a:cubicBezTo>
                  <a:pt x="454" y="144"/>
                  <a:pt x="454" y="144"/>
                  <a:pt x="454" y="144"/>
                </a:cubicBezTo>
                <a:cubicBezTo>
                  <a:pt x="454" y="144"/>
                  <a:pt x="453" y="147"/>
                  <a:pt x="450" y="149"/>
                </a:cubicBezTo>
                <a:cubicBezTo>
                  <a:pt x="447" y="151"/>
                  <a:pt x="440" y="152"/>
                  <a:pt x="437" y="150"/>
                </a:cubicBezTo>
                <a:cubicBezTo>
                  <a:pt x="433" y="148"/>
                  <a:pt x="438" y="145"/>
                  <a:pt x="438" y="142"/>
                </a:cubicBezTo>
                <a:cubicBezTo>
                  <a:pt x="438" y="140"/>
                  <a:pt x="431" y="139"/>
                  <a:pt x="431" y="139"/>
                </a:cubicBezTo>
                <a:cubicBezTo>
                  <a:pt x="429" y="131"/>
                  <a:pt x="429" y="131"/>
                  <a:pt x="429" y="131"/>
                </a:cubicBezTo>
                <a:cubicBezTo>
                  <a:pt x="431" y="127"/>
                  <a:pt x="431" y="127"/>
                  <a:pt x="431" y="127"/>
                </a:cubicBezTo>
                <a:cubicBezTo>
                  <a:pt x="426" y="121"/>
                  <a:pt x="426" y="121"/>
                  <a:pt x="426" y="121"/>
                </a:cubicBezTo>
                <a:cubicBezTo>
                  <a:pt x="423" y="125"/>
                  <a:pt x="423" y="125"/>
                  <a:pt x="423" y="125"/>
                </a:cubicBezTo>
                <a:cubicBezTo>
                  <a:pt x="420" y="121"/>
                  <a:pt x="420" y="121"/>
                  <a:pt x="420" y="121"/>
                </a:cubicBezTo>
                <a:cubicBezTo>
                  <a:pt x="405" y="129"/>
                  <a:pt x="405" y="129"/>
                  <a:pt x="405" y="129"/>
                </a:cubicBezTo>
                <a:cubicBezTo>
                  <a:pt x="400" y="127"/>
                  <a:pt x="400" y="127"/>
                  <a:pt x="400" y="127"/>
                </a:cubicBezTo>
                <a:cubicBezTo>
                  <a:pt x="400" y="127"/>
                  <a:pt x="400" y="127"/>
                  <a:pt x="394" y="136"/>
                </a:cubicBezTo>
                <a:cubicBezTo>
                  <a:pt x="376" y="137"/>
                  <a:pt x="372" y="131"/>
                  <a:pt x="372" y="128"/>
                </a:cubicBezTo>
                <a:cubicBezTo>
                  <a:pt x="372" y="126"/>
                  <a:pt x="366" y="120"/>
                  <a:pt x="366" y="120"/>
                </a:cubicBezTo>
                <a:cubicBezTo>
                  <a:pt x="367" y="97"/>
                  <a:pt x="367" y="97"/>
                  <a:pt x="367" y="97"/>
                </a:cubicBezTo>
                <a:cubicBezTo>
                  <a:pt x="360" y="104"/>
                  <a:pt x="360" y="104"/>
                  <a:pt x="360" y="104"/>
                </a:cubicBezTo>
                <a:cubicBezTo>
                  <a:pt x="354" y="96"/>
                  <a:pt x="354" y="96"/>
                  <a:pt x="354" y="96"/>
                </a:cubicBezTo>
                <a:cubicBezTo>
                  <a:pt x="343" y="98"/>
                  <a:pt x="343" y="98"/>
                  <a:pt x="343" y="98"/>
                </a:cubicBezTo>
                <a:cubicBezTo>
                  <a:pt x="343" y="106"/>
                  <a:pt x="343" y="106"/>
                  <a:pt x="343" y="106"/>
                </a:cubicBezTo>
                <a:cubicBezTo>
                  <a:pt x="341" y="108"/>
                  <a:pt x="341" y="108"/>
                  <a:pt x="341" y="108"/>
                </a:cubicBezTo>
                <a:cubicBezTo>
                  <a:pt x="343" y="114"/>
                  <a:pt x="343" y="114"/>
                  <a:pt x="343" y="114"/>
                </a:cubicBezTo>
                <a:cubicBezTo>
                  <a:pt x="345" y="126"/>
                  <a:pt x="345" y="126"/>
                  <a:pt x="345" y="126"/>
                </a:cubicBezTo>
                <a:cubicBezTo>
                  <a:pt x="339" y="145"/>
                  <a:pt x="339" y="145"/>
                  <a:pt x="339" y="145"/>
                </a:cubicBezTo>
                <a:cubicBezTo>
                  <a:pt x="333" y="146"/>
                  <a:pt x="333" y="146"/>
                  <a:pt x="333" y="146"/>
                </a:cubicBezTo>
                <a:cubicBezTo>
                  <a:pt x="329" y="155"/>
                  <a:pt x="329" y="155"/>
                  <a:pt x="329" y="155"/>
                </a:cubicBezTo>
                <a:cubicBezTo>
                  <a:pt x="316" y="162"/>
                  <a:pt x="316" y="162"/>
                  <a:pt x="316" y="162"/>
                </a:cubicBezTo>
                <a:cubicBezTo>
                  <a:pt x="316" y="162"/>
                  <a:pt x="316" y="169"/>
                  <a:pt x="316" y="173"/>
                </a:cubicBezTo>
                <a:cubicBezTo>
                  <a:pt x="316" y="176"/>
                  <a:pt x="308" y="176"/>
                  <a:pt x="308" y="176"/>
                </a:cubicBezTo>
                <a:cubicBezTo>
                  <a:pt x="308" y="176"/>
                  <a:pt x="308" y="182"/>
                  <a:pt x="307" y="187"/>
                </a:cubicBezTo>
                <a:cubicBezTo>
                  <a:pt x="307" y="191"/>
                  <a:pt x="303" y="189"/>
                  <a:pt x="303" y="189"/>
                </a:cubicBezTo>
                <a:cubicBezTo>
                  <a:pt x="308" y="192"/>
                  <a:pt x="308" y="192"/>
                  <a:pt x="308" y="192"/>
                </a:cubicBezTo>
                <a:cubicBezTo>
                  <a:pt x="308" y="199"/>
                  <a:pt x="308" y="199"/>
                  <a:pt x="308" y="199"/>
                </a:cubicBezTo>
                <a:cubicBezTo>
                  <a:pt x="317" y="206"/>
                  <a:pt x="317" y="206"/>
                  <a:pt x="317" y="206"/>
                </a:cubicBezTo>
                <a:cubicBezTo>
                  <a:pt x="306" y="218"/>
                  <a:pt x="306" y="218"/>
                  <a:pt x="306" y="218"/>
                </a:cubicBezTo>
                <a:cubicBezTo>
                  <a:pt x="299" y="214"/>
                  <a:pt x="299" y="214"/>
                  <a:pt x="299" y="214"/>
                </a:cubicBezTo>
                <a:cubicBezTo>
                  <a:pt x="294" y="213"/>
                  <a:pt x="294" y="213"/>
                  <a:pt x="294" y="213"/>
                </a:cubicBezTo>
                <a:cubicBezTo>
                  <a:pt x="294" y="213"/>
                  <a:pt x="295" y="203"/>
                  <a:pt x="295" y="201"/>
                </a:cubicBezTo>
                <a:cubicBezTo>
                  <a:pt x="295" y="200"/>
                  <a:pt x="288" y="191"/>
                  <a:pt x="288" y="191"/>
                </a:cubicBezTo>
                <a:cubicBezTo>
                  <a:pt x="285" y="186"/>
                  <a:pt x="285" y="186"/>
                  <a:pt x="285" y="186"/>
                </a:cubicBezTo>
                <a:cubicBezTo>
                  <a:pt x="278" y="186"/>
                  <a:pt x="278" y="186"/>
                  <a:pt x="278" y="186"/>
                </a:cubicBezTo>
                <a:cubicBezTo>
                  <a:pt x="287" y="172"/>
                  <a:pt x="287" y="172"/>
                  <a:pt x="287" y="172"/>
                </a:cubicBezTo>
                <a:cubicBezTo>
                  <a:pt x="284" y="166"/>
                  <a:pt x="284" y="166"/>
                  <a:pt x="284" y="166"/>
                </a:cubicBezTo>
                <a:cubicBezTo>
                  <a:pt x="277" y="165"/>
                  <a:pt x="277" y="165"/>
                  <a:pt x="277" y="165"/>
                </a:cubicBezTo>
                <a:cubicBezTo>
                  <a:pt x="257" y="162"/>
                  <a:pt x="257" y="162"/>
                  <a:pt x="257" y="162"/>
                </a:cubicBezTo>
                <a:cubicBezTo>
                  <a:pt x="248" y="143"/>
                  <a:pt x="248" y="143"/>
                  <a:pt x="248" y="143"/>
                </a:cubicBezTo>
                <a:cubicBezTo>
                  <a:pt x="238" y="139"/>
                  <a:pt x="238" y="139"/>
                  <a:pt x="238" y="139"/>
                </a:cubicBezTo>
                <a:cubicBezTo>
                  <a:pt x="238" y="139"/>
                  <a:pt x="238" y="131"/>
                  <a:pt x="238" y="128"/>
                </a:cubicBezTo>
                <a:cubicBezTo>
                  <a:pt x="238" y="125"/>
                  <a:pt x="242" y="122"/>
                  <a:pt x="242" y="122"/>
                </a:cubicBezTo>
                <a:cubicBezTo>
                  <a:pt x="242" y="122"/>
                  <a:pt x="243" y="108"/>
                  <a:pt x="241" y="100"/>
                </a:cubicBezTo>
                <a:cubicBezTo>
                  <a:pt x="239" y="92"/>
                  <a:pt x="222" y="110"/>
                  <a:pt x="222" y="110"/>
                </a:cubicBezTo>
                <a:cubicBezTo>
                  <a:pt x="222" y="110"/>
                  <a:pt x="222" y="110"/>
                  <a:pt x="223" y="115"/>
                </a:cubicBezTo>
                <a:cubicBezTo>
                  <a:pt x="214" y="116"/>
                  <a:pt x="211" y="126"/>
                  <a:pt x="211" y="126"/>
                </a:cubicBezTo>
                <a:cubicBezTo>
                  <a:pt x="199" y="127"/>
                  <a:pt x="199" y="127"/>
                  <a:pt x="199" y="127"/>
                </a:cubicBezTo>
                <a:cubicBezTo>
                  <a:pt x="194" y="132"/>
                  <a:pt x="194" y="132"/>
                  <a:pt x="194" y="132"/>
                </a:cubicBezTo>
                <a:cubicBezTo>
                  <a:pt x="202" y="142"/>
                  <a:pt x="202" y="142"/>
                  <a:pt x="202" y="142"/>
                </a:cubicBezTo>
                <a:cubicBezTo>
                  <a:pt x="202" y="142"/>
                  <a:pt x="202" y="156"/>
                  <a:pt x="197" y="159"/>
                </a:cubicBezTo>
                <a:cubicBezTo>
                  <a:pt x="193" y="161"/>
                  <a:pt x="187" y="161"/>
                  <a:pt x="187" y="161"/>
                </a:cubicBezTo>
                <a:cubicBezTo>
                  <a:pt x="187" y="161"/>
                  <a:pt x="187" y="168"/>
                  <a:pt x="185" y="174"/>
                </a:cubicBezTo>
                <a:cubicBezTo>
                  <a:pt x="183" y="181"/>
                  <a:pt x="171" y="179"/>
                  <a:pt x="168" y="180"/>
                </a:cubicBezTo>
                <a:cubicBezTo>
                  <a:pt x="165" y="181"/>
                  <a:pt x="163" y="191"/>
                  <a:pt x="163" y="191"/>
                </a:cubicBezTo>
                <a:cubicBezTo>
                  <a:pt x="154" y="193"/>
                  <a:pt x="154" y="193"/>
                  <a:pt x="154" y="193"/>
                </a:cubicBezTo>
                <a:cubicBezTo>
                  <a:pt x="154" y="193"/>
                  <a:pt x="151" y="189"/>
                  <a:pt x="150" y="189"/>
                </a:cubicBezTo>
                <a:cubicBezTo>
                  <a:pt x="148" y="189"/>
                  <a:pt x="147" y="192"/>
                  <a:pt x="147" y="192"/>
                </a:cubicBezTo>
                <a:cubicBezTo>
                  <a:pt x="139" y="182"/>
                  <a:pt x="139" y="182"/>
                  <a:pt x="139" y="182"/>
                </a:cubicBezTo>
                <a:cubicBezTo>
                  <a:pt x="127" y="182"/>
                  <a:pt x="127" y="182"/>
                  <a:pt x="127" y="182"/>
                </a:cubicBezTo>
                <a:cubicBezTo>
                  <a:pt x="129" y="177"/>
                  <a:pt x="129" y="177"/>
                  <a:pt x="129" y="177"/>
                </a:cubicBezTo>
                <a:cubicBezTo>
                  <a:pt x="124" y="176"/>
                  <a:pt x="124" y="176"/>
                  <a:pt x="124" y="176"/>
                </a:cubicBezTo>
                <a:cubicBezTo>
                  <a:pt x="123" y="184"/>
                  <a:pt x="123" y="184"/>
                  <a:pt x="123" y="184"/>
                </a:cubicBezTo>
                <a:cubicBezTo>
                  <a:pt x="118" y="184"/>
                  <a:pt x="118" y="184"/>
                  <a:pt x="118" y="184"/>
                </a:cubicBezTo>
                <a:cubicBezTo>
                  <a:pt x="104" y="192"/>
                  <a:pt x="104" y="192"/>
                  <a:pt x="104" y="192"/>
                </a:cubicBezTo>
                <a:cubicBezTo>
                  <a:pt x="93" y="189"/>
                  <a:pt x="93" y="189"/>
                  <a:pt x="93" y="189"/>
                </a:cubicBezTo>
                <a:cubicBezTo>
                  <a:pt x="93" y="189"/>
                  <a:pt x="91" y="192"/>
                  <a:pt x="89" y="195"/>
                </a:cubicBezTo>
                <a:cubicBezTo>
                  <a:pt x="86" y="197"/>
                  <a:pt x="82" y="191"/>
                  <a:pt x="82" y="191"/>
                </a:cubicBezTo>
                <a:cubicBezTo>
                  <a:pt x="79" y="198"/>
                  <a:pt x="79" y="198"/>
                  <a:pt x="79" y="198"/>
                </a:cubicBezTo>
                <a:cubicBezTo>
                  <a:pt x="74" y="193"/>
                  <a:pt x="74" y="193"/>
                  <a:pt x="74" y="193"/>
                </a:cubicBezTo>
                <a:cubicBezTo>
                  <a:pt x="69" y="198"/>
                  <a:pt x="69" y="198"/>
                  <a:pt x="69" y="198"/>
                </a:cubicBezTo>
                <a:cubicBezTo>
                  <a:pt x="61" y="188"/>
                  <a:pt x="61" y="188"/>
                  <a:pt x="61" y="188"/>
                </a:cubicBezTo>
                <a:cubicBezTo>
                  <a:pt x="57" y="184"/>
                  <a:pt x="58" y="190"/>
                  <a:pt x="53" y="195"/>
                </a:cubicBezTo>
                <a:cubicBezTo>
                  <a:pt x="48" y="198"/>
                  <a:pt x="43" y="199"/>
                  <a:pt x="41" y="199"/>
                </a:cubicBezTo>
                <a:cubicBezTo>
                  <a:pt x="40" y="199"/>
                  <a:pt x="40" y="199"/>
                  <a:pt x="40" y="199"/>
                </a:cubicBezTo>
                <a:cubicBezTo>
                  <a:pt x="37" y="200"/>
                  <a:pt x="37" y="200"/>
                  <a:pt x="37" y="200"/>
                </a:cubicBezTo>
                <a:cubicBezTo>
                  <a:pt x="34" y="200"/>
                  <a:pt x="34" y="200"/>
                  <a:pt x="34" y="200"/>
                </a:cubicBezTo>
                <a:cubicBezTo>
                  <a:pt x="34" y="200"/>
                  <a:pt x="29" y="209"/>
                  <a:pt x="30" y="216"/>
                </a:cubicBezTo>
                <a:cubicBezTo>
                  <a:pt x="30" y="223"/>
                  <a:pt x="33" y="227"/>
                  <a:pt x="40" y="228"/>
                </a:cubicBezTo>
                <a:cubicBezTo>
                  <a:pt x="46" y="229"/>
                  <a:pt x="44" y="234"/>
                  <a:pt x="44" y="234"/>
                </a:cubicBezTo>
                <a:cubicBezTo>
                  <a:pt x="53" y="236"/>
                  <a:pt x="53" y="236"/>
                  <a:pt x="53" y="236"/>
                </a:cubicBezTo>
                <a:cubicBezTo>
                  <a:pt x="48" y="246"/>
                  <a:pt x="48" y="246"/>
                  <a:pt x="48" y="246"/>
                </a:cubicBezTo>
                <a:cubicBezTo>
                  <a:pt x="51" y="247"/>
                  <a:pt x="51" y="247"/>
                  <a:pt x="51" y="247"/>
                </a:cubicBezTo>
                <a:cubicBezTo>
                  <a:pt x="50" y="260"/>
                  <a:pt x="50" y="260"/>
                  <a:pt x="50" y="260"/>
                </a:cubicBezTo>
                <a:cubicBezTo>
                  <a:pt x="50" y="260"/>
                  <a:pt x="53" y="262"/>
                  <a:pt x="57" y="262"/>
                </a:cubicBezTo>
                <a:cubicBezTo>
                  <a:pt x="61" y="262"/>
                  <a:pt x="57" y="268"/>
                  <a:pt x="57" y="268"/>
                </a:cubicBezTo>
                <a:cubicBezTo>
                  <a:pt x="57" y="268"/>
                  <a:pt x="58" y="268"/>
                  <a:pt x="62" y="268"/>
                </a:cubicBezTo>
                <a:cubicBezTo>
                  <a:pt x="62" y="268"/>
                  <a:pt x="63" y="268"/>
                  <a:pt x="64" y="268"/>
                </a:cubicBezTo>
                <a:cubicBezTo>
                  <a:pt x="68" y="268"/>
                  <a:pt x="64" y="274"/>
                  <a:pt x="64" y="274"/>
                </a:cubicBezTo>
                <a:cubicBezTo>
                  <a:pt x="71" y="279"/>
                  <a:pt x="71" y="279"/>
                  <a:pt x="71" y="279"/>
                </a:cubicBezTo>
                <a:cubicBezTo>
                  <a:pt x="67" y="292"/>
                  <a:pt x="67" y="292"/>
                  <a:pt x="67" y="292"/>
                </a:cubicBezTo>
                <a:cubicBezTo>
                  <a:pt x="63" y="293"/>
                  <a:pt x="63" y="293"/>
                  <a:pt x="63" y="293"/>
                </a:cubicBezTo>
                <a:cubicBezTo>
                  <a:pt x="63" y="293"/>
                  <a:pt x="65" y="299"/>
                  <a:pt x="66" y="304"/>
                </a:cubicBezTo>
                <a:cubicBezTo>
                  <a:pt x="66" y="310"/>
                  <a:pt x="60" y="311"/>
                  <a:pt x="58" y="312"/>
                </a:cubicBezTo>
                <a:cubicBezTo>
                  <a:pt x="57" y="313"/>
                  <a:pt x="57" y="313"/>
                  <a:pt x="56" y="313"/>
                </a:cubicBezTo>
                <a:cubicBezTo>
                  <a:pt x="54" y="313"/>
                  <a:pt x="51" y="312"/>
                  <a:pt x="46" y="312"/>
                </a:cubicBezTo>
                <a:cubicBezTo>
                  <a:pt x="39" y="313"/>
                  <a:pt x="43" y="320"/>
                  <a:pt x="43" y="320"/>
                </a:cubicBezTo>
                <a:cubicBezTo>
                  <a:pt x="33" y="320"/>
                  <a:pt x="33" y="320"/>
                  <a:pt x="33" y="320"/>
                </a:cubicBezTo>
                <a:cubicBezTo>
                  <a:pt x="33" y="320"/>
                  <a:pt x="33" y="326"/>
                  <a:pt x="29" y="326"/>
                </a:cubicBezTo>
                <a:cubicBezTo>
                  <a:pt x="25" y="326"/>
                  <a:pt x="17" y="320"/>
                  <a:pt x="17" y="320"/>
                </a:cubicBezTo>
                <a:cubicBezTo>
                  <a:pt x="17" y="320"/>
                  <a:pt x="15" y="321"/>
                  <a:pt x="12" y="323"/>
                </a:cubicBezTo>
                <a:cubicBezTo>
                  <a:pt x="8" y="325"/>
                  <a:pt x="6" y="323"/>
                  <a:pt x="6" y="323"/>
                </a:cubicBezTo>
                <a:cubicBezTo>
                  <a:pt x="0" y="328"/>
                  <a:pt x="0" y="328"/>
                  <a:pt x="0" y="328"/>
                </a:cubicBezTo>
                <a:cubicBezTo>
                  <a:pt x="2" y="344"/>
                  <a:pt x="2" y="344"/>
                  <a:pt x="2" y="344"/>
                </a:cubicBezTo>
                <a:cubicBezTo>
                  <a:pt x="2" y="344"/>
                  <a:pt x="7" y="345"/>
                  <a:pt x="12" y="347"/>
                </a:cubicBezTo>
                <a:cubicBezTo>
                  <a:pt x="18" y="349"/>
                  <a:pt x="12" y="362"/>
                  <a:pt x="12" y="362"/>
                </a:cubicBezTo>
                <a:cubicBezTo>
                  <a:pt x="12" y="362"/>
                  <a:pt x="28" y="377"/>
                  <a:pt x="32" y="377"/>
                </a:cubicBezTo>
                <a:cubicBezTo>
                  <a:pt x="37" y="377"/>
                  <a:pt x="36" y="375"/>
                  <a:pt x="36" y="375"/>
                </a:cubicBezTo>
                <a:cubicBezTo>
                  <a:pt x="46" y="383"/>
                  <a:pt x="46" y="383"/>
                  <a:pt x="46" y="383"/>
                </a:cubicBezTo>
                <a:cubicBezTo>
                  <a:pt x="46" y="383"/>
                  <a:pt x="43" y="386"/>
                  <a:pt x="42" y="388"/>
                </a:cubicBezTo>
                <a:cubicBezTo>
                  <a:pt x="41" y="391"/>
                  <a:pt x="46" y="392"/>
                  <a:pt x="46" y="392"/>
                </a:cubicBezTo>
                <a:cubicBezTo>
                  <a:pt x="46" y="398"/>
                  <a:pt x="46" y="398"/>
                  <a:pt x="46" y="398"/>
                </a:cubicBezTo>
                <a:cubicBezTo>
                  <a:pt x="52" y="408"/>
                  <a:pt x="52" y="408"/>
                  <a:pt x="52" y="408"/>
                </a:cubicBezTo>
                <a:cubicBezTo>
                  <a:pt x="52" y="408"/>
                  <a:pt x="52" y="408"/>
                  <a:pt x="40" y="405"/>
                </a:cubicBezTo>
                <a:cubicBezTo>
                  <a:pt x="29" y="403"/>
                  <a:pt x="36" y="424"/>
                  <a:pt x="28" y="428"/>
                </a:cubicBezTo>
                <a:cubicBezTo>
                  <a:pt x="20" y="433"/>
                  <a:pt x="21" y="438"/>
                  <a:pt x="21" y="438"/>
                </a:cubicBezTo>
                <a:cubicBezTo>
                  <a:pt x="31" y="452"/>
                  <a:pt x="31" y="452"/>
                  <a:pt x="31" y="452"/>
                </a:cubicBezTo>
                <a:cubicBezTo>
                  <a:pt x="23" y="453"/>
                  <a:pt x="23" y="453"/>
                  <a:pt x="23" y="453"/>
                </a:cubicBezTo>
                <a:cubicBezTo>
                  <a:pt x="23" y="453"/>
                  <a:pt x="23" y="465"/>
                  <a:pt x="26" y="466"/>
                </a:cubicBezTo>
                <a:cubicBezTo>
                  <a:pt x="28" y="467"/>
                  <a:pt x="28" y="471"/>
                  <a:pt x="31" y="477"/>
                </a:cubicBezTo>
                <a:cubicBezTo>
                  <a:pt x="33" y="482"/>
                  <a:pt x="36" y="478"/>
                  <a:pt x="36" y="484"/>
                </a:cubicBezTo>
                <a:cubicBezTo>
                  <a:pt x="36" y="490"/>
                  <a:pt x="40" y="488"/>
                  <a:pt x="43" y="488"/>
                </a:cubicBezTo>
                <a:cubicBezTo>
                  <a:pt x="47" y="488"/>
                  <a:pt x="52" y="496"/>
                  <a:pt x="56" y="496"/>
                </a:cubicBezTo>
                <a:cubicBezTo>
                  <a:pt x="61" y="496"/>
                  <a:pt x="69" y="506"/>
                  <a:pt x="69" y="506"/>
                </a:cubicBezTo>
                <a:cubicBezTo>
                  <a:pt x="79" y="506"/>
                  <a:pt x="79" y="506"/>
                  <a:pt x="79" y="506"/>
                </a:cubicBezTo>
                <a:cubicBezTo>
                  <a:pt x="78" y="511"/>
                  <a:pt x="78" y="511"/>
                  <a:pt x="78" y="511"/>
                </a:cubicBezTo>
                <a:cubicBezTo>
                  <a:pt x="85" y="511"/>
                  <a:pt x="85" y="511"/>
                  <a:pt x="85" y="511"/>
                </a:cubicBezTo>
                <a:cubicBezTo>
                  <a:pt x="88" y="513"/>
                  <a:pt x="88" y="513"/>
                  <a:pt x="88" y="513"/>
                </a:cubicBezTo>
                <a:cubicBezTo>
                  <a:pt x="88" y="513"/>
                  <a:pt x="88" y="511"/>
                  <a:pt x="91" y="509"/>
                </a:cubicBezTo>
                <a:cubicBezTo>
                  <a:pt x="93" y="508"/>
                  <a:pt x="113" y="507"/>
                  <a:pt x="113" y="507"/>
                </a:cubicBezTo>
                <a:cubicBezTo>
                  <a:pt x="117" y="502"/>
                  <a:pt x="117" y="502"/>
                  <a:pt x="117" y="502"/>
                </a:cubicBezTo>
                <a:cubicBezTo>
                  <a:pt x="124" y="505"/>
                  <a:pt x="124" y="505"/>
                  <a:pt x="124" y="505"/>
                </a:cubicBezTo>
                <a:cubicBezTo>
                  <a:pt x="118" y="510"/>
                  <a:pt x="118" y="510"/>
                  <a:pt x="118" y="510"/>
                </a:cubicBezTo>
                <a:cubicBezTo>
                  <a:pt x="118" y="510"/>
                  <a:pt x="123" y="517"/>
                  <a:pt x="126" y="521"/>
                </a:cubicBezTo>
                <a:cubicBezTo>
                  <a:pt x="127" y="522"/>
                  <a:pt x="127" y="523"/>
                  <a:pt x="126" y="524"/>
                </a:cubicBezTo>
                <a:cubicBezTo>
                  <a:pt x="124" y="526"/>
                  <a:pt x="119" y="528"/>
                  <a:pt x="119" y="530"/>
                </a:cubicBezTo>
                <a:cubicBezTo>
                  <a:pt x="118" y="533"/>
                  <a:pt x="120" y="534"/>
                  <a:pt x="116" y="539"/>
                </a:cubicBezTo>
                <a:cubicBezTo>
                  <a:pt x="113" y="544"/>
                  <a:pt x="106" y="542"/>
                  <a:pt x="106" y="542"/>
                </a:cubicBezTo>
                <a:cubicBezTo>
                  <a:pt x="103" y="552"/>
                  <a:pt x="103" y="552"/>
                  <a:pt x="103" y="552"/>
                </a:cubicBezTo>
                <a:cubicBezTo>
                  <a:pt x="95" y="557"/>
                  <a:pt x="95" y="557"/>
                  <a:pt x="95" y="557"/>
                </a:cubicBezTo>
                <a:cubicBezTo>
                  <a:pt x="98" y="571"/>
                  <a:pt x="98" y="571"/>
                  <a:pt x="98" y="571"/>
                </a:cubicBezTo>
                <a:cubicBezTo>
                  <a:pt x="108" y="574"/>
                  <a:pt x="108" y="574"/>
                  <a:pt x="108" y="574"/>
                </a:cubicBezTo>
                <a:cubicBezTo>
                  <a:pt x="115" y="575"/>
                  <a:pt x="115" y="575"/>
                  <a:pt x="115" y="575"/>
                </a:cubicBezTo>
                <a:cubicBezTo>
                  <a:pt x="118" y="570"/>
                  <a:pt x="118" y="570"/>
                  <a:pt x="118" y="570"/>
                </a:cubicBezTo>
                <a:cubicBezTo>
                  <a:pt x="125" y="571"/>
                  <a:pt x="125" y="571"/>
                  <a:pt x="125" y="571"/>
                </a:cubicBezTo>
                <a:cubicBezTo>
                  <a:pt x="132" y="567"/>
                  <a:pt x="132" y="567"/>
                  <a:pt x="132" y="567"/>
                </a:cubicBezTo>
                <a:cubicBezTo>
                  <a:pt x="138" y="569"/>
                  <a:pt x="138" y="569"/>
                  <a:pt x="138" y="569"/>
                </a:cubicBezTo>
                <a:cubicBezTo>
                  <a:pt x="168" y="557"/>
                  <a:pt x="168" y="557"/>
                  <a:pt x="168" y="557"/>
                </a:cubicBezTo>
                <a:cubicBezTo>
                  <a:pt x="181" y="545"/>
                  <a:pt x="181" y="545"/>
                  <a:pt x="181" y="545"/>
                </a:cubicBezTo>
                <a:cubicBezTo>
                  <a:pt x="182" y="537"/>
                  <a:pt x="182" y="537"/>
                  <a:pt x="182" y="537"/>
                </a:cubicBezTo>
                <a:cubicBezTo>
                  <a:pt x="193" y="531"/>
                  <a:pt x="193" y="531"/>
                  <a:pt x="193" y="531"/>
                </a:cubicBezTo>
                <a:cubicBezTo>
                  <a:pt x="193" y="531"/>
                  <a:pt x="191" y="519"/>
                  <a:pt x="195" y="515"/>
                </a:cubicBezTo>
                <a:cubicBezTo>
                  <a:pt x="200" y="510"/>
                  <a:pt x="214" y="506"/>
                  <a:pt x="218" y="504"/>
                </a:cubicBezTo>
                <a:cubicBezTo>
                  <a:pt x="221" y="503"/>
                  <a:pt x="216" y="501"/>
                  <a:pt x="216" y="501"/>
                </a:cubicBezTo>
                <a:cubicBezTo>
                  <a:pt x="222" y="495"/>
                  <a:pt x="222" y="495"/>
                  <a:pt x="222" y="495"/>
                </a:cubicBezTo>
                <a:cubicBezTo>
                  <a:pt x="221" y="486"/>
                  <a:pt x="221" y="486"/>
                  <a:pt x="221" y="486"/>
                </a:cubicBezTo>
                <a:cubicBezTo>
                  <a:pt x="260" y="466"/>
                  <a:pt x="260" y="466"/>
                  <a:pt x="260" y="466"/>
                </a:cubicBezTo>
                <a:cubicBezTo>
                  <a:pt x="271" y="467"/>
                  <a:pt x="271" y="467"/>
                  <a:pt x="271" y="467"/>
                </a:cubicBezTo>
                <a:cubicBezTo>
                  <a:pt x="277" y="471"/>
                  <a:pt x="277" y="471"/>
                  <a:pt x="277" y="471"/>
                </a:cubicBezTo>
                <a:cubicBezTo>
                  <a:pt x="284" y="469"/>
                  <a:pt x="284" y="469"/>
                  <a:pt x="284" y="469"/>
                </a:cubicBezTo>
                <a:cubicBezTo>
                  <a:pt x="287" y="475"/>
                  <a:pt x="287" y="475"/>
                  <a:pt x="287" y="475"/>
                </a:cubicBezTo>
                <a:cubicBezTo>
                  <a:pt x="313" y="479"/>
                  <a:pt x="313" y="479"/>
                  <a:pt x="313" y="479"/>
                </a:cubicBezTo>
                <a:cubicBezTo>
                  <a:pt x="313" y="488"/>
                  <a:pt x="313" y="488"/>
                  <a:pt x="313" y="488"/>
                </a:cubicBezTo>
                <a:cubicBezTo>
                  <a:pt x="318" y="491"/>
                  <a:pt x="318" y="491"/>
                  <a:pt x="318" y="491"/>
                </a:cubicBezTo>
                <a:cubicBezTo>
                  <a:pt x="323" y="481"/>
                  <a:pt x="323" y="481"/>
                  <a:pt x="323" y="481"/>
                </a:cubicBezTo>
                <a:cubicBezTo>
                  <a:pt x="323" y="481"/>
                  <a:pt x="336" y="490"/>
                  <a:pt x="340" y="492"/>
                </a:cubicBezTo>
                <a:cubicBezTo>
                  <a:pt x="343" y="494"/>
                  <a:pt x="343" y="499"/>
                  <a:pt x="343" y="499"/>
                </a:cubicBezTo>
                <a:cubicBezTo>
                  <a:pt x="343" y="499"/>
                  <a:pt x="347" y="501"/>
                  <a:pt x="353" y="501"/>
                </a:cubicBezTo>
                <a:cubicBezTo>
                  <a:pt x="359" y="501"/>
                  <a:pt x="356" y="505"/>
                  <a:pt x="356" y="505"/>
                </a:cubicBezTo>
                <a:cubicBezTo>
                  <a:pt x="356" y="505"/>
                  <a:pt x="362" y="510"/>
                  <a:pt x="366" y="512"/>
                </a:cubicBezTo>
                <a:cubicBezTo>
                  <a:pt x="371" y="515"/>
                  <a:pt x="372" y="521"/>
                  <a:pt x="372" y="521"/>
                </a:cubicBezTo>
                <a:cubicBezTo>
                  <a:pt x="372" y="518"/>
                  <a:pt x="381" y="522"/>
                  <a:pt x="382" y="526"/>
                </a:cubicBezTo>
                <a:cubicBezTo>
                  <a:pt x="384" y="529"/>
                  <a:pt x="396" y="538"/>
                  <a:pt x="396" y="538"/>
                </a:cubicBezTo>
                <a:cubicBezTo>
                  <a:pt x="400" y="537"/>
                  <a:pt x="400" y="537"/>
                  <a:pt x="400" y="537"/>
                </a:cubicBezTo>
                <a:cubicBezTo>
                  <a:pt x="400" y="537"/>
                  <a:pt x="396" y="528"/>
                  <a:pt x="400" y="527"/>
                </a:cubicBezTo>
                <a:cubicBezTo>
                  <a:pt x="404" y="526"/>
                  <a:pt x="416" y="541"/>
                  <a:pt x="416" y="541"/>
                </a:cubicBezTo>
                <a:cubicBezTo>
                  <a:pt x="419" y="540"/>
                  <a:pt x="419" y="540"/>
                  <a:pt x="419" y="540"/>
                </a:cubicBezTo>
                <a:cubicBezTo>
                  <a:pt x="419" y="540"/>
                  <a:pt x="420" y="541"/>
                  <a:pt x="421" y="541"/>
                </a:cubicBezTo>
                <a:cubicBezTo>
                  <a:pt x="423" y="541"/>
                  <a:pt x="426" y="542"/>
                  <a:pt x="429" y="543"/>
                </a:cubicBezTo>
                <a:cubicBezTo>
                  <a:pt x="433" y="545"/>
                  <a:pt x="444" y="564"/>
                  <a:pt x="446" y="567"/>
                </a:cubicBezTo>
                <a:cubicBezTo>
                  <a:pt x="449" y="571"/>
                  <a:pt x="451" y="591"/>
                  <a:pt x="451" y="598"/>
                </a:cubicBezTo>
                <a:cubicBezTo>
                  <a:pt x="451" y="606"/>
                  <a:pt x="451" y="615"/>
                  <a:pt x="455" y="623"/>
                </a:cubicBezTo>
                <a:cubicBezTo>
                  <a:pt x="459" y="630"/>
                  <a:pt x="457" y="641"/>
                  <a:pt x="457" y="641"/>
                </a:cubicBezTo>
                <a:cubicBezTo>
                  <a:pt x="457" y="641"/>
                  <a:pt x="462" y="648"/>
                  <a:pt x="467" y="654"/>
                </a:cubicBezTo>
                <a:cubicBezTo>
                  <a:pt x="471" y="659"/>
                  <a:pt x="471" y="659"/>
                  <a:pt x="473" y="665"/>
                </a:cubicBezTo>
                <a:cubicBezTo>
                  <a:pt x="475" y="670"/>
                  <a:pt x="481" y="679"/>
                  <a:pt x="484" y="686"/>
                </a:cubicBezTo>
                <a:cubicBezTo>
                  <a:pt x="487" y="694"/>
                  <a:pt x="484" y="711"/>
                  <a:pt x="483" y="722"/>
                </a:cubicBezTo>
                <a:cubicBezTo>
                  <a:pt x="482" y="733"/>
                  <a:pt x="476" y="729"/>
                  <a:pt x="476" y="731"/>
                </a:cubicBezTo>
                <a:cubicBezTo>
                  <a:pt x="476" y="732"/>
                  <a:pt x="482" y="743"/>
                  <a:pt x="482" y="743"/>
                </a:cubicBezTo>
                <a:cubicBezTo>
                  <a:pt x="487" y="736"/>
                  <a:pt x="487" y="736"/>
                  <a:pt x="487" y="736"/>
                </a:cubicBezTo>
                <a:cubicBezTo>
                  <a:pt x="487" y="736"/>
                  <a:pt x="495" y="736"/>
                  <a:pt x="502" y="736"/>
                </a:cubicBezTo>
                <a:cubicBezTo>
                  <a:pt x="510" y="736"/>
                  <a:pt x="514" y="748"/>
                  <a:pt x="514" y="751"/>
                </a:cubicBezTo>
                <a:cubicBezTo>
                  <a:pt x="514" y="754"/>
                  <a:pt x="507" y="765"/>
                  <a:pt x="507" y="765"/>
                </a:cubicBezTo>
                <a:cubicBezTo>
                  <a:pt x="507" y="765"/>
                  <a:pt x="514" y="767"/>
                  <a:pt x="516" y="768"/>
                </a:cubicBezTo>
                <a:cubicBezTo>
                  <a:pt x="518" y="768"/>
                  <a:pt x="528" y="774"/>
                  <a:pt x="538" y="778"/>
                </a:cubicBezTo>
                <a:cubicBezTo>
                  <a:pt x="548" y="782"/>
                  <a:pt x="542" y="786"/>
                  <a:pt x="543" y="792"/>
                </a:cubicBezTo>
                <a:cubicBezTo>
                  <a:pt x="544" y="799"/>
                  <a:pt x="547" y="793"/>
                  <a:pt x="554" y="798"/>
                </a:cubicBezTo>
                <a:cubicBezTo>
                  <a:pt x="560" y="802"/>
                  <a:pt x="560" y="810"/>
                  <a:pt x="560" y="810"/>
                </a:cubicBezTo>
                <a:cubicBezTo>
                  <a:pt x="562" y="808"/>
                  <a:pt x="562" y="808"/>
                  <a:pt x="562" y="808"/>
                </a:cubicBezTo>
                <a:cubicBezTo>
                  <a:pt x="562" y="808"/>
                  <a:pt x="564" y="809"/>
                  <a:pt x="568" y="813"/>
                </a:cubicBezTo>
                <a:cubicBezTo>
                  <a:pt x="571" y="816"/>
                  <a:pt x="563" y="826"/>
                  <a:pt x="563" y="828"/>
                </a:cubicBezTo>
                <a:cubicBezTo>
                  <a:pt x="562" y="831"/>
                  <a:pt x="556" y="828"/>
                  <a:pt x="556" y="828"/>
                </a:cubicBezTo>
                <a:cubicBezTo>
                  <a:pt x="556" y="828"/>
                  <a:pt x="553" y="834"/>
                  <a:pt x="553" y="837"/>
                </a:cubicBezTo>
                <a:cubicBezTo>
                  <a:pt x="553" y="840"/>
                  <a:pt x="562" y="842"/>
                  <a:pt x="566" y="842"/>
                </a:cubicBezTo>
                <a:cubicBezTo>
                  <a:pt x="569" y="842"/>
                  <a:pt x="568" y="836"/>
                  <a:pt x="571" y="834"/>
                </a:cubicBezTo>
                <a:cubicBezTo>
                  <a:pt x="572" y="832"/>
                  <a:pt x="587" y="838"/>
                  <a:pt x="598" y="842"/>
                </a:cubicBezTo>
                <a:cubicBezTo>
                  <a:pt x="602" y="843"/>
                  <a:pt x="605" y="844"/>
                  <a:pt x="607" y="845"/>
                </a:cubicBezTo>
                <a:cubicBezTo>
                  <a:pt x="618" y="847"/>
                  <a:pt x="633" y="867"/>
                  <a:pt x="635" y="874"/>
                </a:cubicBezTo>
                <a:cubicBezTo>
                  <a:pt x="638" y="881"/>
                  <a:pt x="653" y="904"/>
                  <a:pt x="653" y="904"/>
                </a:cubicBezTo>
                <a:cubicBezTo>
                  <a:pt x="660" y="901"/>
                  <a:pt x="660" y="901"/>
                  <a:pt x="660" y="901"/>
                </a:cubicBezTo>
                <a:cubicBezTo>
                  <a:pt x="660" y="901"/>
                  <a:pt x="688" y="922"/>
                  <a:pt x="695" y="928"/>
                </a:cubicBezTo>
                <a:cubicBezTo>
                  <a:pt x="701" y="935"/>
                  <a:pt x="702" y="955"/>
                  <a:pt x="702" y="955"/>
                </a:cubicBezTo>
                <a:cubicBezTo>
                  <a:pt x="702" y="955"/>
                  <a:pt x="717" y="964"/>
                  <a:pt x="731" y="976"/>
                </a:cubicBezTo>
                <a:cubicBezTo>
                  <a:pt x="745" y="989"/>
                  <a:pt x="754" y="1008"/>
                  <a:pt x="754" y="1008"/>
                </a:cubicBezTo>
                <a:cubicBezTo>
                  <a:pt x="754" y="1008"/>
                  <a:pt x="757" y="1007"/>
                  <a:pt x="762" y="1007"/>
                </a:cubicBezTo>
                <a:cubicBezTo>
                  <a:pt x="768" y="1008"/>
                  <a:pt x="777" y="1015"/>
                  <a:pt x="777" y="1015"/>
                </a:cubicBezTo>
                <a:cubicBezTo>
                  <a:pt x="777" y="1015"/>
                  <a:pt x="787" y="1016"/>
                  <a:pt x="792" y="1017"/>
                </a:cubicBezTo>
                <a:cubicBezTo>
                  <a:pt x="797" y="1019"/>
                  <a:pt x="804" y="1032"/>
                  <a:pt x="808" y="1040"/>
                </a:cubicBezTo>
                <a:cubicBezTo>
                  <a:pt x="812" y="1048"/>
                  <a:pt x="816" y="1049"/>
                  <a:pt x="816" y="1049"/>
                </a:cubicBezTo>
                <a:cubicBezTo>
                  <a:pt x="821" y="1039"/>
                  <a:pt x="847" y="1034"/>
                  <a:pt x="852" y="1035"/>
                </a:cubicBezTo>
                <a:cubicBezTo>
                  <a:pt x="857" y="1035"/>
                  <a:pt x="877" y="1048"/>
                  <a:pt x="877" y="1048"/>
                </a:cubicBezTo>
                <a:cubicBezTo>
                  <a:pt x="886" y="1048"/>
                  <a:pt x="886" y="1048"/>
                  <a:pt x="886" y="1048"/>
                </a:cubicBezTo>
                <a:cubicBezTo>
                  <a:pt x="881" y="1042"/>
                  <a:pt x="899" y="1043"/>
                  <a:pt x="906" y="1045"/>
                </a:cubicBezTo>
                <a:cubicBezTo>
                  <a:pt x="907" y="1045"/>
                  <a:pt x="908" y="1046"/>
                  <a:pt x="909" y="1047"/>
                </a:cubicBezTo>
                <a:cubicBezTo>
                  <a:pt x="916" y="1053"/>
                  <a:pt x="927" y="1069"/>
                  <a:pt x="927" y="1069"/>
                </a:cubicBezTo>
                <a:cubicBezTo>
                  <a:pt x="927" y="1069"/>
                  <a:pt x="928" y="1082"/>
                  <a:pt x="935" y="1087"/>
                </a:cubicBezTo>
                <a:cubicBezTo>
                  <a:pt x="942" y="1092"/>
                  <a:pt x="944" y="1101"/>
                  <a:pt x="946" y="1107"/>
                </a:cubicBezTo>
                <a:cubicBezTo>
                  <a:pt x="948" y="1112"/>
                  <a:pt x="948" y="1123"/>
                  <a:pt x="948" y="1123"/>
                </a:cubicBezTo>
                <a:cubicBezTo>
                  <a:pt x="956" y="1125"/>
                  <a:pt x="956" y="1125"/>
                  <a:pt x="956" y="1125"/>
                </a:cubicBezTo>
                <a:cubicBezTo>
                  <a:pt x="956" y="1125"/>
                  <a:pt x="956" y="1120"/>
                  <a:pt x="957" y="1117"/>
                </a:cubicBezTo>
                <a:cubicBezTo>
                  <a:pt x="957" y="1115"/>
                  <a:pt x="966" y="1124"/>
                  <a:pt x="966" y="1124"/>
                </a:cubicBezTo>
                <a:cubicBezTo>
                  <a:pt x="966" y="1124"/>
                  <a:pt x="974" y="1115"/>
                  <a:pt x="978" y="1114"/>
                </a:cubicBezTo>
                <a:cubicBezTo>
                  <a:pt x="983" y="1112"/>
                  <a:pt x="996" y="1129"/>
                  <a:pt x="996" y="1129"/>
                </a:cubicBezTo>
                <a:cubicBezTo>
                  <a:pt x="996" y="1129"/>
                  <a:pt x="1003" y="1130"/>
                  <a:pt x="1005" y="1130"/>
                </a:cubicBezTo>
                <a:cubicBezTo>
                  <a:pt x="1007" y="1130"/>
                  <a:pt x="1009" y="1139"/>
                  <a:pt x="1009" y="1139"/>
                </a:cubicBezTo>
                <a:cubicBezTo>
                  <a:pt x="1009" y="1139"/>
                  <a:pt x="1005" y="1141"/>
                  <a:pt x="1003" y="1141"/>
                </a:cubicBezTo>
                <a:cubicBezTo>
                  <a:pt x="1000" y="1141"/>
                  <a:pt x="1001" y="1149"/>
                  <a:pt x="1000" y="1151"/>
                </a:cubicBezTo>
                <a:cubicBezTo>
                  <a:pt x="1000" y="1152"/>
                  <a:pt x="994" y="1151"/>
                  <a:pt x="991" y="1151"/>
                </a:cubicBezTo>
                <a:cubicBezTo>
                  <a:pt x="988" y="1151"/>
                  <a:pt x="987" y="1164"/>
                  <a:pt x="987" y="1164"/>
                </a:cubicBezTo>
                <a:cubicBezTo>
                  <a:pt x="1007" y="1155"/>
                  <a:pt x="1007" y="1155"/>
                  <a:pt x="1007" y="1155"/>
                </a:cubicBezTo>
                <a:cubicBezTo>
                  <a:pt x="1019" y="1155"/>
                  <a:pt x="1019" y="1155"/>
                  <a:pt x="1019" y="1155"/>
                </a:cubicBezTo>
                <a:cubicBezTo>
                  <a:pt x="1029" y="1148"/>
                  <a:pt x="1029" y="1148"/>
                  <a:pt x="1029" y="1148"/>
                </a:cubicBezTo>
                <a:cubicBezTo>
                  <a:pt x="1037" y="1151"/>
                  <a:pt x="1037" y="1151"/>
                  <a:pt x="1037" y="1151"/>
                </a:cubicBezTo>
                <a:cubicBezTo>
                  <a:pt x="1037" y="1151"/>
                  <a:pt x="1042" y="1143"/>
                  <a:pt x="1047" y="1143"/>
                </a:cubicBezTo>
                <a:cubicBezTo>
                  <a:pt x="1051" y="1143"/>
                  <a:pt x="1059" y="1158"/>
                  <a:pt x="1065" y="1162"/>
                </a:cubicBezTo>
                <a:cubicBezTo>
                  <a:pt x="1071" y="1166"/>
                  <a:pt x="1079" y="1190"/>
                  <a:pt x="1080" y="1195"/>
                </a:cubicBezTo>
                <a:cubicBezTo>
                  <a:pt x="1081" y="1200"/>
                  <a:pt x="1073" y="1203"/>
                  <a:pt x="1073" y="1203"/>
                </a:cubicBezTo>
                <a:cubicBezTo>
                  <a:pt x="1075" y="1213"/>
                  <a:pt x="1075" y="1213"/>
                  <a:pt x="1075" y="1213"/>
                </a:cubicBezTo>
                <a:cubicBezTo>
                  <a:pt x="1075" y="1213"/>
                  <a:pt x="1070" y="1217"/>
                  <a:pt x="1068" y="1220"/>
                </a:cubicBezTo>
                <a:cubicBezTo>
                  <a:pt x="1067" y="1222"/>
                  <a:pt x="1072" y="1221"/>
                  <a:pt x="1078" y="1223"/>
                </a:cubicBezTo>
                <a:cubicBezTo>
                  <a:pt x="1083" y="1226"/>
                  <a:pt x="1088" y="1235"/>
                  <a:pt x="1088" y="1235"/>
                </a:cubicBezTo>
                <a:cubicBezTo>
                  <a:pt x="1099" y="1231"/>
                  <a:pt x="1099" y="1231"/>
                  <a:pt x="1099" y="1231"/>
                </a:cubicBezTo>
                <a:cubicBezTo>
                  <a:pt x="1099" y="1231"/>
                  <a:pt x="1114" y="1245"/>
                  <a:pt x="1119" y="1248"/>
                </a:cubicBezTo>
                <a:cubicBezTo>
                  <a:pt x="1123" y="1251"/>
                  <a:pt x="1119" y="1257"/>
                  <a:pt x="1119" y="1257"/>
                </a:cubicBezTo>
                <a:cubicBezTo>
                  <a:pt x="1119" y="1257"/>
                  <a:pt x="1121" y="1255"/>
                  <a:pt x="1127" y="1255"/>
                </a:cubicBezTo>
                <a:cubicBezTo>
                  <a:pt x="1132" y="1255"/>
                  <a:pt x="1133" y="1263"/>
                  <a:pt x="1136" y="1263"/>
                </a:cubicBezTo>
                <a:cubicBezTo>
                  <a:pt x="1139" y="1264"/>
                  <a:pt x="1144" y="1255"/>
                  <a:pt x="1148" y="1249"/>
                </a:cubicBezTo>
                <a:cubicBezTo>
                  <a:pt x="1152" y="1244"/>
                  <a:pt x="1167" y="1247"/>
                  <a:pt x="1167" y="1247"/>
                </a:cubicBezTo>
                <a:cubicBezTo>
                  <a:pt x="1168" y="1254"/>
                  <a:pt x="1168" y="1254"/>
                  <a:pt x="1168" y="1254"/>
                </a:cubicBezTo>
                <a:cubicBezTo>
                  <a:pt x="1168" y="1254"/>
                  <a:pt x="1169" y="1254"/>
                  <a:pt x="1170" y="1254"/>
                </a:cubicBezTo>
                <a:cubicBezTo>
                  <a:pt x="1172" y="1254"/>
                  <a:pt x="1174" y="1255"/>
                  <a:pt x="1175" y="1255"/>
                </a:cubicBezTo>
                <a:cubicBezTo>
                  <a:pt x="1176" y="1255"/>
                  <a:pt x="1181" y="1265"/>
                  <a:pt x="1184" y="1273"/>
                </a:cubicBezTo>
                <a:cubicBezTo>
                  <a:pt x="1187" y="1279"/>
                  <a:pt x="1190" y="1284"/>
                  <a:pt x="1190" y="1284"/>
                </a:cubicBezTo>
                <a:cubicBezTo>
                  <a:pt x="1188" y="1290"/>
                  <a:pt x="1188" y="1290"/>
                  <a:pt x="1188" y="1290"/>
                </a:cubicBezTo>
                <a:cubicBezTo>
                  <a:pt x="1204" y="1337"/>
                  <a:pt x="1204" y="1337"/>
                  <a:pt x="1204" y="1337"/>
                </a:cubicBezTo>
                <a:cubicBezTo>
                  <a:pt x="1204" y="1337"/>
                  <a:pt x="1217" y="1352"/>
                  <a:pt x="1223" y="1363"/>
                </a:cubicBezTo>
                <a:cubicBezTo>
                  <a:pt x="1229" y="1374"/>
                  <a:pt x="1236" y="1427"/>
                  <a:pt x="1236" y="1427"/>
                </a:cubicBezTo>
                <a:cubicBezTo>
                  <a:pt x="1246" y="1444"/>
                  <a:pt x="1246" y="1444"/>
                  <a:pt x="1246" y="1444"/>
                </a:cubicBezTo>
                <a:cubicBezTo>
                  <a:pt x="1256" y="1451"/>
                  <a:pt x="1256" y="1451"/>
                  <a:pt x="1256" y="1451"/>
                </a:cubicBezTo>
                <a:cubicBezTo>
                  <a:pt x="1256" y="1451"/>
                  <a:pt x="1256" y="1466"/>
                  <a:pt x="1256" y="1473"/>
                </a:cubicBezTo>
                <a:cubicBezTo>
                  <a:pt x="1256" y="1480"/>
                  <a:pt x="1246" y="1487"/>
                  <a:pt x="1246" y="1487"/>
                </a:cubicBezTo>
                <a:cubicBezTo>
                  <a:pt x="1225" y="1487"/>
                  <a:pt x="1225" y="1487"/>
                  <a:pt x="1225" y="1487"/>
                </a:cubicBezTo>
                <a:cubicBezTo>
                  <a:pt x="1221" y="1493"/>
                  <a:pt x="1221" y="1493"/>
                  <a:pt x="1221" y="1493"/>
                </a:cubicBezTo>
                <a:cubicBezTo>
                  <a:pt x="1221" y="1493"/>
                  <a:pt x="1210" y="1496"/>
                  <a:pt x="1207" y="1498"/>
                </a:cubicBezTo>
                <a:cubicBezTo>
                  <a:pt x="1203" y="1499"/>
                  <a:pt x="1204" y="1505"/>
                  <a:pt x="1204" y="1505"/>
                </a:cubicBezTo>
                <a:cubicBezTo>
                  <a:pt x="1218" y="1517"/>
                  <a:pt x="1218" y="1517"/>
                  <a:pt x="1218" y="1517"/>
                </a:cubicBezTo>
                <a:cubicBezTo>
                  <a:pt x="1218" y="1517"/>
                  <a:pt x="1207" y="1555"/>
                  <a:pt x="1204" y="1563"/>
                </a:cubicBezTo>
                <a:cubicBezTo>
                  <a:pt x="1200" y="1571"/>
                  <a:pt x="1179" y="1577"/>
                  <a:pt x="1179" y="1577"/>
                </a:cubicBezTo>
                <a:cubicBezTo>
                  <a:pt x="1182" y="1593"/>
                  <a:pt x="1182" y="1593"/>
                  <a:pt x="1182" y="1593"/>
                </a:cubicBezTo>
                <a:cubicBezTo>
                  <a:pt x="1178" y="1599"/>
                  <a:pt x="1178" y="1599"/>
                  <a:pt x="1178" y="1599"/>
                </a:cubicBezTo>
                <a:cubicBezTo>
                  <a:pt x="1184" y="1608"/>
                  <a:pt x="1184" y="1608"/>
                  <a:pt x="1184" y="1608"/>
                </a:cubicBezTo>
                <a:cubicBezTo>
                  <a:pt x="1181" y="1618"/>
                  <a:pt x="1181" y="1618"/>
                  <a:pt x="1181" y="1618"/>
                </a:cubicBezTo>
                <a:cubicBezTo>
                  <a:pt x="1181" y="1618"/>
                  <a:pt x="1188" y="1624"/>
                  <a:pt x="1189" y="1626"/>
                </a:cubicBezTo>
                <a:cubicBezTo>
                  <a:pt x="1190" y="1627"/>
                  <a:pt x="1200" y="1632"/>
                  <a:pt x="1200" y="1632"/>
                </a:cubicBezTo>
                <a:cubicBezTo>
                  <a:pt x="1242" y="1630"/>
                  <a:pt x="1242" y="1630"/>
                  <a:pt x="1242" y="1630"/>
                </a:cubicBezTo>
                <a:cubicBezTo>
                  <a:pt x="1254" y="1610"/>
                  <a:pt x="1254" y="1610"/>
                  <a:pt x="1254" y="1610"/>
                </a:cubicBezTo>
                <a:cubicBezTo>
                  <a:pt x="1255" y="1589"/>
                  <a:pt x="1255" y="1589"/>
                  <a:pt x="1255" y="1589"/>
                </a:cubicBezTo>
                <a:cubicBezTo>
                  <a:pt x="1278" y="1561"/>
                  <a:pt x="1278" y="1561"/>
                  <a:pt x="1278" y="1561"/>
                </a:cubicBezTo>
                <a:cubicBezTo>
                  <a:pt x="1302" y="1549"/>
                  <a:pt x="1305" y="1541"/>
                  <a:pt x="1309" y="1534"/>
                </a:cubicBezTo>
                <a:cubicBezTo>
                  <a:pt x="1313" y="1526"/>
                  <a:pt x="1307" y="1490"/>
                  <a:pt x="1307" y="1490"/>
                </a:cubicBezTo>
                <a:cubicBezTo>
                  <a:pt x="1301" y="1485"/>
                  <a:pt x="1301" y="1485"/>
                  <a:pt x="1301" y="1485"/>
                </a:cubicBezTo>
                <a:cubicBezTo>
                  <a:pt x="1301" y="1485"/>
                  <a:pt x="1317" y="1462"/>
                  <a:pt x="1329" y="1455"/>
                </a:cubicBezTo>
                <a:cubicBezTo>
                  <a:pt x="1341" y="1447"/>
                  <a:pt x="1363" y="1442"/>
                  <a:pt x="1363" y="1442"/>
                </a:cubicBezTo>
                <a:cubicBezTo>
                  <a:pt x="1367" y="1448"/>
                  <a:pt x="1367" y="1448"/>
                  <a:pt x="1367" y="1448"/>
                </a:cubicBezTo>
                <a:cubicBezTo>
                  <a:pt x="1376" y="1445"/>
                  <a:pt x="1376" y="1445"/>
                  <a:pt x="1376" y="1445"/>
                </a:cubicBezTo>
                <a:cubicBezTo>
                  <a:pt x="1378" y="1446"/>
                  <a:pt x="1378" y="1446"/>
                  <a:pt x="1378" y="1446"/>
                </a:cubicBezTo>
                <a:cubicBezTo>
                  <a:pt x="1389" y="1440"/>
                  <a:pt x="1389" y="1440"/>
                  <a:pt x="1389" y="1440"/>
                </a:cubicBezTo>
                <a:cubicBezTo>
                  <a:pt x="1388" y="1433"/>
                  <a:pt x="1388" y="1433"/>
                  <a:pt x="1388" y="1433"/>
                </a:cubicBezTo>
                <a:cubicBezTo>
                  <a:pt x="1392" y="1427"/>
                  <a:pt x="1392" y="1427"/>
                  <a:pt x="1392" y="1427"/>
                </a:cubicBezTo>
                <a:cubicBezTo>
                  <a:pt x="1392" y="1427"/>
                  <a:pt x="1383" y="1422"/>
                  <a:pt x="1380" y="1416"/>
                </a:cubicBezTo>
                <a:cubicBezTo>
                  <a:pt x="1377" y="1410"/>
                  <a:pt x="1383" y="1394"/>
                  <a:pt x="1383" y="1394"/>
                </a:cubicBezTo>
                <a:cubicBezTo>
                  <a:pt x="1383" y="1394"/>
                  <a:pt x="1381" y="1389"/>
                  <a:pt x="1376" y="1386"/>
                </a:cubicBezTo>
                <a:cubicBezTo>
                  <a:pt x="1371" y="1383"/>
                  <a:pt x="1381" y="1359"/>
                  <a:pt x="1381" y="1359"/>
                </a:cubicBezTo>
                <a:cubicBezTo>
                  <a:pt x="1369" y="1352"/>
                  <a:pt x="1369" y="1352"/>
                  <a:pt x="1369" y="1352"/>
                </a:cubicBezTo>
                <a:cubicBezTo>
                  <a:pt x="1369" y="1352"/>
                  <a:pt x="1365" y="1344"/>
                  <a:pt x="1361" y="1344"/>
                </a:cubicBezTo>
                <a:cubicBezTo>
                  <a:pt x="1356" y="1344"/>
                  <a:pt x="1341" y="1336"/>
                  <a:pt x="1341" y="1336"/>
                </a:cubicBezTo>
                <a:cubicBezTo>
                  <a:pt x="1327" y="1323"/>
                  <a:pt x="1327" y="1323"/>
                  <a:pt x="1327" y="1323"/>
                </a:cubicBezTo>
                <a:cubicBezTo>
                  <a:pt x="1308" y="1322"/>
                  <a:pt x="1308" y="1322"/>
                  <a:pt x="1308" y="1322"/>
                </a:cubicBezTo>
                <a:cubicBezTo>
                  <a:pt x="1293" y="1314"/>
                  <a:pt x="1293" y="1314"/>
                  <a:pt x="1293" y="1314"/>
                </a:cubicBezTo>
                <a:cubicBezTo>
                  <a:pt x="1293" y="1305"/>
                  <a:pt x="1293" y="1305"/>
                  <a:pt x="1293" y="1305"/>
                </a:cubicBezTo>
                <a:cubicBezTo>
                  <a:pt x="1287" y="1301"/>
                  <a:pt x="1287" y="1301"/>
                  <a:pt x="1287" y="1301"/>
                </a:cubicBezTo>
                <a:cubicBezTo>
                  <a:pt x="1287" y="1292"/>
                  <a:pt x="1287" y="1292"/>
                  <a:pt x="1287" y="1292"/>
                </a:cubicBezTo>
                <a:cubicBezTo>
                  <a:pt x="1304" y="1263"/>
                  <a:pt x="1304" y="1263"/>
                  <a:pt x="1304" y="1263"/>
                </a:cubicBezTo>
                <a:cubicBezTo>
                  <a:pt x="1300" y="1240"/>
                  <a:pt x="1300" y="1240"/>
                  <a:pt x="1300" y="1240"/>
                </a:cubicBezTo>
                <a:cubicBezTo>
                  <a:pt x="1306" y="1233"/>
                  <a:pt x="1306" y="1233"/>
                  <a:pt x="1306" y="1233"/>
                </a:cubicBezTo>
                <a:cubicBezTo>
                  <a:pt x="1310" y="1228"/>
                  <a:pt x="1310" y="1228"/>
                  <a:pt x="1310" y="1228"/>
                </a:cubicBezTo>
                <a:cubicBezTo>
                  <a:pt x="1333" y="1184"/>
                  <a:pt x="1333" y="1184"/>
                  <a:pt x="1333" y="1184"/>
                </a:cubicBezTo>
                <a:cubicBezTo>
                  <a:pt x="1334" y="1183"/>
                  <a:pt x="1334" y="1183"/>
                  <a:pt x="1334" y="1183"/>
                </a:cubicBezTo>
                <a:cubicBezTo>
                  <a:pt x="1334" y="1183"/>
                  <a:pt x="1355" y="1160"/>
                  <a:pt x="1364" y="1158"/>
                </a:cubicBezTo>
                <a:cubicBezTo>
                  <a:pt x="1373" y="1157"/>
                  <a:pt x="1380" y="1166"/>
                  <a:pt x="1386" y="1171"/>
                </a:cubicBezTo>
                <a:cubicBezTo>
                  <a:pt x="1392" y="1176"/>
                  <a:pt x="1379" y="1177"/>
                  <a:pt x="1379" y="1177"/>
                </a:cubicBezTo>
                <a:cubicBezTo>
                  <a:pt x="1406" y="1190"/>
                  <a:pt x="1406" y="1190"/>
                  <a:pt x="1406" y="1190"/>
                </a:cubicBezTo>
                <a:cubicBezTo>
                  <a:pt x="1411" y="1189"/>
                  <a:pt x="1411" y="1189"/>
                  <a:pt x="1411" y="1189"/>
                </a:cubicBezTo>
                <a:cubicBezTo>
                  <a:pt x="1420" y="1194"/>
                  <a:pt x="1420" y="1194"/>
                  <a:pt x="1420" y="1194"/>
                </a:cubicBezTo>
                <a:cubicBezTo>
                  <a:pt x="1420" y="1194"/>
                  <a:pt x="1469" y="1194"/>
                  <a:pt x="1474" y="1198"/>
                </a:cubicBezTo>
                <a:cubicBezTo>
                  <a:pt x="1479" y="1201"/>
                  <a:pt x="1478" y="1211"/>
                  <a:pt x="1478" y="1211"/>
                </a:cubicBezTo>
                <a:cubicBezTo>
                  <a:pt x="1491" y="1224"/>
                  <a:pt x="1491" y="1224"/>
                  <a:pt x="1491" y="1224"/>
                </a:cubicBezTo>
                <a:cubicBezTo>
                  <a:pt x="1489" y="1234"/>
                  <a:pt x="1489" y="1234"/>
                  <a:pt x="1489" y="1234"/>
                </a:cubicBezTo>
                <a:cubicBezTo>
                  <a:pt x="1494" y="1244"/>
                  <a:pt x="1494" y="1244"/>
                  <a:pt x="1494" y="1244"/>
                </a:cubicBezTo>
                <a:cubicBezTo>
                  <a:pt x="1494" y="1244"/>
                  <a:pt x="1487" y="1244"/>
                  <a:pt x="1499" y="1258"/>
                </a:cubicBezTo>
                <a:cubicBezTo>
                  <a:pt x="1510" y="1272"/>
                  <a:pt x="1532" y="1271"/>
                  <a:pt x="1532" y="1271"/>
                </a:cubicBezTo>
                <a:cubicBezTo>
                  <a:pt x="1532" y="1271"/>
                  <a:pt x="1540" y="1278"/>
                  <a:pt x="1544" y="1279"/>
                </a:cubicBezTo>
                <a:cubicBezTo>
                  <a:pt x="1549" y="1281"/>
                  <a:pt x="1548" y="1244"/>
                  <a:pt x="1548" y="1244"/>
                </a:cubicBezTo>
                <a:cubicBezTo>
                  <a:pt x="1548" y="1244"/>
                  <a:pt x="1562" y="1225"/>
                  <a:pt x="1562" y="1219"/>
                </a:cubicBezTo>
                <a:close/>
                <a:moveTo>
                  <a:pt x="937" y="1140"/>
                </a:moveTo>
                <a:cubicBezTo>
                  <a:pt x="938" y="1138"/>
                  <a:pt x="937" y="1134"/>
                  <a:pt x="937" y="1134"/>
                </a:cubicBezTo>
                <a:cubicBezTo>
                  <a:pt x="923" y="1132"/>
                  <a:pt x="923" y="1132"/>
                  <a:pt x="923" y="1132"/>
                </a:cubicBezTo>
                <a:cubicBezTo>
                  <a:pt x="924" y="1140"/>
                  <a:pt x="924" y="1140"/>
                  <a:pt x="924" y="1140"/>
                </a:cubicBezTo>
                <a:cubicBezTo>
                  <a:pt x="924" y="1140"/>
                  <a:pt x="937" y="1143"/>
                  <a:pt x="937" y="1140"/>
                </a:cubicBezTo>
                <a:close/>
                <a:moveTo>
                  <a:pt x="367" y="1140"/>
                </a:moveTo>
                <a:cubicBezTo>
                  <a:pt x="362" y="1132"/>
                  <a:pt x="362" y="1132"/>
                  <a:pt x="362" y="1132"/>
                </a:cubicBezTo>
                <a:cubicBezTo>
                  <a:pt x="363" y="1126"/>
                  <a:pt x="363" y="1126"/>
                  <a:pt x="363" y="1126"/>
                </a:cubicBezTo>
                <a:cubicBezTo>
                  <a:pt x="354" y="1119"/>
                  <a:pt x="354" y="1119"/>
                  <a:pt x="354" y="1119"/>
                </a:cubicBezTo>
                <a:cubicBezTo>
                  <a:pt x="359" y="1118"/>
                  <a:pt x="359" y="1118"/>
                  <a:pt x="359" y="1118"/>
                </a:cubicBezTo>
                <a:cubicBezTo>
                  <a:pt x="359" y="1112"/>
                  <a:pt x="359" y="1112"/>
                  <a:pt x="359" y="1112"/>
                </a:cubicBezTo>
                <a:cubicBezTo>
                  <a:pt x="365" y="1110"/>
                  <a:pt x="365" y="1110"/>
                  <a:pt x="365" y="1110"/>
                </a:cubicBezTo>
                <a:cubicBezTo>
                  <a:pt x="364" y="1106"/>
                  <a:pt x="364" y="1106"/>
                  <a:pt x="364" y="1106"/>
                </a:cubicBezTo>
                <a:cubicBezTo>
                  <a:pt x="357" y="1110"/>
                  <a:pt x="357" y="1110"/>
                  <a:pt x="357" y="1110"/>
                </a:cubicBezTo>
                <a:cubicBezTo>
                  <a:pt x="356" y="1104"/>
                  <a:pt x="356" y="1104"/>
                  <a:pt x="356" y="1104"/>
                </a:cubicBezTo>
                <a:cubicBezTo>
                  <a:pt x="365" y="1097"/>
                  <a:pt x="365" y="1097"/>
                  <a:pt x="365" y="1097"/>
                </a:cubicBezTo>
                <a:cubicBezTo>
                  <a:pt x="352" y="1102"/>
                  <a:pt x="352" y="1102"/>
                  <a:pt x="352" y="1102"/>
                </a:cubicBezTo>
                <a:cubicBezTo>
                  <a:pt x="353" y="1095"/>
                  <a:pt x="353" y="1095"/>
                  <a:pt x="353" y="1095"/>
                </a:cubicBezTo>
                <a:cubicBezTo>
                  <a:pt x="347" y="1099"/>
                  <a:pt x="347" y="1099"/>
                  <a:pt x="347" y="1099"/>
                </a:cubicBezTo>
                <a:cubicBezTo>
                  <a:pt x="333" y="1097"/>
                  <a:pt x="333" y="1097"/>
                  <a:pt x="333" y="1097"/>
                </a:cubicBezTo>
                <a:cubicBezTo>
                  <a:pt x="337" y="1093"/>
                  <a:pt x="337" y="1093"/>
                  <a:pt x="337" y="1093"/>
                </a:cubicBezTo>
                <a:cubicBezTo>
                  <a:pt x="344" y="1094"/>
                  <a:pt x="344" y="1094"/>
                  <a:pt x="344" y="1094"/>
                </a:cubicBezTo>
                <a:cubicBezTo>
                  <a:pt x="345" y="1085"/>
                  <a:pt x="345" y="1085"/>
                  <a:pt x="345" y="1085"/>
                </a:cubicBezTo>
                <a:cubicBezTo>
                  <a:pt x="351" y="1082"/>
                  <a:pt x="351" y="1082"/>
                  <a:pt x="351" y="1082"/>
                </a:cubicBezTo>
                <a:cubicBezTo>
                  <a:pt x="354" y="1086"/>
                  <a:pt x="354" y="1086"/>
                  <a:pt x="354" y="1086"/>
                </a:cubicBezTo>
                <a:cubicBezTo>
                  <a:pt x="359" y="1083"/>
                  <a:pt x="359" y="1083"/>
                  <a:pt x="359" y="1083"/>
                </a:cubicBezTo>
                <a:cubicBezTo>
                  <a:pt x="359" y="1083"/>
                  <a:pt x="353" y="1079"/>
                  <a:pt x="350" y="1079"/>
                </a:cubicBezTo>
                <a:cubicBezTo>
                  <a:pt x="347" y="1079"/>
                  <a:pt x="341" y="1080"/>
                  <a:pt x="341" y="1080"/>
                </a:cubicBezTo>
                <a:cubicBezTo>
                  <a:pt x="341" y="1075"/>
                  <a:pt x="341" y="1075"/>
                  <a:pt x="341" y="1075"/>
                </a:cubicBezTo>
                <a:cubicBezTo>
                  <a:pt x="336" y="1079"/>
                  <a:pt x="336" y="1079"/>
                  <a:pt x="336" y="1079"/>
                </a:cubicBezTo>
                <a:cubicBezTo>
                  <a:pt x="339" y="1067"/>
                  <a:pt x="339" y="1067"/>
                  <a:pt x="339" y="1067"/>
                </a:cubicBezTo>
                <a:cubicBezTo>
                  <a:pt x="345" y="1064"/>
                  <a:pt x="345" y="1064"/>
                  <a:pt x="345" y="1064"/>
                </a:cubicBezTo>
                <a:cubicBezTo>
                  <a:pt x="345" y="1064"/>
                  <a:pt x="341" y="1055"/>
                  <a:pt x="340" y="1053"/>
                </a:cubicBezTo>
                <a:cubicBezTo>
                  <a:pt x="339" y="1051"/>
                  <a:pt x="332" y="1057"/>
                  <a:pt x="332" y="1057"/>
                </a:cubicBezTo>
                <a:cubicBezTo>
                  <a:pt x="326" y="1061"/>
                  <a:pt x="326" y="1061"/>
                  <a:pt x="326" y="1061"/>
                </a:cubicBezTo>
                <a:cubicBezTo>
                  <a:pt x="326" y="1055"/>
                  <a:pt x="326" y="1055"/>
                  <a:pt x="326" y="1055"/>
                </a:cubicBezTo>
                <a:cubicBezTo>
                  <a:pt x="326" y="1055"/>
                  <a:pt x="323" y="1053"/>
                  <a:pt x="322" y="1049"/>
                </a:cubicBezTo>
                <a:cubicBezTo>
                  <a:pt x="320" y="1045"/>
                  <a:pt x="316" y="1044"/>
                  <a:pt x="316" y="1044"/>
                </a:cubicBezTo>
                <a:cubicBezTo>
                  <a:pt x="316" y="1044"/>
                  <a:pt x="311" y="1049"/>
                  <a:pt x="306" y="1049"/>
                </a:cubicBezTo>
                <a:cubicBezTo>
                  <a:pt x="302" y="1049"/>
                  <a:pt x="305" y="1042"/>
                  <a:pt x="305" y="1040"/>
                </a:cubicBezTo>
                <a:cubicBezTo>
                  <a:pt x="305" y="1037"/>
                  <a:pt x="301" y="1036"/>
                  <a:pt x="301" y="1036"/>
                </a:cubicBezTo>
                <a:cubicBezTo>
                  <a:pt x="301" y="1036"/>
                  <a:pt x="287" y="1036"/>
                  <a:pt x="290" y="1038"/>
                </a:cubicBezTo>
                <a:cubicBezTo>
                  <a:pt x="293" y="1039"/>
                  <a:pt x="290" y="1050"/>
                  <a:pt x="290" y="1050"/>
                </a:cubicBezTo>
                <a:cubicBezTo>
                  <a:pt x="286" y="1056"/>
                  <a:pt x="286" y="1056"/>
                  <a:pt x="286" y="1056"/>
                </a:cubicBezTo>
                <a:cubicBezTo>
                  <a:pt x="286" y="1056"/>
                  <a:pt x="280" y="1055"/>
                  <a:pt x="275" y="1055"/>
                </a:cubicBezTo>
                <a:cubicBezTo>
                  <a:pt x="269" y="1055"/>
                  <a:pt x="264" y="1064"/>
                  <a:pt x="261" y="1069"/>
                </a:cubicBezTo>
                <a:cubicBezTo>
                  <a:pt x="258" y="1074"/>
                  <a:pt x="256" y="1072"/>
                  <a:pt x="251" y="1073"/>
                </a:cubicBezTo>
                <a:cubicBezTo>
                  <a:pt x="246" y="1074"/>
                  <a:pt x="251" y="1080"/>
                  <a:pt x="241" y="1088"/>
                </a:cubicBezTo>
                <a:cubicBezTo>
                  <a:pt x="232" y="1095"/>
                  <a:pt x="219" y="1096"/>
                  <a:pt x="219" y="1096"/>
                </a:cubicBezTo>
                <a:cubicBezTo>
                  <a:pt x="219" y="1096"/>
                  <a:pt x="214" y="1105"/>
                  <a:pt x="206" y="1108"/>
                </a:cubicBezTo>
                <a:cubicBezTo>
                  <a:pt x="199" y="1110"/>
                  <a:pt x="192" y="1108"/>
                  <a:pt x="192" y="1108"/>
                </a:cubicBezTo>
                <a:cubicBezTo>
                  <a:pt x="186" y="1103"/>
                  <a:pt x="186" y="1103"/>
                  <a:pt x="186" y="1103"/>
                </a:cubicBezTo>
                <a:cubicBezTo>
                  <a:pt x="174" y="1102"/>
                  <a:pt x="174" y="1102"/>
                  <a:pt x="174" y="1102"/>
                </a:cubicBezTo>
                <a:cubicBezTo>
                  <a:pt x="174" y="1102"/>
                  <a:pt x="166" y="1096"/>
                  <a:pt x="164" y="1091"/>
                </a:cubicBezTo>
                <a:cubicBezTo>
                  <a:pt x="161" y="1087"/>
                  <a:pt x="164" y="1083"/>
                  <a:pt x="164" y="1083"/>
                </a:cubicBezTo>
                <a:cubicBezTo>
                  <a:pt x="162" y="1077"/>
                  <a:pt x="162" y="1077"/>
                  <a:pt x="162" y="1077"/>
                </a:cubicBezTo>
                <a:cubicBezTo>
                  <a:pt x="162" y="1077"/>
                  <a:pt x="156" y="1085"/>
                  <a:pt x="156" y="1086"/>
                </a:cubicBezTo>
                <a:cubicBezTo>
                  <a:pt x="156" y="1088"/>
                  <a:pt x="159" y="1095"/>
                  <a:pt x="162" y="1097"/>
                </a:cubicBezTo>
                <a:cubicBezTo>
                  <a:pt x="165" y="1100"/>
                  <a:pt x="148" y="1120"/>
                  <a:pt x="148" y="1120"/>
                </a:cubicBezTo>
                <a:cubicBezTo>
                  <a:pt x="156" y="1130"/>
                  <a:pt x="156" y="1130"/>
                  <a:pt x="156" y="1130"/>
                </a:cubicBezTo>
                <a:cubicBezTo>
                  <a:pt x="155" y="1140"/>
                  <a:pt x="155" y="1140"/>
                  <a:pt x="155" y="1140"/>
                </a:cubicBezTo>
                <a:cubicBezTo>
                  <a:pt x="149" y="1141"/>
                  <a:pt x="149" y="1141"/>
                  <a:pt x="149" y="1141"/>
                </a:cubicBezTo>
                <a:cubicBezTo>
                  <a:pt x="151" y="1153"/>
                  <a:pt x="151" y="1153"/>
                  <a:pt x="151" y="1153"/>
                </a:cubicBezTo>
                <a:cubicBezTo>
                  <a:pt x="151" y="1153"/>
                  <a:pt x="151" y="1153"/>
                  <a:pt x="157" y="1143"/>
                </a:cubicBezTo>
                <a:cubicBezTo>
                  <a:pt x="164" y="1133"/>
                  <a:pt x="151" y="1153"/>
                  <a:pt x="158" y="1151"/>
                </a:cubicBezTo>
                <a:cubicBezTo>
                  <a:pt x="165" y="1149"/>
                  <a:pt x="169" y="1148"/>
                  <a:pt x="169" y="1148"/>
                </a:cubicBezTo>
                <a:cubicBezTo>
                  <a:pt x="169" y="1148"/>
                  <a:pt x="174" y="1162"/>
                  <a:pt x="174" y="1164"/>
                </a:cubicBezTo>
                <a:cubicBezTo>
                  <a:pt x="174" y="1165"/>
                  <a:pt x="180" y="1168"/>
                  <a:pt x="182" y="1175"/>
                </a:cubicBezTo>
                <a:cubicBezTo>
                  <a:pt x="184" y="1182"/>
                  <a:pt x="178" y="1193"/>
                  <a:pt x="178" y="1193"/>
                </a:cubicBezTo>
                <a:cubicBezTo>
                  <a:pt x="178" y="1193"/>
                  <a:pt x="184" y="1193"/>
                  <a:pt x="189" y="1198"/>
                </a:cubicBezTo>
                <a:cubicBezTo>
                  <a:pt x="193" y="1204"/>
                  <a:pt x="188" y="1216"/>
                  <a:pt x="187" y="1220"/>
                </a:cubicBezTo>
                <a:cubicBezTo>
                  <a:pt x="187" y="1225"/>
                  <a:pt x="193" y="1237"/>
                  <a:pt x="193" y="1237"/>
                </a:cubicBezTo>
                <a:cubicBezTo>
                  <a:pt x="187" y="1243"/>
                  <a:pt x="187" y="1243"/>
                  <a:pt x="187" y="1243"/>
                </a:cubicBezTo>
                <a:cubicBezTo>
                  <a:pt x="178" y="1243"/>
                  <a:pt x="178" y="1243"/>
                  <a:pt x="178" y="1243"/>
                </a:cubicBezTo>
                <a:cubicBezTo>
                  <a:pt x="177" y="1246"/>
                  <a:pt x="177" y="1246"/>
                  <a:pt x="177" y="1246"/>
                </a:cubicBezTo>
                <a:cubicBezTo>
                  <a:pt x="180" y="1252"/>
                  <a:pt x="180" y="1252"/>
                  <a:pt x="180" y="1252"/>
                </a:cubicBezTo>
                <a:cubicBezTo>
                  <a:pt x="180" y="1252"/>
                  <a:pt x="177" y="1257"/>
                  <a:pt x="177" y="1262"/>
                </a:cubicBezTo>
                <a:cubicBezTo>
                  <a:pt x="177" y="1268"/>
                  <a:pt x="181" y="1272"/>
                  <a:pt x="181" y="1272"/>
                </a:cubicBezTo>
                <a:cubicBezTo>
                  <a:pt x="187" y="1268"/>
                  <a:pt x="187" y="1268"/>
                  <a:pt x="187" y="1268"/>
                </a:cubicBezTo>
                <a:cubicBezTo>
                  <a:pt x="187" y="1268"/>
                  <a:pt x="196" y="1275"/>
                  <a:pt x="198" y="1275"/>
                </a:cubicBezTo>
                <a:cubicBezTo>
                  <a:pt x="199" y="1276"/>
                  <a:pt x="202" y="1285"/>
                  <a:pt x="197" y="1285"/>
                </a:cubicBezTo>
                <a:cubicBezTo>
                  <a:pt x="192" y="1285"/>
                  <a:pt x="193" y="1300"/>
                  <a:pt x="193" y="1300"/>
                </a:cubicBezTo>
                <a:cubicBezTo>
                  <a:pt x="197" y="1309"/>
                  <a:pt x="197" y="1309"/>
                  <a:pt x="197" y="1309"/>
                </a:cubicBezTo>
                <a:cubicBezTo>
                  <a:pt x="192" y="1309"/>
                  <a:pt x="192" y="1309"/>
                  <a:pt x="192" y="1309"/>
                </a:cubicBezTo>
                <a:cubicBezTo>
                  <a:pt x="182" y="1296"/>
                  <a:pt x="182" y="1296"/>
                  <a:pt x="182" y="1296"/>
                </a:cubicBezTo>
                <a:cubicBezTo>
                  <a:pt x="182" y="1296"/>
                  <a:pt x="182" y="1329"/>
                  <a:pt x="182" y="1333"/>
                </a:cubicBezTo>
                <a:cubicBezTo>
                  <a:pt x="182" y="1337"/>
                  <a:pt x="173" y="1349"/>
                  <a:pt x="170" y="1352"/>
                </a:cubicBezTo>
                <a:cubicBezTo>
                  <a:pt x="166" y="1355"/>
                  <a:pt x="175" y="1357"/>
                  <a:pt x="175" y="1357"/>
                </a:cubicBezTo>
                <a:cubicBezTo>
                  <a:pt x="175" y="1357"/>
                  <a:pt x="173" y="1362"/>
                  <a:pt x="168" y="1364"/>
                </a:cubicBezTo>
                <a:cubicBezTo>
                  <a:pt x="164" y="1366"/>
                  <a:pt x="172" y="1370"/>
                  <a:pt x="172" y="1370"/>
                </a:cubicBezTo>
                <a:cubicBezTo>
                  <a:pt x="176" y="1372"/>
                  <a:pt x="176" y="1372"/>
                  <a:pt x="176" y="1372"/>
                </a:cubicBezTo>
                <a:cubicBezTo>
                  <a:pt x="178" y="1381"/>
                  <a:pt x="178" y="1381"/>
                  <a:pt x="178" y="1381"/>
                </a:cubicBezTo>
                <a:cubicBezTo>
                  <a:pt x="168" y="1393"/>
                  <a:pt x="168" y="1393"/>
                  <a:pt x="168" y="1393"/>
                </a:cubicBezTo>
                <a:cubicBezTo>
                  <a:pt x="172" y="1398"/>
                  <a:pt x="172" y="1398"/>
                  <a:pt x="172" y="1398"/>
                </a:cubicBezTo>
                <a:cubicBezTo>
                  <a:pt x="172" y="1398"/>
                  <a:pt x="173" y="1402"/>
                  <a:pt x="176" y="1402"/>
                </a:cubicBezTo>
                <a:cubicBezTo>
                  <a:pt x="179" y="1403"/>
                  <a:pt x="175" y="1412"/>
                  <a:pt x="175" y="1412"/>
                </a:cubicBezTo>
                <a:cubicBezTo>
                  <a:pt x="181" y="1412"/>
                  <a:pt x="181" y="1412"/>
                  <a:pt x="181" y="1412"/>
                </a:cubicBezTo>
                <a:cubicBezTo>
                  <a:pt x="187" y="1420"/>
                  <a:pt x="187" y="1420"/>
                  <a:pt x="187" y="1420"/>
                </a:cubicBezTo>
                <a:cubicBezTo>
                  <a:pt x="194" y="1430"/>
                  <a:pt x="194" y="1430"/>
                  <a:pt x="194" y="1430"/>
                </a:cubicBezTo>
                <a:cubicBezTo>
                  <a:pt x="195" y="1442"/>
                  <a:pt x="195" y="1442"/>
                  <a:pt x="195" y="1442"/>
                </a:cubicBezTo>
                <a:cubicBezTo>
                  <a:pt x="195" y="1442"/>
                  <a:pt x="195" y="1442"/>
                  <a:pt x="200" y="1443"/>
                </a:cubicBezTo>
                <a:cubicBezTo>
                  <a:pt x="204" y="1444"/>
                  <a:pt x="198" y="1450"/>
                  <a:pt x="199" y="1451"/>
                </a:cubicBezTo>
                <a:cubicBezTo>
                  <a:pt x="201" y="1451"/>
                  <a:pt x="200" y="1457"/>
                  <a:pt x="200" y="1457"/>
                </a:cubicBezTo>
                <a:cubicBezTo>
                  <a:pt x="206" y="1450"/>
                  <a:pt x="206" y="1450"/>
                  <a:pt x="206" y="1450"/>
                </a:cubicBezTo>
                <a:cubicBezTo>
                  <a:pt x="211" y="1451"/>
                  <a:pt x="211" y="1451"/>
                  <a:pt x="211" y="1451"/>
                </a:cubicBezTo>
                <a:cubicBezTo>
                  <a:pt x="211" y="1451"/>
                  <a:pt x="213" y="1446"/>
                  <a:pt x="219" y="1449"/>
                </a:cubicBezTo>
                <a:cubicBezTo>
                  <a:pt x="224" y="1452"/>
                  <a:pt x="234" y="1458"/>
                  <a:pt x="234" y="1458"/>
                </a:cubicBezTo>
                <a:cubicBezTo>
                  <a:pt x="266" y="1435"/>
                  <a:pt x="259" y="1426"/>
                  <a:pt x="259" y="1426"/>
                </a:cubicBezTo>
                <a:cubicBezTo>
                  <a:pt x="257" y="1420"/>
                  <a:pt x="257" y="1420"/>
                  <a:pt x="257" y="1420"/>
                </a:cubicBezTo>
                <a:cubicBezTo>
                  <a:pt x="256" y="1408"/>
                  <a:pt x="256" y="1408"/>
                  <a:pt x="256" y="1408"/>
                </a:cubicBezTo>
                <a:cubicBezTo>
                  <a:pt x="269" y="1400"/>
                  <a:pt x="269" y="1400"/>
                  <a:pt x="269" y="1400"/>
                </a:cubicBezTo>
                <a:cubicBezTo>
                  <a:pt x="276" y="1404"/>
                  <a:pt x="276" y="1404"/>
                  <a:pt x="276" y="1404"/>
                </a:cubicBezTo>
                <a:cubicBezTo>
                  <a:pt x="276" y="1404"/>
                  <a:pt x="282" y="1398"/>
                  <a:pt x="290" y="1398"/>
                </a:cubicBezTo>
                <a:cubicBezTo>
                  <a:pt x="298" y="1398"/>
                  <a:pt x="313" y="1415"/>
                  <a:pt x="313" y="1415"/>
                </a:cubicBezTo>
                <a:cubicBezTo>
                  <a:pt x="324" y="1415"/>
                  <a:pt x="324" y="1415"/>
                  <a:pt x="324" y="1415"/>
                </a:cubicBezTo>
                <a:cubicBezTo>
                  <a:pt x="325" y="1419"/>
                  <a:pt x="325" y="1419"/>
                  <a:pt x="325" y="1419"/>
                </a:cubicBezTo>
                <a:cubicBezTo>
                  <a:pt x="335" y="1407"/>
                  <a:pt x="335" y="1407"/>
                  <a:pt x="335" y="1407"/>
                </a:cubicBezTo>
                <a:cubicBezTo>
                  <a:pt x="335" y="1407"/>
                  <a:pt x="334" y="1396"/>
                  <a:pt x="334" y="1393"/>
                </a:cubicBezTo>
                <a:cubicBezTo>
                  <a:pt x="335" y="1390"/>
                  <a:pt x="343" y="1386"/>
                  <a:pt x="343" y="1386"/>
                </a:cubicBezTo>
                <a:cubicBezTo>
                  <a:pt x="343" y="1386"/>
                  <a:pt x="339" y="1384"/>
                  <a:pt x="338" y="1376"/>
                </a:cubicBezTo>
                <a:cubicBezTo>
                  <a:pt x="338" y="1369"/>
                  <a:pt x="343" y="1362"/>
                  <a:pt x="345" y="1357"/>
                </a:cubicBezTo>
                <a:cubicBezTo>
                  <a:pt x="347" y="1351"/>
                  <a:pt x="345" y="1353"/>
                  <a:pt x="343" y="1348"/>
                </a:cubicBezTo>
                <a:cubicBezTo>
                  <a:pt x="342" y="1343"/>
                  <a:pt x="346" y="1341"/>
                  <a:pt x="346" y="1341"/>
                </a:cubicBezTo>
                <a:cubicBezTo>
                  <a:pt x="346" y="1341"/>
                  <a:pt x="349" y="1318"/>
                  <a:pt x="352" y="1313"/>
                </a:cubicBezTo>
                <a:cubicBezTo>
                  <a:pt x="355" y="1308"/>
                  <a:pt x="350" y="1307"/>
                  <a:pt x="349" y="1304"/>
                </a:cubicBezTo>
                <a:cubicBezTo>
                  <a:pt x="349" y="1300"/>
                  <a:pt x="353" y="1296"/>
                  <a:pt x="355" y="1290"/>
                </a:cubicBezTo>
                <a:cubicBezTo>
                  <a:pt x="358" y="1284"/>
                  <a:pt x="352" y="1281"/>
                  <a:pt x="352" y="1281"/>
                </a:cubicBezTo>
                <a:cubicBezTo>
                  <a:pt x="358" y="1273"/>
                  <a:pt x="358" y="1273"/>
                  <a:pt x="358" y="1273"/>
                </a:cubicBezTo>
                <a:cubicBezTo>
                  <a:pt x="352" y="1270"/>
                  <a:pt x="352" y="1270"/>
                  <a:pt x="352" y="1270"/>
                </a:cubicBezTo>
                <a:cubicBezTo>
                  <a:pt x="359" y="1246"/>
                  <a:pt x="359" y="1246"/>
                  <a:pt x="359" y="1246"/>
                </a:cubicBezTo>
                <a:cubicBezTo>
                  <a:pt x="351" y="1235"/>
                  <a:pt x="351" y="1235"/>
                  <a:pt x="351" y="1235"/>
                </a:cubicBezTo>
                <a:cubicBezTo>
                  <a:pt x="347" y="1216"/>
                  <a:pt x="347" y="1216"/>
                  <a:pt x="347" y="1216"/>
                </a:cubicBezTo>
                <a:cubicBezTo>
                  <a:pt x="358" y="1199"/>
                  <a:pt x="358" y="1199"/>
                  <a:pt x="358" y="1199"/>
                </a:cubicBezTo>
                <a:cubicBezTo>
                  <a:pt x="367" y="1192"/>
                  <a:pt x="367" y="1192"/>
                  <a:pt x="367" y="1192"/>
                </a:cubicBezTo>
                <a:cubicBezTo>
                  <a:pt x="376" y="1169"/>
                  <a:pt x="376" y="1169"/>
                  <a:pt x="376" y="1169"/>
                </a:cubicBezTo>
                <a:cubicBezTo>
                  <a:pt x="366" y="1154"/>
                  <a:pt x="366" y="1154"/>
                  <a:pt x="366" y="1154"/>
                </a:cubicBezTo>
                <a:lnTo>
                  <a:pt x="367" y="1140"/>
                </a:lnTo>
                <a:close/>
                <a:moveTo>
                  <a:pt x="1030" y="1523"/>
                </a:moveTo>
                <a:cubicBezTo>
                  <a:pt x="1034" y="1520"/>
                  <a:pt x="1031" y="1518"/>
                  <a:pt x="1024" y="1517"/>
                </a:cubicBezTo>
                <a:cubicBezTo>
                  <a:pt x="1024" y="1517"/>
                  <a:pt x="1026" y="1525"/>
                  <a:pt x="1030" y="1523"/>
                </a:cubicBezTo>
                <a:close/>
                <a:moveTo>
                  <a:pt x="1070" y="1517"/>
                </a:moveTo>
                <a:cubicBezTo>
                  <a:pt x="1062" y="1515"/>
                  <a:pt x="1062" y="1515"/>
                  <a:pt x="1062" y="1515"/>
                </a:cubicBezTo>
                <a:cubicBezTo>
                  <a:pt x="1058" y="1517"/>
                  <a:pt x="1058" y="1517"/>
                  <a:pt x="1058" y="1517"/>
                </a:cubicBezTo>
                <a:cubicBezTo>
                  <a:pt x="1070" y="1526"/>
                  <a:pt x="1070" y="1526"/>
                  <a:pt x="1070" y="1526"/>
                </a:cubicBezTo>
                <a:lnTo>
                  <a:pt x="1070" y="1517"/>
                </a:lnTo>
                <a:close/>
                <a:moveTo>
                  <a:pt x="1081" y="1528"/>
                </a:moveTo>
                <a:cubicBezTo>
                  <a:pt x="1075" y="1527"/>
                  <a:pt x="1075" y="1527"/>
                  <a:pt x="1075" y="1527"/>
                </a:cubicBezTo>
                <a:cubicBezTo>
                  <a:pt x="1073" y="1535"/>
                  <a:pt x="1073" y="1535"/>
                  <a:pt x="1073" y="1535"/>
                </a:cubicBezTo>
                <a:cubicBezTo>
                  <a:pt x="1082" y="1540"/>
                  <a:pt x="1082" y="1540"/>
                  <a:pt x="1082" y="1540"/>
                </a:cubicBezTo>
                <a:cubicBezTo>
                  <a:pt x="1081" y="1547"/>
                  <a:pt x="1081" y="1547"/>
                  <a:pt x="1081" y="1547"/>
                </a:cubicBezTo>
                <a:cubicBezTo>
                  <a:pt x="1092" y="1556"/>
                  <a:pt x="1092" y="1556"/>
                  <a:pt x="1092" y="1556"/>
                </a:cubicBezTo>
                <a:cubicBezTo>
                  <a:pt x="1092" y="1556"/>
                  <a:pt x="1091" y="1552"/>
                  <a:pt x="1087" y="1547"/>
                </a:cubicBezTo>
                <a:cubicBezTo>
                  <a:pt x="1084" y="1541"/>
                  <a:pt x="1090" y="1535"/>
                  <a:pt x="1090" y="1535"/>
                </a:cubicBezTo>
                <a:lnTo>
                  <a:pt x="1081" y="1528"/>
                </a:lnTo>
                <a:close/>
                <a:moveTo>
                  <a:pt x="1097" y="1506"/>
                </a:moveTo>
                <a:cubicBezTo>
                  <a:pt x="1088" y="1505"/>
                  <a:pt x="1090" y="1505"/>
                  <a:pt x="1095" y="1509"/>
                </a:cubicBezTo>
                <a:cubicBezTo>
                  <a:pt x="1100" y="1512"/>
                  <a:pt x="1097" y="1506"/>
                  <a:pt x="1097" y="1506"/>
                </a:cubicBezTo>
                <a:close/>
                <a:moveTo>
                  <a:pt x="1118" y="1472"/>
                </a:moveTo>
                <a:cubicBezTo>
                  <a:pt x="1112" y="1477"/>
                  <a:pt x="1112" y="1477"/>
                  <a:pt x="1112" y="1477"/>
                </a:cubicBezTo>
                <a:cubicBezTo>
                  <a:pt x="1114" y="1480"/>
                  <a:pt x="1115" y="1483"/>
                  <a:pt x="1115" y="1483"/>
                </a:cubicBezTo>
                <a:cubicBezTo>
                  <a:pt x="1121" y="1476"/>
                  <a:pt x="1121" y="1476"/>
                  <a:pt x="1121" y="1476"/>
                </a:cubicBezTo>
                <a:lnTo>
                  <a:pt x="1118" y="1472"/>
                </a:lnTo>
                <a:close/>
                <a:moveTo>
                  <a:pt x="1180" y="1570"/>
                </a:moveTo>
                <a:cubicBezTo>
                  <a:pt x="1176" y="1570"/>
                  <a:pt x="1166" y="1564"/>
                  <a:pt x="1166" y="1564"/>
                </a:cubicBezTo>
                <a:cubicBezTo>
                  <a:pt x="1166" y="1564"/>
                  <a:pt x="1152" y="1575"/>
                  <a:pt x="1139" y="1579"/>
                </a:cubicBezTo>
                <a:cubicBezTo>
                  <a:pt x="1127" y="1583"/>
                  <a:pt x="1126" y="1583"/>
                  <a:pt x="1126" y="1583"/>
                </a:cubicBezTo>
                <a:cubicBezTo>
                  <a:pt x="1126" y="1583"/>
                  <a:pt x="1127" y="1575"/>
                  <a:pt x="1126" y="1573"/>
                </a:cubicBezTo>
                <a:cubicBezTo>
                  <a:pt x="1125" y="1571"/>
                  <a:pt x="1121" y="1571"/>
                  <a:pt x="1123" y="1574"/>
                </a:cubicBezTo>
                <a:cubicBezTo>
                  <a:pt x="1126" y="1577"/>
                  <a:pt x="1121" y="1584"/>
                  <a:pt x="1120" y="1586"/>
                </a:cubicBezTo>
                <a:cubicBezTo>
                  <a:pt x="1120" y="1588"/>
                  <a:pt x="1103" y="1599"/>
                  <a:pt x="1103" y="1599"/>
                </a:cubicBezTo>
                <a:cubicBezTo>
                  <a:pt x="1098" y="1593"/>
                  <a:pt x="1098" y="1593"/>
                  <a:pt x="1098" y="1593"/>
                </a:cubicBezTo>
                <a:cubicBezTo>
                  <a:pt x="1085" y="1592"/>
                  <a:pt x="1085" y="1592"/>
                  <a:pt x="1085" y="1592"/>
                </a:cubicBezTo>
                <a:cubicBezTo>
                  <a:pt x="1080" y="1587"/>
                  <a:pt x="1080" y="1587"/>
                  <a:pt x="1080" y="1587"/>
                </a:cubicBezTo>
                <a:cubicBezTo>
                  <a:pt x="1080" y="1587"/>
                  <a:pt x="1072" y="1590"/>
                  <a:pt x="1065" y="1593"/>
                </a:cubicBezTo>
                <a:cubicBezTo>
                  <a:pt x="1059" y="1595"/>
                  <a:pt x="1055" y="1592"/>
                  <a:pt x="1055" y="1592"/>
                </a:cubicBezTo>
                <a:cubicBezTo>
                  <a:pt x="1055" y="1592"/>
                  <a:pt x="1040" y="1608"/>
                  <a:pt x="1031" y="1612"/>
                </a:cubicBezTo>
                <a:cubicBezTo>
                  <a:pt x="1023" y="1616"/>
                  <a:pt x="1012" y="1615"/>
                  <a:pt x="1012" y="1615"/>
                </a:cubicBezTo>
                <a:cubicBezTo>
                  <a:pt x="992" y="1622"/>
                  <a:pt x="992" y="1622"/>
                  <a:pt x="992" y="1622"/>
                </a:cubicBezTo>
                <a:cubicBezTo>
                  <a:pt x="960" y="1620"/>
                  <a:pt x="960" y="1620"/>
                  <a:pt x="960" y="1620"/>
                </a:cubicBezTo>
                <a:cubicBezTo>
                  <a:pt x="960" y="1620"/>
                  <a:pt x="953" y="1616"/>
                  <a:pt x="949" y="1616"/>
                </a:cubicBezTo>
                <a:cubicBezTo>
                  <a:pt x="945" y="1616"/>
                  <a:pt x="928" y="1627"/>
                  <a:pt x="926" y="1628"/>
                </a:cubicBezTo>
                <a:cubicBezTo>
                  <a:pt x="925" y="1629"/>
                  <a:pt x="907" y="1627"/>
                  <a:pt x="907" y="1627"/>
                </a:cubicBezTo>
                <a:cubicBezTo>
                  <a:pt x="886" y="1614"/>
                  <a:pt x="886" y="1614"/>
                  <a:pt x="886" y="1614"/>
                </a:cubicBezTo>
                <a:cubicBezTo>
                  <a:pt x="883" y="1603"/>
                  <a:pt x="883" y="1603"/>
                  <a:pt x="883" y="1603"/>
                </a:cubicBezTo>
                <a:cubicBezTo>
                  <a:pt x="883" y="1603"/>
                  <a:pt x="870" y="1608"/>
                  <a:pt x="864" y="1606"/>
                </a:cubicBezTo>
                <a:cubicBezTo>
                  <a:pt x="857" y="1605"/>
                  <a:pt x="862" y="1592"/>
                  <a:pt x="862" y="1592"/>
                </a:cubicBezTo>
                <a:cubicBezTo>
                  <a:pt x="855" y="1584"/>
                  <a:pt x="855" y="1584"/>
                  <a:pt x="855" y="1584"/>
                </a:cubicBezTo>
                <a:cubicBezTo>
                  <a:pt x="837" y="1596"/>
                  <a:pt x="837" y="1596"/>
                  <a:pt x="837" y="1596"/>
                </a:cubicBezTo>
                <a:cubicBezTo>
                  <a:pt x="824" y="1592"/>
                  <a:pt x="824" y="1592"/>
                  <a:pt x="824" y="1592"/>
                </a:cubicBezTo>
                <a:cubicBezTo>
                  <a:pt x="817" y="1601"/>
                  <a:pt x="817" y="1601"/>
                  <a:pt x="817" y="1601"/>
                </a:cubicBezTo>
                <a:cubicBezTo>
                  <a:pt x="817" y="1601"/>
                  <a:pt x="820" y="1610"/>
                  <a:pt x="817" y="1612"/>
                </a:cubicBezTo>
                <a:cubicBezTo>
                  <a:pt x="812" y="1616"/>
                  <a:pt x="791" y="1619"/>
                  <a:pt x="791" y="1619"/>
                </a:cubicBezTo>
                <a:cubicBezTo>
                  <a:pt x="781" y="1608"/>
                  <a:pt x="781" y="1608"/>
                  <a:pt x="781" y="1608"/>
                </a:cubicBezTo>
                <a:cubicBezTo>
                  <a:pt x="781" y="1608"/>
                  <a:pt x="779" y="1598"/>
                  <a:pt x="777" y="1594"/>
                </a:cubicBezTo>
                <a:cubicBezTo>
                  <a:pt x="774" y="1589"/>
                  <a:pt x="771" y="1591"/>
                  <a:pt x="771" y="1591"/>
                </a:cubicBezTo>
                <a:cubicBezTo>
                  <a:pt x="766" y="1594"/>
                  <a:pt x="772" y="1601"/>
                  <a:pt x="772" y="1601"/>
                </a:cubicBezTo>
                <a:cubicBezTo>
                  <a:pt x="769" y="1606"/>
                  <a:pt x="769" y="1606"/>
                  <a:pt x="769" y="1606"/>
                </a:cubicBezTo>
                <a:cubicBezTo>
                  <a:pt x="763" y="1606"/>
                  <a:pt x="763" y="1606"/>
                  <a:pt x="763" y="1606"/>
                </a:cubicBezTo>
                <a:cubicBezTo>
                  <a:pt x="756" y="1613"/>
                  <a:pt x="756" y="1613"/>
                  <a:pt x="756" y="1613"/>
                </a:cubicBezTo>
                <a:cubicBezTo>
                  <a:pt x="747" y="1613"/>
                  <a:pt x="747" y="1613"/>
                  <a:pt x="747" y="1613"/>
                </a:cubicBezTo>
                <a:cubicBezTo>
                  <a:pt x="747" y="1613"/>
                  <a:pt x="748" y="1615"/>
                  <a:pt x="742" y="1620"/>
                </a:cubicBezTo>
                <a:cubicBezTo>
                  <a:pt x="737" y="1626"/>
                  <a:pt x="739" y="1636"/>
                  <a:pt x="739" y="1636"/>
                </a:cubicBezTo>
                <a:cubicBezTo>
                  <a:pt x="733" y="1641"/>
                  <a:pt x="733" y="1641"/>
                  <a:pt x="733" y="1641"/>
                </a:cubicBezTo>
                <a:cubicBezTo>
                  <a:pt x="733" y="1641"/>
                  <a:pt x="736" y="1647"/>
                  <a:pt x="736" y="1649"/>
                </a:cubicBezTo>
                <a:cubicBezTo>
                  <a:pt x="736" y="1650"/>
                  <a:pt x="735" y="1655"/>
                  <a:pt x="735" y="1655"/>
                </a:cubicBezTo>
                <a:cubicBezTo>
                  <a:pt x="735" y="1655"/>
                  <a:pt x="730" y="1644"/>
                  <a:pt x="727" y="1646"/>
                </a:cubicBezTo>
                <a:cubicBezTo>
                  <a:pt x="725" y="1647"/>
                  <a:pt x="729" y="1653"/>
                  <a:pt x="733" y="1655"/>
                </a:cubicBezTo>
                <a:cubicBezTo>
                  <a:pt x="737" y="1658"/>
                  <a:pt x="729" y="1660"/>
                  <a:pt x="729" y="1660"/>
                </a:cubicBezTo>
                <a:cubicBezTo>
                  <a:pt x="735" y="1671"/>
                  <a:pt x="735" y="1671"/>
                  <a:pt x="735" y="1671"/>
                </a:cubicBezTo>
                <a:cubicBezTo>
                  <a:pt x="735" y="1681"/>
                  <a:pt x="735" y="1681"/>
                  <a:pt x="735" y="1681"/>
                </a:cubicBezTo>
                <a:cubicBezTo>
                  <a:pt x="740" y="1687"/>
                  <a:pt x="740" y="1687"/>
                  <a:pt x="740" y="1687"/>
                </a:cubicBezTo>
                <a:cubicBezTo>
                  <a:pt x="740" y="1687"/>
                  <a:pt x="749" y="1688"/>
                  <a:pt x="753" y="1690"/>
                </a:cubicBezTo>
                <a:cubicBezTo>
                  <a:pt x="756" y="1692"/>
                  <a:pt x="764" y="1704"/>
                  <a:pt x="764" y="1704"/>
                </a:cubicBezTo>
                <a:cubicBezTo>
                  <a:pt x="764" y="1704"/>
                  <a:pt x="771" y="1701"/>
                  <a:pt x="777" y="1700"/>
                </a:cubicBezTo>
                <a:cubicBezTo>
                  <a:pt x="783" y="1699"/>
                  <a:pt x="803" y="1703"/>
                  <a:pt x="803" y="1703"/>
                </a:cubicBezTo>
                <a:cubicBezTo>
                  <a:pt x="812" y="1714"/>
                  <a:pt x="812" y="1714"/>
                  <a:pt x="812" y="1714"/>
                </a:cubicBezTo>
                <a:cubicBezTo>
                  <a:pt x="812" y="1714"/>
                  <a:pt x="829" y="1716"/>
                  <a:pt x="834" y="1716"/>
                </a:cubicBezTo>
                <a:cubicBezTo>
                  <a:pt x="839" y="1716"/>
                  <a:pt x="845" y="1728"/>
                  <a:pt x="845" y="1728"/>
                </a:cubicBezTo>
                <a:cubicBezTo>
                  <a:pt x="845" y="1728"/>
                  <a:pt x="847" y="1729"/>
                  <a:pt x="849" y="1734"/>
                </a:cubicBezTo>
                <a:cubicBezTo>
                  <a:pt x="851" y="1739"/>
                  <a:pt x="864" y="1743"/>
                  <a:pt x="865" y="1743"/>
                </a:cubicBezTo>
                <a:cubicBezTo>
                  <a:pt x="866" y="1743"/>
                  <a:pt x="873" y="1752"/>
                  <a:pt x="873" y="1752"/>
                </a:cubicBezTo>
                <a:cubicBezTo>
                  <a:pt x="888" y="1752"/>
                  <a:pt x="888" y="1752"/>
                  <a:pt x="888" y="1752"/>
                </a:cubicBezTo>
                <a:cubicBezTo>
                  <a:pt x="888" y="1752"/>
                  <a:pt x="896" y="1760"/>
                  <a:pt x="901" y="1764"/>
                </a:cubicBezTo>
                <a:cubicBezTo>
                  <a:pt x="906" y="1768"/>
                  <a:pt x="916" y="1776"/>
                  <a:pt x="917" y="1777"/>
                </a:cubicBezTo>
                <a:cubicBezTo>
                  <a:pt x="918" y="1777"/>
                  <a:pt x="926" y="1776"/>
                  <a:pt x="926" y="1776"/>
                </a:cubicBezTo>
                <a:cubicBezTo>
                  <a:pt x="936" y="1784"/>
                  <a:pt x="936" y="1784"/>
                  <a:pt x="936" y="1784"/>
                </a:cubicBezTo>
                <a:cubicBezTo>
                  <a:pt x="942" y="1783"/>
                  <a:pt x="942" y="1783"/>
                  <a:pt x="942" y="1783"/>
                </a:cubicBezTo>
                <a:cubicBezTo>
                  <a:pt x="987" y="1784"/>
                  <a:pt x="992" y="1792"/>
                  <a:pt x="1000" y="1798"/>
                </a:cubicBezTo>
                <a:cubicBezTo>
                  <a:pt x="1008" y="1804"/>
                  <a:pt x="1022" y="1839"/>
                  <a:pt x="1022" y="1839"/>
                </a:cubicBezTo>
                <a:cubicBezTo>
                  <a:pt x="1041" y="1841"/>
                  <a:pt x="1041" y="1841"/>
                  <a:pt x="1041" y="1841"/>
                </a:cubicBezTo>
                <a:cubicBezTo>
                  <a:pt x="1051" y="1849"/>
                  <a:pt x="1051" y="1849"/>
                  <a:pt x="1051" y="1849"/>
                </a:cubicBezTo>
                <a:cubicBezTo>
                  <a:pt x="1061" y="1849"/>
                  <a:pt x="1061" y="1849"/>
                  <a:pt x="1061" y="1849"/>
                </a:cubicBezTo>
                <a:cubicBezTo>
                  <a:pt x="1065" y="1853"/>
                  <a:pt x="1065" y="1853"/>
                  <a:pt x="1065" y="1853"/>
                </a:cubicBezTo>
                <a:cubicBezTo>
                  <a:pt x="1065" y="1853"/>
                  <a:pt x="1078" y="1848"/>
                  <a:pt x="1080" y="1849"/>
                </a:cubicBezTo>
                <a:cubicBezTo>
                  <a:pt x="1082" y="1849"/>
                  <a:pt x="1090" y="1855"/>
                  <a:pt x="1090" y="1855"/>
                </a:cubicBezTo>
                <a:cubicBezTo>
                  <a:pt x="1090" y="1855"/>
                  <a:pt x="1091" y="1854"/>
                  <a:pt x="1101" y="1854"/>
                </a:cubicBezTo>
                <a:cubicBezTo>
                  <a:pt x="1111" y="1854"/>
                  <a:pt x="1109" y="1861"/>
                  <a:pt x="1109" y="1861"/>
                </a:cubicBezTo>
                <a:cubicBezTo>
                  <a:pt x="1117" y="1855"/>
                  <a:pt x="1117" y="1855"/>
                  <a:pt x="1117" y="1855"/>
                </a:cubicBezTo>
                <a:cubicBezTo>
                  <a:pt x="1117" y="1855"/>
                  <a:pt x="1113" y="1844"/>
                  <a:pt x="1111" y="1838"/>
                </a:cubicBezTo>
                <a:cubicBezTo>
                  <a:pt x="1109" y="1832"/>
                  <a:pt x="1118" y="1817"/>
                  <a:pt x="1119" y="1813"/>
                </a:cubicBezTo>
                <a:cubicBezTo>
                  <a:pt x="1121" y="1809"/>
                  <a:pt x="1134" y="1805"/>
                  <a:pt x="1134" y="1805"/>
                </a:cubicBezTo>
                <a:cubicBezTo>
                  <a:pt x="1136" y="1797"/>
                  <a:pt x="1136" y="1797"/>
                  <a:pt x="1136" y="1797"/>
                </a:cubicBezTo>
                <a:cubicBezTo>
                  <a:pt x="1146" y="1797"/>
                  <a:pt x="1146" y="1797"/>
                  <a:pt x="1146" y="1797"/>
                </a:cubicBezTo>
                <a:cubicBezTo>
                  <a:pt x="1146" y="1797"/>
                  <a:pt x="1145" y="1796"/>
                  <a:pt x="1142" y="1792"/>
                </a:cubicBezTo>
                <a:cubicBezTo>
                  <a:pt x="1140" y="1788"/>
                  <a:pt x="1135" y="1791"/>
                  <a:pt x="1135" y="1789"/>
                </a:cubicBezTo>
                <a:cubicBezTo>
                  <a:pt x="1135" y="1786"/>
                  <a:pt x="1139" y="1783"/>
                  <a:pt x="1137" y="1780"/>
                </a:cubicBezTo>
                <a:cubicBezTo>
                  <a:pt x="1136" y="1778"/>
                  <a:pt x="1130" y="1777"/>
                  <a:pt x="1130" y="1777"/>
                </a:cubicBezTo>
                <a:cubicBezTo>
                  <a:pt x="1129" y="1771"/>
                  <a:pt x="1129" y="1771"/>
                  <a:pt x="1129" y="1771"/>
                </a:cubicBezTo>
                <a:cubicBezTo>
                  <a:pt x="1125" y="1772"/>
                  <a:pt x="1125" y="1772"/>
                  <a:pt x="1125" y="1772"/>
                </a:cubicBezTo>
                <a:cubicBezTo>
                  <a:pt x="1122" y="1760"/>
                  <a:pt x="1122" y="1760"/>
                  <a:pt x="1122" y="1760"/>
                </a:cubicBezTo>
                <a:cubicBezTo>
                  <a:pt x="1122" y="1760"/>
                  <a:pt x="1123" y="1755"/>
                  <a:pt x="1127" y="1755"/>
                </a:cubicBezTo>
                <a:cubicBezTo>
                  <a:pt x="1130" y="1755"/>
                  <a:pt x="1128" y="1759"/>
                  <a:pt x="1128" y="1759"/>
                </a:cubicBezTo>
                <a:cubicBezTo>
                  <a:pt x="1131" y="1755"/>
                  <a:pt x="1131" y="1755"/>
                  <a:pt x="1131" y="1755"/>
                </a:cubicBezTo>
                <a:cubicBezTo>
                  <a:pt x="1131" y="1755"/>
                  <a:pt x="1129" y="1752"/>
                  <a:pt x="1124" y="1749"/>
                </a:cubicBezTo>
                <a:cubicBezTo>
                  <a:pt x="1120" y="1746"/>
                  <a:pt x="1115" y="1746"/>
                  <a:pt x="1110" y="1744"/>
                </a:cubicBezTo>
                <a:cubicBezTo>
                  <a:pt x="1106" y="1741"/>
                  <a:pt x="1105" y="1715"/>
                  <a:pt x="1105" y="1715"/>
                </a:cubicBezTo>
                <a:cubicBezTo>
                  <a:pt x="1118" y="1696"/>
                  <a:pt x="1118" y="1696"/>
                  <a:pt x="1118" y="1696"/>
                </a:cubicBezTo>
                <a:cubicBezTo>
                  <a:pt x="1117" y="1686"/>
                  <a:pt x="1117" y="1686"/>
                  <a:pt x="1117" y="1686"/>
                </a:cubicBezTo>
                <a:cubicBezTo>
                  <a:pt x="1124" y="1671"/>
                  <a:pt x="1124" y="1671"/>
                  <a:pt x="1124" y="1671"/>
                </a:cubicBezTo>
                <a:cubicBezTo>
                  <a:pt x="1124" y="1671"/>
                  <a:pt x="1121" y="1667"/>
                  <a:pt x="1122" y="1664"/>
                </a:cubicBezTo>
                <a:cubicBezTo>
                  <a:pt x="1123" y="1662"/>
                  <a:pt x="1134" y="1640"/>
                  <a:pt x="1134" y="1640"/>
                </a:cubicBezTo>
                <a:cubicBezTo>
                  <a:pt x="1134" y="1640"/>
                  <a:pt x="1157" y="1610"/>
                  <a:pt x="1162" y="1605"/>
                </a:cubicBezTo>
                <a:cubicBezTo>
                  <a:pt x="1166" y="1601"/>
                  <a:pt x="1170" y="1582"/>
                  <a:pt x="1170" y="1577"/>
                </a:cubicBezTo>
                <a:cubicBezTo>
                  <a:pt x="1170" y="1572"/>
                  <a:pt x="1185" y="1570"/>
                  <a:pt x="1180" y="1570"/>
                </a:cubicBezTo>
                <a:close/>
                <a:moveTo>
                  <a:pt x="714" y="1621"/>
                </a:moveTo>
                <a:cubicBezTo>
                  <a:pt x="714" y="1621"/>
                  <a:pt x="707" y="1629"/>
                  <a:pt x="714" y="1629"/>
                </a:cubicBezTo>
                <a:cubicBezTo>
                  <a:pt x="722" y="1629"/>
                  <a:pt x="714" y="1621"/>
                  <a:pt x="714" y="1621"/>
                </a:cubicBezTo>
                <a:close/>
                <a:moveTo>
                  <a:pt x="834" y="1495"/>
                </a:moveTo>
                <a:cubicBezTo>
                  <a:pt x="828" y="1492"/>
                  <a:pt x="828" y="1500"/>
                  <a:pt x="828" y="1500"/>
                </a:cubicBezTo>
                <a:cubicBezTo>
                  <a:pt x="828" y="1500"/>
                  <a:pt x="841" y="1499"/>
                  <a:pt x="834" y="1495"/>
                </a:cubicBezTo>
                <a:close/>
                <a:moveTo>
                  <a:pt x="996" y="1526"/>
                </a:moveTo>
                <a:cubicBezTo>
                  <a:pt x="1001" y="1525"/>
                  <a:pt x="1001" y="1525"/>
                  <a:pt x="1001" y="1525"/>
                </a:cubicBezTo>
                <a:cubicBezTo>
                  <a:pt x="1001" y="1525"/>
                  <a:pt x="992" y="1516"/>
                  <a:pt x="996" y="1526"/>
                </a:cubicBezTo>
                <a:close/>
                <a:moveTo>
                  <a:pt x="656" y="1836"/>
                </a:moveTo>
                <a:cubicBezTo>
                  <a:pt x="655" y="1841"/>
                  <a:pt x="655" y="1841"/>
                  <a:pt x="655" y="1841"/>
                </a:cubicBezTo>
                <a:cubicBezTo>
                  <a:pt x="666" y="1851"/>
                  <a:pt x="666" y="1851"/>
                  <a:pt x="666" y="1851"/>
                </a:cubicBezTo>
                <a:cubicBezTo>
                  <a:pt x="673" y="1848"/>
                  <a:pt x="673" y="1848"/>
                  <a:pt x="673" y="1848"/>
                </a:cubicBezTo>
                <a:cubicBezTo>
                  <a:pt x="673" y="1841"/>
                  <a:pt x="673" y="1841"/>
                  <a:pt x="673" y="1841"/>
                </a:cubicBezTo>
                <a:cubicBezTo>
                  <a:pt x="673" y="1841"/>
                  <a:pt x="666" y="1830"/>
                  <a:pt x="656" y="1836"/>
                </a:cubicBezTo>
                <a:close/>
                <a:moveTo>
                  <a:pt x="673" y="1627"/>
                </a:moveTo>
                <a:cubicBezTo>
                  <a:pt x="673" y="1627"/>
                  <a:pt x="673" y="1633"/>
                  <a:pt x="677" y="1632"/>
                </a:cubicBezTo>
                <a:cubicBezTo>
                  <a:pt x="681" y="1631"/>
                  <a:pt x="678" y="1627"/>
                  <a:pt x="673" y="1627"/>
                </a:cubicBezTo>
                <a:close/>
                <a:moveTo>
                  <a:pt x="707" y="1636"/>
                </a:moveTo>
                <a:cubicBezTo>
                  <a:pt x="707" y="1640"/>
                  <a:pt x="707" y="1640"/>
                  <a:pt x="707" y="1640"/>
                </a:cubicBezTo>
                <a:cubicBezTo>
                  <a:pt x="718" y="1644"/>
                  <a:pt x="718" y="1644"/>
                  <a:pt x="718" y="1644"/>
                </a:cubicBezTo>
                <a:cubicBezTo>
                  <a:pt x="718" y="1644"/>
                  <a:pt x="723" y="1638"/>
                  <a:pt x="707" y="1636"/>
                </a:cubicBezTo>
                <a:close/>
              </a:path>
            </a:pathLst>
          </a:custGeom>
          <a:solidFill>
            <a:schemeClr val="bg1">
              <a:lumMod val="65000"/>
            </a:schemeClr>
          </a:solidFill>
          <a:ln w="12700" cap="flat" cmpd="sng">
            <a:solidFill>
              <a:schemeClr val="bg1"/>
            </a:solidFill>
            <a:prstDash val="solid"/>
            <a:miter lim="800000"/>
            <a:headEnd type="none" w="med" len="med"/>
            <a:tailEnd type="none" w="med" len="med"/>
          </a:ln>
          <a:effectLst>
            <a:outerShdw blurRad="50800" dist="38100" dir="2700000" algn="tl" rotWithShape="0">
              <a:prstClr val="black">
                <a:alpha val="40000"/>
              </a:prstClr>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a:p>
        </p:txBody>
      </p:sp>
      <p:grpSp>
        <p:nvGrpSpPr>
          <p:cNvPr id="120" name="Gruppieren 119"/>
          <p:cNvGrpSpPr/>
          <p:nvPr/>
        </p:nvGrpSpPr>
        <p:grpSpPr>
          <a:xfrm>
            <a:off x="2775312" y="937794"/>
            <a:ext cx="2878183" cy="3704057"/>
            <a:chOff x="2775312" y="937794"/>
            <a:chExt cx="2878183" cy="3704057"/>
          </a:xfrm>
        </p:grpSpPr>
        <p:grpSp>
          <p:nvGrpSpPr>
            <p:cNvPr id="119" name="Gruppieren 118"/>
            <p:cNvGrpSpPr/>
            <p:nvPr/>
          </p:nvGrpSpPr>
          <p:grpSpPr>
            <a:xfrm>
              <a:off x="3841914" y="1987551"/>
              <a:ext cx="1811581" cy="2654300"/>
              <a:chOff x="3841914" y="1987551"/>
              <a:chExt cx="1811581" cy="2654300"/>
            </a:xfrm>
          </p:grpSpPr>
          <p:pic>
            <p:nvPicPr>
              <p:cNvPr id="1034" name="Picture 10"/>
              <p:cNvPicPr>
                <a:picLocks noChangeAspect="1" noChangeArrowheads="1"/>
              </p:cNvPicPr>
              <p:nvPr/>
            </p:nvPicPr>
            <p:blipFill>
              <a:blip r:embed="rId4"/>
              <a:srcRect/>
              <a:stretch>
                <a:fillRect/>
              </a:stretch>
            </p:blipFill>
            <p:spPr bwMode="auto">
              <a:xfrm>
                <a:off x="4639010" y="2237146"/>
                <a:ext cx="1014485" cy="2404705"/>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1035" name="Picture 11"/>
              <p:cNvPicPr>
                <a:picLocks noChangeAspect="1" noChangeArrowheads="1"/>
              </p:cNvPicPr>
              <p:nvPr/>
            </p:nvPicPr>
            <p:blipFill>
              <a:blip r:embed="rId5"/>
              <a:srcRect/>
              <a:stretch>
                <a:fillRect/>
              </a:stretch>
            </p:blipFill>
            <p:spPr bwMode="auto">
              <a:xfrm>
                <a:off x="3841914" y="1987551"/>
                <a:ext cx="805147" cy="168544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grpSp>
        <p:pic>
          <p:nvPicPr>
            <p:cNvPr id="1031" name="Picture 7"/>
            <p:cNvPicPr>
              <a:picLocks noChangeAspect="1" noChangeArrowheads="1"/>
            </p:cNvPicPr>
            <p:nvPr/>
          </p:nvPicPr>
          <p:blipFill>
            <a:blip r:embed="rId6"/>
            <a:srcRect/>
            <a:stretch>
              <a:fillRect/>
            </a:stretch>
          </p:blipFill>
          <p:spPr bwMode="auto">
            <a:xfrm>
              <a:off x="2775312" y="937794"/>
              <a:ext cx="2878183" cy="761058"/>
            </a:xfrm>
            <a:prstGeom prst="rect">
              <a:avLst/>
            </a:prstGeom>
            <a:noFill/>
            <a:effectLst>
              <a:outerShdw blurRad="50800" dist="38100" dir="2700000" algn="tl" rotWithShape="0">
                <a:prstClr val="black">
                  <a:alpha val="40000"/>
                </a:prstClr>
              </a:outerShdw>
            </a:effectLst>
          </p:spPr>
        </p:pic>
      </p:grpSp>
      <p:sp>
        <p:nvSpPr>
          <p:cNvPr id="93" name="Rechteck 92"/>
          <p:cNvSpPr/>
          <p:nvPr/>
        </p:nvSpPr>
        <p:spPr>
          <a:xfrm>
            <a:off x="2773581" y="1416844"/>
            <a:ext cx="693519" cy="165101"/>
          </a:xfrm>
          <a:prstGeom prst="rect">
            <a:avLst/>
          </a:prstGeom>
          <a:solidFill>
            <a:schemeClr val="bg1">
              <a:alpha val="0"/>
            </a:schemeClr>
          </a:solid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sp>
        <p:nvSpPr>
          <p:cNvPr id="94" name="Rechteck 93"/>
          <p:cNvSpPr/>
          <p:nvPr/>
        </p:nvSpPr>
        <p:spPr>
          <a:xfrm>
            <a:off x="3838000" y="2238376"/>
            <a:ext cx="805438" cy="233362"/>
          </a:xfrm>
          <a:prstGeom prst="rect">
            <a:avLst/>
          </a:prstGeom>
          <a:solidFill>
            <a:schemeClr val="bg1">
              <a:alpha val="0"/>
            </a:schemeClr>
          </a:solid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latin typeface="Myriad Pro" pitchFamily="34" charset="0"/>
            </a:endParaRPr>
          </a:p>
        </p:txBody>
      </p:sp>
      <p:sp>
        <p:nvSpPr>
          <p:cNvPr id="95"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7</a:t>
            </a:r>
            <a:endParaRPr lang="de-DE" sz="900" dirty="0">
              <a:solidFill>
                <a:schemeClr val="bg1">
                  <a:lumMod val="50000"/>
                </a:schemeClr>
              </a:solidFill>
            </a:endParaRPr>
          </a:p>
        </p:txBody>
      </p:sp>
      <p:grpSp>
        <p:nvGrpSpPr>
          <p:cNvPr id="132" name="Group 131"/>
          <p:cNvGrpSpPr/>
          <p:nvPr/>
        </p:nvGrpSpPr>
        <p:grpSpPr>
          <a:xfrm>
            <a:off x="2671039" y="1553208"/>
            <a:ext cx="1856331" cy="2376627"/>
            <a:chOff x="2844037" y="1553208"/>
            <a:chExt cx="1856331" cy="2376627"/>
          </a:xfrm>
        </p:grpSpPr>
        <p:grpSp>
          <p:nvGrpSpPr>
            <p:cNvPr id="31" name="Group 45"/>
            <p:cNvGrpSpPr>
              <a:grpSpLocks/>
            </p:cNvGrpSpPr>
            <p:nvPr/>
          </p:nvGrpSpPr>
          <p:grpSpPr bwMode="auto">
            <a:xfrm rot="20287264">
              <a:off x="3027625" y="1553208"/>
              <a:ext cx="374650" cy="609600"/>
              <a:chOff x="1950" y="1045"/>
              <a:chExt cx="568" cy="928"/>
            </a:xfrm>
          </p:grpSpPr>
          <p:sp>
            <p:nvSpPr>
              <p:cNvPr id="32"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33"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sp>
            <p:nvSpPr>
              <p:cNvPr id="34"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5" name="Freeform 49"/>
              <p:cNvSpPr>
                <a:spLocks/>
              </p:cNvSpPr>
              <p:nvPr/>
            </p:nvSpPr>
            <p:spPr bwMode="gray">
              <a:xfrm>
                <a:off x="1979" y="1383"/>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36"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7"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38"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62"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63"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64"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65"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66"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grpSp>
        <p:grpSp>
          <p:nvGrpSpPr>
            <p:cNvPr id="96" name="Group 45"/>
            <p:cNvGrpSpPr>
              <a:grpSpLocks/>
            </p:cNvGrpSpPr>
            <p:nvPr/>
          </p:nvGrpSpPr>
          <p:grpSpPr bwMode="auto">
            <a:xfrm rot="-1312736">
              <a:off x="2844037" y="3320235"/>
              <a:ext cx="374650" cy="609600"/>
              <a:chOff x="1950" y="1045"/>
              <a:chExt cx="568" cy="928"/>
            </a:xfrm>
          </p:grpSpPr>
          <p:sp>
            <p:nvSpPr>
              <p:cNvPr id="97"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98"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99"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00"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101"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02"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03"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04"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05"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06"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07"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08"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82" name="Gruppieren 278"/>
            <p:cNvGrpSpPr/>
            <p:nvPr/>
          </p:nvGrpSpPr>
          <p:grpSpPr>
            <a:xfrm>
              <a:off x="4481731" y="2401551"/>
              <a:ext cx="218637" cy="381654"/>
              <a:chOff x="2806936" y="1682676"/>
              <a:chExt cx="852584" cy="1488282"/>
            </a:xfrm>
            <a:effectLst>
              <a:outerShdw blurRad="50800" dist="38100" dir="2700000" algn="tl" rotWithShape="0">
                <a:prstClr val="black">
                  <a:alpha val="40000"/>
                </a:prstClr>
              </a:outerShdw>
            </a:effectLst>
          </p:grpSpPr>
          <p:sp>
            <p:nvSpPr>
              <p:cNvPr id="84" name="Freeform 210"/>
              <p:cNvSpPr>
                <a:spLocks/>
              </p:cNvSpPr>
              <p:nvPr/>
            </p:nvSpPr>
            <p:spPr bwMode="auto">
              <a:xfrm>
                <a:off x="3303861" y="2391501"/>
                <a:ext cx="355659" cy="282533"/>
              </a:xfrm>
              <a:custGeom>
                <a:avLst/>
                <a:gdLst/>
                <a:ahLst/>
                <a:cxnLst>
                  <a:cxn ang="0">
                    <a:pos x="428" y="85"/>
                  </a:cxn>
                  <a:cxn ang="0">
                    <a:pos x="428" y="170"/>
                  </a:cxn>
                  <a:cxn ang="0">
                    <a:pos x="85" y="170"/>
                  </a:cxn>
                  <a:cxn ang="0">
                    <a:pos x="85" y="340"/>
                  </a:cxn>
                  <a:cxn ang="0">
                    <a:pos x="0" y="340"/>
                  </a:cxn>
                  <a:cxn ang="0">
                    <a:pos x="0" y="85"/>
                  </a:cxn>
                  <a:cxn ang="0">
                    <a:pos x="257" y="85"/>
                  </a:cxn>
                  <a:cxn ang="0">
                    <a:pos x="257" y="0"/>
                  </a:cxn>
                  <a:cxn ang="0">
                    <a:pos x="343" y="0"/>
                  </a:cxn>
                  <a:cxn ang="0">
                    <a:pos x="343" y="85"/>
                  </a:cxn>
                  <a:cxn ang="0">
                    <a:pos x="428" y="85"/>
                  </a:cxn>
                </a:cxnLst>
                <a:rect l="0" t="0" r="r" b="b"/>
                <a:pathLst>
                  <a:path w="428" h="340">
                    <a:moveTo>
                      <a:pt x="428" y="85"/>
                    </a:moveTo>
                    <a:lnTo>
                      <a:pt x="428" y="170"/>
                    </a:lnTo>
                    <a:lnTo>
                      <a:pt x="85" y="170"/>
                    </a:lnTo>
                    <a:lnTo>
                      <a:pt x="85" y="340"/>
                    </a:lnTo>
                    <a:lnTo>
                      <a:pt x="0" y="340"/>
                    </a:lnTo>
                    <a:lnTo>
                      <a:pt x="0" y="85"/>
                    </a:lnTo>
                    <a:lnTo>
                      <a:pt x="257" y="85"/>
                    </a:lnTo>
                    <a:lnTo>
                      <a:pt x="257" y="0"/>
                    </a:lnTo>
                    <a:lnTo>
                      <a:pt x="343" y="0"/>
                    </a:lnTo>
                    <a:lnTo>
                      <a:pt x="343" y="85"/>
                    </a:lnTo>
                    <a:lnTo>
                      <a:pt x="428" y="85"/>
                    </a:lnTo>
                    <a:close/>
                  </a:path>
                </a:pathLst>
              </a:custGeom>
              <a:solidFill>
                <a:schemeClr val="bg1">
                  <a:lumMod val="50000"/>
                </a:schemeClr>
              </a:solidFill>
              <a:ln w="9525">
                <a:noFill/>
                <a:round/>
                <a:headEnd/>
                <a:tailEnd/>
              </a:ln>
            </p:spPr>
            <p:txBody>
              <a:bodyPr/>
              <a:lstStyle/>
              <a:p>
                <a:pPr>
                  <a:defRPr/>
                </a:pPr>
                <a:endParaRPr lang="de-DE"/>
              </a:p>
            </p:txBody>
          </p:sp>
          <p:sp>
            <p:nvSpPr>
              <p:cNvPr id="85" name="Rectangle 211"/>
              <p:cNvSpPr>
                <a:spLocks noChangeArrowheads="1"/>
              </p:cNvSpPr>
              <p:nvPr/>
            </p:nvSpPr>
            <p:spPr bwMode="auto">
              <a:xfrm>
                <a:off x="3517423" y="2959058"/>
                <a:ext cx="71464" cy="141266"/>
              </a:xfrm>
              <a:prstGeom prst="rect">
                <a:avLst/>
              </a:prstGeom>
              <a:solidFill>
                <a:schemeClr val="bg1">
                  <a:lumMod val="50000"/>
                </a:schemeClr>
              </a:solidFill>
              <a:ln w="9525">
                <a:noFill/>
                <a:miter lim="800000"/>
                <a:headEnd/>
                <a:tailEnd/>
              </a:ln>
            </p:spPr>
            <p:txBody>
              <a:bodyPr/>
              <a:lstStyle/>
              <a:p>
                <a:pPr>
                  <a:defRPr/>
                </a:pPr>
                <a:endParaRPr lang="de-DE"/>
              </a:p>
            </p:txBody>
          </p:sp>
          <p:sp>
            <p:nvSpPr>
              <p:cNvPr id="86" name="Rectangle 212"/>
              <p:cNvSpPr>
                <a:spLocks noChangeArrowheads="1"/>
              </p:cNvSpPr>
              <p:nvPr/>
            </p:nvSpPr>
            <p:spPr bwMode="auto">
              <a:xfrm>
                <a:off x="3374495" y="3100325"/>
                <a:ext cx="142928"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87" name="Rectangle 213"/>
              <p:cNvSpPr>
                <a:spLocks noChangeArrowheads="1"/>
              </p:cNvSpPr>
              <p:nvPr/>
            </p:nvSpPr>
            <p:spPr bwMode="auto">
              <a:xfrm>
                <a:off x="3445128" y="2816961"/>
                <a:ext cx="72295" cy="142098"/>
              </a:xfrm>
              <a:prstGeom prst="rect">
                <a:avLst/>
              </a:prstGeom>
              <a:solidFill>
                <a:schemeClr val="bg1">
                  <a:lumMod val="50000"/>
                </a:schemeClr>
              </a:solidFill>
              <a:ln w="9525">
                <a:noFill/>
                <a:miter lim="800000"/>
                <a:headEnd/>
                <a:tailEnd/>
              </a:ln>
            </p:spPr>
            <p:txBody>
              <a:bodyPr/>
              <a:lstStyle/>
              <a:p>
                <a:pPr>
                  <a:defRPr/>
                </a:pPr>
                <a:endParaRPr lang="de-DE"/>
              </a:p>
            </p:txBody>
          </p:sp>
          <p:sp>
            <p:nvSpPr>
              <p:cNvPr id="88" name="Rectangle 214"/>
              <p:cNvSpPr>
                <a:spLocks noChangeArrowheads="1"/>
              </p:cNvSpPr>
              <p:nvPr/>
            </p:nvSpPr>
            <p:spPr bwMode="auto">
              <a:xfrm>
                <a:off x="3445128" y="2320867"/>
                <a:ext cx="72295"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89" name="Rectangle 215"/>
              <p:cNvSpPr>
                <a:spLocks noChangeArrowheads="1"/>
              </p:cNvSpPr>
              <p:nvPr/>
            </p:nvSpPr>
            <p:spPr bwMode="auto">
              <a:xfrm>
                <a:off x="3374495" y="2674033"/>
                <a:ext cx="70633" cy="142928"/>
              </a:xfrm>
              <a:prstGeom prst="rect">
                <a:avLst/>
              </a:prstGeom>
              <a:solidFill>
                <a:schemeClr val="bg1">
                  <a:lumMod val="50000"/>
                </a:schemeClr>
              </a:solidFill>
              <a:ln w="9525">
                <a:noFill/>
                <a:miter lim="800000"/>
                <a:headEnd/>
                <a:tailEnd/>
              </a:ln>
            </p:spPr>
            <p:txBody>
              <a:bodyPr/>
              <a:lstStyle/>
              <a:p>
                <a:pPr>
                  <a:defRPr/>
                </a:pPr>
                <a:endParaRPr lang="de-DE"/>
              </a:p>
            </p:txBody>
          </p:sp>
          <p:sp>
            <p:nvSpPr>
              <p:cNvPr id="90" name="Rectangle 216"/>
              <p:cNvSpPr>
                <a:spLocks noChangeArrowheads="1"/>
              </p:cNvSpPr>
              <p:nvPr/>
            </p:nvSpPr>
            <p:spPr bwMode="auto">
              <a:xfrm>
                <a:off x="3374495" y="2250234"/>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91" name="Rectangle 217"/>
              <p:cNvSpPr>
                <a:spLocks noChangeArrowheads="1"/>
              </p:cNvSpPr>
              <p:nvPr/>
            </p:nvSpPr>
            <p:spPr bwMode="auto">
              <a:xfrm>
                <a:off x="3303861" y="2959058"/>
                <a:ext cx="70633" cy="141266"/>
              </a:xfrm>
              <a:prstGeom prst="rect">
                <a:avLst/>
              </a:prstGeom>
              <a:solidFill>
                <a:schemeClr val="bg1">
                  <a:lumMod val="50000"/>
                </a:schemeClr>
              </a:solidFill>
              <a:ln w="9525">
                <a:noFill/>
                <a:miter lim="800000"/>
                <a:headEnd/>
                <a:tailEnd/>
              </a:ln>
            </p:spPr>
            <p:txBody>
              <a:bodyPr/>
              <a:lstStyle/>
              <a:p>
                <a:pPr>
                  <a:defRPr/>
                </a:pPr>
                <a:endParaRPr lang="de-DE"/>
              </a:p>
            </p:txBody>
          </p:sp>
          <p:sp>
            <p:nvSpPr>
              <p:cNvPr id="92" name="Rectangle 218"/>
              <p:cNvSpPr>
                <a:spLocks noChangeArrowheads="1"/>
              </p:cNvSpPr>
              <p:nvPr/>
            </p:nvSpPr>
            <p:spPr bwMode="auto">
              <a:xfrm>
                <a:off x="3303861" y="2177108"/>
                <a:ext cx="70633" cy="73126"/>
              </a:xfrm>
              <a:prstGeom prst="rect">
                <a:avLst/>
              </a:prstGeom>
              <a:solidFill>
                <a:schemeClr val="bg1">
                  <a:lumMod val="50000"/>
                </a:schemeClr>
              </a:solidFill>
              <a:ln w="9525">
                <a:noFill/>
                <a:miter lim="800000"/>
                <a:headEnd/>
                <a:tailEnd/>
              </a:ln>
            </p:spPr>
            <p:txBody>
              <a:bodyPr/>
              <a:lstStyle/>
              <a:p>
                <a:pPr>
                  <a:defRPr/>
                </a:pPr>
                <a:endParaRPr lang="de-DE"/>
              </a:p>
            </p:txBody>
          </p:sp>
          <p:sp>
            <p:nvSpPr>
              <p:cNvPr id="109" name="Rectangle 219"/>
              <p:cNvSpPr>
                <a:spLocks noChangeArrowheads="1"/>
              </p:cNvSpPr>
              <p:nvPr/>
            </p:nvSpPr>
            <p:spPr bwMode="auto">
              <a:xfrm>
                <a:off x="3233228" y="2816961"/>
                <a:ext cx="70633" cy="142098"/>
              </a:xfrm>
              <a:prstGeom prst="rect">
                <a:avLst/>
              </a:prstGeom>
              <a:solidFill>
                <a:schemeClr val="bg1">
                  <a:lumMod val="50000"/>
                </a:schemeClr>
              </a:solidFill>
              <a:ln w="9525">
                <a:noFill/>
                <a:miter lim="800000"/>
                <a:headEnd/>
                <a:tailEnd/>
              </a:ln>
            </p:spPr>
            <p:txBody>
              <a:bodyPr/>
              <a:lstStyle/>
              <a:p>
                <a:pPr>
                  <a:defRPr/>
                </a:pPr>
                <a:endParaRPr lang="de-DE"/>
              </a:p>
            </p:txBody>
          </p:sp>
          <p:sp>
            <p:nvSpPr>
              <p:cNvPr id="110" name="Rectangle 220"/>
              <p:cNvSpPr>
                <a:spLocks noChangeArrowheads="1"/>
              </p:cNvSpPr>
              <p:nvPr/>
            </p:nvSpPr>
            <p:spPr bwMode="auto">
              <a:xfrm>
                <a:off x="3233228" y="2106475"/>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11" name="Rectangle 221"/>
              <p:cNvSpPr>
                <a:spLocks noChangeArrowheads="1"/>
              </p:cNvSpPr>
              <p:nvPr/>
            </p:nvSpPr>
            <p:spPr bwMode="auto">
              <a:xfrm>
                <a:off x="3162595" y="2674033"/>
                <a:ext cx="70633" cy="142928"/>
              </a:xfrm>
              <a:prstGeom prst="rect">
                <a:avLst/>
              </a:prstGeom>
              <a:solidFill>
                <a:schemeClr val="bg1">
                  <a:lumMod val="50000"/>
                </a:schemeClr>
              </a:solidFill>
              <a:ln w="9525">
                <a:noFill/>
                <a:miter lim="800000"/>
                <a:headEnd/>
                <a:tailEnd/>
              </a:ln>
            </p:spPr>
            <p:txBody>
              <a:bodyPr/>
              <a:lstStyle/>
              <a:p>
                <a:pPr>
                  <a:defRPr/>
                </a:pPr>
                <a:endParaRPr lang="de-DE"/>
              </a:p>
            </p:txBody>
          </p:sp>
          <p:sp>
            <p:nvSpPr>
              <p:cNvPr id="112" name="Rectangle 222"/>
              <p:cNvSpPr>
                <a:spLocks noChangeArrowheads="1"/>
              </p:cNvSpPr>
              <p:nvPr/>
            </p:nvSpPr>
            <p:spPr bwMode="auto">
              <a:xfrm>
                <a:off x="3162595" y="2035842"/>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13" name="Freeform 223"/>
              <p:cNvSpPr>
                <a:spLocks/>
              </p:cNvSpPr>
              <p:nvPr/>
            </p:nvSpPr>
            <p:spPr bwMode="auto">
              <a:xfrm>
                <a:off x="3021328" y="2532767"/>
                <a:ext cx="141266" cy="141266"/>
              </a:xfrm>
              <a:custGeom>
                <a:avLst/>
                <a:gdLst/>
                <a:ahLst/>
                <a:cxnLst>
                  <a:cxn ang="0">
                    <a:pos x="170" y="0"/>
                  </a:cxn>
                  <a:cxn ang="0">
                    <a:pos x="170" y="170"/>
                  </a:cxn>
                  <a:cxn ang="0">
                    <a:pos x="0" y="170"/>
                  </a:cxn>
                  <a:cxn ang="0">
                    <a:pos x="0" y="85"/>
                  </a:cxn>
                  <a:cxn ang="0">
                    <a:pos x="85" y="85"/>
                  </a:cxn>
                  <a:cxn ang="0">
                    <a:pos x="85" y="0"/>
                  </a:cxn>
                  <a:cxn ang="0">
                    <a:pos x="170" y="0"/>
                  </a:cxn>
                </a:cxnLst>
                <a:rect l="0" t="0" r="r" b="b"/>
                <a:pathLst>
                  <a:path w="170" h="170">
                    <a:moveTo>
                      <a:pt x="170" y="0"/>
                    </a:moveTo>
                    <a:lnTo>
                      <a:pt x="170" y="170"/>
                    </a:lnTo>
                    <a:lnTo>
                      <a:pt x="0" y="170"/>
                    </a:lnTo>
                    <a:lnTo>
                      <a:pt x="0" y="85"/>
                    </a:lnTo>
                    <a:lnTo>
                      <a:pt x="85" y="85"/>
                    </a:lnTo>
                    <a:lnTo>
                      <a:pt x="85" y="0"/>
                    </a:lnTo>
                    <a:lnTo>
                      <a:pt x="170" y="0"/>
                    </a:lnTo>
                    <a:close/>
                  </a:path>
                </a:pathLst>
              </a:custGeom>
              <a:solidFill>
                <a:schemeClr val="bg1">
                  <a:lumMod val="50000"/>
                </a:schemeClr>
              </a:solidFill>
              <a:ln w="9525">
                <a:noFill/>
                <a:round/>
                <a:headEnd/>
                <a:tailEnd/>
              </a:ln>
            </p:spPr>
            <p:txBody>
              <a:bodyPr/>
              <a:lstStyle/>
              <a:p>
                <a:pPr>
                  <a:defRPr/>
                </a:pPr>
                <a:endParaRPr lang="de-DE"/>
              </a:p>
            </p:txBody>
          </p:sp>
          <p:sp>
            <p:nvSpPr>
              <p:cNvPr id="114" name="Rectangle 224"/>
              <p:cNvSpPr>
                <a:spLocks noChangeArrowheads="1"/>
              </p:cNvSpPr>
              <p:nvPr/>
            </p:nvSpPr>
            <p:spPr bwMode="auto">
              <a:xfrm>
                <a:off x="3091962" y="1965209"/>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15" name="Rectangle 225"/>
              <p:cNvSpPr>
                <a:spLocks noChangeArrowheads="1"/>
              </p:cNvSpPr>
              <p:nvPr/>
            </p:nvSpPr>
            <p:spPr bwMode="auto">
              <a:xfrm>
                <a:off x="3021328" y="1894576"/>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16" name="Rectangle 226"/>
              <p:cNvSpPr>
                <a:spLocks noChangeArrowheads="1"/>
              </p:cNvSpPr>
              <p:nvPr/>
            </p:nvSpPr>
            <p:spPr bwMode="auto">
              <a:xfrm>
                <a:off x="2949864" y="2674033"/>
                <a:ext cx="71464"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17" name="Rectangle 227"/>
              <p:cNvSpPr>
                <a:spLocks noChangeArrowheads="1"/>
              </p:cNvSpPr>
              <p:nvPr/>
            </p:nvSpPr>
            <p:spPr bwMode="auto">
              <a:xfrm>
                <a:off x="2949864" y="1823942"/>
                <a:ext cx="71464"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18" name="Freeform 228"/>
              <p:cNvSpPr>
                <a:spLocks/>
              </p:cNvSpPr>
              <p:nvPr/>
            </p:nvSpPr>
            <p:spPr bwMode="auto">
              <a:xfrm>
                <a:off x="2806936" y="1682676"/>
                <a:ext cx="142928" cy="1205749"/>
              </a:xfrm>
              <a:custGeom>
                <a:avLst/>
                <a:gdLst/>
                <a:ahLst/>
                <a:cxnLst>
                  <a:cxn ang="0">
                    <a:pos x="172" y="1278"/>
                  </a:cxn>
                  <a:cxn ang="0">
                    <a:pos x="172" y="1365"/>
                  </a:cxn>
                  <a:cxn ang="0">
                    <a:pos x="85" y="1365"/>
                  </a:cxn>
                  <a:cxn ang="0">
                    <a:pos x="85" y="1451"/>
                  </a:cxn>
                  <a:cxn ang="0">
                    <a:pos x="0" y="1451"/>
                  </a:cxn>
                  <a:cxn ang="0">
                    <a:pos x="0" y="0"/>
                  </a:cxn>
                  <a:cxn ang="0">
                    <a:pos x="85" y="0"/>
                  </a:cxn>
                  <a:cxn ang="0">
                    <a:pos x="85" y="85"/>
                  </a:cxn>
                  <a:cxn ang="0">
                    <a:pos x="172" y="85"/>
                  </a:cxn>
                  <a:cxn ang="0">
                    <a:pos x="172" y="170"/>
                  </a:cxn>
                  <a:cxn ang="0">
                    <a:pos x="85" y="170"/>
                  </a:cxn>
                  <a:cxn ang="0">
                    <a:pos x="85" y="1278"/>
                  </a:cxn>
                  <a:cxn ang="0">
                    <a:pos x="172" y="1278"/>
                  </a:cxn>
                </a:cxnLst>
                <a:rect l="0" t="0" r="r" b="b"/>
                <a:pathLst>
                  <a:path w="172" h="1451">
                    <a:moveTo>
                      <a:pt x="172" y="1278"/>
                    </a:moveTo>
                    <a:lnTo>
                      <a:pt x="172" y="1365"/>
                    </a:lnTo>
                    <a:lnTo>
                      <a:pt x="85" y="1365"/>
                    </a:lnTo>
                    <a:lnTo>
                      <a:pt x="85" y="1451"/>
                    </a:lnTo>
                    <a:lnTo>
                      <a:pt x="0" y="1451"/>
                    </a:lnTo>
                    <a:lnTo>
                      <a:pt x="0" y="0"/>
                    </a:lnTo>
                    <a:lnTo>
                      <a:pt x="85" y="0"/>
                    </a:lnTo>
                    <a:lnTo>
                      <a:pt x="85" y="85"/>
                    </a:lnTo>
                    <a:lnTo>
                      <a:pt x="172" y="85"/>
                    </a:lnTo>
                    <a:lnTo>
                      <a:pt x="172" y="170"/>
                    </a:lnTo>
                    <a:lnTo>
                      <a:pt x="85" y="170"/>
                    </a:lnTo>
                    <a:lnTo>
                      <a:pt x="85" y="1278"/>
                    </a:lnTo>
                    <a:lnTo>
                      <a:pt x="172" y="1278"/>
                    </a:lnTo>
                    <a:close/>
                  </a:path>
                </a:pathLst>
              </a:custGeom>
              <a:solidFill>
                <a:schemeClr val="bg1">
                  <a:lumMod val="50000"/>
                </a:schemeClr>
              </a:solidFill>
              <a:ln w="9525">
                <a:noFill/>
                <a:round/>
                <a:headEnd/>
                <a:tailEnd/>
              </a:ln>
            </p:spPr>
            <p:txBody>
              <a:bodyPr/>
              <a:lstStyle/>
              <a:p>
                <a:pPr>
                  <a:defRPr/>
                </a:pPr>
                <a:endParaRPr lang="de-DE"/>
              </a:p>
            </p:txBody>
          </p:sp>
          <p:sp>
            <p:nvSpPr>
              <p:cNvPr id="83" name="Freeform 209"/>
              <p:cNvSpPr>
                <a:spLocks/>
              </p:cNvSpPr>
              <p:nvPr/>
            </p:nvSpPr>
            <p:spPr bwMode="auto">
              <a:xfrm>
                <a:off x="2877569" y="1823942"/>
                <a:ext cx="639853" cy="1276382"/>
              </a:xfrm>
              <a:custGeom>
                <a:avLst/>
                <a:gdLst/>
                <a:ahLst/>
                <a:cxnLst>
                  <a:cxn ang="0">
                    <a:pos x="770" y="1366"/>
                  </a:cxn>
                  <a:cxn ang="0">
                    <a:pos x="770" y="1536"/>
                  </a:cxn>
                  <a:cxn ang="0">
                    <a:pos x="598" y="1536"/>
                  </a:cxn>
                  <a:cxn ang="0">
                    <a:pos x="598" y="1366"/>
                  </a:cxn>
                  <a:cxn ang="0">
                    <a:pos x="513" y="1366"/>
                  </a:cxn>
                  <a:cxn ang="0">
                    <a:pos x="513" y="1195"/>
                  </a:cxn>
                  <a:cxn ang="0">
                    <a:pos x="428" y="1195"/>
                  </a:cxn>
                  <a:cxn ang="0">
                    <a:pos x="428" y="1023"/>
                  </a:cxn>
                  <a:cxn ang="0">
                    <a:pos x="343" y="1023"/>
                  </a:cxn>
                  <a:cxn ang="0">
                    <a:pos x="343" y="853"/>
                  </a:cxn>
                  <a:cxn ang="0">
                    <a:pos x="258" y="853"/>
                  </a:cxn>
                  <a:cxn ang="0">
                    <a:pos x="258" y="938"/>
                  </a:cxn>
                  <a:cxn ang="0">
                    <a:pos x="173" y="938"/>
                  </a:cxn>
                  <a:cxn ang="0">
                    <a:pos x="173" y="1023"/>
                  </a:cxn>
                  <a:cxn ang="0">
                    <a:pos x="87" y="1023"/>
                  </a:cxn>
                  <a:cxn ang="0">
                    <a:pos x="87" y="1108"/>
                  </a:cxn>
                  <a:cxn ang="0">
                    <a:pos x="0" y="1108"/>
                  </a:cxn>
                  <a:cxn ang="0">
                    <a:pos x="0" y="0"/>
                  </a:cxn>
                  <a:cxn ang="0">
                    <a:pos x="87" y="0"/>
                  </a:cxn>
                  <a:cxn ang="0">
                    <a:pos x="87" y="85"/>
                  </a:cxn>
                  <a:cxn ang="0">
                    <a:pos x="173" y="85"/>
                  </a:cxn>
                  <a:cxn ang="0">
                    <a:pos x="173" y="170"/>
                  </a:cxn>
                  <a:cxn ang="0">
                    <a:pos x="258" y="170"/>
                  </a:cxn>
                  <a:cxn ang="0">
                    <a:pos x="258" y="255"/>
                  </a:cxn>
                  <a:cxn ang="0">
                    <a:pos x="343" y="255"/>
                  </a:cxn>
                  <a:cxn ang="0">
                    <a:pos x="343" y="340"/>
                  </a:cxn>
                  <a:cxn ang="0">
                    <a:pos x="428" y="340"/>
                  </a:cxn>
                  <a:cxn ang="0">
                    <a:pos x="428" y="425"/>
                  </a:cxn>
                  <a:cxn ang="0">
                    <a:pos x="513" y="425"/>
                  </a:cxn>
                  <a:cxn ang="0">
                    <a:pos x="513" y="513"/>
                  </a:cxn>
                  <a:cxn ang="0">
                    <a:pos x="598" y="513"/>
                  </a:cxn>
                  <a:cxn ang="0">
                    <a:pos x="598" y="598"/>
                  </a:cxn>
                  <a:cxn ang="0">
                    <a:pos x="683" y="598"/>
                  </a:cxn>
                  <a:cxn ang="0">
                    <a:pos x="683" y="683"/>
                  </a:cxn>
                  <a:cxn ang="0">
                    <a:pos x="770" y="683"/>
                  </a:cxn>
                  <a:cxn ang="0">
                    <a:pos x="770" y="768"/>
                  </a:cxn>
                  <a:cxn ang="0">
                    <a:pos x="513" y="768"/>
                  </a:cxn>
                  <a:cxn ang="0">
                    <a:pos x="513" y="1023"/>
                  </a:cxn>
                  <a:cxn ang="0">
                    <a:pos x="598" y="1023"/>
                  </a:cxn>
                  <a:cxn ang="0">
                    <a:pos x="598" y="1195"/>
                  </a:cxn>
                  <a:cxn ang="0">
                    <a:pos x="683" y="1195"/>
                  </a:cxn>
                  <a:cxn ang="0">
                    <a:pos x="683" y="1366"/>
                  </a:cxn>
                  <a:cxn ang="0">
                    <a:pos x="770" y="1366"/>
                  </a:cxn>
                </a:cxnLst>
                <a:rect l="0" t="0" r="r" b="b"/>
                <a:pathLst>
                  <a:path w="770" h="1536">
                    <a:moveTo>
                      <a:pt x="770" y="1366"/>
                    </a:moveTo>
                    <a:lnTo>
                      <a:pt x="770" y="1536"/>
                    </a:lnTo>
                    <a:lnTo>
                      <a:pt x="598" y="1536"/>
                    </a:lnTo>
                    <a:lnTo>
                      <a:pt x="598" y="1366"/>
                    </a:lnTo>
                    <a:lnTo>
                      <a:pt x="513" y="1366"/>
                    </a:lnTo>
                    <a:lnTo>
                      <a:pt x="513" y="1195"/>
                    </a:lnTo>
                    <a:lnTo>
                      <a:pt x="428" y="1195"/>
                    </a:lnTo>
                    <a:lnTo>
                      <a:pt x="428" y="1023"/>
                    </a:lnTo>
                    <a:lnTo>
                      <a:pt x="343" y="1023"/>
                    </a:lnTo>
                    <a:lnTo>
                      <a:pt x="343" y="853"/>
                    </a:lnTo>
                    <a:lnTo>
                      <a:pt x="258" y="853"/>
                    </a:lnTo>
                    <a:lnTo>
                      <a:pt x="258" y="938"/>
                    </a:lnTo>
                    <a:lnTo>
                      <a:pt x="173" y="938"/>
                    </a:lnTo>
                    <a:lnTo>
                      <a:pt x="173" y="1023"/>
                    </a:lnTo>
                    <a:lnTo>
                      <a:pt x="87" y="1023"/>
                    </a:lnTo>
                    <a:lnTo>
                      <a:pt x="87" y="1108"/>
                    </a:lnTo>
                    <a:lnTo>
                      <a:pt x="0" y="1108"/>
                    </a:lnTo>
                    <a:lnTo>
                      <a:pt x="0" y="0"/>
                    </a:lnTo>
                    <a:lnTo>
                      <a:pt x="87" y="0"/>
                    </a:lnTo>
                    <a:lnTo>
                      <a:pt x="87" y="85"/>
                    </a:lnTo>
                    <a:lnTo>
                      <a:pt x="173" y="85"/>
                    </a:lnTo>
                    <a:lnTo>
                      <a:pt x="173" y="170"/>
                    </a:lnTo>
                    <a:lnTo>
                      <a:pt x="258" y="170"/>
                    </a:lnTo>
                    <a:lnTo>
                      <a:pt x="258" y="255"/>
                    </a:lnTo>
                    <a:lnTo>
                      <a:pt x="343" y="255"/>
                    </a:lnTo>
                    <a:lnTo>
                      <a:pt x="343" y="340"/>
                    </a:lnTo>
                    <a:lnTo>
                      <a:pt x="428" y="340"/>
                    </a:lnTo>
                    <a:lnTo>
                      <a:pt x="428" y="425"/>
                    </a:lnTo>
                    <a:lnTo>
                      <a:pt x="513" y="425"/>
                    </a:lnTo>
                    <a:lnTo>
                      <a:pt x="513" y="513"/>
                    </a:lnTo>
                    <a:lnTo>
                      <a:pt x="598" y="513"/>
                    </a:lnTo>
                    <a:lnTo>
                      <a:pt x="598" y="598"/>
                    </a:lnTo>
                    <a:lnTo>
                      <a:pt x="683" y="598"/>
                    </a:lnTo>
                    <a:lnTo>
                      <a:pt x="683" y="683"/>
                    </a:lnTo>
                    <a:lnTo>
                      <a:pt x="770" y="683"/>
                    </a:lnTo>
                    <a:lnTo>
                      <a:pt x="770" y="768"/>
                    </a:lnTo>
                    <a:lnTo>
                      <a:pt x="513" y="768"/>
                    </a:lnTo>
                    <a:lnTo>
                      <a:pt x="513" y="1023"/>
                    </a:lnTo>
                    <a:lnTo>
                      <a:pt x="598" y="1023"/>
                    </a:lnTo>
                    <a:lnTo>
                      <a:pt x="598" y="1195"/>
                    </a:lnTo>
                    <a:lnTo>
                      <a:pt x="683" y="1195"/>
                    </a:lnTo>
                    <a:lnTo>
                      <a:pt x="683" y="1366"/>
                    </a:lnTo>
                    <a:lnTo>
                      <a:pt x="770" y="1366"/>
                    </a:lnTo>
                    <a:close/>
                  </a:path>
                </a:pathLst>
              </a:custGeom>
              <a:gradFill flip="none" rotWithShape="1">
                <a:gsLst>
                  <a:gs pos="0">
                    <a:schemeClr val="bg1">
                      <a:lumMod val="85000"/>
                    </a:schemeClr>
                  </a:gs>
                  <a:gs pos="50000">
                    <a:schemeClr val="bg1">
                      <a:lumMod val="95000"/>
                    </a:schemeClr>
                  </a:gs>
                  <a:gs pos="100000">
                    <a:schemeClr val="bg1">
                      <a:shade val="100000"/>
                      <a:satMod val="11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grpSp>
      </p:grpSp>
      <p:grpSp>
        <p:nvGrpSpPr>
          <p:cNvPr id="46" name="Gruppieren 144"/>
          <p:cNvGrpSpPr/>
          <p:nvPr/>
        </p:nvGrpSpPr>
        <p:grpSpPr>
          <a:xfrm>
            <a:off x="4222534" y="3759200"/>
            <a:ext cx="347663" cy="338138"/>
            <a:chOff x="203518" y="5554980"/>
            <a:chExt cx="347663" cy="338138"/>
          </a:xfrm>
        </p:grpSpPr>
        <p:pic>
          <p:nvPicPr>
            <p:cNvPr id="47" name="Grafik 46" descr="schatten.png"/>
            <p:cNvPicPr>
              <a:picLocks noChangeAspect="1"/>
            </p:cNvPicPr>
            <p:nvPr/>
          </p:nvPicPr>
          <p:blipFill>
            <a:blip r:embed="rId3" cstate="print">
              <a:lum bright="30000"/>
            </a:blip>
            <a:srcRect l="17603" t="9404" r="15359" b="14528"/>
            <a:stretch>
              <a:fillRect/>
            </a:stretch>
          </p:blipFill>
          <p:spPr>
            <a:xfrm>
              <a:off x="203518" y="5554980"/>
              <a:ext cx="347663" cy="338138"/>
            </a:xfrm>
            <a:prstGeom prst="rect">
              <a:avLst/>
            </a:prstGeom>
          </p:spPr>
        </p:pic>
        <p:sp>
          <p:nvSpPr>
            <p:cNvPr id="48"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300"/>
                                        <p:tgtEl>
                                          <p:spTgt spid="40"/>
                                        </p:tgtEl>
                                      </p:cBhvr>
                                    </p:animEffect>
                                  </p:childTnLst>
                                </p:cTn>
                              </p:par>
                            </p:childTnLst>
                          </p:cTn>
                        </p:par>
                        <p:par>
                          <p:cTn id="8" fill="hold">
                            <p:stCondLst>
                              <p:cond delay="300"/>
                            </p:stCondLst>
                            <p:childTnLst>
                              <p:par>
                                <p:cTn id="9" presetID="10" presetClass="entr" presetSubtype="0" fill="hold" nodeType="afterEffect">
                                  <p:stCondLst>
                                    <p:cond delay="1000"/>
                                  </p:stCondLst>
                                  <p:childTnLst>
                                    <p:set>
                                      <p:cBhvr>
                                        <p:cTn id="10" dur="1" fill="hold">
                                          <p:stCondLst>
                                            <p:cond delay="0"/>
                                          </p:stCondLst>
                                        </p:cTn>
                                        <p:tgtEl>
                                          <p:spTgt spid="58"/>
                                        </p:tgtEl>
                                        <p:attrNameLst>
                                          <p:attrName>style.visibility</p:attrName>
                                        </p:attrNameLst>
                                      </p:cBhvr>
                                      <p:to>
                                        <p:strVal val="visible"/>
                                      </p:to>
                                    </p:set>
                                    <p:animEffect transition="in" filter="fade">
                                      <p:cBhvr>
                                        <p:cTn id="11" dur="300"/>
                                        <p:tgtEl>
                                          <p:spTgt spid="58"/>
                                        </p:tgtEl>
                                      </p:cBhvr>
                                    </p:animEffect>
                                  </p:childTnLst>
                                </p:cTn>
                              </p:par>
                            </p:childTnLst>
                          </p:cTn>
                        </p:par>
                        <p:par>
                          <p:cTn id="12" fill="hold">
                            <p:stCondLst>
                              <p:cond delay="1600"/>
                            </p:stCondLst>
                            <p:childTnLst>
                              <p:par>
                                <p:cTn id="13" presetID="10" presetClass="entr" presetSubtype="0" fill="hold" grpId="0" nodeType="afterEffect">
                                  <p:stCondLst>
                                    <p:cond delay="0"/>
                                  </p:stCondLst>
                                  <p:childTnLst>
                                    <p:set>
                                      <p:cBhvr>
                                        <p:cTn id="14" dur="1" fill="hold">
                                          <p:stCondLst>
                                            <p:cond delay="0"/>
                                          </p:stCondLst>
                                        </p:cTn>
                                        <p:tgtEl>
                                          <p:spTgt spid="57"/>
                                        </p:tgtEl>
                                        <p:attrNameLst>
                                          <p:attrName>style.visibility</p:attrName>
                                        </p:attrNameLst>
                                      </p:cBhvr>
                                      <p:to>
                                        <p:strVal val="visible"/>
                                      </p:to>
                                    </p:set>
                                    <p:animEffect transition="in" filter="fade">
                                      <p:cBhvr>
                                        <p:cTn id="15" dur="300"/>
                                        <p:tgtEl>
                                          <p:spTgt spid="57"/>
                                        </p:tgtEl>
                                      </p:cBhvr>
                                    </p:animEffect>
                                  </p:childTnLst>
                                </p:cTn>
                              </p:par>
                            </p:childTnLst>
                          </p:cTn>
                        </p:par>
                        <p:par>
                          <p:cTn id="16" fill="hold">
                            <p:stCondLst>
                              <p:cond delay="1900"/>
                            </p:stCondLst>
                            <p:childTnLst>
                              <p:par>
                                <p:cTn id="17" presetID="10" presetClass="entr" presetSubtype="0" fill="hold" nodeType="afterEffect">
                                  <p:stCondLst>
                                    <p:cond delay="200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300"/>
                                        <p:tgtEl>
                                          <p:spTgt spid="43"/>
                                        </p:tgtEl>
                                      </p:cBhvr>
                                    </p:animEffect>
                                  </p:childTnLst>
                                </p:cTn>
                              </p:par>
                            </p:childTnLst>
                          </p:cTn>
                        </p:par>
                        <p:par>
                          <p:cTn id="20" fill="hold">
                            <p:stCondLst>
                              <p:cond delay="4200"/>
                            </p:stCondLst>
                            <p:childTnLst>
                              <p:par>
                                <p:cTn id="21" presetID="10" presetClass="entr" presetSubtype="0" fill="hold" nodeType="afterEffect">
                                  <p:stCondLst>
                                    <p:cond delay="100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300"/>
                                        <p:tgtEl>
                                          <p:spTgt spid="49"/>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300"/>
                                        <p:tgtEl>
                                          <p:spTgt spid="55"/>
                                        </p:tgtEl>
                                      </p:cBhvr>
                                    </p:animEffect>
                                  </p:childTnLst>
                                </p:cTn>
                              </p:par>
                            </p:childTnLst>
                          </p:cTn>
                        </p:par>
                        <p:par>
                          <p:cTn id="28" fill="hold">
                            <p:stCondLst>
                              <p:cond delay="5800"/>
                            </p:stCondLst>
                            <p:childTnLst>
                              <p:par>
                                <p:cTn id="29" presetID="10" presetClass="entr" presetSubtype="0" fill="hold" nodeType="afterEffect">
                                  <p:stCondLst>
                                    <p:cond delay="200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300"/>
                                        <p:tgtEl>
                                          <p:spTgt spid="46"/>
                                        </p:tgtEl>
                                      </p:cBhvr>
                                    </p:animEffect>
                                  </p:childTnLst>
                                </p:cTn>
                              </p:par>
                            </p:childTnLst>
                          </p:cTn>
                        </p:par>
                        <p:par>
                          <p:cTn id="32" fill="hold">
                            <p:stCondLst>
                              <p:cond delay="8100"/>
                            </p:stCondLst>
                            <p:childTnLst>
                              <p:par>
                                <p:cTn id="33" presetID="10" presetClass="entr" presetSubtype="0" fill="hold" nodeType="afterEffect">
                                  <p:stCondLst>
                                    <p:cond delay="100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300"/>
                                        <p:tgtEl>
                                          <p:spTgt spid="52"/>
                                        </p:tgtEl>
                                      </p:cBhvr>
                                    </p:animEffect>
                                  </p:childTnLst>
                                </p:cTn>
                              </p:par>
                            </p:childTnLst>
                          </p:cTn>
                        </p:par>
                        <p:par>
                          <p:cTn id="36" fill="hold">
                            <p:stCondLst>
                              <p:cond delay="9400"/>
                            </p:stCondLst>
                            <p:childTnLst>
                              <p:par>
                                <p:cTn id="37" presetID="10" presetClass="entr" presetSubtype="0" fill="hold" grpId="0" nodeType="afterEffect">
                                  <p:stCondLst>
                                    <p:cond delay="0"/>
                                  </p:stCondLst>
                                  <p:childTnLst>
                                    <p:set>
                                      <p:cBhvr>
                                        <p:cTn id="38" dur="1" fill="hold">
                                          <p:stCondLst>
                                            <p:cond delay="0"/>
                                          </p:stCondLst>
                                        </p:cTn>
                                        <p:tgtEl>
                                          <p:spTgt spid="56"/>
                                        </p:tgtEl>
                                        <p:attrNameLst>
                                          <p:attrName>style.visibility</p:attrName>
                                        </p:attrNameLst>
                                      </p:cBhvr>
                                      <p:to>
                                        <p:strVal val="visible"/>
                                      </p:to>
                                    </p:set>
                                    <p:animEffect transition="in" filter="fade">
                                      <p:cBhvr>
                                        <p:cTn id="39" dur="3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p:bldP spid="5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 name="Picture 2"/>
          <p:cNvPicPr>
            <a:picLocks noChangeAspect="1" noChangeArrowheads="1"/>
          </p:cNvPicPr>
          <p:nvPr/>
        </p:nvPicPr>
        <p:blipFill>
          <a:blip r:embed="rId2"/>
          <a:srcRect/>
          <a:stretch>
            <a:fillRect/>
          </a:stretch>
        </p:blipFill>
        <p:spPr bwMode="auto">
          <a:xfrm>
            <a:off x="-12700" y="3054350"/>
            <a:ext cx="9156700" cy="3359150"/>
          </a:xfrm>
          <a:prstGeom prst="rect">
            <a:avLst/>
          </a:prstGeom>
          <a:noFill/>
          <a:ln w="9525">
            <a:noFill/>
            <a:miter lim="800000"/>
            <a:headEnd/>
            <a:tailEnd/>
          </a:ln>
          <a:effectLst/>
        </p:spPr>
      </p:pic>
      <p:sp>
        <p:nvSpPr>
          <p:cNvPr id="2"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2800" kern="0" noProof="0" dirty="0" smtClean="0">
                <a:solidFill>
                  <a:schemeClr val="tx2"/>
                </a:solidFill>
                <a:latin typeface="Myriad Pro" pitchFamily="34" charset="0"/>
                <a:ea typeface="+mj-ea"/>
                <a:cs typeface="+mj-cs"/>
              </a:rPr>
              <a:t>3D Effekt erstellen</a:t>
            </a:r>
            <a:endParaRPr kumimoji="0" lang="de-DE" sz="2800" b="0" i="0" u="none" strike="noStrike" kern="0" cap="none" spc="0" normalizeH="0" baseline="0" noProof="0" dirty="0" smtClean="0">
              <a:ln>
                <a:noFill/>
              </a:ln>
              <a:solidFill>
                <a:schemeClr val="tx2"/>
              </a:solidFill>
              <a:effectLst/>
              <a:uLnTx/>
              <a:uFillTx/>
              <a:latin typeface="Myriad Pro" pitchFamily="34" charset="0"/>
              <a:ea typeface="+mj-ea"/>
              <a:cs typeface="+mj-cs"/>
            </a:endParaRPr>
          </a:p>
        </p:txBody>
      </p:sp>
      <p:sp>
        <p:nvSpPr>
          <p:cNvPr id="4" name="Freeform 2"/>
          <p:cNvSpPr>
            <a:spLocks noEditPoints="1"/>
          </p:cNvSpPr>
          <p:nvPr/>
        </p:nvSpPr>
        <p:spPr bwMode="auto">
          <a:xfrm>
            <a:off x="619126" y="1201775"/>
            <a:ext cx="2121104" cy="2871945"/>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a:p>
        </p:txBody>
      </p:sp>
      <p:grpSp>
        <p:nvGrpSpPr>
          <p:cNvPr id="6" name="Gruppieren 111"/>
          <p:cNvGrpSpPr/>
          <p:nvPr/>
        </p:nvGrpSpPr>
        <p:grpSpPr>
          <a:xfrm>
            <a:off x="203518" y="4966018"/>
            <a:ext cx="347663" cy="338138"/>
            <a:chOff x="203518" y="4966018"/>
            <a:chExt cx="347663" cy="338138"/>
          </a:xfrm>
        </p:grpSpPr>
        <p:pic>
          <p:nvPicPr>
            <p:cNvPr id="7" name="Grafik 6" descr="schatten.png"/>
            <p:cNvPicPr>
              <a:picLocks noChangeAspect="1"/>
            </p:cNvPicPr>
            <p:nvPr/>
          </p:nvPicPr>
          <p:blipFill>
            <a:blip r:embed="rId3" cstate="print">
              <a:lum bright="30000"/>
            </a:blip>
            <a:srcRect l="17603" t="9404" r="15359" b="14528"/>
            <a:stretch>
              <a:fillRect/>
            </a:stretch>
          </p:blipFill>
          <p:spPr>
            <a:xfrm>
              <a:off x="203518" y="4966018"/>
              <a:ext cx="347663" cy="338138"/>
            </a:xfrm>
            <a:prstGeom prst="rect">
              <a:avLst/>
            </a:prstGeom>
          </p:spPr>
        </p:pic>
        <p:sp>
          <p:nvSpPr>
            <p:cNvPr id="8"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9" name="Gruppieren 115"/>
          <p:cNvGrpSpPr/>
          <p:nvPr/>
        </p:nvGrpSpPr>
        <p:grpSpPr>
          <a:xfrm>
            <a:off x="203518" y="5530850"/>
            <a:ext cx="347663" cy="338138"/>
            <a:chOff x="203518" y="5554980"/>
            <a:chExt cx="347663" cy="338138"/>
          </a:xfrm>
        </p:grpSpPr>
        <p:pic>
          <p:nvPicPr>
            <p:cNvPr id="10" name="Grafik 9" descr="schatten.png"/>
            <p:cNvPicPr>
              <a:picLocks noChangeAspect="1"/>
            </p:cNvPicPr>
            <p:nvPr/>
          </p:nvPicPr>
          <p:blipFill>
            <a:blip r:embed="rId3" cstate="print">
              <a:lum bright="30000"/>
            </a:blip>
            <a:srcRect l="17603" t="9404" r="15359" b="14528"/>
            <a:stretch>
              <a:fillRect/>
            </a:stretch>
          </p:blipFill>
          <p:spPr>
            <a:xfrm>
              <a:off x="203518" y="5554980"/>
              <a:ext cx="347663" cy="338138"/>
            </a:xfrm>
            <a:prstGeom prst="rect">
              <a:avLst/>
            </a:prstGeom>
          </p:spPr>
        </p:pic>
        <p:sp>
          <p:nvSpPr>
            <p:cNvPr id="11"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sp>
        <p:nvSpPr>
          <p:cNvPr id="26" name="Rectangle 5"/>
          <p:cNvSpPr>
            <a:spLocks noChangeArrowheads="1"/>
          </p:cNvSpPr>
          <p:nvPr/>
        </p:nvSpPr>
        <p:spPr bwMode="gray">
          <a:xfrm>
            <a:off x="639763" y="4966018"/>
            <a:ext cx="8251825" cy="422275"/>
          </a:xfrm>
          <a:prstGeom prst="rect">
            <a:avLst/>
          </a:prstGeom>
          <a:noFill/>
          <a:ln w="12700">
            <a:noFill/>
            <a:miter lim="800000"/>
            <a:headEnd/>
            <a:tailEnd/>
          </a:ln>
        </p:spPr>
        <p:txBody>
          <a:bodyPr lIns="0" tIns="0" rIns="0" bIns="0"/>
          <a:lstStyle/>
          <a:p>
            <a:r>
              <a:rPr lang="en-US" sz="1200" dirty="0" err="1" smtClean="0">
                <a:solidFill>
                  <a:srgbClr val="000000"/>
                </a:solidFill>
                <a:latin typeface="Myriad Pro" pitchFamily="34" charset="0"/>
                <a:ea typeface="Arial Unicode MS" pitchFamily="34" charset="-128"/>
                <a:cs typeface="Arial" charset="0"/>
              </a:rPr>
              <a:t>Danach</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wähl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den </a:t>
            </a:r>
            <a:r>
              <a:rPr lang="en-US" sz="1200" dirty="0" err="1" smtClean="0">
                <a:solidFill>
                  <a:srgbClr val="000000"/>
                </a:solidFill>
                <a:latin typeface="Myriad Pro" pitchFamily="34" charset="0"/>
                <a:ea typeface="Arial Unicode MS" pitchFamily="34" charset="-128"/>
                <a:cs typeface="Arial" charset="0"/>
              </a:rPr>
              <a:t>Punkt</a:t>
            </a:r>
            <a:r>
              <a:rPr lang="en-US" sz="1200" dirty="0" smtClean="0">
                <a:solidFill>
                  <a:srgbClr val="000000"/>
                </a:solidFill>
                <a:latin typeface="Myriad Pro" pitchFamily="34" charset="0"/>
                <a:ea typeface="Arial Unicode MS" pitchFamily="34" charset="-128"/>
                <a:cs typeface="Arial" charset="0"/>
              </a:rPr>
              <a:t> 3D-Drehung </a:t>
            </a:r>
            <a:r>
              <a:rPr lang="en-US" sz="1200" dirty="0" err="1" smtClean="0">
                <a:solidFill>
                  <a:srgbClr val="000000"/>
                </a:solidFill>
                <a:latin typeface="Myriad Pro" pitchFamily="34" charset="0"/>
                <a:ea typeface="Arial Unicode MS" pitchFamily="34" charset="-128"/>
                <a:cs typeface="Arial" charset="0"/>
              </a:rPr>
              <a:t>aus</a:t>
            </a:r>
            <a:r>
              <a:rPr lang="en-US" sz="1200" dirty="0" smtClean="0">
                <a:solidFill>
                  <a:srgbClr val="000000"/>
                </a:solidFill>
                <a:latin typeface="Myriad Pro" pitchFamily="34" charset="0"/>
                <a:ea typeface="Arial Unicode MS" pitchFamily="34" charset="-128"/>
                <a:cs typeface="Arial" charset="0"/>
              </a:rPr>
              <a:t>.</a:t>
            </a:r>
            <a:endParaRPr lang="en-US" dirty="0">
              <a:solidFill>
                <a:srgbClr val="000000"/>
              </a:solidFill>
              <a:ea typeface="Arial Unicode MS" pitchFamily="34" charset="-128"/>
              <a:cs typeface="Arial" charset="0"/>
            </a:endParaRPr>
          </a:p>
        </p:txBody>
      </p:sp>
      <p:sp>
        <p:nvSpPr>
          <p:cNvPr id="27" name="Rectangle 5"/>
          <p:cNvSpPr>
            <a:spLocks noChangeArrowheads="1"/>
          </p:cNvSpPr>
          <p:nvPr/>
        </p:nvSpPr>
        <p:spPr bwMode="gray">
          <a:xfrm>
            <a:off x="639763" y="5530850"/>
            <a:ext cx="8251825" cy="423863"/>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Hier gibt es verschiedene Varianten der Karte einen 3D-Effekt zu geben.</a:t>
            </a:r>
          </a:p>
          <a:p>
            <a:endParaRPr lang="en-US" sz="1200" dirty="0">
              <a:solidFill>
                <a:srgbClr val="000000"/>
              </a:solidFill>
              <a:latin typeface="Myriad Pro" pitchFamily="34" charset="0"/>
              <a:ea typeface="Arial Unicode MS" pitchFamily="34" charset="-128"/>
              <a:cs typeface="Arial" charset="0"/>
            </a:endParaRPr>
          </a:p>
        </p:txBody>
      </p:sp>
      <p:grpSp>
        <p:nvGrpSpPr>
          <p:cNvPr id="29" name="Gruppieren 108"/>
          <p:cNvGrpSpPr/>
          <p:nvPr/>
        </p:nvGrpSpPr>
        <p:grpSpPr>
          <a:xfrm>
            <a:off x="203518" y="4378643"/>
            <a:ext cx="347663" cy="338138"/>
            <a:chOff x="203518" y="4378643"/>
            <a:chExt cx="347663" cy="338138"/>
          </a:xfrm>
        </p:grpSpPr>
        <p:pic>
          <p:nvPicPr>
            <p:cNvPr id="30" name="Grafik 29" descr="schatten.png"/>
            <p:cNvPicPr>
              <a:picLocks noChangeAspect="1"/>
            </p:cNvPicPr>
            <p:nvPr/>
          </p:nvPicPr>
          <p:blipFill>
            <a:blip r:embed="rId3" cstate="print">
              <a:lum bright="30000"/>
            </a:blip>
            <a:srcRect l="17603" t="9404" r="15359" b="14528"/>
            <a:stretch>
              <a:fillRect/>
            </a:stretch>
          </p:blipFill>
          <p:spPr>
            <a:xfrm>
              <a:off x="203518" y="4378643"/>
              <a:ext cx="347663" cy="338138"/>
            </a:xfrm>
            <a:prstGeom prst="rect">
              <a:avLst/>
            </a:prstGeom>
          </p:spPr>
        </p:pic>
        <p:sp>
          <p:nvSpPr>
            <p:cNvPr id="31"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33" name="Freeform 2"/>
          <p:cNvSpPr>
            <a:spLocks noEditPoints="1"/>
          </p:cNvSpPr>
          <p:nvPr/>
        </p:nvSpPr>
        <p:spPr bwMode="auto">
          <a:xfrm>
            <a:off x="6770484" y="1201775"/>
            <a:ext cx="2121104" cy="2871945"/>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a:scene3d>
            <a:camera prst="isometricOffAxis2Left"/>
            <a:lightRig rig="threePt" dir="t"/>
          </a:scene3d>
        </p:spPr>
        <p:txBody>
          <a:bodyPr vert="horz" wrap="square" lIns="91440" tIns="45720" rIns="91440" bIns="45720" numCol="1" anchor="t" anchorCtr="0" compatLnSpc="1">
            <a:prstTxWarp prst="textNoShape">
              <a:avLst/>
            </a:prstTxWarp>
          </a:bodyPr>
          <a:lstStyle/>
          <a:p>
            <a:endParaRPr lang="de-DE"/>
          </a:p>
        </p:txBody>
      </p:sp>
      <p:grpSp>
        <p:nvGrpSpPr>
          <p:cNvPr id="38" name="Gruppieren 108"/>
          <p:cNvGrpSpPr/>
          <p:nvPr/>
        </p:nvGrpSpPr>
        <p:grpSpPr>
          <a:xfrm>
            <a:off x="2726180" y="1020667"/>
            <a:ext cx="347663" cy="338138"/>
            <a:chOff x="203518" y="4378643"/>
            <a:chExt cx="347663" cy="338138"/>
          </a:xfrm>
        </p:grpSpPr>
        <p:pic>
          <p:nvPicPr>
            <p:cNvPr id="39" name="Grafik 38" descr="schatten.png"/>
            <p:cNvPicPr>
              <a:picLocks noChangeAspect="1"/>
            </p:cNvPicPr>
            <p:nvPr/>
          </p:nvPicPr>
          <p:blipFill>
            <a:blip r:embed="rId3" cstate="print">
              <a:lum bright="30000"/>
            </a:blip>
            <a:srcRect l="17603" t="9404" r="15359" b="14528"/>
            <a:stretch>
              <a:fillRect/>
            </a:stretch>
          </p:blipFill>
          <p:spPr>
            <a:xfrm>
              <a:off x="203518" y="4378643"/>
              <a:ext cx="347663" cy="338138"/>
            </a:xfrm>
            <a:prstGeom prst="rect">
              <a:avLst/>
            </a:prstGeom>
          </p:spPr>
        </p:pic>
        <p:sp>
          <p:nvSpPr>
            <p:cNvPr id="40"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41" name="Gruppieren 111"/>
          <p:cNvGrpSpPr/>
          <p:nvPr/>
        </p:nvGrpSpPr>
        <p:grpSpPr>
          <a:xfrm>
            <a:off x="2731833" y="1999926"/>
            <a:ext cx="347663" cy="338138"/>
            <a:chOff x="203518" y="4966018"/>
            <a:chExt cx="347663" cy="338138"/>
          </a:xfrm>
        </p:grpSpPr>
        <p:pic>
          <p:nvPicPr>
            <p:cNvPr id="42" name="Grafik 41" descr="schatten.png"/>
            <p:cNvPicPr>
              <a:picLocks noChangeAspect="1"/>
            </p:cNvPicPr>
            <p:nvPr/>
          </p:nvPicPr>
          <p:blipFill>
            <a:blip r:embed="rId3" cstate="print">
              <a:lum bright="30000"/>
            </a:blip>
            <a:srcRect l="17603" t="9404" r="15359" b="14528"/>
            <a:stretch>
              <a:fillRect/>
            </a:stretch>
          </p:blipFill>
          <p:spPr>
            <a:xfrm>
              <a:off x="203518" y="4966018"/>
              <a:ext cx="347663" cy="338138"/>
            </a:xfrm>
            <a:prstGeom prst="rect">
              <a:avLst/>
            </a:prstGeom>
          </p:spPr>
        </p:pic>
        <p:sp>
          <p:nvSpPr>
            <p:cNvPr id="43"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44" name="Gruppieren 115"/>
          <p:cNvGrpSpPr/>
          <p:nvPr/>
        </p:nvGrpSpPr>
        <p:grpSpPr>
          <a:xfrm>
            <a:off x="4383105" y="1999926"/>
            <a:ext cx="347663" cy="338138"/>
            <a:chOff x="203518" y="5554980"/>
            <a:chExt cx="347663" cy="338138"/>
          </a:xfrm>
        </p:grpSpPr>
        <p:pic>
          <p:nvPicPr>
            <p:cNvPr id="45" name="Grafik 44" descr="schatten.png"/>
            <p:cNvPicPr>
              <a:picLocks noChangeAspect="1"/>
            </p:cNvPicPr>
            <p:nvPr/>
          </p:nvPicPr>
          <p:blipFill>
            <a:blip r:embed="rId3" cstate="print">
              <a:lum bright="30000"/>
            </a:blip>
            <a:srcRect l="17603" t="9404" r="15359" b="14528"/>
            <a:stretch>
              <a:fillRect/>
            </a:stretch>
          </p:blipFill>
          <p:spPr>
            <a:xfrm>
              <a:off x="203518" y="5554980"/>
              <a:ext cx="347663" cy="338138"/>
            </a:xfrm>
            <a:prstGeom prst="rect">
              <a:avLst/>
            </a:prstGeom>
          </p:spPr>
        </p:pic>
        <p:sp>
          <p:nvSpPr>
            <p:cNvPr id="46"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88" name="Group 87"/>
          <p:cNvGrpSpPr/>
          <p:nvPr/>
        </p:nvGrpSpPr>
        <p:grpSpPr>
          <a:xfrm>
            <a:off x="3143251" y="937794"/>
            <a:ext cx="3431743" cy="3261850"/>
            <a:chOff x="3143251" y="937794"/>
            <a:chExt cx="3431743" cy="3261850"/>
          </a:xfrm>
        </p:grpSpPr>
        <p:pic>
          <p:nvPicPr>
            <p:cNvPr id="32" name="Picture 7"/>
            <p:cNvPicPr>
              <a:picLocks noChangeAspect="1" noChangeArrowheads="1"/>
            </p:cNvPicPr>
            <p:nvPr/>
          </p:nvPicPr>
          <p:blipFill>
            <a:blip r:embed="rId4"/>
            <a:srcRect/>
            <a:stretch>
              <a:fillRect/>
            </a:stretch>
          </p:blipFill>
          <p:spPr bwMode="auto">
            <a:xfrm>
              <a:off x="3143251" y="937794"/>
              <a:ext cx="2878183" cy="761058"/>
            </a:xfrm>
            <a:prstGeom prst="rect">
              <a:avLst/>
            </a:prstGeom>
            <a:noFill/>
            <a:effectLst>
              <a:outerShdw blurRad="50800" dist="38100" dir="2700000" algn="tl" rotWithShape="0">
                <a:prstClr val="black">
                  <a:alpha val="40000"/>
                </a:prstClr>
              </a:outerShdw>
            </a:effectLst>
          </p:spPr>
        </p:pic>
        <p:pic>
          <p:nvPicPr>
            <p:cNvPr id="2050" name="Picture 2"/>
            <p:cNvPicPr>
              <a:picLocks noChangeAspect="1" noChangeArrowheads="1"/>
            </p:cNvPicPr>
            <p:nvPr/>
          </p:nvPicPr>
          <p:blipFill>
            <a:blip r:embed="rId5"/>
            <a:srcRect/>
            <a:stretch>
              <a:fillRect/>
            </a:stretch>
          </p:blipFill>
          <p:spPr bwMode="auto">
            <a:xfrm>
              <a:off x="3143251" y="1928545"/>
              <a:ext cx="1084920" cy="2271099"/>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2052" name="Picture 4"/>
            <p:cNvPicPr>
              <a:picLocks noChangeAspect="1" noChangeArrowheads="1"/>
            </p:cNvPicPr>
            <p:nvPr/>
          </p:nvPicPr>
          <p:blipFill>
            <a:blip r:embed="rId6"/>
            <a:srcRect/>
            <a:stretch>
              <a:fillRect/>
            </a:stretch>
          </p:blipFill>
          <p:spPr bwMode="auto">
            <a:xfrm>
              <a:off x="4802958" y="1928545"/>
              <a:ext cx="1772036" cy="1902227"/>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sp>
          <p:nvSpPr>
            <p:cNvPr id="12" name="Rechteck 11"/>
            <p:cNvSpPr/>
            <p:nvPr/>
          </p:nvSpPr>
          <p:spPr>
            <a:xfrm>
              <a:off x="3152715" y="1419225"/>
              <a:ext cx="680327" cy="164307"/>
            </a:xfrm>
            <a:prstGeom prst="rect">
              <a:avLst/>
            </a:prstGeom>
            <a:solidFill>
              <a:schemeClr val="bg1">
                <a:alpha val="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sp>
          <p:nvSpPr>
            <p:cNvPr id="47" name="Rechteck 11"/>
            <p:cNvSpPr/>
            <p:nvPr/>
          </p:nvSpPr>
          <p:spPr>
            <a:xfrm>
              <a:off x="3155860" y="3860018"/>
              <a:ext cx="1058953" cy="328601"/>
            </a:xfrm>
            <a:prstGeom prst="rect">
              <a:avLst/>
            </a:prstGeom>
            <a:solidFill>
              <a:schemeClr val="bg1">
                <a:alpha val="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grpSp>
        <p:nvGrpSpPr>
          <p:cNvPr id="91" name="Group 90"/>
          <p:cNvGrpSpPr/>
          <p:nvPr/>
        </p:nvGrpSpPr>
        <p:grpSpPr>
          <a:xfrm>
            <a:off x="2277520" y="1517014"/>
            <a:ext cx="2194390" cy="2928213"/>
            <a:chOff x="2277520" y="1517014"/>
            <a:chExt cx="2194390" cy="2928213"/>
          </a:xfrm>
        </p:grpSpPr>
        <p:grpSp>
          <p:nvGrpSpPr>
            <p:cNvPr id="13" name="Group 45"/>
            <p:cNvGrpSpPr>
              <a:grpSpLocks/>
            </p:cNvGrpSpPr>
            <p:nvPr/>
          </p:nvGrpSpPr>
          <p:grpSpPr bwMode="auto">
            <a:xfrm rot="-1312736">
              <a:off x="2277520" y="3482974"/>
              <a:ext cx="374650" cy="609600"/>
              <a:chOff x="1950" y="1045"/>
              <a:chExt cx="568" cy="928"/>
            </a:xfrm>
          </p:grpSpPr>
          <p:sp>
            <p:nvSpPr>
              <p:cNvPr id="14"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15"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16"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7"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18"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9"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20"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21"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22"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23"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24"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25"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62" name="Group 45"/>
            <p:cNvGrpSpPr>
              <a:grpSpLocks/>
            </p:cNvGrpSpPr>
            <p:nvPr/>
          </p:nvGrpSpPr>
          <p:grpSpPr bwMode="auto">
            <a:xfrm rot="-1312736">
              <a:off x="4097260" y="3835627"/>
              <a:ext cx="374650" cy="609600"/>
              <a:chOff x="1950" y="1045"/>
              <a:chExt cx="568" cy="928"/>
            </a:xfrm>
          </p:grpSpPr>
          <p:sp>
            <p:nvSpPr>
              <p:cNvPr id="63"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64"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65"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66"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67"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68"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69"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70"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71"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72"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73"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74"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75" name="Group 45"/>
            <p:cNvGrpSpPr>
              <a:grpSpLocks/>
            </p:cNvGrpSpPr>
            <p:nvPr/>
          </p:nvGrpSpPr>
          <p:grpSpPr bwMode="auto">
            <a:xfrm rot="-1312736">
              <a:off x="3611019" y="1517014"/>
              <a:ext cx="374650" cy="609600"/>
              <a:chOff x="1950" y="1045"/>
              <a:chExt cx="568" cy="928"/>
            </a:xfrm>
          </p:grpSpPr>
          <p:sp>
            <p:nvSpPr>
              <p:cNvPr id="76"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77"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78"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79"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80"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81"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82"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83"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84"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85"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86"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87"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sp>
        <p:nvSpPr>
          <p:cNvPr id="89"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7</a:t>
            </a:r>
            <a:endParaRPr lang="de-DE" sz="900" dirty="0">
              <a:solidFill>
                <a:schemeClr val="bg1">
                  <a:lumMod val="50000"/>
                </a:schemeClr>
              </a:solidFill>
            </a:endParaRPr>
          </a:p>
        </p:txBody>
      </p:sp>
      <p:sp>
        <p:nvSpPr>
          <p:cNvPr id="28" name="Rectangle 5"/>
          <p:cNvSpPr>
            <a:spLocks noChangeArrowheads="1"/>
          </p:cNvSpPr>
          <p:nvPr/>
        </p:nvSpPr>
        <p:spPr bwMode="gray">
          <a:xfrm>
            <a:off x="639763" y="4378643"/>
            <a:ext cx="8251825" cy="423863"/>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Wählen Sie zunächst die Karte mit der linken Maustaste aus, klicken Sie dann auf Formeffekte unter dem Reiter „Format“.</a:t>
            </a:r>
            <a:endParaRPr lang="en-US" sz="1200" dirty="0" smtClean="0">
              <a:latin typeface="Myriad Pro" pitchFamily="34" charset="0"/>
              <a:ea typeface="Arial Unicode MS" pitchFamily="34" charset="-128"/>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300"/>
                                        <p:tgtEl>
                                          <p:spTgt spid="29"/>
                                        </p:tgtEl>
                                      </p:cBhvr>
                                    </p:animEffect>
                                  </p:childTnLst>
                                </p:cTn>
                              </p:par>
                            </p:childTnLst>
                          </p:cTn>
                        </p:par>
                        <p:par>
                          <p:cTn id="8" fill="hold">
                            <p:stCondLst>
                              <p:cond delay="1300"/>
                            </p:stCondLst>
                            <p:childTnLst>
                              <p:par>
                                <p:cTn id="9" presetID="10"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300"/>
                                        <p:tgtEl>
                                          <p:spTgt spid="28"/>
                                        </p:tgtEl>
                                      </p:cBhvr>
                                    </p:animEffect>
                                  </p:childTnLst>
                                </p:cTn>
                              </p:par>
                            </p:childTnLst>
                          </p:cTn>
                        </p:par>
                        <p:par>
                          <p:cTn id="12" fill="hold">
                            <p:stCondLst>
                              <p:cond delay="1600"/>
                            </p:stCondLst>
                            <p:childTnLst>
                              <p:par>
                                <p:cTn id="13" presetID="10" presetClass="entr" presetSubtype="0" fill="hold" nodeType="after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300"/>
                                        <p:tgtEl>
                                          <p:spTgt spid="6"/>
                                        </p:tgtEl>
                                      </p:cBhvr>
                                    </p:animEffect>
                                  </p:childTnLst>
                                </p:cTn>
                              </p:par>
                            </p:childTnLst>
                          </p:cTn>
                        </p:par>
                        <p:par>
                          <p:cTn id="16" fill="hold">
                            <p:stCondLst>
                              <p:cond delay="29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300"/>
                                        <p:tgtEl>
                                          <p:spTgt spid="26"/>
                                        </p:tgtEl>
                                      </p:cBhvr>
                                    </p:animEffect>
                                  </p:childTnLst>
                                </p:cTn>
                              </p:par>
                            </p:childTnLst>
                          </p:cTn>
                        </p:par>
                        <p:par>
                          <p:cTn id="20" fill="hold">
                            <p:stCondLst>
                              <p:cond delay="3200"/>
                            </p:stCondLst>
                            <p:childTnLst>
                              <p:par>
                                <p:cTn id="21" presetID="10" presetClass="entr" presetSubtype="0" fill="hold" nodeType="afterEffect">
                                  <p:stCondLst>
                                    <p:cond delay="100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300"/>
                                        <p:tgtEl>
                                          <p:spTgt spid="9"/>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300"/>
                                        <p:tgtEl>
                                          <p:spTgt spid="27"/>
                                        </p:tgtEl>
                                      </p:cBhvr>
                                    </p:animEffect>
                                  </p:childTnLst>
                                </p:cTn>
                              </p:par>
                            </p:childTnLst>
                          </p:cTn>
                        </p:par>
                        <p:par>
                          <p:cTn id="28" fill="hold">
                            <p:stCondLst>
                              <p:cond delay="4800"/>
                            </p:stCondLst>
                            <p:childTnLst>
                              <p:par>
                                <p:cTn id="29" presetID="10" presetClass="entr" presetSubtype="0" fill="hold" nodeType="afterEffect">
                                  <p:stCondLst>
                                    <p:cond delay="100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300"/>
                                        <p:tgtEl>
                                          <p:spTgt spid="38"/>
                                        </p:tgtEl>
                                      </p:cBhvr>
                                    </p:animEffect>
                                  </p:childTnLst>
                                </p:cTn>
                              </p:par>
                            </p:childTnLst>
                          </p:cTn>
                        </p:par>
                        <p:par>
                          <p:cTn id="32" fill="hold">
                            <p:stCondLst>
                              <p:cond delay="6100"/>
                            </p:stCondLst>
                            <p:childTnLst>
                              <p:par>
                                <p:cTn id="33" presetID="10" presetClass="entr" presetSubtype="0" fill="hold" nodeType="afterEffect">
                                  <p:stCondLst>
                                    <p:cond delay="1000"/>
                                  </p:stCondLst>
                                  <p:childTnLst>
                                    <p:set>
                                      <p:cBhvr>
                                        <p:cTn id="34" dur="1" fill="hold">
                                          <p:stCondLst>
                                            <p:cond delay="0"/>
                                          </p:stCondLst>
                                        </p:cTn>
                                        <p:tgtEl>
                                          <p:spTgt spid="41"/>
                                        </p:tgtEl>
                                        <p:attrNameLst>
                                          <p:attrName>style.visibility</p:attrName>
                                        </p:attrNameLst>
                                      </p:cBhvr>
                                      <p:to>
                                        <p:strVal val="visible"/>
                                      </p:to>
                                    </p:set>
                                    <p:animEffect transition="in" filter="fade">
                                      <p:cBhvr>
                                        <p:cTn id="35" dur="300"/>
                                        <p:tgtEl>
                                          <p:spTgt spid="41"/>
                                        </p:tgtEl>
                                      </p:cBhvr>
                                    </p:animEffect>
                                  </p:childTnLst>
                                </p:cTn>
                              </p:par>
                            </p:childTnLst>
                          </p:cTn>
                        </p:par>
                        <p:par>
                          <p:cTn id="36" fill="hold">
                            <p:stCondLst>
                              <p:cond delay="7400"/>
                            </p:stCondLst>
                            <p:childTnLst>
                              <p:par>
                                <p:cTn id="37" presetID="10" presetClass="entr" presetSubtype="0" fill="hold" nodeType="afterEffect">
                                  <p:stCondLst>
                                    <p:cond delay="100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3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 name="Picture 2"/>
          <p:cNvPicPr>
            <a:picLocks noChangeAspect="1" noChangeArrowheads="1"/>
          </p:cNvPicPr>
          <p:nvPr/>
        </p:nvPicPr>
        <p:blipFill>
          <a:blip r:embed="rId2"/>
          <a:srcRect/>
          <a:stretch>
            <a:fillRect/>
          </a:stretch>
        </p:blipFill>
        <p:spPr bwMode="auto">
          <a:xfrm>
            <a:off x="-12700" y="3054350"/>
            <a:ext cx="9156700" cy="3359150"/>
          </a:xfrm>
          <a:prstGeom prst="rect">
            <a:avLst/>
          </a:prstGeom>
          <a:noFill/>
          <a:ln w="9525">
            <a:noFill/>
            <a:miter lim="800000"/>
            <a:headEnd/>
            <a:tailEnd/>
          </a:ln>
          <a:effectLst/>
        </p:spPr>
      </p:pic>
      <p:grpSp>
        <p:nvGrpSpPr>
          <p:cNvPr id="87" name="Group 86"/>
          <p:cNvGrpSpPr/>
          <p:nvPr/>
        </p:nvGrpSpPr>
        <p:grpSpPr>
          <a:xfrm>
            <a:off x="619125" y="774047"/>
            <a:ext cx="8288378" cy="3742964"/>
            <a:chOff x="619125" y="774047"/>
            <a:chExt cx="8288378" cy="3742964"/>
          </a:xfrm>
        </p:grpSpPr>
        <p:pic>
          <p:nvPicPr>
            <p:cNvPr id="1028" name="Picture 4"/>
            <p:cNvPicPr>
              <a:picLocks noChangeAspect="1" noChangeArrowheads="1"/>
            </p:cNvPicPr>
            <p:nvPr/>
          </p:nvPicPr>
          <p:blipFill>
            <a:blip r:embed="rId3"/>
            <a:srcRect/>
            <a:stretch>
              <a:fillRect/>
            </a:stretch>
          </p:blipFill>
          <p:spPr bwMode="auto">
            <a:xfrm>
              <a:off x="5626248" y="980124"/>
              <a:ext cx="2800800" cy="2862582"/>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grpSp>
          <p:nvGrpSpPr>
            <p:cNvPr id="125" name="Group 146"/>
            <p:cNvGrpSpPr>
              <a:grpSpLocks/>
            </p:cNvGrpSpPr>
            <p:nvPr/>
          </p:nvGrpSpPr>
          <p:grpSpPr bwMode="auto">
            <a:xfrm>
              <a:off x="619125" y="774047"/>
              <a:ext cx="2250000" cy="3394800"/>
              <a:chOff x="1463" y="592"/>
              <a:chExt cx="2191" cy="3229"/>
            </a:xfrm>
          </p:grpSpPr>
          <p:sp>
            <p:nvSpPr>
              <p:cNvPr id="126" name="Freeform 147"/>
              <p:cNvSpPr>
                <a:spLocks noEditPoints="1"/>
              </p:cNvSpPr>
              <p:nvPr/>
            </p:nvSpPr>
            <p:spPr bwMode="auto">
              <a:xfrm>
                <a:off x="1463" y="2157"/>
                <a:ext cx="824" cy="1180"/>
              </a:xfrm>
              <a:custGeom>
                <a:avLst/>
                <a:gdLst/>
                <a:ahLst/>
                <a:cxnLst>
                  <a:cxn ang="0">
                    <a:pos x="28" y="2530"/>
                  </a:cxn>
                  <a:cxn ang="0">
                    <a:pos x="1174" y="189"/>
                  </a:cxn>
                  <a:cxn ang="0">
                    <a:pos x="1602" y="7"/>
                  </a:cxn>
                  <a:cxn ang="0">
                    <a:pos x="232" y="965"/>
                  </a:cxn>
                  <a:cxn ang="0">
                    <a:pos x="1842" y="2531"/>
                  </a:cxn>
                  <a:cxn ang="0">
                    <a:pos x="257" y="1277"/>
                  </a:cxn>
                  <a:cxn ang="0">
                    <a:pos x="468" y="1715"/>
                  </a:cxn>
                  <a:cxn ang="0">
                    <a:pos x="1043" y="260"/>
                  </a:cxn>
                  <a:cxn ang="0">
                    <a:pos x="2032" y="1595"/>
                  </a:cxn>
                  <a:cxn ang="0">
                    <a:pos x="2034" y="1240"/>
                  </a:cxn>
                  <a:cxn ang="0">
                    <a:pos x="1999" y="1024"/>
                  </a:cxn>
                  <a:cxn ang="0">
                    <a:pos x="1770" y="915"/>
                  </a:cxn>
                  <a:cxn ang="0">
                    <a:pos x="1541" y="994"/>
                  </a:cxn>
                  <a:cxn ang="0">
                    <a:pos x="1284" y="851"/>
                  </a:cxn>
                  <a:cxn ang="0">
                    <a:pos x="1303" y="669"/>
                  </a:cxn>
                  <a:cxn ang="0">
                    <a:pos x="1458" y="477"/>
                  </a:cxn>
                  <a:cxn ang="0">
                    <a:pos x="1535" y="80"/>
                  </a:cxn>
                  <a:cxn ang="0">
                    <a:pos x="1459" y="296"/>
                  </a:cxn>
                  <a:cxn ang="0">
                    <a:pos x="1347" y="147"/>
                  </a:cxn>
                  <a:cxn ang="0">
                    <a:pos x="1187" y="216"/>
                  </a:cxn>
                  <a:cxn ang="0">
                    <a:pos x="1049" y="329"/>
                  </a:cxn>
                  <a:cxn ang="0">
                    <a:pos x="1002" y="461"/>
                  </a:cxn>
                  <a:cxn ang="0">
                    <a:pos x="990" y="592"/>
                  </a:cxn>
                  <a:cxn ang="0">
                    <a:pos x="1164" y="585"/>
                  </a:cxn>
                  <a:cxn ang="0">
                    <a:pos x="983" y="750"/>
                  </a:cxn>
                  <a:cxn ang="0">
                    <a:pos x="756" y="862"/>
                  </a:cxn>
                  <a:cxn ang="0">
                    <a:pos x="591" y="806"/>
                  </a:cxn>
                  <a:cxn ang="0">
                    <a:pos x="373" y="845"/>
                  </a:cxn>
                  <a:cxn ang="0">
                    <a:pos x="299" y="946"/>
                  </a:cxn>
                  <a:cxn ang="0">
                    <a:pos x="351" y="938"/>
                  </a:cxn>
                  <a:cxn ang="0">
                    <a:pos x="362" y="1093"/>
                  </a:cxn>
                  <a:cxn ang="0">
                    <a:pos x="239" y="1077"/>
                  </a:cxn>
                  <a:cxn ang="0">
                    <a:pos x="487" y="1174"/>
                  </a:cxn>
                  <a:cxn ang="0">
                    <a:pos x="359" y="1278"/>
                  </a:cxn>
                  <a:cxn ang="0">
                    <a:pos x="224" y="1393"/>
                  </a:cxn>
                  <a:cxn ang="0">
                    <a:pos x="264" y="1499"/>
                  </a:cxn>
                  <a:cxn ang="0">
                    <a:pos x="355" y="1570"/>
                  </a:cxn>
                  <a:cxn ang="0">
                    <a:pos x="460" y="1567"/>
                  </a:cxn>
                  <a:cxn ang="0">
                    <a:pos x="780" y="1665"/>
                  </a:cxn>
                  <a:cxn ang="0">
                    <a:pos x="650" y="1703"/>
                  </a:cxn>
                  <a:cxn ang="0">
                    <a:pos x="554" y="1937"/>
                  </a:cxn>
                  <a:cxn ang="0">
                    <a:pos x="431" y="2147"/>
                  </a:cxn>
                  <a:cxn ang="0">
                    <a:pos x="722" y="2081"/>
                  </a:cxn>
                  <a:cxn ang="0">
                    <a:pos x="718" y="2108"/>
                  </a:cxn>
                  <a:cxn ang="0">
                    <a:pos x="346" y="2354"/>
                  </a:cxn>
                  <a:cxn ang="0">
                    <a:pos x="235" y="2395"/>
                  </a:cxn>
                  <a:cxn ang="0">
                    <a:pos x="82" y="2457"/>
                  </a:cxn>
                  <a:cxn ang="0">
                    <a:pos x="152" y="2483"/>
                  </a:cxn>
                  <a:cxn ang="0">
                    <a:pos x="289" y="2548"/>
                  </a:cxn>
                  <a:cxn ang="0">
                    <a:pos x="103" y="2695"/>
                  </a:cxn>
                  <a:cxn ang="0">
                    <a:pos x="216" y="2779"/>
                  </a:cxn>
                  <a:cxn ang="0">
                    <a:pos x="359" y="2760"/>
                  </a:cxn>
                  <a:cxn ang="0">
                    <a:pos x="211" y="2898"/>
                  </a:cxn>
                  <a:cxn ang="0">
                    <a:pos x="486" y="2846"/>
                  </a:cxn>
                  <a:cxn ang="0">
                    <a:pos x="373" y="3017"/>
                  </a:cxn>
                  <a:cxn ang="0">
                    <a:pos x="539" y="2988"/>
                  </a:cxn>
                  <a:cxn ang="0">
                    <a:pos x="754" y="2973"/>
                  </a:cxn>
                  <a:cxn ang="0">
                    <a:pos x="931" y="2886"/>
                  </a:cxn>
                  <a:cxn ang="0">
                    <a:pos x="1061" y="2730"/>
                  </a:cxn>
                  <a:cxn ang="0">
                    <a:pos x="1305" y="2659"/>
                  </a:cxn>
                  <a:cxn ang="0">
                    <a:pos x="1617" y="2531"/>
                  </a:cxn>
                  <a:cxn ang="0">
                    <a:pos x="1816" y="2466"/>
                  </a:cxn>
                  <a:cxn ang="0">
                    <a:pos x="2036" y="2191"/>
                  </a:cxn>
                </a:cxnLst>
                <a:rect l="0" t="0" r="r" b="b"/>
                <a:pathLst>
                  <a:path w="2133" h="3053">
                    <a:moveTo>
                      <a:pt x="516" y="1963"/>
                    </a:moveTo>
                    <a:cubicBezTo>
                      <a:pt x="516" y="1963"/>
                      <a:pt x="523" y="1975"/>
                      <a:pt x="523" y="1967"/>
                    </a:cubicBezTo>
                    <a:cubicBezTo>
                      <a:pt x="524" y="1959"/>
                      <a:pt x="516" y="1963"/>
                      <a:pt x="516" y="1963"/>
                    </a:cubicBezTo>
                    <a:close/>
                    <a:moveTo>
                      <a:pt x="513" y="3020"/>
                    </a:moveTo>
                    <a:cubicBezTo>
                      <a:pt x="510" y="3023"/>
                      <a:pt x="474" y="3044"/>
                      <a:pt x="493" y="3053"/>
                    </a:cubicBezTo>
                    <a:cubicBezTo>
                      <a:pt x="507" y="3048"/>
                      <a:pt x="507" y="3048"/>
                      <a:pt x="507" y="3048"/>
                    </a:cubicBezTo>
                    <a:cubicBezTo>
                      <a:pt x="507" y="3048"/>
                      <a:pt x="522" y="3039"/>
                      <a:pt x="517" y="3031"/>
                    </a:cubicBezTo>
                    <a:cubicBezTo>
                      <a:pt x="514" y="3026"/>
                      <a:pt x="513" y="3021"/>
                      <a:pt x="513" y="3020"/>
                    </a:cubicBezTo>
                    <a:close/>
                    <a:moveTo>
                      <a:pt x="158" y="2805"/>
                    </a:moveTo>
                    <a:cubicBezTo>
                      <a:pt x="165" y="2813"/>
                      <a:pt x="167" y="2802"/>
                      <a:pt x="167" y="2796"/>
                    </a:cubicBezTo>
                    <a:cubicBezTo>
                      <a:pt x="167" y="2796"/>
                      <a:pt x="151" y="2797"/>
                      <a:pt x="158" y="2805"/>
                    </a:cubicBezTo>
                    <a:close/>
                    <a:moveTo>
                      <a:pt x="47" y="2508"/>
                    </a:moveTo>
                    <a:cubicBezTo>
                      <a:pt x="36" y="2509"/>
                      <a:pt x="27" y="2525"/>
                      <a:pt x="27" y="2525"/>
                    </a:cubicBezTo>
                    <a:cubicBezTo>
                      <a:pt x="15" y="2531"/>
                      <a:pt x="24" y="2530"/>
                      <a:pt x="28" y="2530"/>
                    </a:cubicBezTo>
                    <a:cubicBezTo>
                      <a:pt x="32" y="2530"/>
                      <a:pt x="49" y="2515"/>
                      <a:pt x="56" y="2515"/>
                    </a:cubicBezTo>
                    <a:cubicBezTo>
                      <a:pt x="63" y="2515"/>
                      <a:pt x="49" y="2497"/>
                      <a:pt x="49" y="2497"/>
                    </a:cubicBezTo>
                    <a:lnTo>
                      <a:pt x="47" y="2508"/>
                    </a:lnTo>
                    <a:close/>
                    <a:moveTo>
                      <a:pt x="9" y="2549"/>
                    </a:moveTo>
                    <a:cubicBezTo>
                      <a:pt x="9" y="2549"/>
                      <a:pt x="18" y="2549"/>
                      <a:pt x="12" y="2539"/>
                    </a:cubicBezTo>
                    <a:cubicBezTo>
                      <a:pt x="8" y="2533"/>
                      <a:pt x="0" y="2547"/>
                      <a:pt x="0" y="2547"/>
                    </a:cubicBezTo>
                    <a:cubicBezTo>
                      <a:pt x="0" y="2547"/>
                      <a:pt x="3" y="2555"/>
                      <a:pt x="13" y="2556"/>
                    </a:cubicBezTo>
                    <a:cubicBezTo>
                      <a:pt x="23" y="2557"/>
                      <a:pt x="9" y="2549"/>
                      <a:pt x="9" y="2549"/>
                    </a:cubicBezTo>
                    <a:close/>
                    <a:moveTo>
                      <a:pt x="25" y="2475"/>
                    </a:moveTo>
                    <a:cubicBezTo>
                      <a:pt x="25" y="2475"/>
                      <a:pt x="11" y="2490"/>
                      <a:pt x="18" y="2497"/>
                    </a:cubicBezTo>
                    <a:cubicBezTo>
                      <a:pt x="25" y="2503"/>
                      <a:pt x="25" y="2475"/>
                      <a:pt x="25" y="2475"/>
                    </a:cubicBezTo>
                    <a:close/>
                    <a:moveTo>
                      <a:pt x="1174" y="189"/>
                    </a:moveTo>
                    <a:cubicBezTo>
                      <a:pt x="1182" y="189"/>
                      <a:pt x="1179" y="177"/>
                      <a:pt x="1173" y="177"/>
                    </a:cubicBezTo>
                    <a:cubicBezTo>
                      <a:pt x="1165" y="177"/>
                      <a:pt x="1166" y="188"/>
                      <a:pt x="1174" y="189"/>
                    </a:cubicBezTo>
                    <a:close/>
                    <a:moveTo>
                      <a:pt x="1159" y="123"/>
                    </a:moveTo>
                    <a:cubicBezTo>
                      <a:pt x="1173" y="126"/>
                      <a:pt x="1164" y="112"/>
                      <a:pt x="1164" y="112"/>
                    </a:cubicBezTo>
                    <a:cubicBezTo>
                      <a:pt x="1156" y="115"/>
                      <a:pt x="1156" y="115"/>
                      <a:pt x="1156" y="115"/>
                    </a:cubicBezTo>
                    <a:cubicBezTo>
                      <a:pt x="1140" y="104"/>
                      <a:pt x="1140" y="104"/>
                      <a:pt x="1140" y="104"/>
                    </a:cubicBezTo>
                    <a:cubicBezTo>
                      <a:pt x="1133" y="115"/>
                      <a:pt x="1133" y="115"/>
                      <a:pt x="1133" y="115"/>
                    </a:cubicBezTo>
                    <a:cubicBezTo>
                      <a:pt x="1147" y="113"/>
                      <a:pt x="1147" y="113"/>
                      <a:pt x="1147" y="113"/>
                    </a:cubicBezTo>
                    <a:cubicBezTo>
                      <a:pt x="1147" y="113"/>
                      <a:pt x="1145" y="121"/>
                      <a:pt x="1159" y="123"/>
                    </a:cubicBezTo>
                    <a:close/>
                    <a:moveTo>
                      <a:pt x="1087" y="254"/>
                    </a:moveTo>
                    <a:cubicBezTo>
                      <a:pt x="1097" y="247"/>
                      <a:pt x="1081" y="235"/>
                      <a:pt x="1081" y="235"/>
                    </a:cubicBezTo>
                    <a:cubicBezTo>
                      <a:pt x="1073" y="247"/>
                      <a:pt x="1073" y="247"/>
                      <a:pt x="1073" y="247"/>
                    </a:cubicBezTo>
                    <a:cubicBezTo>
                      <a:pt x="1073" y="247"/>
                      <a:pt x="1078" y="261"/>
                      <a:pt x="1087" y="254"/>
                    </a:cubicBezTo>
                    <a:close/>
                    <a:moveTo>
                      <a:pt x="1602" y="7"/>
                    </a:moveTo>
                    <a:cubicBezTo>
                      <a:pt x="1605" y="0"/>
                      <a:pt x="1595" y="1"/>
                      <a:pt x="1595" y="1"/>
                    </a:cubicBezTo>
                    <a:cubicBezTo>
                      <a:pt x="1593" y="3"/>
                      <a:pt x="1599" y="15"/>
                      <a:pt x="1602" y="7"/>
                    </a:cubicBezTo>
                    <a:close/>
                    <a:moveTo>
                      <a:pt x="1010" y="334"/>
                    </a:moveTo>
                    <a:cubicBezTo>
                      <a:pt x="1023" y="340"/>
                      <a:pt x="1028" y="337"/>
                      <a:pt x="1027" y="329"/>
                    </a:cubicBezTo>
                    <a:cubicBezTo>
                      <a:pt x="1027" y="320"/>
                      <a:pt x="1015" y="295"/>
                      <a:pt x="1015" y="295"/>
                    </a:cubicBezTo>
                    <a:cubicBezTo>
                      <a:pt x="997" y="293"/>
                      <a:pt x="997" y="293"/>
                      <a:pt x="997" y="293"/>
                    </a:cubicBezTo>
                    <a:cubicBezTo>
                      <a:pt x="1003" y="305"/>
                      <a:pt x="1003" y="305"/>
                      <a:pt x="1003" y="305"/>
                    </a:cubicBezTo>
                    <a:cubicBezTo>
                      <a:pt x="1003" y="305"/>
                      <a:pt x="997" y="307"/>
                      <a:pt x="995" y="313"/>
                    </a:cubicBezTo>
                    <a:cubicBezTo>
                      <a:pt x="993" y="320"/>
                      <a:pt x="997" y="328"/>
                      <a:pt x="1010" y="334"/>
                    </a:cubicBezTo>
                    <a:close/>
                    <a:moveTo>
                      <a:pt x="232" y="965"/>
                    </a:moveTo>
                    <a:cubicBezTo>
                      <a:pt x="241" y="967"/>
                      <a:pt x="235" y="953"/>
                      <a:pt x="235" y="953"/>
                    </a:cubicBezTo>
                    <a:cubicBezTo>
                      <a:pt x="235" y="953"/>
                      <a:pt x="241" y="950"/>
                      <a:pt x="249" y="948"/>
                    </a:cubicBezTo>
                    <a:cubicBezTo>
                      <a:pt x="257" y="946"/>
                      <a:pt x="249" y="935"/>
                      <a:pt x="237" y="932"/>
                    </a:cubicBezTo>
                    <a:cubicBezTo>
                      <a:pt x="232" y="947"/>
                      <a:pt x="232" y="947"/>
                      <a:pt x="232" y="947"/>
                    </a:cubicBezTo>
                    <a:cubicBezTo>
                      <a:pt x="222" y="960"/>
                      <a:pt x="222" y="960"/>
                      <a:pt x="222" y="960"/>
                    </a:cubicBezTo>
                    <a:cubicBezTo>
                      <a:pt x="222" y="960"/>
                      <a:pt x="223" y="963"/>
                      <a:pt x="232" y="965"/>
                    </a:cubicBezTo>
                    <a:close/>
                    <a:moveTo>
                      <a:pt x="239" y="1346"/>
                    </a:moveTo>
                    <a:cubicBezTo>
                      <a:pt x="247" y="1344"/>
                      <a:pt x="236" y="1325"/>
                      <a:pt x="222" y="1323"/>
                    </a:cubicBezTo>
                    <a:cubicBezTo>
                      <a:pt x="208" y="1320"/>
                      <a:pt x="201" y="1339"/>
                      <a:pt x="201" y="1339"/>
                    </a:cubicBezTo>
                    <a:cubicBezTo>
                      <a:pt x="188" y="1335"/>
                      <a:pt x="188" y="1335"/>
                      <a:pt x="188" y="1335"/>
                    </a:cubicBezTo>
                    <a:cubicBezTo>
                      <a:pt x="188" y="1335"/>
                      <a:pt x="183" y="1350"/>
                      <a:pt x="183" y="1353"/>
                    </a:cubicBezTo>
                    <a:cubicBezTo>
                      <a:pt x="183" y="1353"/>
                      <a:pt x="207" y="1340"/>
                      <a:pt x="214" y="1339"/>
                    </a:cubicBezTo>
                    <a:cubicBezTo>
                      <a:pt x="221" y="1339"/>
                      <a:pt x="232" y="1348"/>
                      <a:pt x="239" y="1346"/>
                    </a:cubicBezTo>
                    <a:close/>
                    <a:moveTo>
                      <a:pt x="247" y="987"/>
                    </a:moveTo>
                    <a:cubicBezTo>
                      <a:pt x="246" y="991"/>
                      <a:pt x="261" y="1003"/>
                      <a:pt x="257" y="993"/>
                    </a:cubicBezTo>
                    <a:cubicBezTo>
                      <a:pt x="253" y="984"/>
                      <a:pt x="247" y="987"/>
                      <a:pt x="247" y="987"/>
                    </a:cubicBezTo>
                    <a:close/>
                    <a:moveTo>
                      <a:pt x="1842" y="2531"/>
                    </a:moveTo>
                    <a:cubicBezTo>
                      <a:pt x="1833" y="2545"/>
                      <a:pt x="1833" y="2545"/>
                      <a:pt x="1833" y="2545"/>
                    </a:cubicBezTo>
                    <a:cubicBezTo>
                      <a:pt x="1833" y="2545"/>
                      <a:pt x="1848" y="2537"/>
                      <a:pt x="1850" y="2537"/>
                    </a:cubicBezTo>
                    <a:cubicBezTo>
                      <a:pt x="1852" y="2536"/>
                      <a:pt x="1842" y="2531"/>
                      <a:pt x="1842" y="2531"/>
                    </a:cubicBezTo>
                    <a:close/>
                    <a:moveTo>
                      <a:pt x="537" y="1777"/>
                    </a:moveTo>
                    <a:cubicBezTo>
                      <a:pt x="529" y="1765"/>
                      <a:pt x="530" y="1759"/>
                      <a:pt x="522" y="1762"/>
                    </a:cubicBezTo>
                    <a:cubicBezTo>
                      <a:pt x="514" y="1765"/>
                      <a:pt x="511" y="1781"/>
                      <a:pt x="511" y="1789"/>
                    </a:cubicBezTo>
                    <a:cubicBezTo>
                      <a:pt x="511" y="1789"/>
                      <a:pt x="545" y="1790"/>
                      <a:pt x="537" y="1777"/>
                    </a:cubicBezTo>
                    <a:close/>
                    <a:moveTo>
                      <a:pt x="505" y="1743"/>
                    </a:moveTo>
                    <a:cubicBezTo>
                      <a:pt x="498" y="1737"/>
                      <a:pt x="477" y="1762"/>
                      <a:pt x="477" y="1762"/>
                    </a:cubicBezTo>
                    <a:cubicBezTo>
                      <a:pt x="486" y="1773"/>
                      <a:pt x="486" y="1773"/>
                      <a:pt x="486" y="1773"/>
                    </a:cubicBezTo>
                    <a:cubicBezTo>
                      <a:pt x="499" y="1773"/>
                      <a:pt x="513" y="1749"/>
                      <a:pt x="505" y="1743"/>
                    </a:cubicBezTo>
                    <a:close/>
                    <a:moveTo>
                      <a:pt x="268" y="1281"/>
                    </a:moveTo>
                    <a:cubicBezTo>
                      <a:pt x="271" y="1276"/>
                      <a:pt x="283" y="1282"/>
                      <a:pt x="283" y="1282"/>
                    </a:cubicBezTo>
                    <a:cubicBezTo>
                      <a:pt x="282" y="1263"/>
                      <a:pt x="282" y="1263"/>
                      <a:pt x="282" y="1263"/>
                    </a:cubicBezTo>
                    <a:cubicBezTo>
                      <a:pt x="271" y="1269"/>
                      <a:pt x="271" y="1269"/>
                      <a:pt x="271" y="1269"/>
                    </a:cubicBezTo>
                    <a:cubicBezTo>
                      <a:pt x="267" y="1259"/>
                      <a:pt x="267" y="1259"/>
                      <a:pt x="267" y="1259"/>
                    </a:cubicBezTo>
                    <a:cubicBezTo>
                      <a:pt x="257" y="1277"/>
                      <a:pt x="257" y="1277"/>
                      <a:pt x="257" y="1277"/>
                    </a:cubicBezTo>
                    <a:cubicBezTo>
                      <a:pt x="257" y="1277"/>
                      <a:pt x="265" y="1285"/>
                      <a:pt x="268" y="1281"/>
                    </a:cubicBezTo>
                    <a:close/>
                    <a:moveTo>
                      <a:pt x="313" y="1269"/>
                    </a:moveTo>
                    <a:cubicBezTo>
                      <a:pt x="306" y="1256"/>
                      <a:pt x="306" y="1256"/>
                      <a:pt x="306" y="1256"/>
                    </a:cubicBezTo>
                    <a:cubicBezTo>
                      <a:pt x="298" y="1271"/>
                      <a:pt x="313" y="1269"/>
                      <a:pt x="313" y="1269"/>
                    </a:cubicBezTo>
                    <a:close/>
                    <a:moveTo>
                      <a:pt x="468" y="1715"/>
                    </a:moveTo>
                    <a:cubicBezTo>
                      <a:pt x="469" y="1706"/>
                      <a:pt x="439" y="1703"/>
                      <a:pt x="439" y="1703"/>
                    </a:cubicBezTo>
                    <a:cubicBezTo>
                      <a:pt x="429" y="1713"/>
                      <a:pt x="429" y="1713"/>
                      <a:pt x="429" y="1713"/>
                    </a:cubicBezTo>
                    <a:cubicBezTo>
                      <a:pt x="429" y="1713"/>
                      <a:pt x="420" y="1698"/>
                      <a:pt x="407" y="1696"/>
                    </a:cubicBezTo>
                    <a:cubicBezTo>
                      <a:pt x="393" y="1694"/>
                      <a:pt x="387" y="1712"/>
                      <a:pt x="387" y="1712"/>
                    </a:cubicBezTo>
                    <a:cubicBezTo>
                      <a:pt x="391" y="1712"/>
                      <a:pt x="409" y="1717"/>
                      <a:pt x="412" y="1719"/>
                    </a:cubicBezTo>
                    <a:cubicBezTo>
                      <a:pt x="415" y="1720"/>
                      <a:pt x="467" y="1751"/>
                      <a:pt x="467" y="1751"/>
                    </a:cubicBezTo>
                    <a:cubicBezTo>
                      <a:pt x="477" y="1735"/>
                      <a:pt x="477" y="1735"/>
                      <a:pt x="477" y="1735"/>
                    </a:cubicBezTo>
                    <a:cubicBezTo>
                      <a:pt x="477" y="1735"/>
                      <a:pt x="459" y="1736"/>
                      <a:pt x="459" y="1729"/>
                    </a:cubicBezTo>
                    <a:cubicBezTo>
                      <a:pt x="459" y="1721"/>
                      <a:pt x="467" y="1723"/>
                      <a:pt x="468" y="1715"/>
                    </a:cubicBezTo>
                    <a:close/>
                    <a:moveTo>
                      <a:pt x="350" y="1197"/>
                    </a:moveTo>
                    <a:cubicBezTo>
                      <a:pt x="345" y="1188"/>
                      <a:pt x="332" y="1181"/>
                      <a:pt x="332" y="1181"/>
                    </a:cubicBezTo>
                    <a:cubicBezTo>
                      <a:pt x="317" y="1193"/>
                      <a:pt x="317" y="1193"/>
                      <a:pt x="317" y="1193"/>
                    </a:cubicBezTo>
                    <a:cubicBezTo>
                      <a:pt x="317" y="1193"/>
                      <a:pt x="295" y="1191"/>
                      <a:pt x="298" y="1215"/>
                    </a:cubicBezTo>
                    <a:cubicBezTo>
                      <a:pt x="298" y="1219"/>
                      <a:pt x="321" y="1217"/>
                      <a:pt x="328" y="1214"/>
                    </a:cubicBezTo>
                    <a:cubicBezTo>
                      <a:pt x="335" y="1211"/>
                      <a:pt x="355" y="1207"/>
                      <a:pt x="350" y="1197"/>
                    </a:cubicBezTo>
                    <a:close/>
                    <a:moveTo>
                      <a:pt x="322" y="1558"/>
                    </a:moveTo>
                    <a:cubicBezTo>
                      <a:pt x="309" y="1557"/>
                      <a:pt x="316" y="1567"/>
                      <a:pt x="326" y="1567"/>
                    </a:cubicBezTo>
                    <a:cubicBezTo>
                      <a:pt x="336" y="1568"/>
                      <a:pt x="333" y="1559"/>
                      <a:pt x="322" y="1558"/>
                    </a:cubicBezTo>
                    <a:close/>
                    <a:moveTo>
                      <a:pt x="2114" y="1477"/>
                    </a:moveTo>
                    <a:cubicBezTo>
                      <a:pt x="2114" y="1477"/>
                      <a:pt x="2112" y="1491"/>
                      <a:pt x="2122" y="1488"/>
                    </a:cubicBezTo>
                    <a:cubicBezTo>
                      <a:pt x="2132" y="1485"/>
                      <a:pt x="2133" y="1477"/>
                      <a:pt x="2133" y="1477"/>
                    </a:cubicBezTo>
                    <a:lnTo>
                      <a:pt x="2114" y="1477"/>
                    </a:lnTo>
                    <a:close/>
                    <a:moveTo>
                      <a:pt x="1043" y="260"/>
                    </a:moveTo>
                    <a:cubicBezTo>
                      <a:pt x="1038" y="270"/>
                      <a:pt x="1038" y="270"/>
                      <a:pt x="1038" y="270"/>
                    </a:cubicBezTo>
                    <a:cubicBezTo>
                      <a:pt x="1047" y="270"/>
                      <a:pt x="1047" y="270"/>
                      <a:pt x="1047" y="270"/>
                    </a:cubicBezTo>
                    <a:cubicBezTo>
                      <a:pt x="1044" y="265"/>
                      <a:pt x="1043" y="260"/>
                      <a:pt x="1043" y="260"/>
                    </a:cubicBezTo>
                    <a:close/>
                    <a:moveTo>
                      <a:pt x="177" y="2799"/>
                    </a:moveTo>
                    <a:cubicBezTo>
                      <a:pt x="184" y="2799"/>
                      <a:pt x="184" y="2799"/>
                      <a:pt x="184" y="2799"/>
                    </a:cubicBezTo>
                    <a:cubicBezTo>
                      <a:pt x="177" y="2791"/>
                      <a:pt x="177" y="2791"/>
                      <a:pt x="177" y="2791"/>
                    </a:cubicBezTo>
                    <a:lnTo>
                      <a:pt x="177" y="2799"/>
                    </a:lnTo>
                    <a:close/>
                    <a:moveTo>
                      <a:pt x="2103" y="1863"/>
                    </a:moveTo>
                    <a:cubicBezTo>
                      <a:pt x="2103" y="1863"/>
                      <a:pt x="2110" y="1768"/>
                      <a:pt x="2105" y="1752"/>
                    </a:cubicBezTo>
                    <a:cubicBezTo>
                      <a:pt x="2094" y="1751"/>
                      <a:pt x="2092" y="1728"/>
                      <a:pt x="2092" y="1709"/>
                    </a:cubicBezTo>
                    <a:cubicBezTo>
                      <a:pt x="2073" y="1693"/>
                      <a:pt x="2077" y="1649"/>
                      <a:pt x="2077" y="1649"/>
                    </a:cubicBezTo>
                    <a:cubicBezTo>
                      <a:pt x="2077" y="1649"/>
                      <a:pt x="2085" y="1649"/>
                      <a:pt x="2086" y="1644"/>
                    </a:cubicBezTo>
                    <a:cubicBezTo>
                      <a:pt x="2087" y="1639"/>
                      <a:pt x="2093" y="1644"/>
                      <a:pt x="2067" y="1625"/>
                    </a:cubicBezTo>
                    <a:cubicBezTo>
                      <a:pt x="2034" y="1623"/>
                      <a:pt x="2032" y="1595"/>
                      <a:pt x="2032" y="1595"/>
                    </a:cubicBezTo>
                    <a:cubicBezTo>
                      <a:pt x="2045" y="1595"/>
                      <a:pt x="2045" y="1595"/>
                      <a:pt x="2045" y="1595"/>
                    </a:cubicBezTo>
                    <a:cubicBezTo>
                      <a:pt x="2039" y="1581"/>
                      <a:pt x="2039" y="1581"/>
                      <a:pt x="2039" y="1581"/>
                    </a:cubicBezTo>
                    <a:cubicBezTo>
                      <a:pt x="2087" y="1565"/>
                      <a:pt x="2087" y="1565"/>
                      <a:pt x="2087" y="1565"/>
                    </a:cubicBezTo>
                    <a:cubicBezTo>
                      <a:pt x="2087" y="1583"/>
                      <a:pt x="2087" y="1583"/>
                      <a:pt x="2087" y="1583"/>
                    </a:cubicBezTo>
                    <a:cubicBezTo>
                      <a:pt x="2087" y="1583"/>
                      <a:pt x="2105" y="1566"/>
                      <a:pt x="2108" y="1562"/>
                    </a:cubicBezTo>
                    <a:cubicBezTo>
                      <a:pt x="2108" y="1562"/>
                      <a:pt x="2108" y="1562"/>
                      <a:pt x="2108" y="1562"/>
                    </a:cubicBezTo>
                    <a:cubicBezTo>
                      <a:pt x="2107" y="1562"/>
                      <a:pt x="2104" y="1560"/>
                      <a:pt x="2099" y="1548"/>
                    </a:cubicBezTo>
                    <a:cubicBezTo>
                      <a:pt x="2070" y="1549"/>
                      <a:pt x="2069" y="1524"/>
                      <a:pt x="2075" y="1512"/>
                    </a:cubicBezTo>
                    <a:cubicBezTo>
                      <a:pt x="2066" y="1510"/>
                      <a:pt x="2084" y="1479"/>
                      <a:pt x="2084" y="1479"/>
                    </a:cubicBezTo>
                    <a:cubicBezTo>
                      <a:pt x="2075" y="1460"/>
                      <a:pt x="2101" y="1456"/>
                      <a:pt x="2096" y="1456"/>
                    </a:cubicBezTo>
                    <a:cubicBezTo>
                      <a:pt x="2091" y="1456"/>
                      <a:pt x="2097" y="1437"/>
                      <a:pt x="2097" y="1437"/>
                    </a:cubicBezTo>
                    <a:cubicBezTo>
                      <a:pt x="2097" y="1437"/>
                      <a:pt x="2097" y="1428"/>
                      <a:pt x="2083" y="1404"/>
                    </a:cubicBezTo>
                    <a:cubicBezTo>
                      <a:pt x="2054" y="1405"/>
                      <a:pt x="2064" y="1405"/>
                      <a:pt x="2056" y="1385"/>
                    </a:cubicBezTo>
                    <a:cubicBezTo>
                      <a:pt x="1983" y="1309"/>
                      <a:pt x="2037" y="1244"/>
                      <a:pt x="2034" y="1240"/>
                    </a:cubicBezTo>
                    <a:cubicBezTo>
                      <a:pt x="1998" y="1239"/>
                      <a:pt x="2028" y="1189"/>
                      <a:pt x="2028" y="1189"/>
                    </a:cubicBezTo>
                    <a:cubicBezTo>
                      <a:pt x="2028" y="1189"/>
                      <a:pt x="1994" y="1185"/>
                      <a:pt x="1975" y="1173"/>
                    </a:cubicBezTo>
                    <a:cubicBezTo>
                      <a:pt x="1956" y="1161"/>
                      <a:pt x="1960" y="1121"/>
                      <a:pt x="1960" y="1121"/>
                    </a:cubicBezTo>
                    <a:cubicBezTo>
                      <a:pt x="1974" y="1114"/>
                      <a:pt x="1974" y="1114"/>
                      <a:pt x="1974" y="1114"/>
                    </a:cubicBezTo>
                    <a:cubicBezTo>
                      <a:pt x="1974" y="1083"/>
                      <a:pt x="1996" y="1081"/>
                      <a:pt x="1996" y="1081"/>
                    </a:cubicBezTo>
                    <a:cubicBezTo>
                      <a:pt x="1996" y="1081"/>
                      <a:pt x="2032" y="1106"/>
                      <a:pt x="2057" y="1110"/>
                    </a:cubicBezTo>
                    <a:cubicBezTo>
                      <a:pt x="2082" y="1114"/>
                      <a:pt x="2091" y="1086"/>
                      <a:pt x="2091" y="1086"/>
                    </a:cubicBezTo>
                    <a:cubicBezTo>
                      <a:pt x="2083" y="1077"/>
                      <a:pt x="2083" y="1077"/>
                      <a:pt x="2083" y="1077"/>
                    </a:cubicBezTo>
                    <a:cubicBezTo>
                      <a:pt x="2077" y="1074"/>
                      <a:pt x="2077" y="1074"/>
                      <a:pt x="2077" y="1074"/>
                    </a:cubicBezTo>
                    <a:cubicBezTo>
                      <a:pt x="2077" y="1074"/>
                      <a:pt x="2077" y="1074"/>
                      <a:pt x="2075" y="1062"/>
                    </a:cubicBezTo>
                    <a:cubicBezTo>
                      <a:pt x="2053" y="1063"/>
                      <a:pt x="2062" y="1061"/>
                      <a:pt x="2044" y="1036"/>
                    </a:cubicBezTo>
                    <a:cubicBezTo>
                      <a:pt x="2028" y="1036"/>
                      <a:pt x="2024" y="1026"/>
                      <a:pt x="2024" y="1018"/>
                    </a:cubicBezTo>
                    <a:cubicBezTo>
                      <a:pt x="2020" y="1017"/>
                      <a:pt x="2016" y="1016"/>
                      <a:pt x="2014" y="1016"/>
                    </a:cubicBezTo>
                    <a:cubicBezTo>
                      <a:pt x="2008" y="1016"/>
                      <a:pt x="1999" y="1024"/>
                      <a:pt x="1999" y="1024"/>
                    </a:cubicBezTo>
                    <a:cubicBezTo>
                      <a:pt x="1983" y="1005"/>
                      <a:pt x="1983" y="1005"/>
                      <a:pt x="1983" y="1005"/>
                    </a:cubicBezTo>
                    <a:cubicBezTo>
                      <a:pt x="1983" y="1005"/>
                      <a:pt x="1983" y="1005"/>
                      <a:pt x="1979" y="1013"/>
                    </a:cubicBezTo>
                    <a:cubicBezTo>
                      <a:pt x="1980" y="1027"/>
                      <a:pt x="1959" y="1051"/>
                      <a:pt x="1947" y="1053"/>
                    </a:cubicBezTo>
                    <a:cubicBezTo>
                      <a:pt x="1936" y="1055"/>
                      <a:pt x="1927" y="1037"/>
                      <a:pt x="1927" y="1037"/>
                    </a:cubicBezTo>
                    <a:cubicBezTo>
                      <a:pt x="1927" y="1037"/>
                      <a:pt x="1924" y="1037"/>
                      <a:pt x="1917" y="1048"/>
                    </a:cubicBezTo>
                    <a:cubicBezTo>
                      <a:pt x="1905" y="1049"/>
                      <a:pt x="1890" y="1057"/>
                      <a:pt x="1890" y="1057"/>
                    </a:cubicBezTo>
                    <a:cubicBezTo>
                      <a:pt x="1877" y="1047"/>
                      <a:pt x="1877" y="1047"/>
                      <a:pt x="1877" y="1047"/>
                    </a:cubicBezTo>
                    <a:cubicBezTo>
                      <a:pt x="1877" y="1047"/>
                      <a:pt x="1865" y="1059"/>
                      <a:pt x="1864" y="1061"/>
                    </a:cubicBezTo>
                    <a:cubicBezTo>
                      <a:pt x="1863" y="1063"/>
                      <a:pt x="1841" y="1038"/>
                      <a:pt x="1840" y="1022"/>
                    </a:cubicBezTo>
                    <a:cubicBezTo>
                      <a:pt x="1839" y="1006"/>
                      <a:pt x="1854" y="982"/>
                      <a:pt x="1854" y="982"/>
                    </a:cubicBezTo>
                    <a:cubicBezTo>
                      <a:pt x="1851" y="975"/>
                      <a:pt x="1851" y="975"/>
                      <a:pt x="1851" y="975"/>
                    </a:cubicBezTo>
                    <a:cubicBezTo>
                      <a:pt x="1851" y="975"/>
                      <a:pt x="1836" y="938"/>
                      <a:pt x="1828" y="936"/>
                    </a:cubicBezTo>
                    <a:cubicBezTo>
                      <a:pt x="1820" y="934"/>
                      <a:pt x="1805" y="951"/>
                      <a:pt x="1805" y="951"/>
                    </a:cubicBezTo>
                    <a:cubicBezTo>
                      <a:pt x="1770" y="915"/>
                      <a:pt x="1770" y="915"/>
                      <a:pt x="1770" y="915"/>
                    </a:cubicBezTo>
                    <a:cubicBezTo>
                      <a:pt x="1768" y="886"/>
                      <a:pt x="1745" y="881"/>
                      <a:pt x="1745" y="881"/>
                    </a:cubicBezTo>
                    <a:cubicBezTo>
                      <a:pt x="1745" y="881"/>
                      <a:pt x="1745" y="878"/>
                      <a:pt x="1755" y="855"/>
                    </a:cubicBezTo>
                    <a:cubicBezTo>
                      <a:pt x="1751" y="833"/>
                      <a:pt x="1703" y="781"/>
                      <a:pt x="1703" y="781"/>
                    </a:cubicBezTo>
                    <a:cubicBezTo>
                      <a:pt x="1689" y="781"/>
                      <a:pt x="1689" y="781"/>
                      <a:pt x="1689" y="781"/>
                    </a:cubicBezTo>
                    <a:cubicBezTo>
                      <a:pt x="1678" y="769"/>
                      <a:pt x="1678" y="769"/>
                      <a:pt x="1678" y="769"/>
                    </a:cubicBezTo>
                    <a:cubicBezTo>
                      <a:pt x="1629" y="832"/>
                      <a:pt x="1629" y="832"/>
                      <a:pt x="1629" y="832"/>
                    </a:cubicBezTo>
                    <a:cubicBezTo>
                      <a:pt x="1613" y="833"/>
                      <a:pt x="1613" y="833"/>
                      <a:pt x="1613" y="833"/>
                    </a:cubicBezTo>
                    <a:cubicBezTo>
                      <a:pt x="1613" y="833"/>
                      <a:pt x="1589" y="858"/>
                      <a:pt x="1595" y="858"/>
                    </a:cubicBezTo>
                    <a:cubicBezTo>
                      <a:pt x="1601" y="858"/>
                      <a:pt x="1617" y="879"/>
                      <a:pt x="1617" y="879"/>
                    </a:cubicBezTo>
                    <a:cubicBezTo>
                      <a:pt x="1617" y="879"/>
                      <a:pt x="1628" y="885"/>
                      <a:pt x="1615" y="914"/>
                    </a:cubicBezTo>
                    <a:cubicBezTo>
                      <a:pt x="1563" y="919"/>
                      <a:pt x="1560" y="993"/>
                      <a:pt x="1560" y="993"/>
                    </a:cubicBezTo>
                    <a:cubicBezTo>
                      <a:pt x="1560" y="993"/>
                      <a:pt x="1556" y="957"/>
                      <a:pt x="1551" y="956"/>
                    </a:cubicBezTo>
                    <a:cubicBezTo>
                      <a:pt x="1547" y="955"/>
                      <a:pt x="1539" y="971"/>
                      <a:pt x="1539" y="975"/>
                    </a:cubicBezTo>
                    <a:cubicBezTo>
                      <a:pt x="1539" y="978"/>
                      <a:pt x="1541" y="987"/>
                      <a:pt x="1541" y="994"/>
                    </a:cubicBezTo>
                    <a:cubicBezTo>
                      <a:pt x="1541" y="1001"/>
                      <a:pt x="1533" y="985"/>
                      <a:pt x="1526" y="985"/>
                    </a:cubicBezTo>
                    <a:cubicBezTo>
                      <a:pt x="1519" y="985"/>
                      <a:pt x="1517" y="997"/>
                      <a:pt x="1517" y="997"/>
                    </a:cubicBezTo>
                    <a:cubicBezTo>
                      <a:pt x="1517" y="997"/>
                      <a:pt x="1516" y="985"/>
                      <a:pt x="1516" y="980"/>
                    </a:cubicBezTo>
                    <a:cubicBezTo>
                      <a:pt x="1516" y="975"/>
                      <a:pt x="1501" y="979"/>
                      <a:pt x="1498" y="979"/>
                    </a:cubicBezTo>
                    <a:cubicBezTo>
                      <a:pt x="1495" y="979"/>
                      <a:pt x="1496" y="964"/>
                      <a:pt x="1496" y="964"/>
                    </a:cubicBezTo>
                    <a:cubicBezTo>
                      <a:pt x="1496" y="964"/>
                      <a:pt x="1477" y="991"/>
                      <a:pt x="1467" y="993"/>
                    </a:cubicBezTo>
                    <a:cubicBezTo>
                      <a:pt x="1458" y="996"/>
                      <a:pt x="1419" y="978"/>
                      <a:pt x="1419" y="978"/>
                    </a:cubicBezTo>
                    <a:cubicBezTo>
                      <a:pt x="1391" y="943"/>
                      <a:pt x="1391" y="943"/>
                      <a:pt x="1391" y="943"/>
                    </a:cubicBezTo>
                    <a:cubicBezTo>
                      <a:pt x="1384" y="943"/>
                      <a:pt x="1384" y="943"/>
                      <a:pt x="1384" y="943"/>
                    </a:cubicBezTo>
                    <a:cubicBezTo>
                      <a:pt x="1384" y="943"/>
                      <a:pt x="1369" y="924"/>
                      <a:pt x="1369" y="922"/>
                    </a:cubicBezTo>
                    <a:cubicBezTo>
                      <a:pt x="1368" y="920"/>
                      <a:pt x="1314" y="921"/>
                      <a:pt x="1314" y="921"/>
                    </a:cubicBezTo>
                    <a:cubicBezTo>
                      <a:pt x="1307" y="924"/>
                      <a:pt x="1307" y="924"/>
                      <a:pt x="1307" y="924"/>
                    </a:cubicBezTo>
                    <a:cubicBezTo>
                      <a:pt x="1307" y="923"/>
                      <a:pt x="1305" y="920"/>
                      <a:pt x="1300" y="913"/>
                    </a:cubicBezTo>
                    <a:cubicBezTo>
                      <a:pt x="1298" y="890"/>
                      <a:pt x="1284" y="851"/>
                      <a:pt x="1284" y="851"/>
                    </a:cubicBezTo>
                    <a:cubicBezTo>
                      <a:pt x="1268" y="849"/>
                      <a:pt x="1268" y="849"/>
                      <a:pt x="1268" y="849"/>
                    </a:cubicBezTo>
                    <a:cubicBezTo>
                      <a:pt x="1268" y="849"/>
                      <a:pt x="1248" y="839"/>
                      <a:pt x="1248" y="833"/>
                    </a:cubicBezTo>
                    <a:cubicBezTo>
                      <a:pt x="1248" y="827"/>
                      <a:pt x="1241" y="822"/>
                      <a:pt x="1226" y="797"/>
                    </a:cubicBezTo>
                    <a:cubicBezTo>
                      <a:pt x="1205" y="796"/>
                      <a:pt x="1171" y="740"/>
                      <a:pt x="1171" y="740"/>
                    </a:cubicBezTo>
                    <a:cubicBezTo>
                      <a:pt x="1173" y="733"/>
                      <a:pt x="1173" y="733"/>
                      <a:pt x="1173" y="733"/>
                    </a:cubicBezTo>
                    <a:cubicBezTo>
                      <a:pt x="1170" y="719"/>
                      <a:pt x="1170" y="719"/>
                      <a:pt x="1170" y="719"/>
                    </a:cubicBezTo>
                    <a:cubicBezTo>
                      <a:pt x="1191" y="718"/>
                      <a:pt x="1191" y="718"/>
                      <a:pt x="1191" y="718"/>
                    </a:cubicBezTo>
                    <a:cubicBezTo>
                      <a:pt x="1203" y="704"/>
                      <a:pt x="1203" y="704"/>
                      <a:pt x="1203" y="704"/>
                    </a:cubicBezTo>
                    <a:cubicBezTo>
                      <a:pt x="1213" y="706"/>
                      <a:pt x="1213" y="706"/>
                      <a:pt x="1213" y="706"/>
                    </a:cubicBezTo>
                    <a:cubicBezTo>
                      <a:pt x="1239" y="665"/>
                      <a:pt x="1239" y="665"/>
                      <a:pt x="1239" y="665"/>
                    </a:cubicBezTo>
                    <a:cubicBezTo>
                      <a:pt x="1239" y="665"/>
                      <a:pt x="1248" y="659"/>
                      <a:pt x="1251" y="667"/>
                    </a:cubicBezTo>
                    <a:cubicBezTo>
                      <a:pt x="1255" y="674"/>
                      <a:pt x="1293" y="675"/>
                      <a:pt x="1293" y="675"/>
                    </a:cubicBezTo>
                    <a:cubicBezTo>
                      <a:pt x="1303" y="669"/>
                      <a:pt x="1303" y="669"/>
                      <a:pt x="1303" y="669"/>
                    </a:cubicBezTo>
                    <a:cubicBezTo>
                      <a:pt x="1302" y="669"/>
                      <a:pt x="1303" y="669"/>
                      <a:pt x="1303" y="669"/>
                    </a:cubicBezTo>
                    <a:cubicBezTo>
                      <a:pt x="1303" y="669"/>
                      <a:pt x="1303" y="669"/>
                      <a:pt x="1303" y="669"/>
                    </a:cubicBezTo>
                    <a:cubicBezTo>
                      <a:pt x="1303" y="669"/>
                      <a:pt x="1307" y="668"/>
                      <a:pt x="1320" y="663"/>
                    </a:cubicBezTo>
                    <a:cubicBezTo>
                      <a:pt x="1327" y="643"/>
                      <a:pt x="1380" y="616"/>
                      <a:pt x="1380" y="616"/>
                    </a:cubicBezTo>
                    <a:cubicBezTo>
                      <a:pt x="1380" y="616"/>
                      <a:pt x="1385" y="617"/>
                      <a:pt x="1377" y="607"/>
                    </a:cubicBezTo>
                    <a:cubicBezTo>
                      <a:pt x="1343" y="612"/>
                      <a:pt x="1323" y="593"/>
                      <a:pt x="1323" y="593"/>
                    </a:cubicBezTo>
                    <a:cubicBezTo>
                      <a:pt x="1314" y="605"/>
                      <a:pt x="1314" y="605"/>
                      <a:pt x="1314" y="605"/>
                    </a:cubicBezTo>
                    <a:cubicBezTo>
                      <a:pt x="1281" y="570"/>
                      <a:pt x="1281" y="570"/>
                      <a:pt x="1281" y="570"/>
                    </a:cubicBezTo>
                    <a:cubicBezTo>
                      <a:pt x="1289" y="560"/>
                      <a:pt x="1289" y="560"/>
                      <a:pt x="1289" y="560"/>
                    </a:cubicBezTo>
                    <a:cubicBezTo>
                      <a:pt x="1279" y="550"/>
                      <a:pt x="1279" y="550"/>
                      <a:pt x="1279" y="550"/>
                    </a:cubicBezTo>
                    <a:cubicBezTo>
                      <a:pt x="1279" y="550"/>
                      <a:pt x="1313" y="524"/>
                      <a:pt x="1318" y="524"/>
                    </a:cubicBezTo>
                    <a:cubicBezTo>
                      <a:pt x="1323" y="524"/>
                      <a:pt x="1353" y="548"/>
                      <a:pt x="1353" y="548"/>
                    </a:cubicBezTo>
                    <a:cubicBezTo>
                      <a:pt x="1407" y="514"/>
                      <a:pt x="1407" y="514"/>
                      <a:pt x="1407" y="514"/>
                    </a:cubicBezTo>
                    <a:cubicBezTo>
                      <a:pt x="1447" y="516"/>
                      <a:pt x="1447" y="516"/>
                      <a:pt x="1447" y="516"/>
                    </a:cubicBezTo>
                    <a:cubicBezTo>
                      <a:pt x="1447" y="516"/>
                      <a:pt x="1447" y="516"/>
                      <a:pt x="1458" y="477"/>
                    </a:cubicBezTo>
                    <a:cubicBezTo>
                      <a:pt x="1495" y="457"/>
                      <a:pt x="1501" y="412"/>
                      <a:pt x="1500" y="393"/>
                    </a:cubicBezTo>
                    <a:cubicBezTo>
                      <a:pt x="1500" y="383"/>
                      <a:pt x="1509" y="363"/>
                      <a:pt x="1517" y="349"/>
                    </a:cubicBezTo>
                    <a:cubicBezTo>
                      <a:pt x="1516" y="336"/>
                      <a:pt x="1517" y="312"/>
                      <a:pt x="1517" y="312"/>
                    </a:cubicBezTo>
                    <a:cubicBezTo>
                      <a:pt x="1545" y="283"/>
                      <a:pt x="1545" y="283"/>
                      <a:pt x="1545" y="283"/>
                    </a:cubicBezTo>
                    <a:cubicBezTo>
                      <a:pt x="1569" y="287"/>
                      <a:pt x="1569" y="287"/>
                      <a:pt x="1569" y="287"/>
                    </a:cubicBezTo>
                    <a:cubicBezTo>
                      <a:pt x="1569" y="287"/>
                      <a:pt x="1551" y="281"/>
                      <a:pt x="1635" y="210"/>
                    </a:cubicBezTo>
                    <a:cubicBezTo>
                      <a:pt x="1726" y="161"/>
                      <a:pt x="1729" y="161"/>
                      <a:pt x="1734" y="151"/>
                    </a:cubicBezTo>
                    <a:cubicBezTo>
                      <a:pt x="1739" y="141"/>
                      <a:pt x="1676" y="118"/>
                      <a:pt x="1676" y="118"/>
                    </a:cubicBezTo>
                    <a:cubicBezTo>
                      <a:pt x="1666" y="118"/>
                      <a:pt x="1666" y="118"/>
                      <a:pt x="1666" y="118"/>
                    </a:cubicBezTo>
                    <a:cubicBezTo>
                      <a:pt x="1647" y="118"/>
                      <a:pt x="1631" y="88"/>
                      <a:pt x="1625" y="67"/>
                    </a:cubicBezTo>
                    <a:cubicBezTo>
                      <a:pt x="1604" y="46"/>
                      <a:pt x="1525" y="34"/>
                      <a:pt x="1525" y="34"/>
                    </a:cubicBezTo>
                    <a:cubicBezTo>
                      <a:pt x="1511" y="37"/>
                      <a:pt x="1531" y="48"/>
                      <a:pt x="1545" y="54"/>
                    </a:cubicBezTo>
                    <a:cubicBezTo>
                      <a:pt x="1532" y="56"/>
                      <a:pt x="1545" y="83"/>
                      <a:pt x="1545" y="83"/>
                    </a:cubicBezTo>
                    <a:cubicBezTo>
                      <a:pt x="1535" y="80"/>
                      <a:pt x="1535" y="80"/>
                      <a:pt x="1535" y="80"/>
                    </a:cubicBezTo>
                    <a:cubicBezTo>
                      <a:pt x="1535" y="80"/>
                      <a:pt x="1508" y="105"/>
                      <a:pt x="1505" y="105"/>
                    </a:cubicBezTo>
                    <a:cubicBezTo>
                      <a:pt x="1502" y="105"/>
                      <a:pt x="1495" y="97"/>
                      <a:pt x="1495" y="97"/>
                    </a:cubicBezTo>
                    <a:cubicBezTo>
                      <a:pt x="1462" y="103"/>
                      <a:pt x="1462" y="103"/>
                      <a:pt x="1462" y="103"/>
                    </a:cubicBezTo>
                    <a:cubicBezTo>
                      <a:pt x="1470" y="116"/>
                      <a:pt x="1470" y="116"/>
                      <a:pt x="1470" y="116"/>
                    </a:cubicBezTo>
                    <a:cubicBezTo>
                      <a:pt x="1459" y="131"/>
                      <a:pt x="1459" y="131"/>
                      <a:pt x="1459" y="131"/>
                    </a:cubicBezTo>
                    <a:cubicBezTo>
                      <a:pt x="1463" y="139"/>
                      <a:pt x="1463" y="139"/>
                      <a:pt x="1463" y="139"/>
                    </a:cubicBezTo>
                    <a:cubicBezTo>
                      <a:pt x="1449" y="170"/>
                      <a:pt x="1449" y="170"/>
                      <a:pt x="1449" y="170"/>
                    </a:cubicBezTo>
                    <a:cubicBezTo>
                      <a:pt x="1449" y="170"/>
                      <a:pt x="1482" y="205"/>
                      <a:pt x="1492" y="221"/>
                    </a:cubicBezTo>
                    <a:cubicBezTo>
                      <a:pt x="1502" y="237"/>
                      <a:pt x="1479" y="239"/>
                      <a:pt x="1479" y="245"/>
                    </a:cubicBezTo>
                    <a:cubicBezTo>
                      <a:pt x="1479" y="251"/>
                      <a:pt x="1497" y="266"/>
                      <a:pt x="1495" y="272"/>
                    </a:cubicBezTo>
                    <a:cubicBezTo>
                      <a:pt x="1493" y="278"/>
                      <a:pt x="1474" y="249"/>
                      <a:pt x="1474" y="249"/>
                    </a:cubicBezTo>
                    <a:cubicBezTo>
                      <a:pt x="1462" y="265"/>
                      <a:pt x="1462" y="265"/>
                      <a:pt x="1462" y="265"/>
                    </a:cubicBezTo>
                    <a:cubicBezTo>
                      <a:pt x="1462" y="265"/>
                      <a:pt x="1467" y="272"/>
                      <a:pt x="1470" y="278"/>
                    </a:cubicBezTo>
                    <a:cubicBezTo>
                      <a:pt x="1473" y="284"/>
                      <a:pt x="1459" y="296"/>
                      <a:pt x="1459" y="296"/>
                    </a:cubicBezTo>
                    <a:cubicBezTo>
                      <a:pt x="1459" y="296"/>
                      <a:pt x="1411" y="341"/>
                      <a:pt x="1402" y="341"/>
                    </a:cubicBezTo>
                    <a:cubicBezTo>
                      <a:pt x="1393" y="341"/>
                      <a:pt x="1444" y="292"/>
                      <a:pt x="1444" y="292"/>
                    </a:cubicBezTo>
                    <a:cubicBezTo>
                      <a:pt x="1436" y="279"/>
                      <a:pt x="1436" y="279"/>
                      <a:pt x="1436" y="279"/>
                    </a:cubicBezTo>
                    <a:cubicBezTo>
                      <a:pt x="1424" y="281"/>
                      <a:pt x="1424" y="281"/>
                      <a:pt x="1424" y="281"/>
                    </a:cubicBezTo>
                    <a:cubicBezTo>
                      <a:pt x="1424" y="281"/>
                      <a:pt x="1455" y="238"/>
                      <a:pt x="1465" y="226"/>
                    </a:cubicBezTo>
                    <a:cubicBezTo>
                      <a:pt x="1475" y="214"/>
                      <a:pt x="1444" y="199"/>
                      <a:pt x="1444" y="199"/>
                    </a:cubicBezTo>
                    <a:cubicBezTo>
                      <a:pt x="1445" y="178"/>
                      <a:pt x="1445" y="178"/>
                      <a:pt x="1445" y="178"/>
                    </a:cubicBezTo>
                    <a:cubicBezTo>
                      <a:pt x="1425" y="174"/>
                      <a:pt x="1425" y="174"/>
                      <a:pt x="1425" y="174"/>
                    </a:cubicBezTo>
                    <a:cubicBezTo>
                      <a:pt x="1417" y="160"/>
                      <a:pt x="1417" y="160"/>
                      <a:pt x="1417" y="160"/>
                    </a:cubicBezTo>
                    <a:cubicBezTo>
                      <a:pt x="1428" y="145"/>
                      <a:pt x="1428" y="145"/>
                      <a:pt x="1428" y="145"/>
                    </a:cubicBezTo>
                    <a:cubicBezTo>
                      <a:pt x="1428" y="145"/>
                      <a:pt x="1420" y="107"/>
                      <a:pt x="1410" y="107"/>
                    </a:cubicBezTo>
                    <a:cubicBezTo>
                      <a:pt x="1400" y="107"/>
                      <a:pt x="1390" y="127"/>
                      <a:pt x="1379" y="127"/>
                    </a:cubicBezTo>
                    <a:cubicBezTo>
                      <a:pt x="1368" y="127"/>
                      <a:pt x="1362" y="122"/>
                      <a:pt x="1362" y="122"/>
                    </a:cubicBezTo>
                    <a:cubicBezTo>
                      <a:pt x="1362" y="122"/>
                      <a:pt x="1353" y="147"/>
                      <a:pt x="1347" y="147"/>
                    </a:cubicBezTo>
                    <a:cubicBezTo>
                      <a:pt x="1341" y="147"/>
                      <a:pt x="1346" y="127"/>
                      <a:pt x="1346" y="127"/>
                    </a:cubicBezTo>
                    <a:cubicBezTo>
                      <a:pt x="1346" y="127"/>
                      <a:pt x="1334" y="130"/>
                      <a:pt x="1329" y="145"/>
                    </a:cubicBezTo>
                    <a:cubicBezTo>
                      <a:pt x="1320" y="140"/>
                      <a:pt x="1310" y="141"/>
                      <a:pt x="1306" y="154"/>
                    </a:cubicBezTo>
                    <a:cubicBezTo>
                      <a:pt x="1302" y="167"/>
                      <a:pt x="1327" y="186"/>
                      <a:pt x="1327" y="186"/>
                    </a:cubicBezTo>
                    <a:cubicBezTo>
                      <a:pt x="1309" y="210"/>
                      <a:pt x="1309" y="210"/>
                      <a:pt x="1309" y="210"/>
                    </a:cubicBezTo>
                    <a:cubicBezTo>
                      <a:pt x="1316" y="189"/>
                      <a:pt x="1316" y="189"/>
                      <a:pt x="1316" y="189"/>
                    </a:cubicBezTo>
                    <a:cubicBezTo>
                      <a:pt x="1316" y="189"/>
                      <a:pt x="1300" y="191"/>
                      <a:pt x="1300" y="184"/>
                    </a:cubicBezTo>
                    <a:cubicBezTo>
                      <a:pt x="1300" y="177"/>
                      <a:pt x="1292" y="177"/>
                      <a:pt x="1275" y="172"/>
                    </a:cubicBezTo>
                    <a:cubicBezTo>
                      <a:pt x="1269" y="119"/>
                      <a:pt x="1245" y="157"/>
                      <a:pt x="1239" y="157"/>
                    </a:cubicBezTo>
                    <a:cubicBezTo>
                      <a:pt x="1233" y="157"/>
                      <a:pt x="1238" y="186"/>
                      <a:pt x="1238" y="186"/>
                    </a:cubicBezTo>
                    <a:cubicBezTo>
                      <a:pt x="1238" y="186"/>
                      <a:pt x="1231" y="180"/>
                      <a:pt x="1228" y="180"/>
                    </a:cubicBezTo>
                    <a:cubicBezTo>
                      <a:pt x="1225" y="180"/>
                      <a:pt x="1221" y="188"/>
                      <a:pt x="1221" y="188"/>
                    </a:cubicBezTo>
                    <a:cubicBezTo>
                      <a:pt x="1221" y="188"/>
                      <a:pt x="1178" y="194"/>
                      <a:pt x="1178" y="198"/>
                    </a:cubicBezTo>
                    <a:cubicBezTo>
                      <a:pt x="1178" y="202"/>
                      <a:pt x="1188" y="205"/>
                      <a:pt x="1187" y="216"/>
                    </a:cubicBezTo>
                    <a:cubicBezTo>
                      <a:pt x="1186" y="227"/>
                      <a:pt x="1166" y="199"/>
                      <a:pt x="1166" y="199"/>
                    </a:cubicBezTo>
                    <a:cubicBezTo>
                      <a:pt x="1166" y="199"/>
                      <a:pt x="1124" y="198"/>
                      <a:pt x="1113" y="201"/>
                    </a:cubicBezTo>
                    <a:cubicBezTo>
                      <a:pt x="1102" y="204"/>
                      <a:pt x="1113" y="214"/>
                      <a:pt x="1113" y="214"/>
                    </a:cubicBezTo>
                    <a:cubicBezTo>
                      <a:pt x="1113" y="214"/>
                      <a:pt x="1113" y="218"/>
                      <a:pt x="1103" y="220"/>
                    </a:cubicBezTo>
                    <a:cubicBezTo>
                      <a:pt x="1093" y="222"/>
                      <a:pt x="1107" y="233"/>
                      <a:pt x="1107" y="233"/>
                    </a:cubicBezTo>
                    <a:cubicBezTo>
                      <a:pt x="1107" y="233"/>
                      <a:pt x="1106" y="237"/>
                      <a:pt x="1106" y="258"/>
                    </a:cubicBezTo>
                    <a:cubicBezTo>
                      <a:pt x="1106" y="279"/>
                      <a:pt x="1080" y="278"/>
                      <a:pt x="1080" y="278"/>
                    </a:cubicBezTo>
                    <a:cubicBezTo>
                      <a:pt x="1080" y="278"/>
                      <a:pt x="1077" y="278"/>
                      <a:pt x="1062" y="278"/>
                    </a:cubicBezTo>
                    <a:cubicBezTo>
                      <a:pt x="1058" y="278"/>
                      <a:pt x="1055" y="277"/>
                      <a:pt x="1053" y="276"/>
                    </a:cubicBezTo>
                    <a:cubicBezTo>
                      <a:pt x="1061" y="303"/>
                      <a:pt x="1061" y="303"/>
                      <a:pt x="1061" y="303"/>
                    </a:cubicBezTo>
                    <a:cubicBezTo>
                      <a:pt x="1045" y="310"/>
                      <a:pt x="1045" y="310"/>
                      <a:pt x="1045" y="310"/>
                    </a:cubicBezTo>
                    <a:cubicBezTo>
                      <a:pt x="1069" y="344"/>
                      <a:pt x="1069" y="344"/>
                      <a:pt x="1069" y="344"/>
                    </a:cubicBezTo>
                    <a:cubicBezTo>
                      <a:pt x="1069" y="344"/>
                      <a:pt x="1067" y="355"/>
                      <a:pt x="1055" y="355"/>
                    </a:cubicBezTo>
                    <a:cubicBezTo>
                      <a:pt x="1043" y="355"/>
                      <a:pt x="1049" y="329"/>
                      <a:pt x="1049" y="329"/>
                    </a:cubicBezTo>
                    <a:cubicBezTo>
                      <a:pt x="1033" y="309"/>
                      <a:pt x="1033" y="309"/>
                      <a:pt x="1033" y="309"/>
                    </a:cubicBezTo>
                    <a:cubicBezTo>
                      <a:pt x="1040" y="334"/>
                      <a:pt x="1040" y="334"/>
                      <a:pt x="1040" y="334"/>
                    </a:cubicBezTo>
                    <a:cubicBezTo>
                      <a:pt x="1040" y="334"/>
                      <a:pt x="1041" y="355"/>
                      <a:pt x="1041" y="373"/>
                    </a:cubicBezTo>
                    <a:cubicBezTo>
                      <a:pt x="1041" y="391"/>
                      <a:pt x="1063" y="388"/>
                      <a:pt x="1063" y="388"/>
                    </a:cubicBezTo>
                    <a:cubicBezTo>
                      <a:pt x="1063" y="388"/>
                      <a:pt x="1072" y="405"/>
                      <a:pt x="1072" y="417"/>
                    </a:cubicBezTo>
                    <a:cubicBezTo>
                      <a:pt x="1072" y="429"/>
                      <a:pt x="1049" y="423"/>
                      <a:pt x="1049" y="423"/>
                    </a:cubicBezTo>
                    <a:cubicBezTo>
                      <a:pt x="1042" y="423"/>
                      <a:pt x="1042" y="423"/>
                      <a:pt x="1042" y="423"/>
                    </a:cubicBezTo>
                    <a:cubicBezTo>
                      <a:pt x="1042" y="423"/>
                      <a:pt x="1032" y="422"/>
                      <a:pt x="1024" y="422"/>
                    </a:cubicBezTo>
                    <a:cubicBezTo>
                      <a:pt x="1016" y="422"/>
                      <a:pt x="1016" y="433"/>
                      <a:pt x="1016" y="433"/>
                    </a:cubicBezTo>
                    <a:cubicBezTo>
                      <a:pt x="1016" y="433"/>
                      <a:pt x="1007" y="429"/>
                      <a:pt x="1000" y="429"/>
                    </a:cubicBezTo>
                    <a:cubicBezTo>
                      <a:pt x="993" y="429"/>
                      <a:pt x="990" y="440"/>
                      <a:pt x="990" y="440"/>
                    </a:cubicBezTo>
                    <a:cubicBezTo>
                      <a:pt x="1015" y="451"/>
                      <a:pt x="1015" y="451"/>
                      <a:pt x="1015" y="451"/>
                    </a:cubicBezTo>
                    <a:cubicBezTo>
                      <a:pt x="1010" y="466"/>
                      <a:pt x="1010" y="466"/>
                      <a:pt x="1010" y="466"/>
                    </a:cubicBezTo>
                    <a:cubicBezTo>
                      <a:pt x="1002" y="461"/>
                      <a:pt x="1002" y="461"/>
                      <a:pt x="1002" y="461"/>
                    </a:cubicBezTo>
                    <a:cubicBezTo>
                      <a:pt x="1002" y="461"/>
                      <a:pt x="1002" y="461"/>
                      <a:pt x="999" y="467"/>
                    </a:cubicBezTo>
                    <a:cubicBezTo>
                      <a:pt x="996" y="473"/>
                      <a:pt x="1003" y="478"/>
                      <a:pt x="1003" y="478"/>
                    </a:cubicBezTo>
                    <a:cubicBezTo>
                      <a:pt x="1003" y="478"/>
                      <a:pt x="1002" y="485"/>
                      <a:pt x="998" y="486"/>
                    </a:cubicBezTo>
                    <a:cubicBezTo>
                      <a:pt x="994" y="487"/>
                      <a:pt x="996" y="474"/>
                      <a:pt x="996" y="474"/>
                    </a:cubicBezTo>
                    <a:cubicBezTo>
                      <a:pt x="947" y="476"/>
                      <a:pt x="947" y="476"/>
                      <a:pt x="947" y="476"/>
                    </a:cubicBezTo>
                    <a:cubicBezTo>
                      <a:pt x="906" y="503"/>
                      <a:pt x="906" y="503"/>
                      <a:pt x="906" y="503"/>
                    </a:cubicBezTo>
                    <a:cubicBezTo>
                      <a:pt x="900" y="523"/>
                      <a:pt x="900" y="523"/>
                      <a:pt x="900" y="523"/>
                    </a:cubicBezTo>
                    <a:cubicBezTo>
                      <a:pt x="900" y="523"/>
                      <a:pt x="881" y="529"/>
                      <a:pt x="884" y="535"/>
                    </a:cubicBezTo>
                    <a:cubicBezTo>
                      <a:pt x="887" y="541"/>
                      <a:pt x="888" y="559"/>
                      <a:pt x="888" y="562"/>
                    </a:cubicBezTo>
                    <a:cubicBezTo>
                      <a:pt x="888" y="565"/>
                      <a:pt x="919" y="574"/>
                      <a:pt x="930" y="574"/>
                    </a:cubicBezTo>
                    <a:cubicBezTo>
                      <a:pt x="941" y="574"/>
                      <a:pt x="936" y="591"/>
                      <a:pt x="936" y="591"/>
                    </a:cubicBezTo>
                    <a:cubicBezTo>
                      <a:pt x="973" y="597"/>
                      <a:pt x="973" y="597"/>
                      <a:pt x="973" y="597"/>
                    </a:cubicBezTo>
                    <a:cubicBezTo>
                      <a:pt x="976" y="612"/>
                      <a:pt x="976" y="612"/>
                      <a:pt x="976" y="612"/>
                    </a:cubicBezTo>
                    <a:cubicBezTo>
                      <a:pt x="976" y="612"/>
                      <a:pt x="978" y="592"/>
                      <a:pt x="990" y="592"/>
                    </a:cubicBezTo>
                    <a:cubicBezTo>
                      <a:pt x="1002" y="592"/>
                      <a:pt x="1021" y="580"/>
                      <a:pt x="1024" y="581"/>
                    </a:cubicBezTo>
                    <a:cubicBezTo>
                      <a:pt x="1027" y="582"/>
                      <a:pt x="1022" y="588"/>
                      <a:pt x="1019" y="592"/>
                    </a:cubicBezTo>
                    <a:cubicBezTo>
                      <a:pt x="1016" y="596"/>
                      <a:pt x="1024" y="608"/>
                      <a:pt x="1024" y="608"/>
                    </a:cubicBezTo>
                    <a:cubicBezTo>
                      <a:pt x="1024" y="608"/>
                      <a:pt x="1057" y="586"/>
                      <a:pt x="1067" y="589"/>
                    </a:cubicBezTo>
                    <a:cubicBezTo>
                      <a:pt x="1077" y="592"/>
                      <a:pt x="1063" y="609"/>
                      <a:pt x="1063" y="609"/>
                    </a:cubicBezTo>
                    <a:cubicBezTo>
                      <a:pt x="1063" y="609"/>
                      <a:pt x="1045" y="609"/>
                      <a:pt x="1042" y="609"/>
                    </a:cubicBezTo>
                    <a:cubicBezTo>
                      <a:pt x="1039" y="609"/>
                      <a:pt x="1029" y="632"/>
                      <a:pt x="1033" y="637"/>
                    </a:cubicBezTo>
                    <a:cubicBezTo>
                      <a:pt x="1037" y="642"/>
                      <a:pt x="1051" y="615"/>
                      <a:pt x="1051" y="615"/>
                    </a:cubicBezTo>
                    <a:cubicBezTo>
                      <a:pt x="1065" y="617"/>
                      <a:pt x="1065" y="617"/>
                      <a:pt x="1065" y="617"/>
                    </a:cubicBezTo>
                    <a:cubicBezTo>
                      <a:pt x="1065" y="617"/>
                      <a:pt x="1071" y="604"/>
                      <a:pt x="1082" y="596"/>
                    </a:cubicBezTo>
                    <a:cubicBezTo>
                      <a:pt x="1086" y="585"/>
                      <a:pt x="1118" y="580"/>
                      <a:pt x="1118" y="580"/>
                    </a:cubicBezTo>
                    <a:cubicBezTo>
                      <a:pt x="1118" y="580"/>
                      <a:pt x="1103" y="599"/>
                      <a:pt x="1100" y="599"/>
                    </a:cubicBezTo>
                    <a:cubicBezTo>
                      <a:pt x="1097" y="599"/>
                      <a:pt x="1106" y="614"/>
                      <a:pt x="1106" y="614"/>
                    </a:cubicBezTo>
                    <a:cubicBezTo>
                      <a:pt x="1106" y="614"/>
                      <a:pt x="1150" y="584"/>
                      <a:pt x="1164" y="585"/>
                    </a:cubicBezTo>
                    <a:cubicBezTo>
                      <a:pt x="1178" y="586"/>
                      <a:pt x="1162" y="608"/>
                      <a:pt x="1162" y="608"/>
                    </a:cubicBezTo>
                    <a:cubicBezTo>
                      <a:pt x="1162" y="608"/>
                      <a:pt x="1146" y="633"/>
                      <a:pt x="1139" y="637"/>
                    </a:cubicBezTo>
                    <a:cubicBezTo>
                      <a:pt x="1132" y="641"/>
                      <a:pt x="1139" y="637"/>
                      <a:pt x="1141" y="646"/>
                    </a:cubicBezTo>
                    <a:cubicBezTo>
                      <a:pt x="1143" y="655"/>
                      <a:pt x="1123" y="661"/>
                      <a:pt x="1119" y="664"/>
                    </a:cubicBezTo>
                    <a:cubicBezTo>
                      <a:pt x="1115" y="667"/>
                      <a:pt x="1119" y="672"/>
                      <a:pt x="1126" y="679"/>
                    </a:cubicBezTo>
                    <a:cubicBezTo>
                      <a:pt x="1133" y="686"/>
                      <a:pt x="1113" y="696"/>
                      <a:pt x="1100" y="702"/>
                    </a:cubicBezTo>
                    <a:cubicBezTo>
                      <a:pt x="1087" y="708"/>
                      <a:pt x="1059" y="705"/>
                      <a:pt x="1059" y="705"/>
                    </a:cubicBezTo>
                    <a:cubicBezTo>
                      <a:pt x="1047" y="714"/>
                      <a:pt x="1047" y="714"/>
                      <a:pt x="1047" y="714"/>
                    </a:cubicBezTo>
                    <a:cubicBezTo>
                      <a:pt x="1047" y="714"/>
                      <a:pt x="1035" y="706"/>
                      <a:pt x="1025" y="708"/>
                    </a:cubicBezTo>
                    <a:cubicBezTo>
                      <a:pt x="1015" y="710"/>
                      <a:pt x="1025" y="726"/>
                      <a:pt x="1025" y="726"/>
                    </a:cubicBezTo>
                    <a:cubicBezTo>
                      <a:pt x="1025" y="726"/>
                      <a:pt x="1011" y="741"/>
                      <a:pt x="1011" y="744"/>
                    </a:cubicBezTo>
                    <a:cubicBezTo>
                      <a:pt x="1011" y="747"/>
                      <a:pt x="1002" y="738"/>
                      <a:pt x="1002" y="738"/>
                    </a:cubicBezTo>
                    <a:cubicBezTo>
                      <a:pt x="996" y="750"/>
                      <a:pt x="996" y="750"/>
                      <a:pt x="996" y="750"/>
                    </a:cubicBezTo>
                    <a:cubicBezTo>
                      <a:pt x="983" y="750"/>
                      <a:pt x="983" y="750"/>
                      <a:pt x="983" y="750"/>
                    </a:cubicBezTo>
                    <a:cubicBezTo>
                      <a:pt x="976" y="763"/>
                      <a:pt x="976" y="763"/>
                      <a:pt x="976" y="763"/>
                    </a:cubicBezTo>
                    <a:cubicBezTo>
                      <a:pt x="976" y="763"/>
                      <a:pt x="943" y="775"/>
                      <a:pt x="932" y="780"/>
                    </a:cubicBezTo>
                    <a:cubicBezTo>
                      <a:pt x="921" y="785"/>
                      <a:pt x="930" y="789"/>
                      <a:pt x="947" y="813"/>
                    </a:cubicBezTo>
                    <a:cubicBezTo>
                      <a:pt x="980" y="794"/>
                      <a:pt x="976" y="814"/>
                      <a:pt x="976" y="819"/>
                    </a:cubicBezTo>
                    <a:cubicBezTo>
                      <a:pt x="976" y="824"/>
                      <a:pt x="949" y="868"/>
                      <a:pt x="949" y="868"/>
                    </a:cubicBezTo>
                    <a:cubicBezTo>
                      <a:pt x="949" y="868"/>
                      <a:pt x="946" y="855"/>
                      <a:pt x="928" y="855"/>
                    </a:cubicBezTo>
                    <a:cubicBezTo>
                      <a:pt x="910" y="855"/>
                      <a:pt x="913" y="862"/>
                      <a:pt x="910" y="862"/>
                    </a:cubicBezTo>
                    <a:cubicBezTo>
                      <a:pt x="907" y="862"/>
                      <a:pt x="895" y="843"/>
                      <a:pt x="895" y="843"/>
                    </a:cubicBezTo>
                    <a:cubicBezTo>
                      <a:pt x="895" y="843"/>
                      <a:pt x="878" y="866"/>
                      <a:pt x="862" y="866"/>
                    </a:cubicBezTo>
                    <a:cubicBezTo>
                      <a:pt x="846" y="866"/>
                      <a:pt x="826" y="836"/>
                      <a:pt x="826" y="836"/>
                    </a:cubicBezTo>
                    <a:cubicBezTo>
                      <a:pt x="801" y="837"/>
                      <a:pt x="801" y="837"/>
                      <a:pt x="801" y="837"/>
                    </a:cubicBezTo>
                    <a:cubicBezTo>
                      <a:pt x="793" y="829"/>
                      <a:pt x="793" y="829"/>
                      <a:pt x="793" y="829"/>
                    </a:cubicBezTo>
                    <a:cubicBezTo>
                      <a:pt x="761" y="826"/>
                      <a:pt x="761" y="826"/>
                      <a:pt x="761" y="826"/>
                    </a:cubicBezTo>
                    <a:cubicBezTo>
                      <a:pt x="761" y="826"/>
                      <a:pt x="756" y="849"/>
                      <a:pt x="756" y="862"/>
                    </a:cubicBezTo>
                    <a:cubicBezTo>
                      <a:pt x="756" y="875"/>
                      <a:pt x="739" y="882"/>
                      <a:pt x="739" y="882"/>
                    </a:cubicBezTo>
                    <a:cubicBezTo>
                      <a:pt x="739" y="893"/>
                      <a:pt x="739" y="893"/>
                      <a:pt x="739" y="893"/>
                    </a:cubicBezTo>
                    <a:cubicBezTo>
                      <a:pt x="739" y="893"/>
                      <a:pt x="741" y="896"/>
                      <a:pt x="730" y="899"/>
                    </a:cubicBezTo>
                    <a:cubicBezTo>
                      <a:pt x="739" y="912"/>
                      <a:pt x="720" y="915"/>
                      <a:pt x="720" y="915"/>
                    </a:cubicBezTo>
                    <a:cubicBezTo>
                      <a:pt x="715" y="912"/>
                      <a:pt x="715" y="912"/>
                      <a:pt x="715" y="912"/>
                    </a:cubicBezTo>
                    <a:cubicBezTo>
                      <a:pt x="720" y="904"/>
                      <a:pt x="720" y="904"/>
                      <a:pt x="720" y="904"/>
                    </a:cubicBezTo>
                    <a:cubicBezTo>
                      <a:pt x="720" y="904"/>
                      <a:pt x="702" y="891"/>
                      <a:pt x="702" y="882"/>
                    </a:cubicBezTo>
                    <a:cubicBezTo>
                      <a:pt x="702" y="873"/>
                      <a:pt x="686" y="859"/>
                      <a:pt x="690" y="858"/>
                    </a:cubicBezTo>
                    <a:cubicBezTo>
                      <a:pt x="694" y="857"/>
                      <a:pt x="689" y="836"/>
                      <a:pt x="689" y="833"/>
                    </a:cubicBezTo>
                    <a:cubicBezTo>
                      <a:pt x="689" y="834"/>
                      <a:pt x="689" y="839"/>
                      <a:pt x="677" y="838"/>
                    </a:cubicBezTo>
                    <a:cubicBezTo>
                      <a:pt x="677" y="811"/>
                      <a:pt x="644" y="811"/>
                      <a:pt x="644" y="811"/>
                    </a:cubicBezTo>
                    <a:cubicBezTo>
                      <a:pt x="638" y="801"/>
                      <a:pt x="638" y="801"/>
                      <a:pt x="638" y="801"/>
                    </a:cubicBezTo>
                    <a:cubicBezTo>
                      <a:pt x="615" y="823"/>
                      <a:pt x="615" y="823"/>
                      <a:pt x="615" y="823"/>
                    </a:cubicBezTo>
                    <a:cubicBezTo>
                      <a:pt x="591" y="806"/>
                      <a:pt x="591" y="806"/>
                      <a:pt x="591" y="806"/>
                    </a:cubicBezTo>
                    <a:cubicBezTo>
                      <a:pt x="586" y="816"/>
                      <a:pt x="586" y="816"/>
                      <a:pt x="586" y="816"/>
                    </a:cubicBezTo>
                    <a:cubicBezTo>
                      <a:pt x="586" y="816"/>
                      <a:pt x="576" y="806"/>
                      <a:pt x="561" y="805"/>
                    </a:cubicBezTo>
                    <a:cubicBezTo>
                      <a:pt x="546" y="804"/>
                      <a:pt x="538" y="802"/>
                      <a:pt x="517" y="801"/>
                    </a:cubicBezTo>
                    <a:cubicBezTo>
                      <a:pt x="496" y="800"/>
                      <a:pt x="491" y="807"/>
                      <a:pt x="473" y="807"/>
                    </a:cubicBezTo>
                    <a:cubicBezTo>
                      <a:pt x="455" y="807"/>
                      <a:pt x="442" y="786"/>
                      <a:pt x="426" y="784"/>
                    </a:cubicBezTo>
                    <a:cubicBezTo>
                      <a:pt x="410" y="782"/>
                      <a:pt x="399" y="801"/>
                      <a:pt x="399" y="801"/>
                    </a:cubicBezTo>
                    <a:cubicBezTo>
                      <a:pt x="399" y="816"/>
                      <a:pt x="399" y="816"/>
                      <a:pt x="399" y="816"/>
                    </a:cubicBezTo>
                    <a:cubicBezTo>
                      <a:pt x="413" y="833"/>
                      <a:pt x="413" y="833"/>
                      <a:pt x="413" y="833"/>
                    </a:cubicBezTo>
                    <a:cubicBezTo>
                      <a:pt x="413" y="833"/>
                      <a:pt x="410" y="834"/>
                      <a:pt x="399" y="834"/>
                    </a:cubicBezTo>
                    <a:cubicBezTo>
                      <a:pt x="388" y="834"/>
                      <a:pt x="385" y="869"/>
                      <a:pt x="385" y="869"/>
                    </a:cubicBezTo>
                    <a:cubicBezTo>
                      <a:pt x="385" y="883"/>
                      <a:pt x="385" y="883"/>
                      <a:pt x="385" y="883"/>
                    </a:cubicBezTo>
                    <a:cubicBezTo>
                      <a:pt x="367" y="874"/>
                      <a:pt x="367" y="874"/>
                      <a:pt x="367" y="874"/>
                    </a:cubicBezTo>
                    <a:cubicBezTo>
                      <a:pt x="384" y="841"/>
                      <a:pt x="384" y="841"/>
                      <a:pt x="384" y="841"/>
                    </a:cubicBezTo>
                    <a:cubicBezTo>
                      <a:pt x="373" y="845"/>
                      <a:pt x="373" y="845"/>
                      <a:pt x="373" y="845"/>
                    </a:cubicBezTo>
                    <a:cubicBezTo>
                      <a:pt x="363" y="835"/>
                      <a:pt x="363" y="835"/>
                      <a:pt x="363" y="835"/>
                    </a:cubicBezTo>
                    <a:cubicBezTo>
                      <a:pt x="357" y="841"/>
                      <a:pt x="357" y="841"/>
                      <a:pt x="357" y="841"/>
                    </a:cubicBezTo>
                    <a:cubicBezTo>
                      <a:pt x="337" y="811"/>
                      <a:pt x="337" y="811"/>
                      <a:pt x="337" y="811"/>
                    </a:cubicBezTo>
                    <a:cubicBezTo>
                      <a:pt x="337" y="811"/>
                      <a:pt x="291" y="835"/>
                      <a:pt x="291" y="845"/>
                    </a:cubicBezTo>
                    <a:cubicBezTo>
                      <a:pt x="291" y="855"/>
                      <a:pt x="282" y="861"/>
                      <a:pt x="282" y="861"/>
                    </a:cubicBezTo>
                    <a:cubicBezTo>
                      <a:pt x="307" y="873"/>
                      <a:pt x="307" y="873"/>
                      <a:pt x="307" y="873"/>
                    </a:cubicBezTo>
                    <a:cubicBezTo>
                      <a:pt x="307" y="873"/>
                      <a:pt x="309" y="882"/>
                      <a:pt x="306" y="883"/>
                    </a:cubicBezTo>
                    <a:cubicBezTo>
                      <a:pt x="303" y="884"/>
                      <a:pt x="289" y="889"/>
                      <a:pt x="292" y="907"/>
                    </a:cubicBezTo>
                    <a:cubicBezTo>
                      <a:pt x="274" y="926"/>
                      <a:pt x="272" y="959"/>
                      <a:pt x="272" y="966"/>
                    </a:cubicBezTo>
                    <a:cubicBezTo>
                      <a:pt x="272" y="973"/>
                      <a:pt x="285" y="979"/>
                      <a:pt x="285" y="979"/>
                    </a:cubicBezTo>
                    <a:cubicBezTo>
                      <a:pt x="300" y="979"/>
                      <a:pt x="300" y="979"/>
                      <a:pt x="300" y="979"/>
                    </a:cubicBezTo>
                    <a:cubicBezTo>
                      <a:pt x="300" y="959"/>
                      <a:pt x="300" y="959"/>
                      <a:pt x="300" y="959"/>
                    </a:cubicBezTo>
                    <a:cubicBezTo>
                      <a:pt x="291" y="957"/>
                      <a:pt x="291" y="957"/>
                      <a:pt x="291" y="957"/>
                    </a:cubicBezTo>
                    <a:cubicBezTo>
                      <a:pt x="299" y="946"/>
                      <a:pt x="299" y="946"/>
                      <a:pt x="299" y="946"/>
                    </a:cubicBezTo>
                    <a:cubicBezTo>
                      <a:pt x="296" y="943"/>
                      <a:pt x="296" y="943"/>
                      <a:pt x="296" y="943"/>
                    </a:cubicBezTo>
                    <a:cubicBezTo>
                      <a:pt x="305" y="938"/>
                      <a:pt x="305" y="938"/>
                      <a:pt x="305" y="938"/>
                    </a:cubicBezTo>
                    <a:cubicBezTo>
                      <a:pt x="298" y="919"/>
                      <a:pt x="298" y="919"/>
                      <a:pt x="298" y="919"/>
                    </a:cubicBezTo>
                    <a:cubicBezTo>
                      <a:pt x="315" y="918"/>
                      <a:pt x="315" y="918"/>
                      <a:pt x="315" y="918"/>
                    </a:cubicBezTo>
                    <a:cubicBezTo>
                      <a:pt x="318" y="902"/>
                      <a:pt x="318" y="902"/>
                      <a:pt x="318" y="902"/>
                    </a:cubicBezTo>
                    <a:cubicBezTo>
                      <a:pt x="324" y="908"/>
                      <a:pt x="324" y="908"/>
                      <a:pt x="324" y="908"/>
                    </a:cubicBezTo>
                    <a:cubicBezTo>
                      <a:pt x="334" y="899"/>
                      <a:pt x="334" y="899"/>
                      <a:pt x="334" y="899"/>
                    </a:cubicBezTo>
                    <a:cubicBezTo>
                      <a:pt x="326" y="886"/>
                      <a:pt x="326" y="886"/>
                      <a:pt x="326" y="886"/>
                    </a:cubicBezTo>
                    <a:cubicBezTo>
                      <a:pt x="335" y="882"/>
                      <a:pt x="335" y="882"/>
                      <a:pt x="335" y="882"/>
                    </a:cubicBezTo>
                    <a:cubicBezTo>
                      <a:pt x="356" y="902"/>
                      <a:pt x="356" y="902"/>
                      <a:pt x="356" y="902"/>
                    </a:cubicBezTo>
                    <a:cubicBezTo>
                      <a:pt x="354" y="912"/>
                      <a:pt x="354" y="912"/>
                      <a:pt x="354" y="912"/>
                    </a:cubicBezTo>
                    <a:cubicBezTo>
                      <a:pt x="354" y="912"/>
                      <a:pt x="339" y="904"/>
                      <a:pt x="338" y="908"/>
                    </a:cubicBezTo>
                    <a:cubicBezTo>
                      <a:pt x="337" y="912"/>
                      <a:pt x="356" y="923"/>
                      <a:pt x="356" y="923"/>
                    </a:cubicBezTo>
                    <a:cubicBezTo>
                      <a:pt x="356" y="923"/>
                      <a:pt x="349" y="930"/>
                      <a:pt x="351" y="938"/>
                    </a:cubicBezTo>
                    <a:cubicBezTo>
                      <a:pt x="353" y="946"/>
                      <a:pt x="365" y="943"/>
                      <a:pt x="368" y="954"/>
                    </a:cubicBezTo>
                    <a:cubicBezTo>
                      <a:pt x="371" y="965"/>
                      <a:pt x="336" y="956"/>
                      <a:pt x="336" y="963"/>
                    </a:cubicBezTo>
                    <a:cubicBezTo>
                      <a:pt x="336" y="970"/>
                      <a:pt x="343" y="983"/>
                      <a:pt x="343" y="983"/>
                    </a:cubicBezTo>
                    <a:cubicBezTo>
                      <a:pt x="343" y="983"/>
                      <a:pt x="346" y="1002"/>
                      <a:pt x="360" y="1003"/>
                    </a:cubicBezTo>
                    <a:cubicBezTo>
                      <a:pt x="374" y="1004"/>
                      <a:pt x="382" y="963"/>
                      <a:pt x="391" y="969"/>
                    </a:cubicBezTo>
                    <a:cubicBezTo>
                      <a:pt x="400" y="975"/>
                      <a:pt x="388" y="986"/>
                      <a:pt x="388" y="986"/>
                    </a:cubicBezTo>
                    <a:cubicBezTo>
                      <a:pt x="387" y="1004"/>
                      <a:pt x="387" y="1004"/>
                      <a:pt x="387" y="1004"/>
                    </a:cubicBezTo>
                    <a:cubicBezTo>
                      <a:pt x="377" y="997"/>
                      <a:pt x="377" y="997"/>
                      <a:pt x="377" y="997"/>
                    </a:cubicBezTo>
                    <a:cubicBezTo>
                      <a:pt x="377" y="997"/>
                      <a:pt x="370" y="1004"/>
                      <a:pt x="370" y="1009"/>
                    </a:cubicBezTo>
                    <a:cubicBezTo>
                      <a:pt x="370" y="1014"/>
                      <a:pt x="374" y="1025"/>
                      <a:pt x="374" y="1025"/>
                    </a:cubicBezTo>
                    <a:cubicBezTo>
                      <a:pt x="374" y="1025"/>
                      <a:pt x="384" y="1031"/>
                      <a:pt x="384" y="1046"/>
                    </a:cubicBezTo>
                    <a:cubicBezTo>
                      <a:pt x="384" y="1061"/>
                      <a:pt x="393" y="1076"/>
                      <a:pt x="393" y="1076"/>
                    </a:cubicBezTo>
                    <a:cubicBezTo>
                      <a:pt x="373" y="1077"/>
                      <a:pt x="373" y="1077"/>
                      <a:pt x="373" y="1077"/>
                    </a:cubicBezTo>
                    <a:cubicBezTo>
                      <a:pt x="362" y="1093"/>
                      <a:pt x="362" y="1093"/>
                      <a:pt x="362" y="1093"/>
                    </a:cubicBezTo>
                    <a:cubicBezTo>
                      <a:pt x="364" y="1071"/>
                      <a:pt x="364" y="1071"/>
                      <a:pt x="364" y="1071"/>
                    </a:cubicBezTo>
                    <a:cubicBezTo>
                      <a:pt x="364" y="1071"/>
                      <a:pt x="354" y="1063"/>
                      <a:pt x="354" y="1059"/>
                    </a:cubicBezTo>
                    <a:cubicBezTo>
                      <a:pt x="354" y="1055"/>
                      <a:pt x="371" y="1063"/>
                      <a:pt x="371" y="1063"/>
                    </a:cubicBezTo>
                    <a:cubicBezTo>
                      <a:pt x="371" y="1063"/>
                      <a:pt x="379" y="1051"/>
                      <a:pt x="379" y="1044"/>
                    </a:cubicBezTo>
                    <a:cubicBezTo>
                      <a:pt x="379" y="1037"/>
                      <a:pt x="367" y="1046"/>
                      <a:pt x="367" y="1046"/>
                    </a:cubicBezTo>
                    <a:cubicBezTo>
                      <a:pt x="342" y="1022"/>
                      <a:pt x="342" y="1022"/>
                      <a:pt x="342" y="1022"/>
                    </a:cubicBezTo>
                    <a:cubicBezTo>
                      <a:pt x="342" y="1022"/>
                      <a:pt x="328" y="1037"/>
                      <a:pt x="323" y="1034"/>
                    </a:cubicBezTo>
                    <a:cubicBezTo>
                      <a:pt x="291" y="1030"/>
                      <a:pt x="308" y="1022"/>
                      <a:pt x="300" y="1022"/>
                    </a:cubicBezTo>
                    <a:cubicBezTo>
                      <a:pt x="292" y="1022"/>
                      <a:pt x="286" y="1038"/>
                      <a:pt x="274" y="1038"/>
                    </a:cubicBezTo>
                    <a:cubicBezTo>
                      <a:pt x="262" y="1038"/>
                      <a:pt x="262" y="1033"/>
                      <a:pt x="262" y="1033"/>
                    </a:cubicBezTo>
                    <a:cubicBezTo>
                      <a:pt x="240" y="1033"/>
                      <a:pt x="240" y="1033"/>
                      <a:pt x="240" y="1033"/>
                    </a:cubicBezTo>
                    <a:cubicBezTo>
                      <a:pt x="237" y="1053"/>
                      <a:pt x="237" y="1053"/>
                      <a:pt x="237" y="1053"/>
                    </a:cubicBezTo>
                    <a:cubicBezTo>
                      <a:pt x="237" y="1053"/>
                      <a:pt x="211" y="1063"/>
                      <a:pt x="216" y="1066"/>
                    </a:cubicBezTo>
                    <a:cubicBezTo>
                      <a:pt x="221" y="1069"/>
                      <a:pt x="239" y="1077"/>
                      <a:pt x="239" y="1077"/>
                    </a:cubicBezTo>
                    <a:cubicBezTo>
                      <a:pt x="257" y="1073"/>
                      <a:pt x="257" y="1073"/>
                      <a:pt x="257" y="1073"/>
                    </a:cubicBezTo>
                    <a:cubicBezTo>
                      <a:pt x="265" y="1065"/>
                      <a:pt x="265" y="1065"/>
                      <a:pt x="265" y="1065"/>
                    </a:cubicBezTo>
                    <a:cubicBezTo>
                      <a:pt x="278" y="1072"/>
                      <a:pt x="278" y="1072"/>
                      <a:pt x="278" y="1072"/>
                    </a:cubicBezTo>
                    <a:cubicBezTo>
                      <a:pt x="292" y="1066"/>
                      <a:pt x="292" y="1066"/>
                      <a:pt x="292" y="1066"/>
                    </a:cubicBezTo>
                    <a:cubicBezTo>
                      <a:pt x="292" y="1066"/>
                      <a:pt x="295" y="1069"/>
                      <a:pt x="305" y="1086"/>
                    </a:cubicBezTo>
                    <a:cubicBezTo>
                      <a:pt x="286" y="1102"/>
                      <a:pt x="305" y="1113"/>
                      <a:pt x="305" y="1113"/>
                    </a:cubicBezTo>
                    <a:cubicBezTo>
                      <a:pt x="315" y="1109"/>
                      <a:pt x="315" y="1109"/>
                      <a:pt x="315" y="1109"/>
                    </a:cubicBezTo>
                    <a:cubicBezTo>
                      <a:pt x="346" y="1155"/>
                      <a:pt x="346" y="1155"/>
                      <a:pt x="346" y="1155"/>
                    </a:cubicBezTo>
                    <a:cubicBezTo>
                      <a:pt x="346" y="1155"/>
                      <a:pt x="345" y="1152"/>
                      <a:pt x="375" y="1152"/>
                    </a:cubicBezTo>
                    <a:cubicBezTo>
                      <a:pt x="405" y="1152"/>
                      <a:pt x="427" y="1127"/>
                      <a:pt x="427" y="1127"/>
                    </a:cubicBezTo>
                    <a:cubicBezTo>
                      <a:pt x="427" y="1127"/>
                      <a:pt x="429" y="1133"/>
                      <a:pt x="438" y="1133"/>
                    </a:cubicBezTo>
                    <a:cubicBezTo>
                      <a:pt x="447" y="1133"/>
                      <a:pt x="479" y="1138"/>
                      <a:pt x="487" y="1138"/>
                    </a:cubicBezTo>
                    <a:cubicBezTo>
                      <a:pt x="495" y="1138"/>
                      <a:pt x="514" y="1150"/>
                      <a:pt x="514" y="1150"/>
                    </a:cubicBezTo>
                    <a:cubicBezTo>
                      <a:pt x="514" y="1150"/>
                      <a:pt x="491" y="1170"/>
                      <a:pt x="487" y="1174"/>
                    </a:cubicBezTo>
                    <a:cubicBezTo>
                      <a:pt x="483" y="1178"/>
                      <a:pt x="479" y="1165"/>
                      <a:pt x="479" y="1165"/>
                    </a:cubicBezTo>
                    <a:cubicBezTo>
                      <a:pt x="471" y="1168"/>
                      <a:pt x="471" y="1168"/>
                      <a:pt x="471" y="1168"/>
                    </a:cubicBezTo>
                    <a:cubicBezTo>
                      <a:pt x="471" y="1182"/>
                      <a:pt x="471" y="1182"/>
                      <a:pt x="471" y="1182"/>
                    </a:cubicBezTo>
                    <a:cubicBezTo>
                      <a:pt x="471" y="1182"/>
                      <a:pt x="473" y="1178"/>
                      <a:pt x="476" y="1175"/>
                    </a:cubicBezTo>
                    <a:cubicBezTo>
                      <a:pt x="479" y="1172"/>
                      <a:pt x="484" y="1176"/>
                      <a:pt x="484" y="1176"/>
                    </a:cubicBezTo>
                    <a:cubicBezTo>
                      <a:pt x="489" y="1195"/>
                      <a:pt x="489" y="1195"/>
                      <a:pt x="489" y="1195"/>
                    </a:cubicBezTo>
                    <a:cubicBezTo>
                      <a:pt x="489" y="1195"/>
                      <a:pt x="518" y="1195"/>
                      <a:pt x="519" y="1205"/>
                    </a:cubicBezTo>
                    <a:cubicBezTo>
                      <a:pt x="520" y="1215"/>
                      <a:pt x="506" y="1218"/>
                      <a:pt x="506" y="1218"/>
                    </a:cubicBezTo>
                    <a:cubicBezTo>
                      <a:pt x="506" y="1218"/>
                      <a:pt x="489" y="1210"/>
                      <a:pt x="475" y="1210"/>
                    </a:cubicBezTo>
                    <a:cubicBezTo>
                      <a:pt x="461" y="1210"/>
                      <a:pt x="434" y="1218"/>
                      <a:pt x="434" y="1218"/>
                    </a:cubicBezTo>
                    <a:cubicBezTo>
                      <a:pt x="426" y="1214"/>
                      <a:pt x="426" y="1214"/>
                      <a:pt x="426" y="1214"/>
                    </a:cubicBezTo>
                    <a:cubicBezTo>
                      <a:pt x="366" y="1233"/>
                      <a:pt x="366" y="1233"/>
                      <a:pt x="366" y="1233"/>
                    </a:cubicBezTo>
                    <a:cubicBezTo>
                      <a:pt x="366" y="1233"/>
                      <a:pt x="368" y="1240"/>
                      <a:pt x="368" y="1248"/>
                    </a:cubicBezTo>
                    <a:cubicBezTo>
                      <a:pt x="368" y="1256"/>
                      <a:pt x="361" y="1265"/>
                      <a:pt x="359" y="1278"/>
                    </a:cubicBezTo>
                    <a:cubicBezTo>
                      <a:pt x="357" y="1291"/>
                      <a:pt x="362" y="1293"/>
                      <a:pt x="362" y="1293"/>
                    </a:cubicBezTo>
                    <a:cubicBezTo>
                      <a:pt x="356" y="1309"/>
                      <a:pt x="356" y="1309"/>
                      <a:pt x="356" y="1309"/>
                    </a:cubicBezTo>
                    <a:cubicBezTo>
                      <a:pt x="356" y="1309"/>
                      <a:pt x="359" y="1310"/>
                      <a:pt x="372" y="1321"/>
                    </a:cubicBezTo>
                    <a:cubicBezTo>
                      <a:pt x="385" y="1332"/>
                      <a:pt x="376" y="1334"/>
                      <a:pt x="361" y="1349"/>
                    </a:cubicBezTo>
                    <a:cubicBezTo>
                      <a:pt x="346" y="1364"/>
                      <a:pt x="331" y="1342"/>
                      <a:pt x="331" y="1342"/>
                    </a:cubicBezTo>
                    <a:cubicBezTo>
                      <a:pt x="297" y="1343"/>
                      <a:pt x="297" y="1343"/>
                      <a:pt x="297" y="1343"/>
                    </a:cubicBezTo>
                    <a:cubicBezTo>
                      <a:pt x="297" y="1343"/>
                      <a:pt x="293" y="1349"/>
                      <a:pt x="301" y="1362"/>
                    </a:cubicBezTo>
                    <a:cubicBezTo>
                      <a:pt x="309" y="1375"/>
                      <a:pt x="314" y="1372"/>
                      <a:pt x="314" y="1372"/>
                    </a:cubicBezTo>
                    <a:cubicBezTo>
                      <a:pt x="321" y="1377"/>
                      <a:pt x="321" y="1377"/>
                      <a:pt x="321" y="1377"/>
                    </a:cubicBezTo>
                    <a:cubicBezTo>
                      <a:pt x="321" y="1377"/>
                      <a:pt x="322" y="1391"/>
                      <a:pt x="311" y="1391"/>
                    </a:cubicBezTo>
                    <a:cubicBezTo>
                      <a:pt x="300" y="1391"/>
                      <a:pt x="309" y="1373"/>
                      <a:pt x="309" y="1373"/>
                    </a:cubicBezTo>
                    <a:cubicBezTo>
                      <a:pt x="258" y="1370"/>
                      <a:pt x="258" y="1370"/>
                      <a:pt x="258" y="1370"/>
                    </a:cubicBezTo>
                    <a:cubicBezTo>
                      <a:pt x="258" y="1370"/>
                      <a:pt x="263" y="1376"/>
                      <a:pt x="259" y="1382"/>
                    </a:cubicBezTo>
                    <a:cubicBezTo>
                      <a:pt x="240" y="1363"/>
                      <a:pt x="224" y="1393"/>
                      <a:pt x="224" y="1393"/>
                    </a:cubicBezTo>
                    <a:cubicBezTo>
                      <a:pt x="233" y="1393"/>
                      <a:pt x="233" y="1393"/>
                      <a:pt x="233" y="1393"/>
                    </a:cubicBezTo>
                    <a:cubicBezTo>
                      <a:pt x="248" y="1426"/>
                      <a:pt x="248" y="1426"/>
                      <a:pt x="248" y="1426"/>
                    </a:cubicBezTo>
                    <a:cubicBezTo>
                      <a:pt x="260" y="1422"/>
                      <a:pt x="260" y="1422"/>
                      <a:pt x="260" y="1422"/>
                    </a:cubicBezTo>
                    <a:cubicBezTo>
                      <a:pt x="281" y="1434"/>
                      <a:pt x="281" y="1434"/>
                      <a:pt x="281" y="1434"/>
                    </a:cubicBezTo>
                    <a:cubicBezTo>
                      <a:pt x="281" y="1434"/>
                      <a:pt x="271" y="1436"/>
                      <a:pt x="271" y="1443"/>
                    </a:cubicBezTo>
                    <a:cubicBezTo>
                      <a:pt x="271" y="1450"/>
                      <a:pt x="281" y="1456"/>
                      <a:pt x="281" y="1456"/>
                    </a:cubicBezTo>
                    <a:cubicBezTo>
                      <a:pt x="281" y="1456"/>
                      <a:pt x="291" y="1464"/>
                      <a:pt x="287" y="1471"/>
                    </a:cubicBezTo>
                    <a:cubicBezTo>
                      <a:pt x="283" y="1478"/>
                      <a:pt x="263" y="1457"/>
                      <a:pt x="260" y="1457"/>
                    </a:cubicBezTo>
                    <a:cubicBezTo>
                      <a:pt x="257" y="1457"/>
                      <a:pt x="250" y="1462"/>
                      <a:pt x="246" y="1463"/>
                    </a:cubicBezTo>
                    <a:cubicBezTo>
                      <a:pt x="242" y="1464"/>
                      <a:pt x="243" y="1466"/>
                      <a:pt x="243" y="1475"/>
                    </a:cubicBezTo>
                    <a:cubicBezTo>
                      <a:pt x="243" y="1484"/>
                      <a:pt x="225" y="1490"/>
                      <a:pt x="225" y="1493"/>
                    </a:cubicBezTo>
                    <a:cubicBezTo>
                      <a:pt x="225" y="1496"/>
                      <a:pt x="232" y="1497"/>
                      <a:pt x="232" y="1497"/>
                    </a:cubicBezTo>
                    <a:cubicBezTo>
                      <a:pt x="246" y="1488"/>
                      <a:pt x="246" y="1488"/>
                      <a:pt x="246" y="1488"/>
                    </a:cubicBezTo>
                    <a:cubicBezTo>
                      <a:pt x="246" y="1488"/>
                      <a:pt x="251" y="1498"/>
                      <a:pt x="264" y="1499"/>
                    </a:cubicBezTo>
                    <a:cubicBezTo>
                      <a:pt x="277" y="1500"/>
                      <a:pt x="286" y="1492"/>
                      <a:pt x="286" y="1492"/>
                    </a:cubicBezTo>
                    <a:cubicBezTo>
                      <a:pt x="301" y="1498"/>
                      <a:pt x="301" y="1498"/>
                      <a:pt x="301" y="1498"/>
                    </a:cubicBezTo>
                    <a:cubicBezTo>
                      <a:pt x="301" y="1498"/>
                      <a:pt x="293" y="1502"/>
                      <a:pt x="293" y="1512"/>
                    </a:cubicBezTo>
                    <a:cubicBezTo>
                      <a:pt x="293" y="1522"/>
                      <a:pt x="321" y="1522"/>
                      <a:pt x="321" y="1522"/>
                    </a:cubicBezTo>
                    <a:cubicBezTo>
                      <a:pt x="321" y="1522"/>
                      <a:pt x="335" y="1541"/>
                      <a:pt x="336" y="1530"/>
                    </a:cubicBezTo>
                    <a:cubicBezTo>
                      <a:pt x="336" y="1513"/>
                      <a:pt x="353" y="1513"/>
                      <a:pt x="353" y="1513"/>
                    </a:cubicBezTo>
                    <a:cubicBezTo>
                      <a:pt x="360" y="1527"/>
                      <a:pt x="360" y="1527"/>
                      <a:pt x="360" y="1527"/>
                    </a:cubicBezTo>
                    <a:cubicBezTo>
                      <a:pt x="372" y="1515"/>
                      <a:pt x="372" y="1515"/>
                      <a:pt x="372" y="1515"/>
                    </a:cubicBezTo>
                    <a:cubicBezTo>
                      <a:pt x="386" y="1515"/>
                      <a:pt x="386" y="1515"/>
                      <a:pt x="386" y="1515"/>
                    </a:cubicBezTo>
                    <a:cubicBezTo>
                      <a:pt x="393" y="1502"/>
                      <a:pt x="393" y="1502"/>
                      <a:pt x="393" y="1502"/>
                    </a:cubicBezTo>
                    <a:cubicBezTo>
                      <a:pt x="404" y="1512"/>
                      <a:pt x="404" y="1512"/>
                      <a:pt x="404" y="1512"/>
                    </a:cubicBezTo>
                    <a:cubicBezTo>
                      <a:pt x="404" y="1512"/>
                      <a:pt x="415" y="1515"/>
                      <a:pt x="398" y="1526"/>
                    </a:cubicBezTo>
                    <a:cubicBezTo>
                      <a:pt x="376" y="1526"/>
                      <a:pt x="366" y="1534"/>
                      <a:pt x="366" y="1534"/>
                    </a:cubicBezTo>
                    <a:cubicBezTo>
                      <a:pt x="355" y="1570"/>
                      <a:pt x="355" y="1570"/>
                      <a:pt x="355" y="1570"/>
                    </a:cubicBezTo>
                    <a:cubicBezTo>
                      <a:pt x="364" y="1567"/>
                      <a:pt x="364" y="1567"/>
                      <a:pt x="364" y="1567"/>
                    </a:cubicBezTo>
                    <a:cubicBezTo>
                      <a:pt x="385" y="1597"/>
                      <a:pt x="385" y="1597"/>
                      <a:pt x="385" y="1597"/>
                    </a:cubicBezTo>
                    <a:cubicBezTo>
                      <a:pt x="387" y="1578"/>
                      <a:pt x="387" y="1578"/>
                      <a:pt x="387" y="1578"/>
                    </a:cubicBezTo>
                    <a:cubicBezTo>
                      <a:pt x="397" y="1576"/>
                      <a:pt x="397" y="1576"/>
                      <a:pt x="397" y="1576"/>
                    </a:cubicBezTo>
                    <a:cubicBezTo>
                      <a:pt x="393" y="1585"/>
                      <a:pt x="393" y="1585"/>
                      <a:pt x="393" y="1585"/>
                    </a:cubicBezTo>
                    <a:cubicBezTo>
                      <a:pt x="394" y="1597"/>
                      <a:pt x="394" y="1597"/>
                      <a:pt x="394" y="1597"/>
                    </a:cubicBezTo>
                    <a:cubicBezTo>
                      <a:pt x="394" y="1597"/>
                      <a:pt x="399" y="1595"/>
                      <a:pt x="403" y="1585"/>
                    </a:cubicBezTo>
                    <a:cubicBezTo>
                      <a:pt x="413" y="1596"/>
                      <a:pt x="423" y="1590"/>
                      <a:pt x="435" y="1574"/>
                    </a:cubicBezTo>
                    <a:cubicBezTo>
                      <a:pt x="435" y="1556"/>
                      <a:pt x="475" y="1523"/>
                      <a:pt x="475" y="1523"/>
                    </a:cubicBezTo>
                    <a:cubicBezTo>
                      <a:pt x="475" y="1523"/>
                      <a:pt x="475" y="1523"/>
                      <a:pt x="478" y="1537"/>
                    </a:cubicBezTo>
                    <a:cubicBezTo>
                      <a:pt x="481" y="1551"/>
                      <a:pt x="466" y="1555"/>
                      <a:pt x="466" y="1558"/>
                    </a:cubicBezTo>
                    <a:cubicBezTo>
                      <a:pt x="466" y="1561"/>
                      <a:pt x="472" y="1558"/>
                      <a:pt x="479" y="1567"/>
                    </a:cubicBezTo>
                    <a:cubicBezTo>
                      <a:pt x="486" y="1576"/>
                      <a:pt x="467" y="1580"/>
                      <a:pt x="462" y="1580"/>
                    </a:cubicBezTo>
                    <a:cubicBezTo>
                      <a:pt x="457" y="1580"/>
                      <a:pt x="460" y="1572"/>
                      <a:pt x="460" y="1567"/>
                    </a:cubicBezTo>
                    <a:cubicBezTo>
                      <a:pt x="460" y="1562"/>
                      <a:pt x="460" y="1567"/>
                      <a:pt x="456" y="1579"/>
                    </a:cubicBezTo>
                    <a:cubicBezTo>
                      <a:pt x="428" y="1588"/>
                      <a:pt x="448" y="1621"/>
                      <a:pt x="448" y="1624"/>
                    </a:cubicBezTo>
                    <a:cubicBezTo>
                      <a:pt x="448" y="1627"/>
                      <a:pt x="429" y="1612"/>
                      <a:pt x="429" y="1612"/>
                    </a:cubicBezTo>
                    <a:cubicBezTo>
                      <a:pt x="429" y="1612"/>
                      <a:pt x="421" y="1647"/>
                      <a:pt x="428" y="1641"/>
                    </a:cubicBezTo>
                    <a:cubicBezTo>
                      <a:pt x="435" y="1635"/>
                      <a:pt x="452" y="1646"/>
                      <a:pt x="465" y="1647"/>
                    </a:cubicBezTo>
                    <a:cubicBezTo>
                      <a:pt x="478" y="1648"/>
                      <a:pt x="476" y="1635"/>
                      <a:pt x="476" y="1635"/>
                    </a:cubicBezTo>
                    <a:cubicBezTo>
                      <a:pt x="482" y="1642"/>
                      <a:pt x="482" y="1642"/>
                      <a:pt x="482" y="1642"/>
                    </a:cubicBezTo>
                    <a:cubicBezTo>
                      <a:pt x="513" y="1621"/>
                      <a:pt x="513" y="1621"/>
                      <a:pt x="513" y="1621"/>
                    </a:cubicBezTo>
                    <a:cubicBezTo>
                      <a:pt x="513" y="1621"/>
                      <a:pt x="526" y="1644"/>
                      <a:pt x="536" y="1650"/>
                    </a:cubicBezTo>
                    <a:cubicBezTo>
                      <a:pt x="546" y="1656"/>
                      <a:pt x="598" y="1636"/>
                      <a:pt x="598" y="1636"/>
                    </a:cubicBezTo>
                    <a:cubicBezTo>
                      <a:pt x="598" y="1636"/>
                      <a:pt x="700" y="1634"/>
                      <a:pt x="714" y="1626"/>
                    </a:cubicBezTo>
                    <a:cubicBezTo>
                      <a:pt x="728" y="1618"/>
                      <a:pt x="779" y="1624"/>
                      <a:pt x="779" y="1624"/>
                    </a:cubicBezTo>
                    <a:cubicBezTo>
                      <a:pt x="746" y="1657"/>
                      <a:pt x="746" y="1657"/>
                      <a:pt x="746" y="1657"/>
                    </a:cubicBezTo>
                    <a:cubicBezTo>
                      <a:pt x="746" y="1657"/>
                      <a:pt x="765" y="1663"/>
                      <a:pt x="780" y="1665"/>
                    </a:cubicBezTo>
                    <a:cubicBezTo>
                      <a:pt x="795" y="1667"/>
                      <a:pt x="792" y="1659"/>
                      <a:pt x="792" y="1659"/>
                    </a:cubicBezTo>
                    <a:cubicBezTo>
                      <a:pt x="798" y="1666"/>
                      <a:pt x="798" y="1666"/>
                      <a:pt x="798" y="1666"/>
                    </a:cubicBezTo>
                    <a:cubicBezTo>
                      <a:pt x="788" y="1670"/>
                      <a:pt x="788" y="1670"/>
                      <a:pt x="788" y="1670"/>
                    </a:cubicBezTo>
                    <a:cubicBezTo>
                      <a:pt x="788" y="1690"/>
                      <a:pt x="788" y="1690"/>
                      <a:pt x="788" y="1690"/>
                    </a:cubicBezTo>
                    <a:cubicBezTo>
                      <a:pt x="788" y="1690"/>
                      <a:pt x="797" y="1708"/>
                      <a:pt x="796" y="1715"/>
                    </a:cubicBezTo>
                    <a:cubicBezTo>
                      <a:pt x="795" y="1722"/>
                      <a:pt x="776" y="1691"/>
                      <a:pt x="776" y="1691"/>
                    </a:cubicBezTo>
                    <a:cubicBezTo>
                      <a:pt x="776" y="1691"/>
                      <a:pt x="756" y="1694"/>
                      <a:pt x="748" y="1694"/>
                    </a:cubicBezTo>
                    <a:cubicBezTo>
                      <a:pt x="740" y="1694"/>
                      <a:pt x="749" y="1703"/>
                      <a:pt x="749" y="1703"/>
                    </a:cubicBezTo>
                    <a:cubicBezTo>
                      <a:pt x="733" y="1693"/>
                      <a:pt x="733" y="1693"/>
                      <a:pt x="733" y="1693"/>
                    </a:cubicBezTo>
                    <a:cubicBezTo>
                      <a:pt x="706" y="1709"/>
                      <a:pt x="706" y="1709"/>
                      <a:pt x="706" y="1709"/>
                    </a:cubicBezTo>
                    <a:cubicBezTo>
                      <a:pt x="714" y="1717"/>
                      <a:pt x="714" y="1717"/>
                      <a:pt x="714" y="1717"/>
                    </a:cubicBezTo>
                    <a:cubicBezTo>
                      <a:pt x="693" y="1731"/>
                      <a:pt x="693" y="1731"/>
                      <a:pt x="693" y="1731"/>
                    </a:cubicBezTo>
                    <a:cubicBezTo>
                      <a:pt x="690" y="1720"/>
                      <a:pt x="690" y="1720"/>
                      <a:pt x="690" y="1720"/>
                    </a:cubicBezTo>
                    <a:cubicBezTo>
                      <a:pt x="650" y="1703"/>
                      <a:pt x="650" y="1703"/>
                      <a:pt x="650" y="1703"/>
                    </a:cubicBezTo>
                    <a:cubicBezTo>
                      <a:pt x="632" y="1712"/>
                      <a:pt x="632" y="1712"/>
                      <a:pt x="632" y="1712"/>
                    </a:cubicBezTo>
                    <a:cubicBezTo>
                      <a:pt x="632" y="1712"/>
                      <a:pt x="632" y="1727"/>
                      <a:pt x="633" y="1735"/>
                    </a:cubicBezTo>
                    <a:cubicBezTo>
                      <a:pt x="634" y="1743"/>
                      <a:pt x="601" y="1763"/>
                      <a:pt x="601" y="1763"/>
                    </a:cubicBezTo>
                    <a:cubicBezTo>
                      <a:pt x="598" y="1783"/>
                      <a:pt x="598" y="1783"/>
                      <a:pt x="598" y="1783"/>
                    </a:cubicBezTo>
                    <a:cubicBezTo>
                      <a:pt x="598" y="1783"/>
                      <a:pt x="573" y="1806"/>
                      <a:pt x="579" y="1808"/>
                    </a:cubicBezTo>
                    <a:cubicBezTo>
                      <a:pt x="585" y="1810"/>
                      <a:pt x="571" y="1822"/>
                      <a:pt x="566" y="1830"/>
                    </a:cubicBezTo>
                    <a:cubicBezTo>
                      <a:pt x="566" y="1844"/>
                      <a:pt x="549" y="1860"/>
                      <a:pt x="549" y="1860"/>
                    </a:cubicBezTo>
                    <a:cubicBezTo>
                      <a:pt x="548" y="1875"/>
                      <a:pt x="548" y="1875"/>
                      <a:pt x="548" y="1875"/>
                    </a:cubicBezTo>
                    <a:cubicBezTo>
                      <a:pt x="557" y="1870"/>
                      <a:pt x="557" y="1870"/>
                      <a:pt x="557" y="1870"/>
                    </a:cubicBezTo>
                    <a:cubicBezTo>
                      <a:pt x="572" y="1877"/>
                      <a:pt x="572" y="1877"/>
                      <a:pt x="572" y="1877"/>
                    </a:cubicBezTo>
                    <a:cubicBezTo>
                      <a:pt x="595" y="1863"/>
                      <a:pt x="595" y="1863"/>
                      <a:pt x="595" y="1863"/>
                    </a:cubicBezTo>
                    <a:cubicBezTo>
                      <a:pt x="603" y="1873"/>
                      <a:pt x="603" y="1873"/>
                      <a:pt x="603" y="1873"/>
                    </a:cubicBezTo>
                    <a:cubicBezTo>
                      <a:pt x="603" y="1873"/>
                      <a:pt x="602" y="1887"/>
                      <a:pt x="585" y="1893"/>
                    </a:cubicBezTo>
                    <a:cubicBezTo>
                      <a:pt x="568" y="1899"/>
                      <a:pt x="557" y="1931"/>
                      <a:pt x="554" y="1937"/>
                    </a:cubicBezTo>
                    <a:cubicBezTo>
                      <a:pt x="551" y="1943"/>
                      <a:pt x="561" y="1936"/>
                      <a:pt x="560" y="1948"/>
                    </a:cubicBezTo>
                    <a:cubicBezTo>
                      <a:pt x="559" y="1960"/>
                      <a:pt x="534" y="1961"/>
                      <a:pt x="534" y="1961"/>
                    </a:cubicBezTo>
                    <a:cubicBezTo>
                      <a:pt x="534" y="1961"/>
                      <a:pt x="534" y="1961"/>
                      <a:pt x="538" y="1978"/>
                    </a:cubicBezTo>
                    <a:cubicBezTo>
                      <a:pt x="542" y="1995"/>
                      <a:pt x="511" y="2020"/>
                      <a:pt x="511" y="2020"/>
                    </a:cubicBezTo>
                    <a:cubicBezTo>
                      <a:pt x="511" y="2020"/>
                      <a:pt x="507" y="2011"/>
                      <a:pt x="494" y="2010"/>
                    </a:cubicBezTo>
                    <a:cubicBezTo>
                      <a:pt x="481" y="2009"/>
                      <a:pt x="456" y="2055"/>
                      <a:pt x="456" y="2055"/>
                    </a:cubicBezTo>
                    <a:cubicBezTo>
                      <a:pt x="456" y="2055"/>
                      <a:pt x="468" y="2060"/>
                      <a:pt x="453" y="2065"/>
                    </a:cubicBezTo>
                    <a:cubicBezTo>
                      <a:pt x="433" y="2066"/>
                      <a:pt x="399" y="2102"/>
                      <a:pt x="381" y="2123"/>
                    </a:cubicBezTo>
                    <a:cubicBezTo>
                      <a:pt x="351" y="2122"/>
                      <a:pt x="328" y="2157"/>
                      <a:pt x="325" y="2158"/>
                    </a:cubicBezTo>
                    <a:cubicBezTo>
                      <a:pt x="322" y="2159"/>
                      <a:pt x="344" y="2167"/>
                      <a:pt x="344" y="2167"/>
                    </a:cubicBezTo>
                    <a:cubicBezTo>
                      <a:pt x="358" y="2150"/>
                      <a:pt x="358" y="2150"/>
                      <a:pt x="358" y="2150"/>
                    </a:cubicBezTo>
                    <a:cubicBezTo>
                      <a:pt x="397" y="2154"/>
                      <a:pt x="397" y="2154"/>
                      <a:pt x="397" y="2154"/>
                    </a:cubicBezTo>
                    <a:cubicBezTo>
                      <a:pt x="420" y="2142"/>
                      <a:pt x="420" y="2142"/>
                      <a:pt x="420" y="2142"/>
                    </a:cubicBezTo>
                    <a:cubicBezTo>
                      <a:pt x="420" y="2142"/>
                      <a:pt x="426" y="2147"/>
                      <a:pt x="431" y="2147"/>
                    </a:cubicBezTo>
                    <a:cubicBezTo>
                      <a:pt x="436" y="2147"/>
                      <a:pt x="439" y="2120"/>
                      <a:pt x="439" y="2120"/>
                    </a:cubicBezTo>
                    <a:cubicBezTo>
                      <a:pt x="474" y="2117"/>
                      <a:pt x="474" y="2117"/>
                      <a:pt x="474" y="2117"/>
                    </a:cubicBezTo>
                    <a:cubicBezTo>
                      <a:pt x="506" y="2095"/>
                      <a:pt x="506" y="2095"/>
                      <a:pt x="506" y="2095"/>
                    </a:cubicBezTo>
                    <a:cubicBezTo>
                      <a:pt x="506" y="2095"/>
                      <a:pt x="498" y="2074"/>
                      <a:pt x="505" y="2074"/>
                    </a:cubicBezTo>
                    <a:cubicBezTo>
                      <a:pt x="512" y="2074"/>
                      <a:pt x="509" y="2091"/>
                      <a:pt x="509" y="2091"/>
                    </a:cubicBezTo>
                    <a:cubicBezTo>
                      <a:pt x="516" y="2105"/>
                      <a:pt x="516" y="2105"/>
                      <a:pt x="516" y="2105"/>
                    </a:cubicBezTo>
                    <a:cubicBezTo>
                      <a:pt x="516" y="2126"/>
                      <a:pt x="516" y="2126"/>
                      <a:pt x="516" y="2126"/>
                    </a:cubicBezTo>
                    <a:cubicBezTo>
                      <a:pt x="534" y="2107"/>
                      <a:pt x="534" y="2107"/>
                      <a:pt x="534" y="2107"/>
                    </a:cubicBezTo>
                    <a:cubicBezTo>
                      <a:pt x="534" y="2107"/>
                      <a:pt x="551" y="2123"/>
                      <a:pt x="572" y="2124"/>
                    </a:cubicBezTo>
                    <a:cubicBezTo>
                      <a:pt x="593" y="2125"/>
                      <a:pt x="625" y="2100"/>
                      <a:pt x="628" y="2105"/>
                    </a:cubicBezTo>
                    <a:cubicBezTo>
                      <a:pt x="631" y="2110"/>
                      <a:pt x="597" y="2124"/>
                      <a:pt x="603" y="2137"/>
                    </a:cubicBezTo>
                    <a:cubicBezTo>
                      <a:pt x="609" y="2150"/>
                      <a:pt x="644" y="2114"/>
                      <a:pt x="644" y="2114"/>
                    </a:cubicBezTo>
                    <a:cubicBezTo>
                      <a:pt x="644" y="2114"/>
                      <a:pt x="661" y="2114"/>
                      <a:pt x="685" y="2115"/>
                    </a:cubicBezTo>
                    <a:cubicBezTo>
                      <a:pt x="709" y="2116"/>
                      <a:pt x="722" y="2081"/>
                      <a:pt x="722" y="2081"/>
                    </a:cubicBezTo>
                    <a:cubicBezTo>
                      <a:pt x="741" y="2051"/>
                      <a:pt x="741" y="2051"/>
                      <a:pt x="741" y="2051"/>
                    </a:cubicBezTo>
                    <a:cubicBezTo>
                      <a:pt x="754" y="2053"/>
                      <a:pt x="754" y="2053"/>
                      <a:pt x="754" y="2053"/>
                    </a:cubicBezTo>
                    <a:cubicBezTo>
                      <a:pt x="757" y="2044"/>
                      <a:pt x="757" y="2044"/>
                      <a:pt x="757" y="2044"/>
                    </a:cubicBezTo>
                    <a:cubicBezTo>
                      <a:pt x="757" y="2044"/>
                      <a:pt x="743" y="2038"/>
                      <a:pt x="743" y="2029"/>
                    </a:cubicBezTo>
                    <a:cubicBezTo>
                      <a:pt x="743" y="2020"/>
                      <a:pt x="752" y="2007"/>
                      <a:pt x="757" y="2007"/>
                    </a:cubicBezTo>
                    <a:cubicBezTo>
                      <a:pt x="762" y="2007"/>
                      <a:pt x="781" y="2026"/>
                      <a:pt x="787" y="2026"/>
                    </a:cubicBezTo>
                    <a:cubicBezTo>
                      <a:pt x="793" y="2026"/>
                      <a:pt x="775" y="2048"/>
                      <a:pt x="775" y="2048"/>
                    </a:cubicBezTo>
                    <a:cubicBezTo>
                      <a:pt x="767" y="2045"/>
                      <a:pt x="767" y="2045"/>
                      <a:pt x="767" y="2045"/>
                    </a:cubicBezTo>
                    <a:cubicBezTo>
                      <a:pt x="767" y="2045"/>
                      <a:pt x="772" y="2068"/>
                      <a:pt x="784" y="2073"/>
                    </a:cubicBezTo>
                    <a:cubicBezTo>
                      <a:pt x="796" y="2078"/>
                      <a:pt x="818" y="2057"/>
                      <a:pt x="818" y="2057"/>
                    </a:cubicBezTo>
                    <a:cubicBezTo>
                      <a:pt x="850" y="2086"/>
                      <a:pt x="850" y="2086"/>
                      <a:pt x="850" y="2086"/>
                    </a:cubicBezTo>
                    <a:cubicBezTo>
                      <a:pt x="775" y="2087"/>
                      <a:pt x="775" y="2087"/>
                      <a:pt x="775" y="2087"/>
                    </a:cubicBezTo>
                    <a:cubicBezTo>
                      <a:pt x="775" y="2087"/>
                      <a:pt x="761" y="2112"/>
                      <a:pt x="746" y="2112"/>
                    </a:cubicBezTo>
                    <a:cubicBezTo>
                      <a:pt x="731" y="2112"/>
                      <a:pt x="718" y="2108"/>
                      <a:pt x="718" y="2108"/>
                    </a:cubicBezTo>
                    <a:cubicBezTo>
                      <a:pt x="720" y="2119"/>
                      <a:pt x="720" y="2119"/>
                      <a:pt x="720" y="2119"/>
                    </a:cubicBezTo>
                    <a:cubicBezTo>
                      <a:pt x="705" y="2118"/>
                      <a:pt x="705" y="2118"/>
                      <a:pt x="705" y="2118"/>
                    </a:cubicBezTo>
                    <a:cubicBezTo>
                      <a:pt x="708" y="2118"/>
                      <a:pt x="720" y="2120"/>
                      <a:pt x="688" y="2126"/>
                    </a:cubicBezTo>
                    <a:cubicBezTo>
                      <a:pt x="652" y="2127"/>
                      <a:pt x="631" y="2156"/>
                      <a:pt x="608" y="2155"/>
                    </a:cubicBezTo>
                    <a:cubicBezTo>
                      <a:pt x="585" y="2154"/>
                      <a:pt x="583" y="2139"/>
                      <a:pt x="583" y="2139"/>
                    </a:cubicBezTo>
                    <a:cubicBezTo>
                      <a:pt x="559" y="2139"/>
                      <a:pt x="559" y="2139"/>
                      <a:pt x="559" y="2139"/>
                    </a:cubicBezTo>
                    <a:cubicBezTo>
                      <a:pt x="538" y="2150"/>
                      <a:pt x="538" y="2150"/>
                      <a:pt x="538" y="2150"/>
                    </a:cubicBezTo>
                    <a:cubicBezTo>
                      <a:pt x="524" y="2143"/>
                      <a:pt x="524" y="2143"/>
                      <a:pt x="524" y="2143"/>
                    </a:cubicBezTo>
                    <a:cubicBezTo>
                      <a:pt x="524" y="2143"/>
                      <a:pt x="524" y="2150"/>
                      <a:pt x="489" y="2150"/>
                    </a:cubicBezTo>
                    <a:cubicBezTo>
                      <a:pt x="455" y="2105"/>
                      <a:pt x="438" y="2213"/>
                      <a:pt x="438" y="2213"/>
                    </a:cubicBezTo>
                    <a:cubicBezTo>
                      <a:pt x="438" y="2213"/>
                      <a:pt x="419" y="2227"/>
                      <a:pt x="391" y="2248"/>
                    </a:cubicBezTo>
                    <a:cubicBezTo>
                      <a:pt x="363" y="2269"/>
                      <a:pt x="320" y="2249"/>
                      <a:pt x="320" y="2267"/>
                    </a:cubicBezTo>
                    <a:cubicBezTo>
                      <a:pt x="320" y="2285"/>
                      <a:pt x="327" y="2283"/>
                      <a:pt x="369" y="2295"/>
                    </a:cubicBezTo>
                    <a:cubicBezTo>
                      <a:pt x="370" y="2369"/>
                      <a:pt x="346" y="2354"/>
                      <a:pt x="346" y="2354"/>
                    </a:cubicBezTo>
                    <a:cubicBezTo>
                      <a:pt x="351" y="2378"/>
                      <a:pt x="351" y="2378"/>
                      <a:pt x="351" y="2378"/>
                    </a:cubicBezTo>
                    <a:cubicBezTo>
                      <a:pt x="358" y="2371"/>
                      <a:pt x="358" y="2371"/>
                      <a:pt x="358" y="2371"/>
                    </a:cubicBezTo>
                    <a:cubicBezTo>
                      <a:pt x="358" y="2371"/>
                      <a:pt x="357" y="2376"/>
                      <a:pt x="370" y="2379"/>
                    </a:cubicBezTo>
                    <a:cubicBezTo>
                      <a:pt x="388" y="2377"/>
                      <a:pt x="411" y="2397"/>
                      <a:pt x="400" y="2398"/>
                    </a:cubicBezTo>
                    <a:cubicBezTo>
                      <a:pt x="389" y="2399"/>
                      <a:pt x="376" y="2391"/>
                      <a:pt x="367" y="2391"/>
                    </a:cubicBezTo>
                    <a:cubicBezTo>
                      <a:pt x="358" y="2391"/>
                      <a:pt x="360" y="2411"/>
                      <a:pt x="331" y="2411"/>
                    </a:cubicBezTo>
                    <a:cubicBezTo>
                      <a:pt x="302" y="2411"/>
                      <a:pt x="276" y="2380"/>
                      <a:pt x="282" y="2376"/>
                    </a:cubicBezTo>
                    <a:cubicBezTo>
                      <a:pt x="288" y="2372"/>
                      <a:pt x="291" y="2346"/>
                      <a:pt x="291" y="2346"/>
                    </a:cubicBezTo>
                    <a:cubicBezTo>
                      <a:pt x="285" y="2351"/>
                      <a:pt x="285" y="2351"/>
                      <a:pt x="285" y="2351"/>
                    </a:cubicBezTo>
                    <a:cubicBezTo>
                      <a:pt x="275" y="2347"/>
                      <a:pt x="275" y="2347"/>
                      <a:pt x="275" y="2347"/>
                    </a:cubicBezTo>
                    <a:cubicBezTo>
                      <a:pt x="265" y="2348"/>
                      <a:pt x="265" y="2348"/>
                      <a:pt x="265" y="2348"/>
                    </a:cubicBezTo>
                    <a:cubicBezTo>
                      <a:pt x="277" y="2367"/>
                      <a:pt x="277" y="2367"/>
                      <a:pt x="277" y="2367"/>
                    </a:cubicBezTo>
                    <a:cubicBezTo>
                      <a:pt x="257" y="2392"/>
                      <a:pt x="257" y="2392"/>
                      <a:pt x="257" y="2392"/>
                    </a:cubicBezTo>
                    <a:cubicBezTo>
                      <a:pt x="235" y="2395"/>
                      <a:pt x="235" y="2395"/>
                      <a:pt x="235" y="2395"/>
                    </a:cubicBezTo>
                    <a:cubicBezTo>
                      <a:pt x="235" y="2395"/>
                      <a:pt x="215" y="2401"/>
                      <a:pt x="218" y="2396"/>
                    </a:cubicBezTo>
                    <a:cubicBezTo>
                      <a:pt x="221" y="2391"/>
                      <a:pt x="217" y="2374"/>
                      <a:pt x="217" y="2360"/>
                    </a:cubicBezTo>
                    <a:cubicBezTo>
                      <a:pt x="217" y="2346"/>
                      <a:pt x="196" y="2373"/>
                      <a:pt x="196" y="2373"/>
                    </a:cubicBezTo>
                    <a:cubicBezTo>
                      <a:pt x="179" y="2372"/>
                      <a:pt x="179" y="2372"/>
                      <a:pt x="179" y="2372"/>
                    </a:cubicBezTo>
                    <a:cubicBezTo>
                      <a:pt x="179" y="2372"/>
                      <a:pt x="166" y="2389"/>
                      <a:pt x="151" y="2398"/>
                    </a:cubicBezTo>
                    <a:cubicBezTo>
                      <a:pt x="136" y="2407"/>
                      <a:pt x="124" y="2400"/>
                      <a:pt x="124" y="2400"/>
                    </a:cubicBezTo>
                    <a:cubicBezTo>
                      <a:pt x="113" y="2419"/>
                      <a:pt x="113" y="2419"/>
                      <a:pt x="113" y="2419"/>
                    </a:cubicBezTo>
                    <a:cubicBezTo>
                      <a:pt x="125" y="2421"/>
                      <a:pt x="125" y="2421"/>
                      <a:pt x="125" y="2421"/>
                    </a:cubicBezTo>
                    <a:cubicBezTo>
                      <a:pt x="125" y="2421"/>
                      <a:pt x="117" y="2430"/>
                      <a:pt x="118" y="2435"/>
                    </a:cubicBezTo>
                    <a:cubicBezTo>
                      <a:pt x="119" y="2440"/>
                      <a:pt x="119" y="2445"/>
                      <a:pt x="120" y="2450"/>
                    </a:cubicBezTo>
                    <a:cubicBezTo>
                      <a:pt x="121" y="2455"/>
                      <a:pt x="104" y="2451"/>
                      <a:pt x="104" y="2451"/>
                    </a:cubicBezTo>
                    <a:cubicBezTo>
                      <a:pt x="101" y="2426"/>
                      <a:pt x="101" y="2426"/>
                      <a:pt x="101" y="2426"/>
                    </a:cubicBezTo>
                    <a:cubicBezTo>
                      <a:pt x="74" y="2445"/>
                      <a:pt x="74" y="2445"/>
                      <a:pt x="74" y="2445"/>
                    </a:cubicBezTo>
                    <a:cubicBezTo>
                      <a:pt x="82" y="2457"/>
                      <a:pt x="82" y="2457"/>
                      <a:pt x="82" y="2457"/>
                    </a:cubicBezTo>
                    <a:cubicBezTo>
                      <a:pt x="73" y="2470"/>
                      <a:pt x="73" y="2470"/>
                      <a:pt x="73" y="2470"/>
                    </a:cubicBezTo>
                    <a:cubicBezTo>
                      <a:pt x="76" y="2492"/>
                      <a:pt x="76" y="2492"/>
                      <a:pt x="76" y="2492"/>
                    </a:cubicBezTo>
                    <a:cubicBezTo>
                      <a:pt x="76" y="2492"/>
                      <a:pt x="68" y="2495"/>
                      <a:pt x="68" y="2501"/>
                    </a:cubicBezTo>
                    <a:cubicBezTo>
                      <a:pt x="68" y="2507"/>
                      <a:pt x="73" y="2510"/>
                      <a:pt x="86" y="2520"/>
                    </a:cubicBezTo>
                    <a:cubicBezTo>
                      <a:pt x="98" y="2502"/>
                      <a:pt x="131" y="2507"/>
                      <a:pt x="131" y="2507"/>
                    </a:cubicBezTo>
                    <a:cubicBezTo>
                      <a:pt x="130" y="2498"/>
                      <a:pt x="130" y="2498"/>
                      <a:pt x="130" y="2498"/>
                    </a:cubicBezTo>
                    <a:cubicBezTo>
                      <a:pt x="119" y="2497"/>
                      <a:pt x="119" y="2497"/>
                      <a:pt x="119" y="2497"/>
                    </a:cubicBezTo>
                    <a:cubicBezTo>
                      <a:pt x="119" y="2488"/>
                      <a:pt x="119" y="2488"/>
                      <a:pt x="119" y="2488"/>
                    </a:cubicBezTo>
                    <a:cubicBezTo>
                      <a:pt x="131" y="2488"/>
                      <a:pt x="131" y="2488"/>
                      <a:pt x="131" y="2488"/>
                    </a:cubicBezTo>
                    <a:cubicBezTo>
                      <a:pt x="145" y="2507"/>
                      <a:pt x="145" y="2507"/>
                      <a:pt x="145" y="2507"/>
                    </a:cubicBezTo>
                    <a:cubicBezTo>
                      <a:pt x="168" y="2505"/>
                      <a:pt x="168" y="2505"/>
                      <a:pt x="168" y="2505"/>
                    </a:cubicBezTo>
                    <a:cubicBezTo>
                      <a:pt x="168" y="2492"/>
                      <a:pt x="168" y="2492"/>
                      <a:pt x="168" y="2492"/>
                    </a:cubicBezTo>
                    <a:cubicBezTo>
                      <a:pt x="156" y="2490"/>
                      <a:pt x="156" y="2490"/>
                      <a:pt x="156" y="2490"/>
                    </a:cubicBezTo>
                    <a:cubicBezTo>
                      <a:pt x="152" y="2483"/>
                      <a:pt x="152" y="2483"/>
                      <a:pt x="152" y="2483"/>
                    </a:cubicBezTo>
                    <a:cubicBezTo>
                      <a:pt x="162" y="2483"/>
                      <a:pt x="162" y="2483"/>
                      <a:pt x="162" y="2483"/>
                    </a:cubicBezTo>
                    <a:cubicBezTo>
                      <a:pt x="162" y="2483"/>
                      <a:pt x="174" y="2496"/>
                      <a:pt x="186" y="2496"/>
                    </a:cubicBezTo>
                    <a:cubicBezTo>
                      <a:pt x="198" y="2496"/>
                      <a:pt x="199" y="2508"/>
                      <a:pt x="199" y="2508"/>
                    </a:cubicBezTo>
                    <a:cubicBezTo>
                      <a:pt x="217" y="2498"/>
                      <a:pt x="217" y="2498"/>
                      <a:pt x="217" y="2498"/>
                    </a:cubicBezTo>
                    <a:cubicBezTo>
                      <a:pt x="217" y="2498"/>
                      <a:pt x="218" y="2506"/>
                      <a:pt x="226" y="2506"/>
                    </a:cubicBezTo>
                    <a:cubicBezTo>
                      <a:pt x="234" y="2506"/>
                      <a:pt x="264" y="2485"/>
                      <a:pt x="264" y="2485"/>
                    </a:cubicBezTo>
                    <a:cubicBezTo>
                      <a:pt x="264" y="2485"/>
                      <a:pt x="272" y="2481"/>
                      <a:pt x="298" y="2490"/>
                    </a:cubicBezTo>
                    <a:cubicBezTo>
                      <a:pt x="298" y="2504"/>
                      <a:pt x="316" y="2513"/>
                      <a:pt x="317" y="2507"/>
                    </a:cubicBezTo>
                    <a:cubicBezTo>
                      <a:pt x="318" y="2501"/>
                      <a:pt x="307" y="2481"/>
                      <a:pt x="303" y="2481"/>
                    </a:cubicBezTo>
                    <a:cubicBezTo>
                      <a:pt x="306" y="2481"/>
                      <a:pt x="326" y="2481"/>
                      <a:pt x="326" y="2481"/>
                    </a:cubicBezTo>
                    <a:cubicBezTo>
                      <a:pt x="325" y="2505"/>
                      <a:pt x="325" y="2505"/>
                      <a:pt x="325" y="2505"/>
                    </a:cubicBezTo>
                    <a:cubicBezTo>
                      <a:pt x="325" y="2505"/>
                      <a:pt x="307" y="2542"/>
                      <a:pt x="303" y="2543"/>
                    </a:cubicBezTo>
                    <a:cubicBezTo>
                      <a:pt x="299" y="2544"/>
                      <a:pt x="309" y="2523"/>
                      <a:pt x="303" y="2523"/>
                    </a:cubicBezTo>
                    <a:cubicBezTo>
                      <a:pt x="297" y="2523"/>
                      <a:pt x="289" y="2548"/>
                      <a:pt x="289" y="2548"/>
                    </a:cubicBezTo>
                    <a:cubicBezTo>
                      <a:pt x="289" y="2548"/>
                      <a:pt x="298" y="2548"/>
                      <a:pt x="283" y="2558"/>
                    </a:cubicBezTo>
                    <a:cubicBezTo>
                      <a:pt x="257" y="2558"/>
                      <a:pt x="229" y="2572"/>
                      <a:pt x="229" y="2572"/>
                    </a:cubicBezTo>
                    <a:cubicBezTo>
                      <a:pt x="225" y="2562"/>
                      <a:pt x="225" y="2562"/>
                      <a:pt x="225" y="2562"/>
                    </a:cubicBezTo>
                    <a:cubicBezTo>
                      <a:pt x="182" y="2597"/>
                      <a:pt x="182" y="2597"/>
                      <a:pt x="182" y="2597"/>
                    </a:cubicBezTo>
                    <a:cubicBezTo>
                      <a:pt x="170" y="2591"/>
                      <a:pt x="170" y="2591"/>
                      <a:pt x="170" y="2591"/>
                    </a:cubicBezTo>
                    <a:cubicBezTo>
                      <a:pt x="170" y="2591"/>
                      <a:pt x="161" y="2603"/>
                      <a:pt x="149" y="2616"/>
                    </a:cubicBezTo>
                    <a:cubicBezTo>
                      <a:pt x="137" y="2616"/>
                      <a:pt x="137" y="2627"/>
                      <a:pt x="137" y="2627"/>
                    </a:cubicBezTo>
                    <a:cubicBezTo>
                      <a:pt x="145" y="2637"/>
                      <a:pt x="145" y="2637"/>
                      <a:pt x="145" y="2637"/>
                    </a:cubicBezTo>
                    <a:cubicBezTo>
                      <a:pt x="122" y="2637"/>
                      <a:pt x="122" y="2637"/>
                      <a:pt x="122" y="2637"/>
                    </a:cubicBezTo>
                    <a:cubicBezTo>
                      <a:pt x="120" y="2649"/>
                      <a:pt x="120" y="2649"/>
                      <a:pt x="120" y="2649"/>
                    </a:cubicBezTo>
                    <a:cubicBezTo>
                      <a:pt x="96" y="2652"/>
                      <a:pt x="96" y="2652"/>
                      <a:pt x="96" y="2652"/>
                    </a:cubicBezTo>
                    <a:cubicBezTo>
                      <a:pt x="86" y="2682"/>
                      <a:pt x="86" y="2682"/>
                      <a:pt x="86" y="2682"/>
                    </a:cubicBezTo>
                    <a:cubicBezTo>
                      <a:pt x="93" y="2677"/>
                      <a:pt x="93" y="2677"/>
                      <a:pt x="93" y="2677"/>
                    </a:cubicBezTo>
                    <a:cubicBezTo>
                      <a:pt x="93" y="2677"/>
                      <a:pt x="103" y="2683"/>
                      <a:pt x="103" y="2695"/>
                    </a:cubicBezTo>
                    <a:cubicBezTo>
                      <a:pt x="103" y="2707"/>
                      <a:pt x="94" y="2718"/>
                      <a:pt x="94" y="2718"/>
                    </a:cubicBezTo>
                    <a:cubicBezTo>
                      <a:pt x="101" y="2713"/>
                      <a:pt x="101" y="2713"/>
                      <a:pt x="101" y="2713"/>
                    </a:cubicBezTo>
                    <a:cubicBezTo>
                      <a:pt x="123" y="2713"/>
                      <a:pt x="123" y="2713"/>
                      <a:pt x="123" y="2713"/>
                    </a:cubicBezTo>
                    <a:cubicBezTo>
                      <a:pt x="130" y="2737"/>
                      <a:pt x="130" y="2737"/>
                      <a:pt x="130" y="2737"/>
                    </a:cubicBezTo>
                    <a:cubicBezTo>
                      <a:pt x="116" y="2742"/>
                      <a:pt x="116" y="2742"/>
                      <a:pt x="116" y="2742"/>
                    </a:cubicBezTo>
                    <a:cubicBezTo>
                      <a:pt x="125" y="2761"/>
                      <a:pt x="125" y="2761"/>
                      <a:pt x="125" y="2761"/>
                    </a:cubicBezTo>
                    <a:cubicBezTo>
                      <a:pt x="125" y="2761"/>
                      <a:pt x="136" y="2758"/>
                      <a:pt x="141" y="2758"/>
                    </a:cubicBezTo>
                    <a:cubicBezTo>
                      <a:pt x="146" y="2758"/>
                      <a:pt x="149" y="2743"/>
                      <a:pt x="149" y="2743"/>
                    </a:cubicBezTo>
                    <a:cubicBezTo>
                      <a:pt x="158" y="2742"/>
                      <a:pt x="158" y="2742"/>
                      <a:pt x="158" y="2742"/>
                    </a:cubicBezTo>
                    <a:cubicBezTo>
                      <a:pt x="158" y="2742"/>
                      <a:pt x="166" y="2713"/>
                      <a:pt x="177" y="2713"/>
                    </a:cubicBezTo>
                    <a:cubicBezTo>
                      <a:pt x="188" y="2713"/>
                      <a:pt x="200" y="2725"/>
                      <a:pt x="200" y="2744"/>
                    </a:cubicBezTo>
                    <a:cubicBezTo>
                      <a:pt x="200" y="2756"/>
                      <a:pt x="192" y="2761"/>
                      <a:pt x="185" y="2764"/>
                    </a:cubicBezTo>
                    <a:cubicBezTo>
                      <a:pt x="186" y="2764"/>
                      <a:pt x="186" y="2764"/>
                      <a:pt x="187" y="2764"/>
                    </a:cubicBezTo>
                    <a:cubicBezTo>
                      <a:pt x="188" y="2786"/>
                      <a:pt x="216" y="2779"/>
                      <a:pt x="216" y="2779"/>
                    </a:cubicBezTo>
                    <a:cubicBezTo>
                      <a:pt x="214" y="2792"/>
                      <a:pt x="214" y="2792"/>
                      <a:pt x="214" y="2792"/>
                    </a:cubicBezTo>
                    <a:cubicBezTo>
                      <a:pt x="217" y="2798"/>
                      <a:pt x="217" y="2798"/>
                      <a:pt x="217" y="2798"/>
                    </a:cubicBezTo>
                    <a:cubicBezTo>
                      <a:pt x="254" y="2770"/>
                      <a:pt x="254" y="2770"/>
                      <a:pt x="254" y="2770"/>
                    </a:cubicBezTo>
                    <a:cubicBezTo>
                      <a:pt x="254" y="2770"/>
                      <a:pt x="256" y="2773"/>
                      <a:pt x="277" y="2771"/>
                    </a:cubicBezTo>
                    <a:cubicBezTo>
                      <a:pt x="289" y="2761"/>
                      <a:pt x="337" y="2737"/>
                      <a:pt x="337" y="2737"/>
                    </a:cubicBezTo>
                    <a:cubicBezTo>
                      <a:pt x="339" y="2751"/>
                      <a:pt x="339" y="2751"/>
                      <a:pt x="339" y="2751"/>
                    </a:cubicBezTo>
                    <a:cubicBezTo>
                      <a:pt x="360" y="2733"/>
                      <a:pt x="360" y="2733"/>
                      <a:pt x="360" y="2733"/>
                    </a:cubicBezTo>
                    <a:cubicBezTo>
                      <a:pt x="360" y="2733"/>
                      <a:pt x="360" y="2736"/>
                      <a:pt x="365" y="2736"/>
                    </a:cubicBezTo>
                    <a:cubicBezTo>
                      <a:pt x="374" y="2717"/>
                      <a:pt x="412" y="2714"/>
                      <a:pt x="415" y="2707"/>
                    </a:cubicBezTo>
                    <a:cubicBezTo>
                      <a:pt x="418" y="2700"/>
                      <a:pt x="453" y="2703"/>
                      <a:pt x="453" y="2703"/>
                    </a:cubicBezTo>
                    <a:cubicBezTo>
                      <a:pt x="453" y="2703"/>
                      <a:pt x="454" y="2710"/>
                      <a:pt x="453" y="2717"/>
                    </a:cubicBezTo>
                    <a:cubicBezTo>
                      <a:pt x="453" y="2717"/>
                      <a:pt x="453" y="2717"/>
                      <a:pt x="437" y="2717"/>
                    </a:cubicBezTo>
                    <a:cubicBezTo>
                      <a:pt x="421" y="2717"/>
                      <a:pt x="397" y="2724"/>
                      <a:pt x="390" y="2733"/>
                    </a:cubicBezTo>
                    <a:cubicBezTo>
                      <a:pt x="383" y="2742"/>
                      <a:pt x="359" y="2760"/>
                      <a:pt x="359" y="2760"/>
                    </a:cubicBezTo>
                    <a:cubicBezTo>
                      <a:pt x="361" y="2777"/>
                      <a:pt x="361" y="2777"/>
                      <a:pt x="361" y="2777"/>
                    </a:cubicBezTo>
                    <a:cubicBezTo>
                      <a:pt x="354" y="2765"/>
                      <a:pt x="354" y="2765"/>
                      <a:pt x="354" y="2765"/>
                    </a:cubicBezTo>
                    <a:cubicBezTo>
                      <a:pt x="338" y="2785"/>
                      <a:pt x="338" y="2785"/>
                      <a:pt x="338" y="2785"/>
                    </a:cubicBezTo>
                    <a:cubicBezTo>
                      <a:pt x="330" y="2778"/>
                      <a:pt x="330" y="2778"/>
                      <a:pt x="330" y="2778"/>
                    </a:cubicBezTo>
                    <a:cubicBezTo>
                      <a:pt x="316" y="2786"/>
                      <a:pt x="316" y="2786"/>
                      <a:pt x="316" y="2786"/>
                    </a:cubicBezTo>
                    <a:cubicBezTo>
                      <a:pt x="269" y="2814"/>
                      <a:pt x="269" y="2814"/>
                      <a:pt x="269" y="2814"/>
                    </a:cubicBezTo>
                    <a:cubicBezTo>
                      <a:pt x="295" y="2822"/>
                      <a:pt x="295" y="2822"/>
                      <a:pt x="295" y="2822"/>
                    </a:cubicBezTo>
                    <a:cubicBezTo>
                      <a:pt x="295" y="2822"/>
                      <a:pt x="286" y="2839"/>
                      <a:pt x="276" y="2842"/>
                    </a:cubicBezTo>
                    <a:cubicBezTo>
                      <a:pt x="266" y="2845"/>
                      <a:pt x="231" y="2841"/>
                      <a:pt x="231" y="2849"/>
                    </a:cubicBezTo>
                    <a:cubicBezTo>
                      <a:pt x="231" y="2857"/>
                      <a:pt x="252" y="2867"/>
                      <a:pt x="252" y="2867"/>
                    </a:cubicBezTo>
                    <a:cubicBezTo>
                      <a:pt x="243" y="2885"/>
                      <a:pt x="243" y="2885"/>
                      <a:pt x="243" y="2885"/>
                    </a:cubicBezTo>
                    <a:cubicBezTo>
                      <a:pt x="185" y="2893"/>
                      <a:pt x="185" y="2893"/>
                      <a:pt x="185" y="2893"/>
                    </a:cubicBezTo>
                    <a:cubicBezTo>
                      <a:pt x="185" y="2893"/>
                      <a:pt x="163" y="2916"/>
                      <a:pt x="168" y="2920"/>
                    </a:cubicBezTo>
                    <a:cubicBezTo>
                      <a:pt x="173" y="2924"/>
                      <a:pt x="211" y="2898"/>
                      <a:pt x="211" y="2898"/>
                    </a:cubicBezTo>
                    <a:cubicBezTo>
                      <a:pt x="199" y="2919"/>
                      <a:pt x="199" y="2919"/>
                      <a:pt x="199" y="2919"/>
                    </a:cubicBezTo>
                    <a:cubicBezTo>
                      <a:pt x="219" y="2906"/>
                      <a:pt x="219" y="2906"/>
                      <a:pt x="219" y="2906"/>
                    </a:cubicBezTo>
                    <a:cubicBezTo>
                      <a:pt x="219" y="2906"/>
                      <a:pt x="246" y="2916"/>
                      <a:pt x="258" y="2916"/>
                    </a:cubicBezTo>
                    <a:cubicBezTo>
                      <a:pt x="270" y="2916"/>
                      <a:pt x="283" y="2894"/>
                      <a:pt x="283" y="2894"/>
                    </a:cubicBezTo>
                    <a:cubicBezTo>
                      <a:pt x="283" y="2894"/>
                      <a:pt x="298" y="2898"/>
                      <a:pt x="333" y="2896"/>
                    </a:cubicBezTo>
                    <a:cubicBezTo>
                      <a:pt x="368" y="2894"/>
                      <a:pt x="374" y="2869"/>
                      <a:pt x="374" y="2869"/>
                    </a:cubicBezTo>
                    <a:cubicBezTo>
                      <a:pt x="374" y="2869"/>
                      <a:pt x="355" y="2858"/>
                      <a:pt x="375" y="2858"/>
                    </a:cubicBezTo>
                    <a:cubicBezTo>
                      <a:pt x="395" y="2858"/>
                      <a:pt x="414" y="2843"/>
                      <a:pt x="414" y="2843"/>
                    </a:cubicBezTo>
                    <a:cubicBezTo>
                      <a:pt x="437" y="2851"/>
                      <a:pt x="437" y="2851"/>
                      <a:pt x="437" y="2851"/>
                    </a:cubicBezTo>
                    <a:cubicBezTo>
                      <a:pt x="487" y="2817"/>
                      <a:pt x="487" y="2817"/>
                      <a:pt x="487" y="2817"/>
                    </a:cubicBezTo>
                    <a:cubicBezTo>
                      <a:pt x="487" y="2794"/>
                      <a:pt x="487" y="2794"/>
                      <a:pt x="487" y="2794"/>
                    </a:cubicBezTo>
                    <a:cubicBezTo>
                      <a:pt x="487" y="2794"/>
                      <a:pt x="490" y="2795"/>
                      <a:pt x="495" y="2795"/>
                    </a:cubicBezTo>
                    <a:cubicBezTo>
                      <a:pt x="497" y="2816"/>
                      <a:pt x="514" y="2823"/>
                      <a:pt x="514" y="2823"/>
                    </a:cubicBezTo>
                    <a:cubicBezTo>
                      <a:pt x="486" y="2846"/>
                      <a:pt x="486" y="2846"/>
                      <a:pt x="486" y="2846"/>
                    </a:cubicBezTo>
                    <a:cubicBezTo>
                      <a:pt x="504" y="2852"/>
                      <a:pt x="504" y="2852"/>
                      <a:pt x="504" y="2852"/>
                    </a:cubicBezTo>
                    <a:cubicBezTo>
                      <a:pt x="504" y="2852"/>
                      <a:pt x="494" y="2860"/>
                      <a:pt x="445" y="2883"/>
                    </a:cubicBezTo>
                    <a:cubicBezTo>
                      <a:pt x="395" y="2894"/>
                      <a:pt x="341" y="2955"/>
                      <a:pt x="341" y="2955"/>
                    </a:cubicBezTo>
                    <a:cubicBezTo>
                      <a:pt x="359" y="2954"/>
                      <a:pt x="359" y="2954"/>
                      <a:pt x="359" y="2954"/>
                    </a:cubicBezTo>
                    <a:cubicBezTo>
                      <a:pt x="359" y="2954"/>
                      <a:pt x="383" y="2941"/>
                      <a:pt x="393" y="2943"/>
                    </a:cubicBezTo>
                    <a:cubicBezTo>
                      <a:pt x="402" y="2928"/>
                      <a:pt x="417" y="2924"/>
                      <a:pt x="417" y="2924"/>
                    </a:cubicBezTo>
                    <a:cubicBezTo>
                      <a:pt x="432" y="2920"/>
                      <a:pt x="432" y="2920"/>
                      <a:pt x="432" y="2920"/>
                    </a:cubicBezTo>
                    <a:cubicBezTo>
                      <a:pt x="432" y="2920"/>
                      <a:pt x="466" y="2901"/>
                      <a:pt x="466" y="2910"/>
                    </a:cubicBezTo>
                    <a:cubicBezTo>
                      <a:pt x="459" y="2918"/>
                      <a:pt x="416" y="2958"/>
                      <a:pt x="416" y="2958"/>
                    </a:cubicBezTo>
                    <a:cubicBezTo>
                      <a:pt x="396" y="2964"/>
                      <a:pt x="396" y="2964"/>
                      <a:pt x="396" y="2964"/>
                    </a:cubicBezTo>
                    <a:cubicBezTo>
                      <a:pt x="346" y="2997"/>
                      <a:pt x="346" y="2997"/>
                      <a:pt x="346" y="2997"/>
                    </a:cubicBezTo>
                    <a:cubicBezTo>
                      <a:pt x="351" y="3006"/>
                      <a:pt x="351" y="3006"/>
                      <a:pt x="351" y="3006"/>
                    </a:cubicBezTo>
                    <a:cubicBezTo>
                      <a:pt x="357" y="3029"/>
                      <a:pt x="357" y="3029"/>
                      <a:pt x="357" y="3029"/>
                    </a:cubicBezTo>
                    <a:cubicBezTo>
                      <a:pt x="373" y="3017"/>
                      <a:pt x="373" y="3017"/>
                      <a:pt x="373" y="3017"/>
                    </a:cubicBezTo>
                    <a:cubicBezTo>
                      <a:pt x="373" y="3017"/>
                      <a:pt x="376" y="3029"/>
                      <a:pt x="384" y="3029"/>
                    </a:cubicBezTo>
                    <a:cubicBezTo>
                      <a:pt x="392" y="3029"/>
                      <a:pt x="401" y="3023"/>
                      <a:pt x="408" y="3014"/>
                    </a:cubicBezTo>
                    <a:cubicBezTo>
                      <a:pt x="408" y="2993"/>
                      <a:pt x="420" y="2989"/>
                      <a:pt x="429" y="2995"/>
                    </a:cubicBezTo>
                    <a:cubicBezTo>
                      <a:pt x="429" y="2990"/>
                      <a:pt x="437" y="2977"/>
                      <a:pt x="441" y="2978"/>
                    </a:cubicBezTo>
                    <a:cubicBezTo>
                      <a:pt x="441" y="2999"/>
                      <a:pt x="474" y="3000"/>
                      <a:pt x="474" y="3000"/>
                    </a:cubicBezTo>
                    <a:cubicBezTo>
                      <a:pt x="487" y="2987"/>
                      <a:pt x="487" y="2987"/>
                      <a:pt x="487" y="2987"/>
                    </a:cubicBezTo>
                    <a:cubicBezTo>
                      <a:pt x="483" y="2972"/>
                      <a:pt x="483" y="2972"/>
                      <a:pt x="483" y="2972"/>
                    </a:cubicBezTo>
                    <a:cubicBezTo>
                      <a:pt x="489" y="2968"/>
                      <a:pt x="489" y="2968"/>
                      <a:pt x="489" y="2968"/>
                    </a:cubicBezTo>
                    <a:cubicBezTo>
                      <a:pt x="501" y="2986"/>
                      <a:pt x="501" y="2986"/>
                      <a:pt x="501" y="2986"/>
                    </a:cubicBezTo>
                    <a:cubicBezTo>
                      <a:pt x="508" y="2976"/>
                      <a:pt x="508" y="2976"/>
                      <a:pt x="508" y="2976"/>
                    </a:cubicBezTo>
                    <a:cubicBezTo>
                      <a:pt x="515" y="2981"/>
                      <a:pt x="515" y="2981"/>
                      <a:pt x="515" y="2981"/>
                    </a:cubicBezTo>
                    <a:cubicBezTo>
                      <a:pt x="515" y="2981"/>
                      <a:pt x="550" y="2953"/>
                      <a:pt x="551" y="2961"/>
                    </a:cubicBezTo>
                    <a:cubicBezTo>
                      <a:pt x="552" y="2969"/>
                      <a:pt x="531" y="2980"/>
                      <a:pt x="520" y="2993"/>
                    </a:cubicBezTo>
                    <a:cubicBezTo>
                      <a:pt x="509" y="3006"/>
                      <a:pt x="539" y="2988"/>
                      <a:pt x="539" y="2988"/>
                    </a:cubicBezTo>
                    <a:cubicBezTo>
                      <a:pt x="543" y="2995"/>
                      <a:pt x="543" y="2995"/>
                      <a:pt x="543" y="2995"/>
                    </a:cubicBezTo>
                    <a:cubicBezTo>
                      <a:pt x="543" y="2995"/>
                      <a:pt x="529" y="3009"/>
                      <a:pt x="528" y="3024"/>
                    </a:cubicBezTo>
                    <a:cubicBezTo>
                      <a:pt x="527" y="3039"/>
                      <a:pt x="555" y="3012"/>
                      <a:pt x="555" y="3012"/>
                    </a:cubicBezTo>
                    <a:cubicBezTo>
                      <a:pt x="555" y="3012"/>
                      <a:pt x="567" y="3020"/>
                      <a:pt x="570" y="3019"/>
                    </a:cubicBezTo>
                    <a:cubicBezTo>
                      <a:pt x="573" y="3018"/>
                      <a:pt x="604" y="2990"/>
                      <a:pt x="604" y="2990"/>
                    </a:cubicBezTo>
                    <a:cubicBezTo>
                      <a:pt x="611" y="3006"/>
                      <a:pt x="611" y="3006"/>
                      <a:pt x="611" y="3006"/>
                    </a:cubicBezTo>
                    <a:cubicBezTo>
                      <a:pt x="618" y="3002"/>
                      <a:pt x="618" y="3002"/>
                      <a:pt x="618" y="3002"/>
                    </a:cubicBezTo>
                    <a:cubicBezTo>
                      <a:pt x="618" y="3002"/>
                      <a:pt x="627" y="3008"/>
                      <a:pt x="635" y="3003"/>
                    </a:cubicBezTo>
                    <a:cubicBezTo>
                      <a:pt x="635" y="2996"/>
                      <a:pt x="643" y="2978"/>
                      <a:pt x="654" y="2978"/>
                    </a:cubicBezTo>
                    <a:cubicBezTo>
                      <a:pt x="665" y="2978"/>
                      <a:pt x="684" y="2962"/>
                      <a:pt x="684" y="2962"/>
                    </a:cubicBezTo>
                    <a:cubicBezTo>
                      <a:pt x="686" y="2950"/>
                      <a:pt x="686" y="2950"/>
                      <a:pt x="686" y="2950"/>
                    </a:cubicBezTo>
                    <a:cubicBezTo>
                      <a:pt x="706" y="2957"/>
                      <a:pt x="706" y="2957"/>
                      <a:pt x="706" y="2957"/>
                    </a:cubicBezTo>
                    <a:cubicBezTo>
                      <a:pt x="706" y="2957"/>
                      <a:pt x="737" y="2942"/>
                      <a:pt x="748" y="2950"/>
                    </a:cubicBezTo>
                    <a:cubicBezTo>
                      <a:pt x="759" y="2958"/>
                      <a:pt x="754" y="2973"/>
                      <a:pt x="754" y="2973"/>
                    </a:cubicBezTo>
                    <a:cubicBezTo>
                      <a:pt x="754" y="2973"/>
                      <a:pt x="775" y="2963"/>
                      <a:pt x="786" y="2958"/>
                    </a:cubicBezTo>
                    <a:cubicBezTo>
                      <a:pt x="797" y="2953"/>
                      <a:pt x="778" y="2939"/>
                      <a:pt x="785" y="2940"/>
                    </a:cubicBezTo>
                    <a:cubicBezTo>
                      <a:pt x="792" y="2941"/>
                      <a:pt x="803" y="2920"/>
                      <a:pt x="803" y="2920"/>
                    </a:cubicBezTo>
                    <a:cubicBezTo>
                      <a:pt x="803" y="2920"/>
                      <a:pt x="804" y="2923"/>
                      <a:pt x="810" y="2923"/>
                    </a:cubicBezTo>
                    <a:cubicBezTo>
                      <a:pt x="816" y="2923"/>
                      <a:pt x="838" y="2931"/>
                      <a:pt x="838" y="2931"/>
                    </a:cubicBezTo>
                    <a:cubicBezTo>
                      <a:pt x="846" y="2932"/>
                      <a:pt x="846" y="2932"/>
                      <a:pt x="846" y="2932"/>
                    </a:cubicBezTo>
                    <a:cubicBezTo>
                      <a:pt x="841" y="2941"/>
                      <a:pt x="841" y="2941"/>
                      <a:pt x="841" y="2941"/>
                    </a:cubicBezTo>
                    <a:cubicBezTo>
                      <a:pt x="869" y="2942"/>
                      <a:pt x="869" y="2942"/>
                      <a:pt x="869" y="2942"/>
                    </a:cubicBezTo>
                    <a:cubicBezTo>
                      <a:pt x="876" y="2934"/>
                      <a:pt x="876" y="2934"/>
                      <a:pt x="876" y="2934"/>
                    </a:cubicBezTo>
                    <a:cubicBezTo>
                      <a:pt x="872" y="2923"/>
                      <a:pt x="872" y="2923"/>
                      <a:pt x="872" y="2923"/>
                    </a:cubicBezTo>
                    <a:cubicBezTo>
                      <a:pt x="872" y="2923"/>
                      <a:pt x="883" y="2911"/>
                      <a:pt x="884" y="2907"/>
                    </a:cubicBezTo>
                    <a:cubicBezTo>
                      <a:pt x="878" y="2907"/>
                      <a:pt x="888" y="2876"/>
                      <a:pt x="888" y="2876"/>
                    </a:cubicBezTo>
                    <a:cubicBezTo>
                      <a:pt x="888" y="2876"/>
                      <a:pt x="897" y="2893"/>
                      <a:pt x="905" y="2895"/>
                    </a:cubicBezTo>
                    <a:cubicBezTo>
                      <a:pt x="913" y="2897"/>
                      <a:pt x="922" y="2879"/>
                      <a:pt x="931" y="2886"/>
                    </a:cubicBezTo>
                    <a:cubicBezTo>
                      <a:pt x="940" y="2893"/>
                      <a:pt x="945" y="2918"/>
                      <a:pt x="945" y="2918"/>
                    </a:cubicBezTo>
                    <a:cubicBezTo>
                      <a:pt x="945" y="2918"/>
                      <a:pt x="951" y="2918"/>
                      <a:pt x="952" y="2912"/>
                    </a:cubicBezTo>
                    <a:cubicBezTo>
                      <a:pt x="947" y="2911"/>
                      <a:pt x="953" y="2895"/>
                      <a:pt x="953" y="2895"/>
                    </a:cubicBezTo>
                    <a:cubicBezTo>
                      <a:pt x="948" y="2883"/>
                      <a:pt x="948" y="2883"/>
                      <a:pt x="948" y="2883"/>
                    </a:cubicBezTo>
                    <a:cubicBezTo>
                      <a:pt x="971" y="2854"/>
                      <a:pt x="971" y="2854"/>
                      <a:pt x="971" y="2854"/>
                    </a:cubicBezTo>
                    <a:cubicBezTo>
                      <a:pt x="971" y="2859"/>
                      <a:pt x="971" y="2859"/>
                      <a:pt x="971" y="2859"/>
                    </a:cubicBezTo>
                    <a:cubicBezTo>
                      <a:pt x="1010" y="2838"/>
                      <a:pt x="1010" y="2838"/>
                      <a:pt x="1010" y="2838"/>
                    </a:cubicBezTo>
                    <a:cubicBezTo>
                      <a:pt x="1017" y="2844"/>
                      <a:pt x="1017" y="2844"/>
                      <a:pt x="1017" y="2844"/>
                    </a:cubicBezTo>
                    <a:cubicBezTo>
                      <a:pt x="1020" y="2830"/>
                      <a:pt x="1020" y="2830"/>
                      <a:pt x="1020" y="2830"/>
                    </a:cubicBezTo>
                    <a:cubicBezTo>
                      <a:pt x="1039" y="2829"/>
                      <a:pt x="1039" y="2829"/>
                      <a:pt x="1039" y="2829"/>
                    </a:cubicBezTo>
                    <a:cubicBezTo>
                      <a:pt x="1039" y="2829"/>
                      <a:pt x="1039" y="2816"/>
                      <a:pt x="1046" y="2816"/>
                    </a:cubicBezTo>
                    <a:cubicBezTo>
                      <a:pt x="1053" y="2816"/>
                      <a:pt x="1057" y="2804"/>
                      <a:pt x="1058" y="2783"/>
                    </a:cubicBezTo>
                    <a:cubicBezTo>
                      <a:pt x="1068" y="2768"/>
                      <a:pt x="1076" y="2759"/>
                      <a:pt x="1066" y="2759"/>
                    </a:cubicBezTo>
                    <a:cubicBezTo>
                      <a:pt x="1056" y="2759"/>
                      <a:pt x="1058" y="2743"/>
                      <a:pt x="1061" y="2730"/>
                    </a:cubicBezTo>
                    <a:cubicBezTo>
                      <a:pt x="1078" y="2710"/>
                      <a:pt x="1103" y="2729"/>
                      <a:pt x="1103" y="2729"/>
                    </a:cubicBezTo>
                    <a:cubicBezTo>
                      <a:pt x="1073" y="2745"/>
                      <a:pt x="1073" y="2745"/>
                      <a:pt x="1073" y="2745"/>
                    </a:cubicBezTo>
                    <a:cubicBezTo>
                      <a:pt x="1085" y="2773"/>
                      <a:pt x="1085" y="2773"/>
                      <a:pt x="1085" y="2773"/>
                    </a:cubicBezTo>
                    <a:cubicBezTo>
                      <a:pt x="1111" y="2768"/>
                      <a:pt x="1111" y="2768"/>
                      <a:pt x="1111" y="2768"/>
                    </a:cubicBezTo>
                    <a:cubicBezTo>
                      <a:pt x="1116" y="2784"/>
                      <a:pt x="1116" y="2784"/>
                      <a:pt x="1116" y="2784"/>
                    </a:cubicBezTo>
                    <a:cubicBezTo>
                      <a:pt x="1116" y="2784"/>
                      <a:pt x="1126" y="2781"/>
                      <a:pt x="1141" y="2765"/>
                    </a:cubicBezTo>
                    <a:cubicBezTo>
                      <a:pt x="1163" y="2767"/>
                      <a:pt x="1195" y="2749"/>
                      <a:pt x="1195" y="2749"/>
                    </a:cubicBezTo>
                    <a:cubicBezTo>
                      <a:pt x="1187" y="2736"/>
                      <a:pt x="1187" y="2736"/>
                      <a:pt x="1187" y="2736"/>
                    </a:cubicBezTo>
                    <a:cubicBezTo>
                      <a:pt x="1187" y="2736"/>
                      <a:pt x="1185" y="2733"/>
                      <a:pt x="1210" y="2718"/>
                    </a:cubicBezTo>
                    <a:cubicBezTo>
                      <a:pt x="1241" y="2720"/>
                      <a:pt x="1257" y="2708"/>
                      <a:pt x="1257" y="2708"/>
                    </a:cubicBezTo>
                    <a:cubicBezTo>
                      <a:pt x="1257" y="2708"/>
                      <a:pt x="1257" y="2695"/>
                      <a:pt x="1252" y="2690"/>
                    </a:cubicBezTo>
                    <a:cubicBezTo>
                      <a:pt x="1247" y="2686"/>
                      <a:pt x="1269" y="2661"/>
                      <a:pt x="1272" y="2657"/>
                    </a:cubicBezTo>
                    <a:cubicBezTo>
                      <a:pt x="1273" y="2658"/>
                      <a:pt x="1275" y="2660"/>
                      <a:pt x="1287" y="2666"/>
                    </a:cubicBezTo>
                    <a:cubicBezTo>
                      <a:pt x="1298" y="2656"/>
                      <a:pt x="1305" y="2659"/>
                      <a:pt x="1305" y="2659"/>
                    </a:cubicBezTo>
                    <a:cubicBezTo>
                      <a:pt x="1333" y="2659"/>
                      <a:pt x="1333" y="2659"/>
                      <a:pt x="1333" y="2659"/>
                    </a:cubicBezTo>
                    <a:cubicBezTo>
                      <a:pt x="1330" y="2654"/>
                      <a:pt x="1330" y="2654"/>
                      <a:pt x="1330" y="2654"/>
                    </a:cubicBezTo>
                    <a:cubicBezTo>
                      <a:pt x="1331" y="2654"/>
                      <a:pt x="1335" y="2651"/>
                      <a:pt x="1345" y="2631"/>
                    </a:cubicBezTo>
                    <a:cubicBezTo>
                      <a:pt x="1399" y="2643"/>
                      <a:pt x="1395" y="2614"/>
                      <a:pt x="1395" y="2614"/>
                    </a:cubicBezTo>
                    <a:cubicBezTo>
                      <a:pt x="1397" y="2588"/>
                      <a:pt x="1397" y="2588"/>
                      <a:pt x="1397" y="2588"/>
                    </a:cubicBezTo>
                    <a:cubicBezTo>
                      <a:pt x="1397" y="2588"/>
                      <a:pt x="1408" y="2591"/>
                      <a:pt x="1412" y="2575"/>
                    </a:cubicBezTo>
                    <a:cubicBezTo>
                      <a:pt x="1374" y="2575"/>
                      <a:pt x="1391" y="2548"/>
                      <a:pt x="1391" y="2548"/>
                    </a:cubicBezTo>
                    <a:cubicBezTo>
                      <a:pt x="1391" y="2548"/>
                      <a:pt x="1391" y="2548"/>
                      <a:pt x="1407" y="2558"/>
                    </a:cubicBezTo>
                    <a:cubicBezTo>
                      <a:pt x="1433" y="2512"/>
                      <a:pt x="1541" y="2513"/>
                      <a:pt x="1541" y="2513"/>
                    </a:cubicBezTo>
                    <a:cubicBezTo>
                      <a:pt x="1583" y="2522"/>
                      <a:pt x="1583" y="2522"/>
                      <a:pt x="1583" y="2522"/>
                    </a:cubicBezTo>
                    <a:cubicBezTo>
                      <a:pt x="1604" y="2499"/>
                      <a:pt x="1604" y="2499"/>
                      <a:pt x="1604" y="2499"/>
                    </a:cubicBezTo>
                    <a:cubicBezTo>
                      <a:pt x="1604" y="2499"/>
                      <a:pt x="1612" y="2491"/>
                      <a:pt x="1624" y="2492"/>
                    </a:cubicBezTo>
                    <a:cubicBezTo>
                      <a:pt x="1636" y="2493"/>
                      <a:pt x="1616" y="2504"/>
                      <a:pt x="1616" y="2507"/>
                    </a:cubicBezTo>
                    <a:cubicBezTo>
                      <a:pt x="1616" y="2510"/>
                      <a:pt x="1617" y="2531"/>
                      <a:pt x="1617" y="2531"/>
                    </a:cubicBezTo>
                    <a:cubicBezTo>
                      <a:pt x="1617" y="2531"/>
                      <a:pt x="1643" y="2520"/>
                      <a:pt x="1649" y="2520"/>
                    </a:cubicBezTo>
                    <a:cubicBezTo>
                      <a:pt x="1655" y="2520"/>
                      <a:pt x="1686" y="2484"/>
                      <a:pt x="1686" y="2484"/>
                    </a:cubicBezTo>
                    <a:cubicBezTo>
                      <a:pt x="1677" y="2479"/>
                      <a:pt x="1677" y="2479"/>
                      <a:pt x="1677" y="2479"/>
                    </a:cubicBezTo>
                    <a:cubicBezTo>
                      <a:pt x="1687" y="2439"/>
                      <a:pt x="1687" y="2439"/>
                      <a:pt x="1687" y="2439"/>
                    </a:cubicBezTo>
                    <a:cubicBezTo>
                      <a:pt x="1704" y="2458"/>
                      <a:pt x="1704" y="2458"/>
                      <a:pt x="1704" y="2458"/>
                    </a:cubicBezTo>
                    <a:cubicBezTo>
                      <a:pt x="1704" y="2458"/>
                      <a:pt x="1706" y="2487"/>
                      <a:pt x="1706" y="2501"/>
                    </a:cubicBezTo>
                    <a:cubicBezTo>
                      <a:pt x="1706" y="2515"/>
                      <a:pt x="1689" y="2521"/>
                      <a:pt x="1694" y="2530"/>
                    </a:cubicBezTo>
                    <a:cubicBezTo>
                      <a:pt x="1699" y="2539"/>
                      <a:pt x="1708" y="2510"/>
                      <a:pt x="1708" y="2510"/>
                    </a:cubicBezTo>
                    <a:cubicBezTo>
                      <a:pt x="1736" y="2489"/>
                      <a:pt x="1736" y="2489"/>
                      <a:pt x="1736" y="2489"/>
                    </a:cubicBezTo>
                    <a:cubicBezTo>
                      <a:pt x="1742" y="2495"/>
                      <a:pt x="1742" y="2495"/>
                      <a:pt x="1742" y="2495"/>
                    </a:cubicBezTo>
                    <a:cubicBezTo>
                      <a:pt x="1751" y="2458"/>
                      <a:pt x="1751" y="2458"/>
                      <a:pt x="1751" y="2458"/>
                    </a:cubicBezTo>
                    <a:cubicBezTo>
                      <a:pt x="1751" y="2458"/>
                      <a:pt x="1758" y="2465"/>
                      <a:pt x="1762" y="2466"/>
                    </a:cubicBezTo>
                    <a:cubicBezTo>
                      <a:pt x="1766" y="2467"/>
                      <a:pt x="1768" y="2462"/>
                      <a:pt x="1768" y="2462"/>
                    </a:cubicBezTo>
                    <a:cubicBezTo>
                      <a:pt x="1768" y="2462"/>
                      <a:pt x="1773" y="2468"/>
                      <a:pt x="1816" y="2466"/>
                    </a:cubicBezTo>
                    <a:cubicBezTo>
                      <a:pt x="1855" y="2487"/>
                      <a:pt x="1848" y="2501"/>
                      <a:pt x="1848" y="2501"/>
                    </a:cubicBezTo>
                    <a:cubicBezTo>
                      <a:pt x="1873" y="2482"/>
                      <a:pt x="1873" y="2482"/>
                      <a:pt x="1873" y="2482"/>
                    </a:cubicBezTo>
                    <a:cubicBezTo>
                      <a:pt x="1937" y="2486"/>
                      <a:pt x="1937" y="2486"/>
                      <a:pt x="1937" y="2486"/>
                    </a:cubicBezTo>
                    <a:cubicBezTo>
                      <a:pt x="1937" y="2486"/>
                      <a:pt x="1948" y="2502"/>
                      <a:pt x="1954" y="2499"/>
                    </a:cubicBezTo>
                    <a:cubicBezTo>
                      <a:pt x="1960" y="2496"/>
                      <a:pt x="1964" y="2463"/>
                      <a:pt x="1964" y="2463"/>
                    </a:cubicBezTo>
                    <a:cubicBezTo>
                      <a:pt x="1964" y="2463"/>
                      <a:pt x="1978" y="2439"/>
                      <a:pt x="1968" y="2431"/>
                    </a:cubicBezTo>
                    <a:cubicBezTo>
                      <a:pt x="1930" y="2430"/>
                      <a:pt x="1946" y="2384"/>
                      <a:pt x="1944" y="2381"/>
                    </a:cubicBezTo>
                    <a:cubicBezTo>
                      <a:pt x="1942" y="2378"/>
                      <a:pt x="1947" y="2382"/>
                      <a:pt x="1932" y="2396"/>
                    </a:cubicBezTo>
                    <a:cubicBezTo>
                      <a:pt x="1911" y="2396"/>
                      <a:pt x="1915" y="2367"/>
                      <a:pt x="1917" y="2357"/>
                    </a:cubicBezTo>
                    <a:cubicBezTo>
                      <a:pt x="1919" y="2347"/>
                      <a:pt x="1947" y="2353"/>
                      <a:pt x="1947" y="2353"/>
                    </a:cubicBezTo>
                    <a:cubicBezTo>
                      <a:pt x="1947" y="2353"/>
                      <a:pt x="1951" y="2367"/>
                      <a:pt x="1959" y="2357"/>
                    </a:cubicBezTo>
                    <a:cubicBezTo>
                      <a:pt x="1949" y="2344"/>
                      <a:pt x="1959" y="2309"/>
                      <a:pt x="1959" y="2309"/>
                    </a:cubicBezTo>
                    <a:cubicBezTo>
                      <a:pt x="2026" y="2215"/>
                      <a:pt x="2026" y="2215"/>
                      <a:pt x="2026" y="2215"/>
                    </a:cubicBezTo>
                    <a:cubicBezTo>
                      <a:pt x="2036" y="2191"/>
                      <a:pt x="2036" y="2191"/>
                      <a:pt x="2036" y="2191"/>
                    </a:cubicBezTo>
                    <a:cubicBezTo>
                      <a:pt x="2036" y="2191"/>
                      <a:pt x="2029" y="2195"/>
                      <a:pt x="2026" y="2155"/>
                    </a:cubicBezTo>
                    <a:cubicBezTo>
                      <a:pt x="2008" y="2137"/>
                      <a:pt x="2030" y="2109"/>
                      <a:pt x="2030" y="2109"/>
                    </a:cubicBezTo>
                    <a:cubicBezTo>
                      <a:pt x="2032" y="2088"/>
                      <a:pt x="2032" y="2088"/>
                      <a:pt x="2032" y="2088"/>
                    </a:cubicBezTo>
                    <a:cubicBezTo>
                      <a:pt x="2032" y="2088"/>
                      <a:pt x="2032" y="2102"/>
                      <a:pt x="2060" y="2043"/>
                    </a:cubicBezTo>
                    <a:cubicBezTo>
                      <a:pt x="2064" y="1980"/>
                      <a:pt x="2099" y="1971"/>
                      <a:pt x="2099" y="1971"/>
                    </a:cubicBezTo>
                    <a:cubicBezTo>
                      <a:pt x="2102" y="1938"/>
                      <a:pt x="2102" y="1938"/>
                      <a:pt x="2102" y="1938"/>
                    </a:cubicBezTo>
                    <a:cubicBezTo>
                      <a:pt x="2102" y="1938"/>
                      <a:pt x="2127" y="1888"/>
                      <a:pt x="2127" y="1881"/>
                    </a:cubicBezTo>
                    <a:cubicBezTo>
                      <a:pt x="2127" y="1874"/>
                      <a:pt x="2103" y="1863"/>
                      <a:pt x="2103" y="1863"/>
                    </a:cubicBezTo>
                    <a:close/>
                    <a:moveTo>
                      <a:pt x="935" y="733"/>
                    </a:moveTo>
                    <a:cubicBezTo>
                      <a:pt x="947" y="734"/>
                      <a:pt x="947" y="734"/>
                      <a:pt x="947" y="734"/>
                    </a:cubicBezTo>
                    <a:cubicBezTo>
                      <a:pt x="937" y="725"/>
                      <a:pt x="937" y="725"/>
                      <a:pt x="937" y="725"/>
                    </a:cubicBezTo>
                    <a:lnTo>
                      <a:pt x="935" y="733"/>
                    </a:lnTo>
                    <a:close/>
                  </a:path>
                </a:pathLst>
              </a:custGeom>
              <a:solidFill>
                <a:srgbClr val="C0C0C0"/>
              </a:solidFill>
              <a:ln w="12700" cap="flat" cmpd="sng">
                <a:solidFill>
                  <a:schemeClr val="bg1"/>
                </a:solidFill>
                <a:prstDash val="solid"/>
                <a:round/>
                <a:headEnd type="none" w="med" len="med"/>
                <a:tailEnd type="none" w="med" len="med"/>
              </a:ln>
              <a:effectLst/>
            </p:spPr>
            <p:txBody>
              <a:bodyPr/>
              <a:lstStyle/>
              <a:p>
                <a:endParaRPr lang="en-US"/>
              </a:p>
            </p:txBody>
          </p:sp>
          <p:sp>
            <p:nvSpPr>
              <p:cNvPr id="127" name="Freeform 148" descr="Großbritannien"/>
              <p:cNvSpPr>
                <a:spLocks noEditPoints="1"/>
              </p:cNvSpPr>
              <p:nvPr/>
            </p:nvSpPr>
            <p:spPr bwMode="auto">
              <a:xfrm>
                <a:off x="1849" y="592"/>
                <a:ext cx="1805" cy="3229"/>
              </a:xfrm>
              <a:custGeom>
                <a:avLst/>
                <a:gdLst/>
                <a:ahLst/>
                <a:cxnLst>
                  <a:cxn ang="0">
                    <a:pos x="3312" y="165"/>
                  </a:cxn>
                  <a:cxn ang="0">
                    <a:pos x="2924" y="337"/>
                  </a:cxn>
                  <a:cxn ang="0">
                    <a:pos x="3097" y="645"/>
                  </a:cxn>
                  <a:cxn ang="0">
                    <a:pos x="3061" y="209"/>
                  </a:cxn>
                  <a:cxn ang="0">
                    <a:pos x="3135" y="576"/>
                  </a:cxn>
                  <a:cxn ang="0">
                    <a:pos x="2520" y="1305"/>
                  </a:cxn>
                  <a:cxn ang="0">
                    <a:pos x="2411" y="1583"/>
                  </a:cxn>
                  <a:cxn ang="0">
                    <a:pos x="2493" y="1626"/>
                  </a:cxn>
                  <a:cxn ang="0">
                    <a:pos x="2299" y="1594"/>
                  </a:cxn>
                  <a:cxn ang="0">
                    <a:pos x="789" y="2333"/>
                  </a:cxn>
                  <a:cxn ang="0">
                    <a:pos x="1095" y="1843"/>
                  </a:cxn>
                  <a:cxn ang="0">
                    <a:pos x="672" y="2109"/>
                  </a:cxn>
                  <a:cxn ang="0">
                    <a:pos x="449" y="3019"/>
                  </a:cxn>
                  <a:cxn ang="0">
                    <a:pos x="533" y="2476"/>
                  </a:cxn>
                  <a:cxn ang="0">
                    <a:pos x="671" y="2404"/>
                  </a:cxn>
                  <a:cxn ang="0">
                    <a:pos x="1354" y="4903"/>
                  </a:cxn>
                  <a:cxn ang="0">
                    <a:pos x="1150" y="4393"/>
                  </a:cxn>
                  <a:cxn ang="0">
                    <a:pos x="302" y="4959"/>
                  </a:cxn>
                  <a:cxn ang="0">
                    <a:pos x="1219" y="4945"/>
                  </a:cxn>
                  <a:cxn ang="0">
                    <a:pos x="1741" y="8021"/>
                  </a:cxn>
                  <a:cxn ang="0">
                    <a:pos x="3913" y="5582"/>
                  </a:cxn>
                  <a:cxn ang="0">
                    <a:pos x="3543" y="4818"/>
                  </a:cxn>
                  <a:cxn ang="0">
                    <a:pos x="2914" y="3819"/>
                  </a:cxn>
                  <a:cxn ang="0">
                    <a:pos x="2339" y="3653"/>
                  </a:cxn>
                  <a:cxn ang="0">
                    <a:pos x="2761" y="3117"/>
                  </a:cxn>
                  <a:cxn ang="0">
                    <a:pos x="2223" y="2474"/>
                  </a:cxn>
                  <a:cxn ang="0">
                    <a:pos x="2478" y="1754"/>
                  </a:cxn>
                  <a:cxn ang="0">
                    <a:pos x="1765" y="1816"/>
                  </a:cxn>
                  <a:cxn ang="0">
                    <a:pos x="1429" y="2174"/>
                  </a:cxn>
                  <a:cxn ang="0">
                    <a:pos x="1297" y="2493"/>
                  </a:cxn>
                  <a:cxn ang="0">
                    <a:pos x="1007" y="2490"/>
                  </a:cxn>
                  <a:cxn ang="0">
                    <a:pos x="1079" y="2783"/>
                  </a:cxn>
                  <a:cxn ang="0">
                    <a:pos x="1171" y="3201"/>
                  </a:cxn>
                  <a:cxn ang="0">
                    <a:pos x="1355" y="3533"/>
                  </a:cxn>
                  <a:cxn ang="0">
                    <a:pos x="1399" y="3628"/>
                  </a:cxn>
                  <a:cxn ang="0">
                    <a:pos x="1638" y="3616"/>
                  </a:cxn>
                  <a:cxn ang="0">
                    <a:pos x="1588" y="4557"/>
                  </a:cxn>
                  <a:cxn ang="0">
                    <a:pos x="2264" y="4437"/>
                  </a:cxn>
                  <a:cxn ang="0">
                    <a:pos x="2535" y="5179"/>
                  </a:cxn>
                  <a:cxn ang="0">
                    <a:pos x="1936" y="5645"/>
                  </a:cxn>
                  <a:cxn ang="0">
                    <a:pos x="1890" y="5992"/>
                  </a:cxn>
                  <a:cxn ang="0">
                    <a:pos x="1465" y="6906"/>
                  </a:cxn>
                  <a:cxn ang="0">
                    <a:pos x="1987" y="7037"/>
                  </a:cxn>
                  <a:cxn ang="0">
                    <a:pos x="2481" y="7227"/>
                  </a:cxn>
                  <a:cxn ang="0">
                    <a:pos x="1550" y="7835"/>
                  </a:cxn>
                  <a:cxn ang="0">
                    <a:pos x="1675" y="8014"/>
                  </a:cxn>
                  <a:cxn ang="0">
                    <a:pos x="2770" y="7792"/>
                  </a:cxn>
                  <a:cxn ang="0">
                    <a:pos x="3963" y="7717"/>
                  </a:cxn>
                  <a:cxn ang="0">
                    <a:pos x="4170" y="7107"/>
                  </a:cxn>
                  <a:cxn ang="0">
                    <a:pos x="2037" y="2252"/>
                  </a:cxn>
                  <a:cxn ang="0">
                    <a:pos x="1331" y="2712"/>
                  </a:cxn>
                  <a:cxn ang="0">
                    <a:pos x="1538" y="2268"/>
                  </a:cxn>
                  <a:cxn ang="0">
                    <a:pos x="1983" y="2307"/>
                  </a:cxn>
                  <a:cxn ang="0">
                    <a:pos x="2038" y="6124"/>
                  </a:cxn>
                  <a:cxn ang="0">
                    <a:pos x="4194" y="7203"/>
                  </a:cxn>
                  <a:cxn ang="0">
                    <a:pos x="722" y="3259"/>
                  </a:cxn>
                  <a:cxn ang="0">
                    <a:pos x="1113" y="2970"/>
                  </a:cxn>
                  <a:cxn ang="0">
                    <a:pos x="1905" y="4925"/>
                  </a:cxn>
                  <a:cxn ang="0">
                    <a:pos x="1181" y="3607"/>
                  </a:cxn>
                  <a:cxn ang="0">
                    <a:pos x="1257" y="3630"/>
                  </a:cxn>
                  <a:cxn ang="0">
                    <a:pos x="1147" y="2667"/>
                  </a:cxn>
                  <a:cxn ang="0">
                    <a:pos x="958" y="3401"/>
                  </a:cxn>
                  <a:cxn ang="0">
                    <a:pos x="1268" y="3357"/>
                  </a:cxn>
                </a:cxnLst>
                <a:rect l="0" t="0" r="r" b="b"/>
                <a:pathLst>
                  <a:path w="4672" h="8351">
                    <a:moveTo>
                      <a:pt x="3131" y="247"/>
                    </a:moveTo>
                    <a:cubicBezTo>
                      <a:pt x="3131" y="237"/>
                      <a:pt x="3131" y="237"/>
                      <a:pt x="3131" y="237"/>
                    </a:cubicBezTo>
                    <a:cubicBezTo>
                      <a:pt x="3125" y="238"/>
                      <a:pt x="3125" y="238"/>
                      <a:pt x="3125" y="238"/>
                    </a:cubicBezTo>
                    <a:lnTo>
                      <a:pt x="3131" y="247"/>
                    </a:lnTo>
                    <a:close/>
                    <a:moveTo>
                      <a:pt x="3133" y="193"/>
                    </a:moveTo>
                    <a:cubicBezTo>
                      <a:pt x="3140" y="196"/>
                      <a:pt x="3129" y="203"/>
                      <a:pt x="3129" y="203"/>
                    </a:cubicBezTo>
                    <a:cubicBezTo>
                      <a:pt x="3129" y="203"/>
                      <a:pt x="3135" y="211"/>
                      <a:pt x="3136" y="216"/>
                    </a:cubicBezTo>
                    <a:cubicBezTo>
                      <a:pt x="3137" y="221"/>
                      <a:pt x="3128" y="220"/>
                      <a:pt x="3128" y="220"/>
                    </a:cubicBezTo>
                    <a:cubicBezTo>
                      <a:pt x="3147" y="247"/>
                      <a:pt x="3147" y="247"/>
                      <a:pt x="3147" y="247"/>
                    </a:cubicBezTo>
                    <a:cubicBezTo>
                      <a:pt x="3171" y="249"/>
                      <a:pt x="3171" y="249"/>
                      <a:pt x="3171" y="249"/>
                    </a:cubicBezTo>
                    <a:cubicBezTo>
                      <a:pt x="3171" y="249"/>
                      <a:pt x="3169" y="245"/>
                      <a:pt x="3165" y="245"/>
                    </a:cubicBezTo>
                    <a:cubicBezTo>
                      <a:pt x="3162" y="245"/>
                      <a:pt x="3163" y="235"/>
                      <a:pt x="3167" y="235"/>
                    </a:cubicBezTo>
                    <a:cubicBezTo>
                      <a:pt x="3171" y="235"/>
                      <a:pt x="3183" y="251"/>
                      <a:pt x="3183" y="251"/>
                    </a:cubicBezTo>
                    <a:cubicBezTo>
                      <a:pt x="3183" y="251"/>
                      <a:pt x="3193" y="241"/>
                      <a:pt x="3200" y="237"/>
                    </a:cubicBezTo>
                    <a:cubicBezTo>
                      <a:pt x="3207" y="233"/>
                      <a:pt x="3199" y="209"/>
                      <a:pt x="3199" y="209"/>
                    </a:cubicBezTo>
                    <a:cubicBezTo>
                      <a:pt x="3211" y="189"/>
                      <a:pt x="3211" y="189"/>
                      <a:pt x="3211" y="189"/>
                    </a:cubicBezTo>
                    <a:cubicBezTo>
                      <a:pt x="3201" y="172"/>
                      <a:pt x="3201" y="172"/>
                      <a:pt x="3201" y="172"/>
                    </a:cubicBezTo>
                    <a:cubicBezTo>
                      <a:pt x="3211" y="175"/>
                      <a:pt x="3211" y="175"/>
                      <a:pt x="3211" y="175"/>
                    </a:cubicBezTo>
                    <a:cubicBezTo>
                      <a:pt x="3226" y="161"/>
                      <a:pt x="3226" y="161"/>
                      <a:pt x="3226" y="161"/>
                    </a:cubicBezTo>
                    <a:cubicBezTo>
                      <a:pt x="3217" y="149"/>
                      <a:pt x="3217" y="149"/>
                      <a:pt x="3217" y="149"/>
                    </a:cubicBezTo>
                    <a:cubicBezTo>
                      <a:pt x="3223" y="143"/>
                      <a:pt x="3223" y="143"/>
                      <a:pt x="3223" y="143"/>
                    </a:cubicBezTo>
                    <a:cubicBezTo>
                      <a:pt x="3211" y="128"/>
                      <a:pt x="3211" y="128"/>
                      <a:pt x="3211" y="128"/>
                    </a:cubicBezTo>
                    <a:cubicBezTo>
                      <a:pt x="3217" y="120"/>
                      <a:pt x="3217" y="120"/>
                      <a:pt x="3217" y="120"/>
                    </a:cubicBezTo>
                    <a:cubicBezTo>
                      <a:pt x="3206" y="105"/>
                      <a:pt x="3206" y="105"/>
                      <a:pt x="3206" y="105"/>
                    </a:cubicBezTo>
                    <a:cubicBezTo>
                      <a:pt x="3206" y="105"/>
                      <a:pt x="3211" y="103"/>
                      <a:pt x="3210" y="95"/>
                    </a:cubicBezTo>
                    <a:cubicBezTo>
                      <a:pt x="3209" y="87"/>
                      <a:pt x="3192" y="77"/>
                      <a:pt x="3165" y="79"/>
                    </a:cubicBezTo>
                    <a:cubicBezTo>
                      <a:pt x="3139" y="81"/>
                      <a:pt x="3155" y="132"/>
                      <a:pt x="3155" y="132"/>
                    </a:cubicBezTo>
                    <a:cubicBezTo>
                      <a:pt x="3130" y="131"/>
                      <a:pt x="3122" y="166"/>
                      <a:pt x="3121" y="169"/>
                    </a:cubicBezTo>
                    <a:cubicBezTo>
                      <a:pt x="3121" y="173"/>
                      <a:pt x="3125" y="174"/>
                      <a:pt x="3125" y="180"/>
                    </a:cubicBezTo>
                    <a:cubicBezTo>
                      <a:pt x="3126" y="186"/>
                      <a:pt x="3121" y="191"/>
                      <a:pt x="3121" y="191"/>
                    </a:cubicBezTo>
                    <a:cubicBezTo>
                      <a:pt x="3123" y="196"/>
                      <a:pt x="3123" y="196"/>
                      <a:pt x="3123" y="196"/>
                    </a:cubicBezTo>
                    <a:cubicBezTo>
                      <a:pt x="3123" y="196"/>
                      <a:pt x="3127" y="189"/>
                      <a:pt x="3133" y="193"/>
                    </a:cubicBezTo>
                    <a:close/>
                    <a:moveTo>
                      <a:pt x="3202" y="145"/>
                    </a:moveTo>
                    <a:cubicBezTo>
                      <a:pt x="3210" y="142"/>
                      <a:pt x="3211" y="146"/>
                      <a:pt x="3213" y="154"/>
                    </a:cubicBezTo>
                    <a:cubicBezTo>
                      <a:pt x="3215" y="162"/>
                      <a:pt x="3209" y="163"/>
                      <a:pt x="3209" y="163"/>
                    </a:cubicBezTo>
                    <a:cubicBezTo>
                      <a:pt x="3201" y="160"/>
                      <a:pt x="3201" y="160"/>
                      <a:pt x="3201" y="160"/>
                    </a:cubicBezTo>
                    <a:cubicBezTo>
                      <a:pt x="3204" y="154"/>
                      <a:pt x="3204" y="154"/>
                      <a:pt x="3204" y="154"/>
                    </a:cubicBezTo>
                    <a:lnTo>
                      <a:pt x="3202" y="145"/>
                    </a:lnTo>
                    <a:close/>
                    <a:moveTo>
                      <a:pt x="3151" y="268"/>
                    </a:moveTo>
                    <a:cubicBezTo>
                      <a:pt x="3157" y="266"/>
                      <a:pt x="3157" y="266"/>
                      <a:pt x="3157" y="266"/>
                    </a:cubicBezTo>
                    <a:cubicBezTo>
                      <a:pt x="3150" y="259"/>
                      <a:pt x="3150" y="259"/>
                      <a:pt x="3150" y="259"/>
                    </a:cubicBezTo>
                    <a:cubicBezTo>
                      <a:pt x="3145" y="261"/>
                      <a:pt x="3145" y="261"/>
                      <a:pt x="3145" y="261"/>
                    </a:cubicBezTo>
                    <a:lnTo>
                      <a:pt x="3151" y="268"/>
                    </a:lnTo>
                    <a:close/>
                    <a:moveTo>
                      <a:pt x="3317" y="285"/>
                    </a:moveTo>
                    <a:cubicBezTo>
                      <a:pt x="3317" y="285"/>
                      <a:pt x="3313" y="299"/>
                      <a:pt x="3306" y="301"/>
                    </a:cubicBezTo>
                    <a:cubicBezTo>
                      <a:pt x="3316" y="301"/>
                      <a:pt x="3316" y="301"/>
                      <a:pt x="3316" y="301"/>
                    </a:cubicBezTo>
                    <a:lnTo>
                      <a:pt x="3317" y="285"/>
                    </a:lnTo>
                    <a:close/>
                    <a:moveTo>
                      <a:pt x="3220" y="125"/>
                    </a:moveTo>
                    <a:cubicBezTo>
                      <a:pt x="3223" y="130"/>
                      <a:pt x="3223" y="130"/>
                      <a:pt x="3223" y="130"/>
                    </a:cubicBezTo>
                    <a:cubicBezTo>
                      <a:pt x="3227" y="125"/>
                      <a:pt x="3227" y="125"/>
                      <a:pt x="3227" y="125"/>
                    </a:cubicBezTo>
                    <a:cubicBezTo>
                      <a:pt x="3223" y="121"/>
                      <a:pt x="3223" y="121"/>
                      <a:pt x="3223" y="121"/>
                    </a:cubicBezTo>
                    <a:lnTo>
                      <a:pt x="3220" y="125"/>
                    </a:lnTo>
                    <a:close/>
                    <a:moveTo>
                      <a:pt x="3272" y="195"/>
                    </a:moveTo>
                    <a:cubicBezTo>
                      <a:pt x="3273" y="180"/>
                      <a:pt x="3273" y="180"/>
                      <a:pt x="3273" y="180"/>
                    </a:cubicBezTo>
                    <a:cubicBezTo>
                      <a:pt x="3304" y="196"/>
                      <a:pt x="3304" y="196"/>
                      <a:pt x="3304" y="196"/>
                    </a:cubicBezTo>
                    <a:cubicBezTo>
                      <a:pt x="3299" y="184"/>
                      <a:pt x="3299" y="184"/>
                      <a:pt x="3299" y="184"/>
                    </a:cubicBezTo>
                    <a:cubicBezTo>
                      <a:pt x="3299" y="184"/>
                      <a:pt x="3313" y="173"/>
                      <a:pt x="3312" y="165"/>
                    </a:cubicBezTo>
                    <a:cubicBezTo>
                      <a:pt x="3311" y="157"/>
                      <a:pt x="3299" y="168"/>
                      <a:pt x="3299" y="168"/>
                    </a:cubicBezTo>
                    <a:cubicBezTo>
                      <a:pt x="3284" y="161"/>
                      <a:pt x="3284" y="161"/>
                      <a:pt x="3284" y="161"/>
                    </a:cubicBezTo>
                    <a:cubicBezTo>
                      <a:pt x="3289" y="157"/>
                      <a:pt x="3289" y="157"/>
                      <a:pt x="3289" y="157"/>
                    </a:cubicBezTo>
                    <a:cubicBezTo>
                      <a:pt x="3289" y="157"/>
                      <a:pt x="3285" y="145"/>
                      <a:pt x="3273" y="145"/>
                    </a:cubicBezTo>
                    <a:cubicBezTo>
                      <a:pt x="3261" y="145"/>
                      <a:pt x="3259" y="153"/>
                      <a:pt x="3259" y="153"/>
                    </a:cubicBezTo>
                    <a:cubicBezTo>
                      <a:pt x="3259" y="153"/>
                      <a:pt x="3247" y="148"/>
                      <a:pt x="3237" y="148"/>
                    </a:cubicBezTo>
                    <a:cubicBezTo>
                      <a:pt x="3223" y="148"/>
                      <a:pt x="3241" y="171"/>
                      <a:pt x="3243" y="175"/>
                    </a:cubicBezTo>
                    <a:cubicBezTo>
                      <a:pt x="3231" y="179"/>
                      <a:pt x="3257" y="200"/>
                      <a:pt x="3257" y="200"/>
                    </a:cubicBezTo>
                    <a:lnTo>
                      <a:pt x="3272" y="195"/>
                    </a:lnTo>
                    <a:close/>
                    <a:moveTo>
                      <a:pt x="3189" y="332"/>
                    </a:moveTo>
                    <a:cubicBezTo>
                      <a:pt x="3191" y="337"/>
                      <a:pt x="3191" y="337"/>
                      <a:pt x="3191" y="337"/>
                    </a:cubicBezTo>
                    <a:cubicBezTo>
                      <a:pt x="3212" y="361"/>
                      <a:pt x="3212" y="361"/>
                      <a:pt x="3212" y="361"/>
                    </a:cubicBezTo>
                    <a:cubicBezTo>
                      <a:pt x="3237" y="339"/>
                      <a:pt x="3237" y="339"/>
                      <a:pt x="3237" y="339"/>
                    </a:cubicBezTo>
                    <a:cubicBezTo>
                      <a:pt x="3252" y="323"/>
                      <a:pt x="3252" y="323"/>
                      <a:pt x="3252" y="323"/>
                    </a:cubicBezTo>
                    <a:cubicBezTo>
                      <a:pt x="3227" y="323"/>
                      <a:pt x="3227" y="323"/>
                      <a:pt x="3227" y="323"/>
                    </a:cubicBezTo>
                    <a:cubicBezTo>
                      <a:pt x="3221" y="321"/>
                      <a:pt x="3201" y="336"/>
                      <a:pt x="3201" y="336"/>
                    </a:cubicBezTo>
                    <a:cubicBezTo>
                      <a:pt x="3201" y="331"/>
                      <a:pt x="3201" y="331"/>
                      <a:pt x="3201" y="331"/>
                    </a:cubicBezTo>
                    <a:lnTo>
                      <a:pt x="3189" y="332"/>
                    </a:lnTo>
                    <a:close/>
                    <a:moveTo>
                      <a:pt x="3306" y="301"/>
                    </a:moveTo>
                    <a:cubicBezTo>
                      <a:pt x="3303" y="301"/>
                      <a:pt x="3303" y="301"/>
                      <a:pt x="3303" y="301"/>
                    </a:cubicBezTo>
                    <a:cubicBezTo>
                      <a:pt x="3304" y="302"/>
                      <a:pt x="3305" y="302"/>
                      <a:pt x="3306" y="301"/>
                    </a:cubicBezTo>
                    <a:close/>
                    <a:moveTo>
                      <a:pt x="3231" y="120"/>
                    </a:moveTo>
                    <a:cubicBezTo>
                      <a:pt x="3239" y="129"/>
                      <a:pt x="3241" y="120"/>
                      <a:pt x="3241" y="120"/>
                    </a:cubicBezTo>
                    <a:cubicBezTo>
                      <a:pt x="3259" y="136"/>
                      <a:pt x="3259" y="136"/>
                      <a:pt x="3259" y="136"/>
                    </a:cubicBezTo>
                    <a:cubicBezTo>
                      <a:pt x="3261" y="125"/>
                      <a:pt x="3261" y="125"/>
                      <a:pt x="3261" y="125"/>
                    </a:cubicBezTo>
                    <a:cubicBezTo>
                      <a:pt x="3276" y="124"/>
                      <a:pt x="3276" y="124"/>
                      <a:pt x="3276" y="124"/>
                    </a:cubicBezTo>
                    <a:cubicBezTo>
                      <a:pt x="3283" y="109"/>
                      <a:pt x="3283" y="109"/>
                      <a:pt x="3283" y="109"/>
                    </a:cubicBezTo>
                    <a:cubicBezTo>
                      <a:pt x="3268" y="97"/>
                      <a:pt x="3268" y="97"/>
                      <a:pt x="3268" y="97"/>
                    </a:cubicBezTo>
                    <a:cubicBezTo>
                      <a:pt x="3268" y="97"/>
                      <a:pt x="3281" y="83"/>
                      <a:pt x="3287" y="83"/>
                    </a:cubicBezTo>
                    <a:cubicBezTo>
                      <a:pt x="3292" y="83"/>
                      <a:pt x="3305" y="69"/>
                      <a:pt x="3305" y="69"/>
                    </a:cubicBezTo>
                    <a:cubicBezTo>
                      <a:pt x="3305" y="69"/>
                      <a:pt x="3289" y="56"/>
                      <a:pt x="3291" y="51"/>
                    </a:cubicBezTo>
                    <a:cubicBezTo>
                      <a:pt x="3307" y="52"/>
                      <a:pt x="3307" y="45"/>
                      <a:pt x="3309" y="31"/>
                    </a:cubicBezTo>
                    <a:cubicBezTo>
                      <a:pt x="3323" y="17"/>
                      <a:pt x="3300" y="13"/>
                      <a:pt x="3285" y="13"/>
                    </a:cubicBezTo>
                    <a:cubicBezTo>
                      <a:pt x="3271" y="13"/>
                      <a:pt x="3276" y="1"/>
                      <a:pt x="3276" y="1"/>
                    </a:cubicBezTo>
                    <a:cubicBezTo>
                      <a:pt x="3264" y="28"/>
                      <a:pt x="3264" y="28"/>
                      <a:pt x="3264" y="28"/>
                    </a:cubicBezTo>
                    <a:cubicBezTo>
                      <a:pt x="3260" y="0"/>
                      <a:pt x="3260" y="0"/>
                      <a:pt x="3260" y="0"/>
                    </a:cubicBezTo>
                    <a:cubicBezTo>
                      <a:pt x="3229" y="37"/>
                      <a:pt x="3229" y="37"/>
                      <a:pt x="3229" y="37"/>
                    </a:cubicBezTo>
                    <a:cubicBezTo>
                      <a:pt x="3228" y="39"/>
                      <a:pt x="3228" y="39"/>
                      <a:pt x="3228" y="39"/>
                    </a:cubicBezTo>
                    <a:cubicBezTo>
                      <a:pt x="3228" y="39"/>
                      <a:pt x="3232" y="47"/>
                      <a:pt x="3240" y="52"/>
                    </a:cubicBezTo>
                    <a:cubicBezTo>
                      <a:pt x="3248" y="57"/>
                      <a:pt x="3221" y="76"/>
                      <a:pt x="3221" y="76"/>
                    </a:cubicBezTo>
                    <a:cubicBezTo>
                      <a:pt x="3231" y="89"/>
                      <a:pt x="3231" y="89"/>
                      <a:pt x="3231" y="89"/>
                    </a:cubicBezTo>
                    <a:cubicBezTo>
                      <a:pt x="3217" y="89"/>
                      <a:pt x="3217" y="89"/>
                      <a:pt x="3217" y="89"/>
                    </a:cubicBezTo>
                    <a:cubicBezTo>
                      <a:pt x="3217" y="89"/>
                      <a:pt x="3223" y="111"/>
                      <a:pt x="3231" y="120"/>
                    </a:cubicBezTo>
                    <a:close/>
                    <a:moveTo>
                      <a:pt x="3067" y="1155"/>
                    </a:moveTo>
                    <a:cubicBezTo>
                      <a:pt x="3069" y="1169"/>
                      <a:pt x="3069" y="1169"/>
                      <a:pt x="3069" y="1169"/>
                    </a:cubicBezTo>
                    <a:cubicBezTo>
                      <a:pt x="3073" y="1165"/>
                      <a:pt x="3077" y="1157"/>
                      <a:pt x="3091" y="1155"/>
                    </a:cubicBezTo>
                    <a:cubicBezTo>
                      <a:pt x="3095" y="1141"/>
                      <a:pt x="3088" y="1134"/>
                      <a:pt x="3088" y="1134"/>
                    </a:cubicBezTo>
                    <a:cubicBezTo>
                      <a:pt x="3076" y="1133"/>
                      <a:pt x="3076" y="1133"/>
                      <a:pt x="3076" y="1133"/>
                    </a:cubicBezTo>
                    <a:cubicBezTo>
                      <a:pt x="3076" y="1133"/>
                      <a:pt x="3077" y="1142"/>
                      <a:pt x="3076" y="1145"/>
                    </a:cubicBezTo>
                    <a:cubicBezTo>
                      <a:pt x="3075" y="1149"/>
                      <a:pt x="3067" y="1155"/>
                      <a:pt x="3067" y="1155"/>
                    </a:cubicBezTo>
                    <a:close/>
                    <a:moveTo>
                      <a:pt x="2763" y="480"/>
                    </a:moveTo>
                    <a:cubicBezTo>
                      <a:pt x="2767" y="461"/>
                      <a:pt x="2736" y="464"/>
                      <a:pt x="2736" y="464"/>
                    </a:cubicBezTo>
                    <a:cubicBezTo>
                      <a:pt x="2728" y="477"/>
                      <a:pt x="2728" y="477"/>
                      <a:pt x="2728" y="477"/>
                    </a:cubicBezTo>
                    <a:cubicBezTo>
                      <a:pt x="2745" y="492"/>
                      <a:pt x="2745" y="492"/>
                      <a:pt x="2745" y="492"/>
                    </a:cubicBezTo>
                    <a:cubicBezTo>
                      <a:pt x="2745" y="492"/>
                      <a:pt x="2759" y="499"/>
                      <a:pt x="2763" y="480"/>
                    </a:cubicBezTo>
                    <a:close/>
                    <a:moveTo>
                      <a:pt x="2913" y="357"/>
                    </a:moveTo>
                    <a:cubicBezTo>
                      <a:pt x="2927" y="357"/>
                      <a:pt x="2924" y="337"/>
                      <a:pt x="2924" y="337"/>
                    </a:cubicBezTo>
                    <a:cubicBezTo>
                      <a:pt x="2899" y="337"/>
                      <a:pt x="2899" y="337"/>
                      <a:pt x="2899" y="337"/>
                    </a:cubicBezTo>
                    <a:cubicBezTo>
                      <a:pt x="2879" y="343"/>
                      <a:pt x="2900" y="357"/>
                      <a:pt x="2913" y="357"/>
                    </a:cubicBezTo>
                    <a:close/>
                    <a:moveTo>
                      <a:pt x="3067" y="560"/>
                    </a:moveTo>
                    <a:cubicBezTo>
                      <a:pt x="3053" y="560"/>
                      <a:pt x="3053" y="560"/>
                      <a:pt x="3053" y="560"/>
                    </a:cubicBezTo>
                    <a:cubicBezTo>
                      <a:pt x="3057" y="567"/>
                      <a:pt x="3057" y="567"/>
                      <a:pt x="3057" y="567"/>
                    </a:cubicBezTo>
                    <a:lnTo>
                      <a:pt x="3067" y="560"/>
                    </a:lnTo>
                    <a:close/>
                    <a:moveTo>
                      <a:pt x="3033" y="357"/>
                    </a:moveTo>
                    <a:cubicBezTo>
                      <a:pt x="3033" y="357"/>
                      <a:pt x="3031" y="353"/>
                      <a:pt x="3020" y="352"/>
                    </a:cubicBezTo>
                    <a:cubicBezTo>
                      <a:pt x="3009" y="351"/>
                      <a:pt x="3004" y="340"/>
                      <a:pt x="3004" y="340"/>
                    </a:cubicBezTo>
                    <a:cubicBezTo>
                      <a:pt x="3003" y="344"/>
                      <a:pt x="3003" y="344"/>
                      <a:pt x="3003" y="344"/>
                    </a:cubicBezTo>
                    <a:cubicBezTo>
                      <a:pt x="3001" y="360"/>
                      <a:pt x="3001" y="360"/>
                      <a:pt x="3001" y="360"/>
                    </a:cubicBezTo>
                    <a:cubicBezTo>
                      <a:pt x="2987" y="356"/>
                      <a:pt x="2987" y="356"/>
                      <a:pt x="2987" y="356"/>
                    </a:cubicBezTo>
                    <a:cubicBezTo>
                      <a:pt x="2955" y="368"/>
                      <a:pt x="2955" y="368"/>
                      <a:pt x="2955" y="368"/>
                    </a:cubicBezTo>
                    <a:cubicBezTo>
                      <a:pt x="2955" y="368"/>
                      <a:pt x="2921" y="363"/>
                      <a:pt x="2913" y="368"/>
                    </a:cubicBezTo>
                    <a:cubicBezTo>
                      <a:pt x="2905" y="373"/>
                      <a:pt x="2911" y="415"/>
                      <a:pt x="2911" y="415"/>
                    </a:cubicBezTo>
                    <a:cubicBezTo>
                      <a:pt x="2927" y="415"/>
                      <a:pt x="2927" y="415"/>
                      <a:pt x="2927" y="415"/>
                    </a:cubicBezTo>
                    <a:cubicBezTo>
                      <a:pt x="2960" y="445"/>
                      <a:pt x="2960" y="445"/>
                      <a:pt x="2960" y="445"/>
                    </a:cubicBezTo>
                    <a:cubicBezTo>
                      <a:pt x="2967" y="437"/>
                      <a:pt x="2967" y="437"/>
                      <a:pt x="2967" y="437"/>
                    </a:cubicBezTo>
                    <a:cubicBezTo>
                      <a:pt x="2972" y="421"/>
                      <a:pt x="2972" y="421"/>
                      <a:pt x="2972" y="421"/>
                    </a:cubicBezTo>
                    <a:cubicBezTo>
                      <a:pt x="2973" y="435"/>
                      <a:pt x="2973" y="435"/>
                      <a:pt x="2973" y="435"/>
                    </a:cubicBezTo>
                    <a:cubicBezTo>
                      <a:pt x="2984" y="424"/>
                      <a:pt x="2984" y="424"/>
                      <a:pt x="2984" y="424"/>
                    </a:cubicBezTo>
                    <a:cubicBezTo>
                      <a:pt x="2992" y="428"/>
                      <a:pt x="2992" y="428"/>
                      <a:pt x="2992" y="428"/>
                    </a:cubicBezTo>
                    <a:cubicBezTo>
                      <a:pt x="2977" y="451"/>
                      <a:pt x="2977" y="451"/>
                      <a:pt x="2977" y="451"/>
                    </a:cubicBezTo>
                    <a:cubicBezTo>
                      <a:pt x="2993" y="452"/>
                      <a:pt x="2993" y="452"/>
                      <a:pt x="2993" y="452"/>
                    </a:cubicBezTo>
                    <a:cubicBezTo>
                      <a:pt x="2997" y="471"/>
                      <a:pt x="2997" y="471"/>
                      <a:pt x="2997" y="471"/>
                    </a:cubicBezTo>
                    <a:cubicBezTo>
                      <a:pt x="3005" y="467"/>
                      <a:pt x="3005" y="467"/>
                      <a:pt x="3005" y="467"/>
                    </a:cubicBezTo>
                    <a:cubicBezTo>
                      <a:pt x="3009" y="477"/>
                      <a:pt x="3009" y="477"/>
                      <a:pt x="3009" y="477"/>
                    </a:cubicBezTo>
                    <a:cubicBezTo>
                      <a:pt x="3019" y="452"/>
                      <a:pt x="3019" y="452"/>
                      <a:pt x="3019" y="452"/>
                    </a:cubicBezTo>
                    <a:cubicBezTo>
                      <a:pt x="3019" y="452"/>
                      <a:pt x="3024" y="463"/>
                      <a:pt x="3029" y="463"/>
                    </a:cubicBezTo>
                    <a:cubicBezTo>
                      <a:pt x="3035" y="463"/>
                      <a:pt x="3040" y="456"/>
                      <a:pt x="3040" y="456"/>
                    </a:cubicBezTo>
                    <a:cubicBezTo>
                      <a:pt x="3040" y="445"/>
                      <a:pt x="3040" y="445"/>
                      <a:pt x="3040" y="445"/>
                    </a:cubicBezTo>
                    <a:cubicBezTo>
                      <a:pt x="3051" y="438"/>
                      <a:pt x="3051" y="438"/>
                      <a:pt x="3051" y="438"/>
                    </a:cubicBezTo>
                    <a:cubicBezTo>
                      <a:pt x="3052" y="438"/>
                      <a:pt x="3055" y="439"/>
                      <a:pt x="3064" y="439"/>
                    </a:cubicBezTo>
                    <a:cubicBezTo>
                      <a:pt x="3084" y="424"/>
                      <a:pt x="3080" y="433"/>
                      <a:pt x="3080" y="433"/>
                    </a:cubicBezTo>
                    <a:cubicBezTo>
                      <a:pt x="3069" y="452"/>
                      <a:pt x="3072" y="467"/>
                      <a:pt x="3077" y="469"/>
                    </a:cubicBezTo>
                    <a:cubicBezTo>
                      <a:pt x="3079" y="448"/>
                      <a:pt x="3087" y="456"/>
                      <a:pt x="3087" y="456"/>
                    </a:cubicBezTo>
                    <a:cubicBezTo>
                      <a:pt x="3087" y="456"/>
                      <a:pt x="3077" y="469"/>
                      <a:pt x="3083" y="483"/>
                    </a:cubicBezTo>
                    <a:cubicBezTo>
                      <a:pt x="3088" y="496"/>
                      <a:pt x="3071" y="499"/>
                      <a:pt x="3071" y="499"/>
                    </a:cubicBezTo>
                    <a:cubicBezTo>
                      <a:pt x="3056" y="477"/>
                      <a:pt x="3056" y="477"/>
                      <a:pt x="3056" y="477"/>
                    </a:cubicBezTo>
                    <a:cubicBezTo>
                      <a:pt x="3048" y="499"/>
                      <a:pt x="3048" y="499"/>
                      <a:pt x="3048" y="499"/>
                    </a:cubicBezTo>
                    <a:cubicBezTo>
                      <a:pt x="3052" y="511"/>
                      <a:pt x="3052" y="511"/>
                      <a:pt x="3052" y="511"/>
                    </a:cubicBezTo>
                    <a:cubicBezTo>
                      <a:pt x="3055" y="497"/>
                      <a:pt x="3055" y="497"/>
                      <a:pt x="3055" y="497"/>
                    </a:cubicBezTo>
                    <a:cubicBezTo>
                      <a:pt x="3055" y="497"/>
                      <a:pt x="3065" y="512"/>
                      <a:pt x="3069" y="513"/>
                    </a:cubicBezTo>
                    <a:cubicBezTo>
                      <a:pt x="3073" y="515"/>
                      <a:pt x="3055" y="549"/>
                      <a:pt x="3055" y="549"/>
                    </a:cubicBezTo>
                    <a:cubicBezTo>
                      <a:pt x="3069" y="549"/>
                      <a:pt x="3069" y="549"/>
                      <a:pt x="3069" y="549"/>
                    </a:cubicBezTo>
                    <a:cubicBezTo>
                      <a:pt x="3084" y="515"/>
                      <a:pt x="3084" y="515"/>
                      <a:pt x="3084" y="515"/>
                    </a:cubicBezTo>
                    <a:cubicBezTo>
                      <a:pt x="3077" y="508"/>
                      <a:pt x="3077" y="508"/>
                      <a:pt x="3077" y="508"/>
                    </a:cubicBezTo>
                    <a:cubicBezTo>
                      <a:pt x="3093" y="509"/>
                      <a:pt x="3093" y="509"/>
                      <a:pt x="3093" y="509"/>
                    </a:cubicBezTo>
                    <a:cubicBezTo>
                      <a:pt x="3093" y="509"/>
                      <a:pt x="3099" y="521"/>
                      <a:pt x="3077" y="569"/>
                    </a:cubicBezTo>
                    <a:cubicBezTo>
                      <a:pt x="3049" y="581"/>
                      <a:pt x="3069" y="599"/>
                      <a:pt x="3069" y="599"/>
                    </a:cubicBezTo>
                    <a:cubicBezTo>
                      <a:pt x="3069" y="599"/>
                      <a:pt x="3073" y="600"/>
                      <a:pt x="3065" y="613"/>
                    </a:cubicBezTo>
                    <a:cubicBezTo>
                      <a:pt x="3040" y="619"/>
                      <a:pt x="3049" y="656"/>
                      <a:pt x="3049" y="656"/>
                    </a:cubicBezTo>
                    <a:cubicBezTo>
                      <a:pt x="3055" y="653"/>
                      <a:pt x="3055" y="653"/>
                      <a:pt x="3055" y="653"/>
                    </a:cubicBezTo>
                    <a:cubicBezTo>
                      <a:pt x="3063" y="661"/>
                      <a:pt x="3063" y="661"/>
                      <a:pt x="3063" y="661"/>
                    </a:cubicBezTo>
                    <a:cubicBezTo>
                      <a:pt x="3069" y="652"/>
                      <a:pt x="3069" y="652"/>
                      <a:pt x="3069" y="652"/>
                    </a:cubicBezTo>
                    <a:cubicBezTo>
                      <a:pt x="3092" y="684"/>
                      <a:pt x="3092" y="684"/>
                      <a:pt x="3092" y="684"/>
                    </a:cubicBezTo>
                    <a:cubicBezTo>
                      <a:pt x="3097" y="645"/>
                      <a:pt x="3097" y="645"/>
                      <a:pt x="3097" y="645"/>
                    </a:cubicBezTo>
                    <a:cubicBezTo>
                      <a:pt x="3093" y="643"/>
                      <a:pt x="3093" y="643"/>
                      <a:pt x="3093" y="643"/>
                    </a:cubicBezTo>
                    <a:cubicBezTo>
                      <a:pt x="3093" y="643"/>
                      <a:pt x="3101" y="616"/>
                      <a:pt x="3103" y="603"/>
                    </a:cubicBezTo>
                    <a:cubicBezTo>
                      <a:pt x="3104" y="594"/>
                      <a:pt x="3101" y="594"/>
                      <a:pt x="3098" y="596"/>
                    </a:cubicBezTo>
                    <a:cubicBezTo>
                      <a:pt x="3101" y="593"/>
                      <a:pt x="3101" y="593"/>
                      <a:pt x="3101" y="593"/>
                    </a:cubicBezTo>
                    <a:cubicBezTo>
                      <a:pt x="3121" y="600"/>
                      <a:pt x="3121" y="600"/>
                      <a:pt x="3121" y="600"/>
                    </a:cubicBezTo>
                    <a:cubicBezTo>
                      <a:pt x="3127" y="591"/>
                      <a:pt x="3127" y="591"/>
                      <a:pt x="3127" y="591"/>
                    </a:cubicBezTo>
                    <a:cubicBezTo>
                      <a:pt x="3127" y="591"/>
                      <a:pt x="3113" y="560"/>
                      <a:pt x="3120" y="560"/>
                    </a:cubicBezTo>
                    <a:cubicBezTo>
                      <a:pt x="3127" y="560"/>
                      <a:pt x="3137" y="551"/>
                      <a:pt x="3137" y="551"/>
                    </a:cubicBezTo>
                    <a:cubicBezTo>
                      <a:pt x="3123" y="512"/>
                      <a:pt x="3123" y="512"/>
                      <a:pt x="3123" y="512"/>
                    </a:cubicBezTo>
                    <a:cubicBezTo>
                      <a:pt x="3147" y="489"/>
                      <a:pt x="3147" y="489"/>
                      <a:pt x="3147" y="489"/>
                    </a:cubicBezTo>
                    <a:cubicBezTo>
                      <a:pt x="3148" y="477"/>
                      <a:pt x="3148" y="477"/>
                      <a:pt x="3148" y="477"/>
                    </a:cubicBezTo>
                    <a:cubicBezTo>
                      <a:pt x="3145" y="463"/>
                      <a:pt x="3145" y="463"/>
                      <a:pt x="3145" y="463"/>
                    </a:cubicBezTo>
                    <a:cubicBezTo>
                      <a:pt x="3145" y="463"/>
                      <a:pt x="3164" y="468"/>
                      <a:pt x="3163" y="483"/>
                    </a:cubicBezTo>
                    <a:cubicBezTo>
                      <a:pt x="3151" y="515"/>
                      <a:pt x="3180" y="507"/>
                      <a:pt x="3180" y="507"/>
                    </a:cubicBezTo>
                    <a:cubicBezTo>
                      <a:pt x="3180" y="488"/>
                      <a:pt x="3193" y="489"/>
                      <a:pt x="3193" y="489"/>
                    </a:cubicBezTo>
                    <a:cubicBezTo>
                      <a:pt x="3201" y="495"/>
                      <a:pt x="3201" y="495"/>
                      <a:pt x="3201" y="495"/>
                    </a:cubicBezTo>
                    <a:cubicBezTo>
                      <a:pt x="3203" y="492"/>
                      <a:pt x="3203" y="492"/>
                      <a:pt x="3203" y="492"/>
                    </a:cubicBezTo>
                    <a:cubicBezTo>
                      <a:pt x="3229" y="484"/>
                      <a:pt x="3181" y="467"/>
                      <a:pt x="3181" y="467"/>
                    </a:cubicBezTo>
                    <a:cubicBezTo>
                      <a:pt x="3172" y="453"/>
                      <a:pt x="3172" y="453"/>
                      <a:pt x="3172" y="453"/>
                    </a:cubicBezTo>
                    <a:cubicBezTo>
                      <a:pt x="3169" y="459"/>
                      <a:pt x="3169" y="459"/>
                      <a:pt x="3169" y="459"/>
                    </a:cubicBezTo>
                    <a:cubicBezTo>
                      <a:pt x="3151" y="452"/>
                      <a:pt x="3151" y="452"/>
                      <a:pt x="3151" y="452"/>
                    </a:cubicBezTo>
                    <a:cubicBezTo>
                      <a:pt x="3139" y="424"/>
                      <a:pt x="3139" y="424"/>
                      <a:pt x="3139" y="424"/>
                    </a:cubicBezTo>
                    <a:cubicBezTo>
                      <a:pt x="3123" y="425"/>
                      <a:pt x="3123" y="425"/>
                      <a:pt x="3123" y="425"/>
                    </a:cubicBezTo>
                    <a:cubicBezTo>
                      <a:pt x="3125" y="397"/>
                      <a:pt x="3125" y="397"/>
                      <a:pt x="3125" y="397"/>
                    </a:cubicBezTo>
                    <a:cubicBezTo>
                      <a:pt x="3132" y="416"/>
                      <a:pt x="3132" y="416"/>
                      <a:pt x="3132" y="416"/>
                    </a:cubicBezTo>
                    <a:cubicBezTo>
                      <a:pt x="3143" y="416"/>
                      <a:pt x="3143" y="416"/>
                      <a:pt x="3143" y="416"/>
                    </a:cubicBezTo>
                    <a:cubicBezTo>
                      <a:pt x="3151" y="407"/>
                      <a:pt x="3151" y="407"/>
                      <a:pt x="3151" y="407"/>
                    </a:cubicBezTo>
                    <a:cubicBezTo>
                      <a:pt x="3169" y="407"/>
                      <a:pt x="3169" y="407"/>
                      <a:pt x="3169" y="407"/>
                    </a:cubicBezTo>
                    <a:cubicBezTo>
                      <a:pt x="3169" y="393"/>
                      <a:pt x="3169" y="393"/>
                      <a:pt x="3169" y="393"/>
                    </a:cubicBezTo>
                    <a:cubicBezTo>
                      <a:pt x="3153" y="395"/>
                      <a:pt x="3153" y="395"/>
                      <a:pt x="3153" y="395"/>
                    </a:cubicBezTo>
                    <a:cubicBezTo>
                      <a:pt x="3155" y="379"/>
                      <a:pt x="3155" y="379"/>
                      <a:pt x="3155" y="379"/>
                    </a:cubicBezTo>
                    <a:cubicBezTo>
                      <a:pt x="3177" y="379"/>
                      <a:pt x="3177" y="379"/>
                      <a:pt x="3177" y="379"/>
                    </a:cubicBezTo>
                    <a:cubicBezTo>
                      <a:pt x="3175" y="359"/>
                      <a:pt x="3175" y="359"/>
                      <a:pt x="3175" y="359"/>
                    </a:cubicBezTo>
                    <a:cubicBezTo>
                      <a:pt x="3175" y="359"/>
                      <a:pt x="3168" y="363"/>
                      <a:pt x="3160" y="363"/>
                    </a:cubicBezTo>
                    <a:cubicBezTo>
                      <a:pt x="3152" y="363"/>
                      <a:pt x="3147" y="351"/>
                      <a:pt x="3147" y="351"/>
                    </a:cubicBezTo>
                    <a:cubicBezTo>
                      <a:pt x="3137" y="352"/>
                      <a:pt x="3137" y="352"/>
                      <a:pt x="3137" y="352"/>
                    </a:cubicBezTo>
                    <a:cubicBezTo>
                      <a:pt x="3141" y="344"/>
                      <a:pt x="3141" y="344"/>
                      <a:pt x="3141" y="344"/>
                    </a:cubicBezTo>
                    <a:cubicBezTo>
                      <a:pt x="3141" y="344"/>
                      <a:pt x="3161" y="343"/>
                      <a:pt x="3177" y="343"/>
                    </a:cubicBezTo>
                    <a:cubicBezTo>
                      <a:pt x="3193" y="343"/>
                      <a:pt x="3180" y="312"/>
                      <a:pt x="3180" y="312"/>
                    </a:cubicBezTo>
                    <a:cubicBezTo>
                      <a:pt x="3159" y="315"/>
                      <a:pt x="3159" y="315"/>
                      <a:pt x="3159" y="315"/>
                    </a:cubicBezTo>
                    <a:cubicBezTo>
                      <a:pt x="3188" y="287"/>
                      <a:pt x="3188" y="287"/>
                      <a:pt x="3188" y="287"/>
                    </a:cubicBezTo>
                    <a:cubicBezTo>
                      <a:pt x="3188" y="271"/>
                      <a:pt x="3188" y="271"/>
                      <a:pt x="3188" y="271"/>
                    </a:cubicBezTo>
                    <a:cubicBezTo>
                      <a:pt x="3184" y="276"/>
                      <a:pt x="3184" y="276"/>
                      <a:pt x="3184" y="276"/>
                    </a:cubicBezTo>
                    <a:cubicBezTo>
                      <a:pt x="3164" y="293"/>
                      <a:pt x="3164" y="293"/>
                      <a:pt x="3164" y="293"/>
                    </a:cubicBezTo>
                    <a:cubicBezTo>
                      <a:pt x="3164" y="285"/>
                      <a:pt x="3164" y="285"/>
                      <a:pt x="3164" y="285"/>
                    </a:cubicBezTo>
                    <a:cubicBezTo>
                      <a:pt x="3136" y="319"/>
                      <a:pt x="3136" y="319"/>
                      <a:pt x="3136" y="319"/>
                    </a:cubicBezTo>
                    <a:cubicBezTo>
                      <a:pt x="3136" y="319"/>
                      <a:pt x="3137" y="312"/>
                      <a:pt x="3136" y="303"/>
                    </a:cubicBezTo>
                    <a:cubicBezTo>
                      <a:pt x="3124" y="303"/>
                      <a:pt x="3127" y="281"/>
                      <a:pt x="3127" y="281"/>
                    </a:cubicBezTo>
                    <a:cubicBezTo>
                      <a:pt x="3135" y="291"/>
                      <a:pt x="3135" y="291"/>
                      <a:pt x="3135" y="291"/>
                    </a:cubicBezTo>
                    <a:cubicBezTo>
                      <a:pt x="3143" y="272"/>
                      <a:pt x="3143" y="272"/>
                      <a:pt x="3143" y="272"/>
                    </a:cubicBezTo>
                    <a:cubicBezTo>
                      <a:pt x="3137" y="263"/>
                      <a:pt x="3137" y="263"/>
                      <a:pt x="3137" y="263"/>
                    </a:cubicBezTo>
                    <a:cubicBezTo>
                      <a:pt x="3127" y="263"/>
                      <a:pt x="3127" y="263"/>
                      <a:pt x="3127" y="263"/>
                    </a:cubicBezTo>
                    <a:cubicBezTo>
                      <a:pt x="3117" y="241"/>
                      <a:pt x="3117" y="241"/>
                      <a:pt x="3117" y="241"/>
                    </a:cubicBezTo>
                    <a:cubicBezTo>
                      <a:pt x="3117" y="241"/>
                      <a:pt x="3117" y="241"/>
                      <a:pt x="3096" y="247"/>
                    </a:cubicBezTo>
                    <a:cubicBezTo>
                      <a:pt x="3059" y="236"/>
                      <a:pt x="3076" y="216"/>
                      <a:pt x="3076" y="216"/>
                    </a:cubicBezTo>
                    <a:cubicBezTo>
                      <a:pt x="3059" y="217"/>
                      <a:pt x="3059" y="217"/>
                      <a:pt x="3059" y="217"/>
                    </a:cubicBezTo>
                    <a:cubicBezTo>
                      <a:pt x="3059" y="217"/>
                      <a:pt x="3059" y="217"/>
                      <a:pt x="3061" y="209"/>
                    </a:cubicBezTo>
                    <a:cubicBezTo>
                      <a:pt x="3089" y="209"/>
                      <a:pt x="3073" y="183"/>
                      <a:pt x="3073" y="183"/>
                    </a:cubicBezTo>
                    <a:cubicBezTo>
                      <a:pt x="3080" y="173"/>
                      <a:pt x="3080" y="173"/>
                      <a:pt x="3080" y="173"/>
                    </a:cubicBezTo>
                    <a:cubicBezTo>
                      <a:pt x="3077" y="144"/>
                      <a:pt x="3077" y="144"/>
                      <a:pt x="3077" y="144"/>
                    </a:cubicBezTo>
                    <a:cubicBezTo>
                      <a:pt x="3077" y="144"/>
                      <a:pt x="3075" y="149"/>
                      <a:pt x="3049" y="160"/>
                    </a:cubicBezTo>
                    <a:cubicBezTo>
                      <a:pt x="3023" y="143"/>
                      <a:pt x="3024" y="184"/>
                      <a:pt x="3024" y="184"/>
                    </a:cubicBezTo>
                    <a:cubicBezTo>
                      <a:pt x="2997" y="204"/>
                      <a:pt x="2997" y="204"/>
                      <a:pt x="2997" y="204"/>
                    </a:cubicBezTo>
                    <a:cubicBezTo>
                      <a:pt x="3007" y="219"/>
                      <a:pt x="3007" y="219"/>
                      <a:pt x="3007" y="219"/>
                    </a:cubicBezTo>
                    <a:cubicBezTo>
                      <a:pt x="3004" y="225"/>
                      <a:pt x="3004" y="225"/>
                      <a:pt x="3004" y="225"/>
                    </a:cubicBezTo>
                    <a:cubicBezTo>
                      <a:pt x="2988" y="212"/>
                      <a:pt x="2988" y="212"/>
                      <a:pt x="2988" y="212"/>
                    </a:cubicBezTo>
                    <a:cubicBezTo>
                      <a:pt x="2988" y="212"/>
                      <a:pt x="2984" y="196"/>
                      <a:pt x="2973" y="196"/>
                    </a:cubicBezTo>
                    <a:cubicBezTo>
                      <a:pt x="2963" y="196"/>
                      <a:pt x="2971" y="212"/>
                      <a:pt x="2957" y="228"/>
                    </a:cubicBezTo>
                    <a:cubicBezTo>
                      <a:pt x="2932" y="228"/>
                      <a:pt x="2933" y="247"/>
                      <a:pt x="2945" y="249"/>
                    </a:cubicBezTo>
                    <a:cubicBezTo>
                      <a:pt x="2957" y="252"/>
                      <a:pt x="2971" y="244"/>
                      <a:pt x="2971" y="244"/>
                    </a:cubicBezTo>
                    <a:cubicBezTo>
                      <a:pt x="2993" y="259"/>
                      <a:pt x="2993" y="259"/>
                      <a:pt x="2993" y="259"/>
                    </a:cubicBezTo>
                    <a:cubicBezTo>
                      <a:pt x="3011" y="252"/>
                      <a:pt x="3011" y="252"/>
                      <a:pt x="3011" y="252"/>
                    </a:cubicBezTo>
                    <a:cubicBezTo>
                      <a:pt x="3016" y="273"/>
                      <a:pt x="3016" y="273"/>
                      <a:pt x="3016" y="273"/>
                    </a:cubicBezTo>
                    <a:cubicBezTo>
                      <a:pt x="3016" y="295"/>
                      <a:pt x="3016" y="295"/>
                      <a:pt x="3016" y="295"/>
                    </a:cubicBezTo>
                    <a:cubicBezTo>
                      <a:pt x="3033" y="296"/>
                      <a:pt x="3033" y="296"/>
                      <a:pt x="3033" y="296"/>
                    </a:cubicBezTo>
                    <a:cubicBezTo>
                      <a:pt x="3031" y="309"/>
                      <a:pt x="3031" y="309"/>
                      <a:pt x="3031" y="309"/>
                    </a:cubicBezTo>
                    <a:cubicBezTo>
                      <a:pt x="3028" y="311"/>
                      <a:pt x="3028" y="311"/>
                      <a:pt x="3028" y="311"/>
                    </a:cubicBezTo>
                    <a:cubicBezTo>
                      <a:pt x="3004" y="309"/>
                      <a:pt x="3012" y="335"/>
                      <a:pt x="3012" y="335"/>
                    </a:cubicBezTo>
                    <a:cubicBezTo>
                      <a:pt x="3024" y="343"/>
                      <a:pt x="3024" y="343"/>
                      <a:pt x="3024" y="343"/>
                    </a:cubicBezTo>
                    <a:cubicBezTo>
                      <a:pt x="3039" y="340"/>
                      <a:pt x="3039" y="340"/>
                      <a:pt x="3039" y="340"/>
                    </a:cubicBezTo>
                    <a:cubicBezTo>
                      <a:pt x="3039" y="340"/>
                      <a:pt x="3043" y="347"/>
                      <a:pt x="3043" y="351"/>
                    </a:cubicBezTo>
                    <a:cubicBezTo>
                      <a:pt x="3043" y="355"/>
                      <a:pt x="3033" y="357"/>
                      <a:pt x="3033" y="357"/>
                    </a:cubicBezTo>
                    <a:close/>
                    <a:moveTo>
                      <a:pt x="2961" y="431"/>
                    </a:moveTo>
                    <a:cubicBezTo>
                      <a:pt x="2956" y="437"/>
                      <a:pt x="2954" y="423"/>
                      <a:pt x="2957" y="423"/>
                    </a:cubicBezTo>
                    <a:cubicBezTo>
                      <a:pt x="2961" y="423"/>
                      <a:pt x="2965" y="424"/>
                      <a:pt x="2961" y="431"/>
                    </a:cubicBezTo>
                    <a:close/>
                    <a:moveTo>
                      <a:pt x="3058" y="432"/>
                    </a:moveTo>
                    <a:cubicBezTo>
                      <a:pt x="3051" y="431"/>
                      <a:pt x="3039" y="407"/>
                      <a:pt x="3045" y="407"/>
                    </a:cubicBezTo>
                    <a:cubicBezTo>
                      <a:pt x="3051" y="407"/>
                      <a:pt x="3062" y="429"/>
                      <a:pt x="3062" y="429"/>
                    </a:cubicBezTo>
                    <a:cubicBezTo>
                      <a:pt x="3062" y="429"/>
                      <a:pt x="3065" y="433"/>
                      <a:pt x="3058" y="432"/>
                    </a:cubicBezTo>
                    <a:close/>
                    <a:moveTo>
                      <a:pt x="3075" y="269"/>
                    </a:moveTo>
                    <a:cubicBezTo>
                      <a:pt x="3084" y="269"/>
                      <a:pt x="3055" y="246"/>
                      <a:pt x="3079" y="246"/>
                    </a:cubicBezTo>
                    <a:cubicBezTo>
                      <a:pt x="3082" y="246"/>
                      <a:pt x="3085" y="252"/>
                      <a:pt x="3085" y="252"/>
                    </a:cubicBezTo>
                    <a:cubicBezTo>
                      <a:pt x="3085" y="252"/>
                      <a:pt x="3073" y="257"/>
                      <a:pt x="3080" y="262"/>
                    </a:cubicBezTo>
                    <a:cubicBezTo>
                      <a:pt x="3087" y="267"/>
                      <a:pt x="3091" y="268"/>
                      <a:pt x="3091" y="268"/>
                    </a:cubicBezTo>
                    <a:cubicBezTo>
                      <a:pt x="3091" y="268"/>
                      <a:pt x="3063" y="281"/>
                      <a:pt x="3061" y="287"/>
                    </a:cubicBezTo>
                    <a:cubicBezTo>
                      <a:pt x="3059" y="294"/>
                      <a:pt x="3053" y="288"/>
                      <a:pt x="3053" y="288"/>
                    </a:cubicBezTo>
                    <a:cubicBezTo>
                      <a:pt x="3053" y="288"/>
                      <a:pt x="3065" y="269"/>
                      <a:pt x="3075" y="269"/>
                    </a:cubicBezTo>
                    <a:close/>
                    <a:moveTo>
                      <a:pt x="3051" y="295"/>
                    </a:moveTo>
                    <a:cubicBezTo>
                      <a:pt x="3051" y="295"/>
                      <a:pt x="3070" y="299"/>
                      <a:pt x="3059" y="304"/>
                    </a:cubicBezTo>
                    <a:cubicBezTo>
                      <a:pt x="3047" y="309"/>
                      <a:pt x="3044" y="299"/>
                      <a:pt x="3051" y="295"/>
                    </a:cubicBezTo>
                    <a:close/>
                    <a:moveTo>
                      <a:pt x="3049" y="316"/>
                    </a:moveTo>
                    <a:cubicBezTo>
                      <a:pt x="3049" y="311"/>
                      <a:pt x="3059" y="315"/>
                      <a:pt x="3059" y="315"/>
                    </a:cubicBezTo>
                    <a:cubicBezTo>
                      <a:pt x="3055" y="326"/>
                      <a:pt x="3055" y="326"/>
                      <a:pt x="3055" y="326"/>
                    </a:cubicBezTo>
                    <a:cubicBezTo>
                      <a:pt x="3062" y="328"/>
                      <a:pt x="3062" y="328"/>
                      <a:pt x="3062" y="328"/>
                    </a:cubicBezTo>
                    <a:cubicBezTo>
                      <a:pt x="3064" y="344"/>
                      <a:pt x="3064" y="344"/>
                      <a:pt x="3064" y="344"/>
                    </a:cubicBezTo>
                    <a:cubicBezTo>
                      <a:pt x="3053" y="344"/>
                      <a:pt x="3053" y="344"/>
                      <a:pt x="3053" y="344"/>
                    </a:cubicBezTo>
                    <a:cubicBezTo>
                      <a:pt x="3045" y="336"/>
                      <a:pt x="3045" y="336"/>
                      <a:pt x="3045" y="336"/>
                    </a:cubicBezTo>
                    <a:cubicBezTo>
                      <a:pt x="3045" y="336"/>
                      <a:pt x="3049" y="321"/>
                      <a:pt x="3049" y="316"/>
                    </a:cubicBezTo>
                    <a:close/>
                    <a:moveTo>
                      <a:pt x="3045" y="361"/>
                    </a:moveTo>
                    <a:cubicBezTo>
                      <a:pt x="3045" y="361"/>
                      <a:pt x="3056" y="372"/>
                      <a:pt x="3053" y="375"/>
                    </a:cubicBezTo>
                    <a:cubicBezTo>
                      <a:pt x="3049" y="377"/>
                      <a:pt x="3039" y="365"/>
                      <a:pt x="3045" y="361"/>
                    </a:cubicBezTo>
                    <a:close/>
                    <a:moveTo>
                      <a:pt x="3131" y="588"/>
                    </a:moveTo>
                    <a:cubicBezTo>
                      <a:pt x="3141" y="591"/>
                      <a:pt x="3141" y="591"/>
                      <a:pt x="3141" y="591"/>
                    </a:cubicBezTo>
                    <a:cubicBezTo>
                      <a:pt x="3135" y="576"/>
                      <a:pt x="3135" y="576"/>
                      <a:pt x="3135" y="576"/>
                    </a:cubicBezTo>
                    <a:lnTo>
                      <a:pt x="3131" y="588"/>
                    </a:lnTo>
                    <a:close/>
                    <a:moveTo>
                      <a:pt x="2679" y="1491"/>
                    </a:moveTo>
                    <a:cubicBezTo>
                      <a:pt x="2671" y="1483"/>
                      <a:pt x="2671" y="1483"/>
                      <a:pt x="2671" y="1483"/>
                    </a:cubicBezTo>
                    <a:cubicBezTo>
                      <a:pt x="2671" y="1497"/>
                      <a:pt x="2671" y="1497"/>
                      <a:pt x="2671" y="1497"/>
                    </a:cubicBezTo>
                    <a:lnTo>
                      <a:pt x="2679" y="1491"/>
                    </a:lnTo>
                    <a:close/>
                    <a:moveTo>
                      <a:pt x="2623" y="1584"/>
                    </a:moveTo>
                    <a:cubicBezTo>
                      <a:pt x="2623" y="1584"/>
                      <a:pt x="2638" y="1596"/>
                      <a:pt x="2637" y="1585"/>
                    </a:cubicBezTo>
                    <a:cubicBezTo>
                      <a:pt x="2635" y="1575"/>
                      <a:pt x="2623" y="1577"/>
                      <a:pt x="2623" y="1584"/>
                    </a:cubicBezTo>
                    <a:close/>
                    <a:moveTo>
                      <a:pt x="2565" y="1389"/>
                    </a:moveTo>
                    <a:cubicBezTo>
                      <a:pt x="2571" y="1393"/>
                      <a:pt x="2578" y="1413"/>
                      <a:pt x="2578" y="1413"/>
                    </a:cubicBezTo>
                    <a:cubicBezTo>
                      <a:pt x="2583" y="1409"/>
                      <a:pt x="2583" y="1409"/>
                      <a:pt x="2583" y="1409"/>
                    </a:cubicBezTo>
                    <a:cubicBezTo>
                      <a:pt x="2583" y="1409"/>
                      <a:pt x="2593" y="1406"/>
                      <a:pt x="2601" y="1401"/>
                    </a:cubicBezTo>
                    <a:cubicBezTo>
                      <a:pt x="2589" y="1399"/>
                      <a:pt x="2596" y="1370"/>
                      <a:pt x="2596" y="1370"/>
                    </a:cubicBezTo>
                    <a:cubicBezTo>
                      <a:pt x="2596" y="1370"/>
                      <a:pt x="2608" y="1352"/>
                      <a:pt x="2610" y="1346"/>
                    </a:cubicBezTo>
                    <a:cubicBezTo>
                      <a:pt x="2612" y="1340"/>
                      <a:pt x="2603" y="1335"/>
                      <a:pt x="2603" y="1335"/>
                    </a:cubicBezTo>
                    <a:cubicBezTo>
                      <a:pt x="2603" y="1335"/>
                      <a:pt x="2583" y="1334"/>
                      <a:pt x="2581" y="1334"/>
                    </a:cubicBezTo>
                    <a:cubicBezTo>
                      <a:pt x="2581" y="1334"/>
                      <a:pt x="2575" y="1338"/>
                      <a:pt x="2575" y="1347"/>
                    </a:cubicBezTo>
                    <a:cubicBezTo>
                      <a:pt x="2574" y="1357"/>
                      <a:pt x="2583" y="1358"/>
                      <a:pt x="2585" y="1368"/>
                    </a:cubicBezTo>
                    <a:cubicBezTo>
                      <a:pt x="2588" y="1378"/>
                      <a:pt x="2575" y="1377"/>
                      <a:pt x="2575" y="1377"/>
                    </a:cubicBezTo>
                    <a:cubicBezTo>
                      <a:pt x="2575" y="1377"/>
                      <a:pt x="2564" y="1371"/>
                      <a:pt x="2561" y="1371"/>
                    </a:cubicBezTo>
                    <a:cubicBezTo>
                      <a:pt x="2557" y="1372"/>
                      <a:pt x="2559" y="1386"/>
                      <a:pt x="2565" y="1389"/>
                    </a:cubicBezTo>
                    <a:close/>
                    <a:moveTo>
                      <a:pt x="2594" y="1339"/>
                    </a:moveTo>
                    <a:cubicBezTo>
                      <a:pt x="2598" y="1339"/>
                      <a:pt x="2599" y="1348"/>
                      <a:pt x="2593" y="1348"/>
                    </a:cubicBezTo>
                    <a:cubicBezTo>
                      <a:pt x="2587" y="1348"/>
                      <a:pt x="2594" y="1339"/>
                      <a:pt x="2594" y="1339"/>
                    </a:cubicBezTo>
                    <a:close/>
                    <a:moveTo>
                      <a:pt x="2569" y="1361"/>
                    </a:moveTo>
                    <a:cubicBezTo>
                      <a:pt x="2561" y="1348"/>
                      <a:pt x="2561" y="1348"/>
                      <a:pt x="2561" y="1348"/>
                    </a:cubicBezTo>
                    <a:cubicBezTo>
                      <a:pt x="2563" y="1361"/>
                      <a:pt x="2563" y="1361"/>
                      <a:pt x="2563" y="1361"/>
                    </a:cubicBezTo>
                    <a:lnTo>
                      <a:pt x="2569" y="1361"/>
                    </a:lnTo>
                    <a:close/>
                    <a:moveTo>
                      <a:pt x="2684" y="1461"/>
                    </a:moveTo>
                    <a:cubicBezTo>
                      <a:pt x="2687" y="1460"/>
                      <a:pt x="2693" y="1447"/>
                      <a:pt x="2693" y="1447"/>
                    </a:cubicBezTo>
                    <a:cubicBezTo>
                      <a:pt x="2693" y="1447"/>
                      <a:pt x="2679" y="1433"/>
                      <a:pt x="2687" y="1429"/>
                    </a:cubicBezTo>
                    <a:cubicBezTo>
                      <a:pt x="2695" y="1426"/>
                      <a:pt x="2672" y="1427"/>
                      <a:pt x="2672" y="1427"/>
                    </a:cubicBezTo>
                    <a:cubicBezTo>
                      <a:pt x="2664" y="1431"/>
                      <a:pt x="2664" y="1431"/>
                      <a:pt x="2664" y="1431"/>
                    </a:cubicBezTo>
                    <a:cubicBezTo>
                      <a:pt x="2657" y="1419"/>
                      <a:pt x="2657" y="1419"/>
                      <a:pt x="2657" y="1419"/>
                    </a:cubicBezTo>
                    <a:cubicBezTo>
                      <a:pt x="2657" y="1419"/>
                      <a:pt x="2680" y="1417"/>
                      <a:pt x="2677" y="1413"/>
                    </a:cubicBezTo>
                    <a:cubicBezTo>
                      <a:pt x="2673" y="1409"/>
                      <a:pt x="2669" y="1397"/>
                      <a:pt x="2664" y="1397"/>
                    </a:cubicBezTo>
                    <a:cubicBezTo>
                      <a:pt x="2659" y="1398"/>
                      <a:pt x="2659" y="1409"/>
                      <a:pt x="2659" y="1409"/>
                    </a:cubicBezTo>
                    <a:cubicBezTo>
                      <a:pt x="2659" y="1409"/>
                      <a:pt x="2653" y="1397"/>
                      <a:pt x="2651" y="1397"/>
                    </a:cubicBezTo>
                    <a:cubicBezTo>
                      <a:pt x="2648" y="1397"/>
                      <a:pt x="2640" y="1397"/>
                      <a:pt x="2640" y="1397"/>
                    </a:cubicBezTo>
                    <a:cubicBezTo>
                      <a:pt x="2640" y="1397"/>
                      <a:pt x="2621" y="1423"/>
                      <a:pt x="2629" y="1423"/>
                    </a:cubicBezTo>
                    <a:cubicBezTo>
                      <a:pt x="2637" y="1423"/>
                      <a:pt x="2635" y="1413"/>
                      <a:pt x="2639" y="1413"/>
                    </a:cubicBezTo>
                    <a:cubicBezTo>
                      <a:pt x="2642" y="1414"/>
                      <a:pt x="2655" y="1422"/>
                      <a:pt x="2650" y="1426"/>
                    </a:cubicBezTo>
                    <a:cubicBezTo>
                      <a:pt x="2645" y="1430"/>
                      <a:pt x="2635" y="1430"/>
                      <a:pt x="2635" y="1430"/>
                    </a:cubicBezTo>
                    <a:cubicBezTo>
                      <a:pt x="2635" y="1430"/>
                      <a:pt x="2613" y="1441"/>
                      <a:pt x="2620" y="1450"/>
                    </a:cubicBezTo>
                    <a:cubicBezTo>
                      <a:pt x="2627" y="1459"/>
                      <a:pt x="2639" y="1468"/>
                      <a:pt x="2641" y="1457"/>
                    </a:cubicBezTo>
                    <a:cubicBezTo>
                      <a:pt x="2645" y="1435"/>
                      <a:pt x="2645" y="1435"/>
                      <a:pt x="2645" y="1435"/>
                    </a:cubicBezTo>
                    <a:cubicBezTo>
                      <a:pt x="2645" y="1435"/>
                      <a:pt x="2649" y="1441"/>
                      <a:pt x="2655" y="1441"/>
                    </a:cubicBezTo>
                    <a:cubicBezTo>
                      <a:pt x="2662" y="1441"/>
                      <a:pt x="2660" y="1454"/>
                      <a:pt x="2656" y="1456"/>
                    </a:cubicBezTo>
                    <a:cubicBezTo>
                      <a:pt x="2652" y="1458"/>
                      <a:pt x="2657" y="1469"/>
                      <a:pt x="2659" y="1468"/>
                    </a:cubicBezTo>
                    <a:cubicBezTo>
                      <a:pt x="2661" y="1467"/>
                      <a:pt x="2676" y="1455"/>
                      <a:pt x="2679" y="1455"/>
                    </a:cubicBezTo>
                    <a:cubicBezTo>
                      <a:pt x="2683" y="1455"/>
                      <a:pt x="2681" y="1463"/>
                      <a:pt x="2684" y="1461"/>
                    </a:cubicBezTo>
                    <a:close/>
                    <a:moveTo>
                      <a:pt x="2479" y="1293"/>
                    </a:moveTo>
                    <a:cubicBezTo>
                      <a:pt x="2479" y="1293"/>
                      <a:pt x="2478" y="1312"/>
                      <a:pt x="2481" y="1317"/>
                    </a:cubicBezTo>
                    <a:cubicBezTo>
                      <a:pt x="2483" y="1323"/>
                      <a:pt x="2497" y="1319"/>
                      <a:pt x="2497" y="1319"/>
                    </a:cubicBezTo>
                    <a:cubicBezTo>
                      <a:pt x="2511" y="1313"/>
                      <a:pt x="2511" y="1313"/>
                      <a:pt x="2511" y="1313"/>
                    </a:cubicBezTo>
                    <a:cubicBezTo>
                      <a:pt x="2508" y="1304"/>
                      <a:pt x="2508" y="1304"/>
                      <a:pt x="2508" y="1304"/>
                    </a:cubicBezTo>
                    <a:cubicBezTo>
                      <a:pt x="2520" y="1305"/>
                      <a:pt x="2520" y="1305"/>
                      <a:pt x="2520" y="1305"/>
                    </a:cubicBezTo>
                    <a:cubicBezTo>
                      <a:pt x="2531" y="1323"/>
                      <a:pt x="2531" y="1323"/>
                      <a:pt x="2531" y="1323"/>
                    </a:cubicBezTo>
                    <a:cubicBezTo>
                      <a:pt x="2531" y="1323"/>
                      <a:pt x="2539" y="1325"/>
                      <a:pt x="2541" y="1334"/>
                    </a:cubicBezTo>
                    <a:cubicBezTo>
                      <a:pt x="2542" y="1343"/>
                      <a:pt x="2534" y="1343"/>
                      <a:pt x="2534" y="1343"/>
                    </a:cubicBezTo>
                    <a:cubicBezTo>
                      <a:pt x="2534" y="1343"/>
                      <a:pt x="2535" y="1351"/>
                      <a:pt x="2537" y="1350"/>
                    </a:cubicBezTo>
                    <a:cubicBezTo>
                      <a:pt x="2540" y="1349"/>
                      <a:pt x="2561" y="1333"/>
                      <a:pt x="2561" y="1333"/>
                    </a:cubicBezTo>
                    <a:cubicBezTo>
                      <a:pt x="2551" y="1313"/>
                      <a:pt x="2551" y="1313"/>
                      <a:pt x="2551" y="1313"/>
                    </a:cubicBezTo>
                    <a:cubicBezTo>
                      <a:pt x="2551" y="1313"/>
                      <a:pt x="2546" y="1315"/>
                      <a:pt x="2544" y="1315"/>
                    </a:cubicBezTo>
                    <a:cubicBezTo>
                      <a:pt x="2542" y="1315"/>
                      <a:pt x="2530" y="1294"/>
                      <a:pt x="2530" y="1294"/>
                    </a:cubicBezTo>
                    <a:cubicBezTo>
                      <a:pt x="2530" y="1294"/>
                      <a:pt x="2507" y="1284"/>
                      <a:pt x="2503" y="1283"/>
                    </a:cubicBezTo>
                    <a:cubicBezTo>
                      <a:pt x="2500" y="1283"/>
                      <a:pt x="2514" y="1260"/>
                      <a:pt x="2514" y="1258"/>
                    </a:cubicBezTo>
                    <a:cubicBezTo>
                      <a:pt x="2514" y="1256"/>
                      <a:pt x="2507" y="1251"/>
                      <a:pt x="2505" y="1251"/>
                    </a:cubicBezTo>
                    <a:cubicBezTo>
                      <a:pt x="2503" y="1251"/>
                      <a:pt x="2499" y="1258"/>
                      <a:pt x="2493" y="1274"/>
                    </a:cubicBezTo>
                    <a:cubicBezTo>
                      <a:pt x="2486" y="1290"/>
                      <a:pt x="2461" y="1269"/>
                      <a:pt x="2461" y="1269"/>
                    </a:cubicBezTo>
                    <a:cubicBezTo>
                      <a:pt x="2442" y="1267"/>
                      <a:pt x="2479" y="1293"/>
                      <a:pt x="2479" y="1293"/>
                    </a:cubicBezTo>
                    <a:close/>
                    <a:moveTo>
                      <a:pt x="2545" y="1271"/>
                    </a:moveTo>
                    <a:cubicBezTo>
                      <a:pt x="2546" y="1259"/>
                      <a:pt x="2539" y="1255"/>
                      <a:pt x="2539" y="1255"/>
                    </a:cubicBezTo>
                    <a:cubicBezTo>
                      <a:pt x="2539" y="1255"/>
                      <a:pt x="2557" y="1252"/>
                      <a:pt x="2551" y="1244"/>
                    </a:cubicBezTo>
                    <a:cubicBezTo>
                      <a:pt x="2546" y="1236"/>
                      <a:pt x="2537" y="1231"/>
                      <a:pt x="2537" y="1231"/>
                    </a:cubicBezTo>
                    <a:cubicBezTo>
                      <a:pt x="2527" y="1254"/>
                      <a:pt x="2527" y="1254"/>
                      <a:pt x="2527" y="1254"/>
                    </a:cubicBezTo>
                    <a:cubicBezTo>
                      <a:pt x="2527" y="1277"/>
                      <a:pt x="2527" y="1277"/>
                      <a:pt x="2527" y="1277"/>
                    </a:cubicBezTo>
                    <a:cubicBezTo>
                      <a:pt x="2527" y="1277"/>
                      <a:pt x="2545" y="1283"/>
                      <a:pt x="2545" y="1271"/>
                    </a:cubicBezTo>
                    <a:close/>
                    <a:moveTo>
                      <a:pt x="2575" y="1464"/>
                    </a:moveTo>
                    <a:cubicBezTo>
                      <a:pt x="2579" y="1451"/>
                      <a:pt x="2573" y="1446"/>
                      <a:pt x="2573" y="1446"/>
                    </a:cubicBezTo>
                    <a:cubicBezTo>
                      <a:pt x="2573" y="1446"/>
                      <a:pt x="2557" y="1453"/>
                      <a:pt x="2557" y="1464"/>
                    </a:cubicBezTo>
                    <a:cubicBezTo>
                      <a:pt x="2540" y="1467"/>
                      <a:pt x="2533" y="1463"/>
                      <a:pt x="2533" y="1463"/>
                    </a:cubicBezTo>
                    <a:cubicBezTo>
                      <a:pt x="2533" y="1459"/>
                      <a:pt x="2533" y="1459"/>
                      <a:pt x="2533" y="1459"/>
                    </a:cubicBezTo>
                    <a:cubicBezTo>
                      <a:pt x="2533" y="1459"/>
                      <a:pt x="2519" y="1462"/>
                      <a:pt x="2521" y="1487"/>
                    </a:cubicBezTo>
                    <a:cubicBezTo>
                      <a:pt x="2556" y="1490"/>
                      <a:pt x="2556" y="1490"/>
                      <a:pt x="2556" y="1490"/>
                    </a:cubicBezTo>
                    <a:cubicBezTo>
                      <a:pt x="2556" y="1490"/>
                      <a:pt x="2553" y="1495"/>
                      <a:pt x="2555" y="1495"/>
                    </a:cubicBezTo>
                    <a:cubicBezTo>
                      <a:pt x="2557" y="1495"/>
                      <a:pt x="2569" y="1495"/>
                      <a:pt x="2569" y="1495"/>
                    </a:cubicBezTo>
                    <a:cubicBezTo>
                      <a:pt x="2571" y="1482"/>
                      <a:pt x="2571" y="1482"/>
                      <a:pt x="2571" y="1482"/>
                    </a:cubicBezTo>
                    <a:cubicBezTo>
                      <a:pt x="2571" y="1482"/>
                      <a:pt x="2561" y="1464"/>
                      <a:pt x="2575" y="1464"/>
                    </a:cubicBezTo>
                    <a:close/>
                    <a:moveTo>
                      <a:pt x="2489" y="1445"/>
                    </a:moveTo>
                    <a:cubicBezTo>
                      <a:pt x="2495" y="1457"/>
                      <a:pt x="2495" y="1457"/>
                      <a:pt x="2495" y="1457"/>
                    </a:cubicBezTo>
                    <a:cubicBezTo>
                      <a:pt x="2515" y="1457"/>
                      <a:pt x="2515" y="1457"/>
                      <a:pt x="2515" y="1457"/>
                    </a:cubicBezTo>
                    <a:cubicBezTo>
                      <a:pt x="2501" y="1439"/>
                      <a:pt x="2501" y="1439"/>
                      <a:pt x="2501" y="1439"/>
                    </a:cubicBezTo>
                    <a:lnTo>
                      <a:pt x="2489" y="1445"/>
                    </a:lnTo>
                    <a:close/>
                    <a:moveTo>
                      <a:pt x="2521" y="1419"/>
                    </a:moveTo>
                    <a:cubicBezTo>
                      <a:pt x="2530" y="1417"/>
                      <a:pt x="2534" y="1405"/>
                      <a:pt x="2531" y="1397"/>
                    </a:cubicBezTo>
                    <a:cubicBezTo>
                      <a:pt x="2529" y="1390"/>
                      <a:pt x="2520" y="1381"/>
                      <a:pt x="2520" y="1381"/>
                    </a:cubicBezTo>
                    <a:cubicBezTo>
                      <a:pt x="2513" y="1390"/>
                      <a:pt x="2513" y="1390"/>
                      <a:pt x="2513" y="1390"/>
                    </a:cubicBezTo>
                    <a:cubicBezTo>
                      <a:pt x="2513" y="1390"/>
                      <a:pt x="2511" y="1421"/>
                      <a:pt x="2521" y="1419"/>
                    </a:cubicBezTo>
                    <a:close/>
                    <a:moveTo>
                      <a:pt x="2490" y="1419"/>
                    </a:moveTo>
                    <a:cubicBezTo>
                      <a:pt x="2482" y="1429"/>
                      <a:pt x="2482" y="1429"/>
                      <a:pt x="2482" y="1429"/>
                    </a:cubicBezTo>
                    <a:cubicBezTo>
                      <a:pt x="2482" y="1429"/>
                      <a:pt x="2493" y="1430"/>
                      <a:pt x="2503" y="1430"/>
                    </a:cubicBezTo>
                    <a:cubicBezTo>
                      <a:pt x="2513" y="1430"/>
                      <a:pt x="2511" y="1420"/>
                      <a:pt x="2511" y="1420"/>
                    </a:cubicBezTo>
                    <a:cubicBezTo>
                      <a:pt x="2511" y="1420"/>
                      <a:pt x="2499" y="1403"/>
                      <a:pt x="2500" y="1391"/>
                    </a:cubicBezTo>
                    <a:cubicBezTo>
                      <a:pt x="2501" y="1379"/>
                      <a:pt x="2506" y="1385"/>
                      <a:pt x="2506" y="1385"/>
                    </a:cubicBezTo>
                    <a:cubicBezTo>
                      <a:pt x="2506" y="1375"/>
                      <a:pt x="2506" y="1375"/>
                      <a:pt x="2506" y="1375"/>
                    </a:cubicBezTo>
                    <a:cubicBezTo>
                      <a:pt x="2506" y="1375"/>
                      <a:pt x="2493" y="1381"/>
                      <a:pt x="2482" y="1381"/>
                    </a:cubicBezTo>
                    <a:cubicBezTo>
                      <a:pt x="2471" y="1381"/>
                      <a:pt x="2453" y="1363"/>
                      <a:pt x="2453" y="1363"/>
                    </a:cubicBezTo>
                    <a:cubicBezTo>
                      <a:pt x="2439" y="1380"/>
                      <a:pt x="2439" y="1380"/>
                      <a:pt x="2439" y="1380"/>
                    </a:cubicBezTo>
                    <a:cubicBezTo>
                      <a:pt x="2434" y="1419"/>
                      <a:pt x="2490" y="1419"/>
                      <a:pt x="2490" y="1419"/>
                    </a:cubicBezTo>
                    <a:close/>
                    <a:moveTo>
                      <a:pt x="2411" y="1583"/>
                    </a:moveTo>
                    <a:cubicBezTo>
                      <a:pt x="2412" y="1589"/>
                      <a:pt x="2414" y="1600"/>
                      <a:pt x="2417" y="1599"/>
                    </a:cubicBezTo>
                    <a:cubicBezTo>
                      <a:pt x="2421" y="1597"/>
                      <a:pt x="2423" y="1589"/>
                      <a:pt x="2423" y="1589"/>
                    </a:cubicBezTo>
                    <a:cubicBezTo>
                      <a:pt x="2423" y="1589"/>
                      <a:pt x="2413" y="1589"/>
                      <a:pt x="2411" y="1583"/>
                    </a:cubicBezTo>
                    <a:close/>
                    <a:moveTo>
                      <a:pt x="2457" y="1696"/>
                    </a:moveTo>
                    <a:cubicBezTo>
                      <a:pt x="2466" y="1697"/>
                      <a:pt x="2470" y="1687"/>
                      <a:pt x="2470" y="1687"/>
                    </a:cubicBezTo>
                    <a:cubicBezTo>
                      <a:pt x="2463" y="1679"/>
                      <a:pt x="2463" y="1679"/>
                      <a:pt x="2463" y="1679"/>
                    </a:cubicBezTo>
                    <a:cubicBezTo>
                      <a:pt x="2463" y="1679"/>
                      <a:pt x="2449" y="1695"/>
                      <a:pt x="2457" y="1696"/>
                    </a:cubicBezTo>
                    <a:close/>
                    <a:moveTo>
                      <a:pt x="2411" y="1583"/>
                    </a:moveTo>
                    <a:cubicBezTo>
                      <a:pt x="2411" y="1582"/>
                      <a:pt x="2411" y="1581"/>
                      <a:pt x="2411" y="1581"/>
                    </a:cubicBezTo>
                    <a:cubicBezTo>
                      <a:pt x="2411" y="1582"/>
                      <a:pt x="2411" y="1583"/>
                      <a:pt x="2411" y="1583"/>
                    </a:cubicBezTo>
                    <a:close/>
                    <a:moveTo>
                      <a:pt x="2447" y="1732"/>
                    </a:moveTo>
                    <a:cubicBezTo>
                      <a:pt x="2447" y="1732"/>
                      <a:pt x="2437" y="1717"/>
                      <a:pt x="2437" y="1719"/>
                    </a:cubicBezTo>
                    <a:cubicBezTo>
                      <a:pt x="2439" y="1731"/>
                      <a:pt x="2429" y="1746"/>
                      <a:pt x="2429" y="1746"/>
                    </a:cubicBezTo>
                    <a:lnTo>
                      <a:pt x="2447" y="1732"/>
                    </a:lnTo>
                    <a:close/>
                    <a:moveTo>
                      <a:pt x="2335" y="1623"/>
                    </a:moveTo>
                    <a:cubicBezTo>
                      <a:pt x="2347" y="1636"/>
                      <a:pt x="2339" y="1661"/>
                      <a:pt x="2381" y="1661"/>
                    </a:cubicBezTo>
                    <a:cubicBezTo>
                      <a:pt x="2389" y="1669"/>
                      <a:pt x="2385" y="1671"/>
                      <a:pt x="2387" y="1670"/>
                    </a:cubicBezTo>
                    <a:cubicBezTo>
                      <a:pt x="2389" y="1669"/>
                      <a:pt x="2394" y="1663"/>
                      <a:pt x="2394" y="1663"/>
                    </a:cubicBezTo>
                    <a:cubicBezTo>
                      <a:pt x="2425" y="1665"/>
                      <a:pt x="2425" y="1665"/>
                      <a:pt x="2425" y="1665"/>
                    </a:cubicBezTo>
                    <a:cubicBezTo>
                      <a:pt x="2433" y="1653"/>
                      <a:pt x="2433" y="1653"/>
                      <a:pt x="2433" y="1653"/>
                    </a:cubicBezTo>
                    <a:cubicBezTo>
                      <a:pt x="2422" y="1641"/>
                      <a:pt x="2422" y="1641"/>
                      <a:pt x="2422" y="1641"/>
                    </a:cubicBezTo>
                    <a:cubicBezTo>
                      <a:pt x="2413" y="1647"/>
                      <a:pt x="2413" y="1647"/>
                      <a:pt x="2413" y="1647"/>
                    </a:cubicBezTo>
                    <a:cubicBezTo>
                      <a:pt x="2403" y="1645"/>
                      <a:pt x="2403" y="1645"/>
                      <a:pt x="2403" y="1645"/>
                    </a:cubicBezTo>
                    <a:cubicBezTo>
                      <a:pt x="2417" y="1625"/>
                      <a:pt x="2417" y="1625"/>
                      <a:pt x="2417" y="1625"/>
                    </a:cubicBezTo>
                    <a:cubicBezTo>
                      <a:pt x="2417" y="1625"/>
                      <a:pt x="2426" y="1637"/>
                      <a:pt x="2428" y="1637"/>
                    </a:cubicBezTo>
                    <a:cubicBezTo>
                      <a:pt x="2430" y="1637"/>
                      <a:pt x="2455" y="1639"/>
                      <a:pt x="2455" y="1639"/>
                    </a:cubicBezTo>
                    <a:cubicBezTo>
                      <a:pt x="2455" y="1639"/>
                      <a:pt x="2438" y="1627"/>
                      <a:pt x="2447" y="1624"/>
                    </a:cubicBezTo>
                    <a:cubicBezTo>
                      <a:pt x="2455" y="1621"/>
                      <a:pt x="2463" y="1619"/>
                      <a:pt x="2463" y="1619"/>
                    </a:cubicBezTo>
                    <a:cubicBezTo>
                      <a:pt x="2463" y="1619"/>
                      <a:pt x="2460" y="1609"/>
                      <a:pt x="2458" y="1609"/>
                    </a:cubicBezTo>
                    <a:cubicBezTo>
                      <a:pt x="2456" y="1609"/>
                      <a:pt x="2438" y="1620"/>
                      <a:pt x="2431" y="1619"/>
                    </a:cubicBezTo>
                    <a:cubicBezTo>
                      <a:pt x="2425" y="1619"/>
                      <a:pt x="2413" y="1607"/>
                      <a:pt x="2413" y="1607"/>
                    </a:cubicBezTo>
                    <a:cubicBezTo>
                      <a:pt x="2410" y="1622"/>
                      <a:pt x="2410" y="1622"/>
                      <a:pt x="2410" y="1622"/>
                    </a:cubicBezTo>
                    <a:cubicBezTo>
                      <a:pt x="2395" y="1597"/>
                      <a:pt x="2395" y="1597"/>
                      <a:pt x="2395" y="1597"/>
                    </a:cubicBezTo>
                    <a:cubicBezTo>
                      <a:pt x="2398" y="1590"/>
                      <a:pt x="2398" y="1590"/>
                      <a:pt x="2398" y="1590"/>
                    </a:cubicBezTo>
                    <a:cubicBezTo>
                      <a:pt x="2398" y="1590"/>
                      <a:pt x="2357" y="1571"/>
                      <a:pt x="2357" y="1566"/>
                    </a:cubicBezTo>
                    <a:cubicBezTo>
                      <a:pt x="2357" y="1561"/>
                      <a:pt x="2361" y="1559"/>
                      <a:pt x="2361" y="1559"/>
                    </a:cubicBezTo>
                    <a:cubicBezTo>
                      <a:pt x="2361" y="1559"/>
                      <a:pt x="2373" y="1565"/>
                      <a:pt x="2373" y="1561"/>
                    </a:cubicBezTo>
                    <a:cubicBezTo>
                      <a:pt x="2372" y="1556"/>
                      <a:pt x="2372" y="1551"/>
                      <a:pt x="2372" y="1551"/>
                    </a:cubicBezTo>
                    <a:cubicBezTo>
                      <a:pt x="2361" y="1547"/>
                      <a:pt x="2361" y="1547"/>
                      <a:pt x="2361" y="1547"/>
                    </a:cubicBezTo>
                    <a:cubicBezTo>
                      <a:pt x="2361" y="1531"/>
                      <a:pt x="2361" y="1531"/>
                      <a:pt x="2361" y="1531"/>
                    </a:cubicBezTo>
                    <a:cubicBezTo>
                      <a:pt x="2371" y="1535"/>
                      <a:pt x="2371" y="1535"/>
                      <a:pt x="2371" y="1535"/>
                    </a:cubicBezTo>
                    <a:cubicBezTo>
                      <a:pt x="2380" y="1522"/>
                      <a:pt x="2380" y="1522"/>
                      <a:pt x="2380" y="1522"/>
                    </a:cubicBezTo>
                    <a:cubicBezTo>
                      <a:pt x="2387" y="1532"/>
                      <a:pt x="2387" y="1532"/>
                      <a:pt x="2387" y="1532"/>
                    </a:cubicBezTo>
                    <a:cubicBezTo>
                      <a:pt x="2387" y="1532"/>
                      <a:pt x="2385" y="1571"/>
                      <a:pt x="2411" y="1570"/>
                    </a:cubicBezTo>
                    <a:cubicBezTo>
                      <a:pt x="2421" y="1559"/>
                      <a:pt x="2423" y="1563"/>
                      <a:pt x="2423" y="1563"/>
                    </a:cubicBezTo>
                    <a:cubicBezTo>
                      <a:pt x="2431" y="1568"/>
                      <a:pt x="2431" y="1568"/>
                      <a:pt x="2431" y="1568"/>
                    </a:cubicBezTo>
                    <a:cubicBezTo>
                      <a:pt x="2441" y="1557"/>
                      <a:pt x="2441" y="1557"/>
                      <a:pt x="2441" y="1557"/>
                    </a:cubicBezTo>
                    <a:cubicBezTo>
                      <a:pt x="2441" y="1557"/>
                      <a:pt x="2467" y="1547"/>
                      <a:pt x="2485" y="1551"/>
                    </a:cubicBezTo>
                    <a:cubicBezTo>
                      <a:pt x="2495" y="1537"/>
                      <a:pt x="2495" y="1536"/>
                      <a:pt x="2499" y="1536"/>
                    </a:cubicBezTo>
                    <a:cubicBezTo>
                      <a:pt x="2503" y="1536"/>
                      <a:pt x="2499" y="1549"/>
                      <a:pt x="2499" y="1549"/>
                    </a:cubicBezTo>
                    <a:cubicBezTo>
                      <a:pt x="2499" y="1549"/>
                      <a:pt x="2521" y="1578"/>
                      <a:pt x="2519" y="1591"/>
                    </a:cubicBezTo>
                    <a:cubicBezTo>
                      <a:pt x="2526" y="1585"/>
                      <a:pt x="2531" y="1582"/>
                      <a:pt x="2531" y="1582"/>
                    </a:cubicBezTo>
                    <a:cubicBezTo>
                      <a:pt x="2535" y="1589"/>
                      <a:pt x="2535" y="1589"/>
                      <a:pt x="2535" y="1589"/>
                    </a:cubicBezTo>
                    <a:cubicBezTo>
                      <a:pt x="2526" y="1612"/>
                      <a:pt x="2526" y="1612"/>
                      <a:pt x="2526" y="1612"/>
                    </a:cubicBezTo>
                    <a:cubicBezTo>
                      <a:pt x="2517" y="1601"/>
                      <a:pt x="2517" y="1601"/>
                      <a:pt x="2517" y="1601"/>
                    </a:cubicBezTo>
                    <a:cubicBezTo>
                      <a:pt x="2506" y="1609"/>
                      <a:pt x="2506" y="1609"/>
                      <a:pt x="2506" y="1609"/>
                    </a:cubicBezTo>
                    <a:cubicBezTo>
                      <a:pt x="2503" y="1603"/>
                      <a:pt x="2503" y="1603"/>
                      <a:pt x="2503" y="1603"/>
                    </a:cubicBezTo>
                    <a:cubicBezTo>
                      <a:pt x="2503" y="1603"/>
                      <a:pt x="2492" y="1612"/>
                      <a:pt x="2494" y="1612"/>
                    </a:cubicBezTo>
                    <a:cubicBezTo>
                      <a:pt x="2496" y="1612"/>
                      <a:pt x="2509" y="1615"/>
                      <a:pt x="2509" y="1615"/>
                    </a:cubicBezTo>
                    <a:cubicBezTo>
                      <a:pt x="2493" y="1626"/>
                      <a:pt x="2493" y="1626"/>
                      <a:pt x="2493" y="1626"/>
                    </a:cubicBezTo>
                    <a:cubicBezTo>
                      <a:pt x="2485" y="1623"/>
                      <a:pt x="2485" y="1623"/>
                      <a:pt x="2485" y="1623"/>
                    </a:cubicBezTo>
                    <a:cubicBezTo>
                      <a:pt x="2471" y="1631"/>
                      <a:pt x="2471" y="1631"/>
                      <a:pt x="2471" y="1631"/>
                    </a:cubicBezTo>
                    <a:cubicBezTo>
                      <a:pt x="2489" y="1654"/>
                      <a:pt x="2489" y="1654"/>
                      <a:pt x="2489" y="1654"/>
                    </a:cubicBezTo>
                    <a:cubicBezTo>
                      <a:pt x="2489" y="1654"/>
                      <a:pt x="2499" y="1662"/>
                      <a:pt x="2492" y="1681"/>
                    </a:cubicBezTo>
                    <a:cubicBezTo>
                      <a:pt x="2506" y="1691"/>
                      <a:pt x="2501" y="1704"/>
                      <a:pt x="2505" y="1703"/>
                    </a:cubicBezTo>
                    <a:cubicBezTo>
                      <a:pt x="2510" y="1703"/>
                      <a:pt x="2534" y="1694"/>
                      <a:pt x="2530" y="1686"/>
                    </a:cubicBezTo>
                    <a:cubicBezTo>
                      <a:pt x="2526" y="1678"/>
                      <a:pt x="2521" y="1676"/>
                      <a:pt x="2521" y="1674"/>
                    </a:cubicBezTo>
                    <a:cubicBezTo>
                      <a:pt x="2521" y="1672"/>
                      <a:pt x="2521" y="1642"/>
                      <a:pt x="2541" y="1641"/>
                    </a:cubicBezTo>
                    <a:cubicBezTo>
                      <a:pt x="2537" y="1629"/>
                      <a:pt x="2533" y="1629"/>
                      <a:pt x="2537" y="1625"/>
                    </a:cubicBezTo>
                    <a:cubicBezTo>
                      <a:pt x="2541" y="1621"/>
                      <a:pt x="2556" y="1616"/>
                      <a:pt x="2556" y="1616"/>
                    </a:cubicBezTo>
                    <a:cubicBezTo>
                      <a:pt x="2535" y="1611"/>
                      <a:pt x="2535" y="1611"/>
                      <a:pt x="2535" y="1611"/>
                    </a:cubicBezTo>
                    <a:cubicBezTo>
                      <a:pt x="2538" y="1601"/>
                      <a:pt x="2538" y="1601"/>
                      <a:pt x="2538" y="1601"/>
                    </a:cubicBezTo>
                    <a:cubicBezTo>
                      <a:pt x="2538" y="1593"/>
                      <a:pt x="2538" y="1593"/>
                      <a:pt x="2538" y="1593"/>
                    </a:cubicBezTo>
                    <a:cubicBezTo>
                      <a:pt x="2545" y="1581"/>
                      <a:pt x="2545" y="1581"/>
                      <a:pt x="2545" y="1581"/>
                    </a:cubicBezTo>
                    <a:cubicBezTo>
                      <a:pt x="2545" y="1581"/>
                      <a:pt x="2559" y="1604"/>
                      <a:pt x="2561" y="1602"/>
                    </a:cubicBezTo>
                    <a:cubicBezTo>
                      <a:pt x="2563" y="1600"/>
                      <a:pt x="2581" y="1571"/>
                      <a:pt x="2581" y="1571"/>
                    </a:cubicBezTo>
                    <a:cubicBezTo>
                      <a:pt x="2581" y="1571"/>
                      <a:pt x="2608" y="1563"/>
                      <a:pt x="2609" y="1569"/>
                    </a:cubicBezTo>
                    <a:cubicBezTo>
                      <a:pt x="2609" y="1574"/>
                      <a:pt x="2619" y="1539"/>
                      <a:pt x="2619" y="1539"/>
                    </a:cubicBezTo>
                    <a:cubicBezTo>
                      <a:pt x="2611" y="1530"/>
                      <a:pt x="2611" y="1530"/>
                      <a:pt x="2611" y="1530"/>
                    </a:cubicBezTo>
                    <a:cubicBezTo>
                      <a:pt x="2573" y="1543"/>
                      <a:pt x="2573" y="1543"/>
                      <a:pt x="2573" y="1543"/>
                    </a:cubicBezTo>
                    <a:cubicBezTo>
                      <a:pt x="2573" y="1543"/>
                      <a:pt x="2590" y="1568"/>
                      <a:pt x="2581" y="1566"/>
                    </a:cubicBezTo>
                    <a:cubicBezTo>
                      <a:pt x="2573" y="1564"/>
                      <a:pt x="2553" y="1555"/>
                      <a:pt x="2558" y="1546"/>
                    </a:cubicBezTo>
                    <a:cubicBezTo>
                      <a:pt x="2563" y="1537"/>
                      <a:pt x="2578" y="1531"/>
                      <a:pt x="2578" y="1531"/>
                    </a:cubicBezTo>
                    <a:cubicBezTo>
                      <a:pt x="2578" y="1531"/>
                      <a:pt x="2581" y="1513"/>
                      <a:pt x="2576" y="1512"/>
                    </a:cubicBezTo>
                    <a:cubicBezTo>
                      <a:pt x="2571" y="1511"/>
                      <a:pt x="2571" y="1522"/>
                      <a:pt x="2563" y="1523"/>
                    </a:cubicBezTo>
                    <a:cubicBezTo>
                      <a:pt x="2554" y="1523"/>
                      <a:pt x="2553" y="1516"/>
                      <a:pt x="2553" y="1516"/>
                    </a:cubicBezTo>
                    <a:cubicBezTo>
                      <a:pt x="2553" y="1516"/>
                      <a:pt x="2545" y="1540"/>
                      <a:pt x="2533" y="1536"/>
                    </a:cubicBezTo>
                    <a:cubicBezTo>
                      <a:pt x="2521" y="1532"/>
                      <a:pt x="2517" y="1523"/>
                      <a:pt x="2523" y="1523"/>
                    </a:cubicBezTo>
                    <a:cubicBezTo>
                      <a:pt x="2529" y="1523"/>
                      <a:pt x="2538" y="1519"/>
                      <a:pt x="2538" y="1519"/>
                    </a:cubicBezTo>
                    <a:cubicBezTo>
                      <a:pt x="2528" y="1511"/>
                      <a:pt x="2528" y="1511"/>
                      <a:pt x="2528" y="1511"/>
                    </a:cubicBezTo>
                    <a:cubicBezTo>
                      <a:pt x="2528" y="1511"/>
                      <a:pt x="2535" y="1503"/>
                      <a:pt x="2529" y="1499"/>
                    </a:cubicBezTo>
                    <a:cubicBezTo>
                      <a:pt x="2523" y="1496"/>
                      <a:pt x="2519" y="1501"/>
                      <a:pt x="2519" y="1501"/>
                    </a:cubicBezTo>
                    <a:cubicBezTo>
                      <a:pt x="2515" y="1495"/>
                      <a:pt x="2515" y="1495"/>
                      <a:pt x="2515" y="1495"/>
                    </a:cubicBezTo>
                    <a:cubicBezTo>
                      <a:pt x="2515" y="1495"/>
                      <a:pt x="2518" y="1512"/>
                      <a:pt x="2509" y="1511"/>
                    </a:cubicBezTo>
                    <a:cubicBezTo>
                      <a:pt x="2499" y="1511"/>
                      <a:pt x="2487" y="1497"/>
                      <a:pt x="2487" y="1497"/>
                    </a:cubicBezTo>
                    <a:cubicBezTo>
                      <a:pt x="2479" y="1501"/>
                      <a:pt x="2479" y="1501"/>
                      <a:pt x="2479" y="1501"/>
                    </a:cubicBezTo>
                    <a:cubicBezTo>
                      <a:pt x="2475" y="1496"/>
                      <a:pt x="2475" y="1496"/>
                      <a:pt x="2475" y="1496"/>
                    </a:cubicBezTo>
                    <a:cubicBezTo>
                      <a:pt x="2475" y="1496"/>
                      <a:pt x="2467" y="1509"/>
                      <a:pt x="2465" y="1509"/>
                    </a:cubicBezTo>
                    <a:cubicBezTo>
                      <a:pt x="2463" y="1509"/>
                      <a:pt x="2439" y="1500"/>
                      <a:pt x="2449" y="1495"/>
                    </a:cubicBezTo>
                    <a:cubicBezTo>
                      <a:pt x="2458" y="1491"/>
                      <a:pt x="2461" y="1493"/>
                      <a:pt x="2461" y="1493"/>
                    </a:cubicBezTo>
                    <a:cubicBezTo>
                      <a:pt x="2461" y="1493"/>
                      <a:pt x="2460" y="1475"/>
                      <a:pt x="2469" y="1475"/>
                    </a:cubicBezTo>
                    <a:cubicBezTo>
                      <a:pt x="2477" y="1475"/>
                      <a:pt x="2474" y="1486"/>
                      <a:pt x="2478" y="1483"/>
                    </a:cubicBezTo>
                    <a:cubicBezTo>
                      <a:pt x="2482" y="1479"/>
                      <a:pt x="2491" y="1468"/>
                      <a:pt x="2491" y="1468"/>
                    </a:cubicBezTo>
                    <a:cubicBezTo>
                      <a:pt x="2491" y="1468"/>
                      <a:pt x="2481" y="1445"/>
                      <a:pt x="2471" y="1445"/>
                    </a:cubicBezTo>
                    <a:cubicBezTo>
                      <a:pt x="2462" y="1445"/>
                      <a:pt x="2469" y="1429"/>
                      <a:pt x="2469" y="1429"/>
                    </a:cubicBezTo>
                    <a:cubicBezTo>
                      <a:pt x="2469" y="1429"/>
                      <a:pt x="2452" y="1419"/>
                      <a:pt x="2443" y="1419"/>
                    </a:cubicBezTo>
                    <a:cubicBezTo>
                      <a:pt x="2435" y="1420"/>
                      <a:pt x="2402" y="1395"/>
                      <a:pt x="2402" y="1395"/>
                    </a:cubicBezTo>
                    <a:cubicBezTo>
                      <a:pt x="2402" y="1395"/>
                      <a:pt x="2369" y="1398"/>
                      <a:pt x="2368" y="1403"/>
                    </a:cubicBezTo>
                    <a:cubicBezTo>
                      <a:pt x="2354" y="1404"/>
                      <a:pt x="2349" y="1403"/>
                      <a:pt x="2349" y="1403"/>
                    </a:cubicBezTo>
                    <a:cubicBezTo>
                      <a:pt x="2349" y="1403"/>
                      <a:pt x="2351" y="1422"/>
                      <a:pt x="2333" y="1427"/>
                    </a:cubicBezTo>
                    <a:cubicBezTo>
                      <a:pt x="2335" y="1442"/>
                      <a:pt x="2338" y="1461"/>
                      <a:pt x="2338" y="1461"/>
                    </a:cubicBezTo>
                    <a:cubicBezTo>
                      <a:pt x="2332" y="1464"/>
                      <a:pt x="2332" y="1464"/>
                      <a:pt x="2332" y="1464"/>
                    </a:cubicBezTo>
                    <a:cubicBezTo>
                      <a:pt x="2333" y="1478"/>
                      <a:pt x="2333" y="1478"/>
                      <a:pt x="2333" y="1478"/>
                    </a:cubicBezTo>
                    <a:cubicBezTo>
                      <a:pt x="2333" y="1478"/>
                      <a:pt x="2313" y="1533"/>
                      <a:pt x="2351" y="1540"/>
                    </a:cubicBezTo>
                    <a:cubicBezTo>
                      <a:pt x="2352" y="1550"/>
                      <a:pt x="2352" y="1560"/>
                      <a:pt x="2352" y="1560"/>
                    </a:cubicBezTo>
                    <a:cubicBezTo>
                      <a:pt x="2341" y="1545"/>
                      <a:pt x="2341" y="1545"/>
                      <a:pt x="2341" y="1545"/>
                    </a:cubicBezTo>
                    <a:cubicBezTo>
                      <a:pt x="2341" y="1545"/>
                      <a:pt x="2305" y="1553"/>
                      <a:pt x="2299" y="1594"/>
                    </a:cubicBezTo>
                    <a:cubicBezTo>
                      <a:pt x="2321" y="1597"/>
                      <a:pt x="2321" y="1597"/>
                      <a:pt x="2321" y="1597"/>
                    </a:cubicBezTo>
                    <a:cubicBezTo>
                      <a:pt x="2321" y="1597"/>
                      <a:pt x="2324" y="1621"/>
                      <a:pt x="2335" y="1623"/>
                    </a:cubicBezTo>
                    <a:close/>
                    <a:moveTo>
                      <a:pt x="2397" y="1645"/>
                    </a:moveTo>
                    <a:cubicBezTo>
                      <a:pt x="2403" y="1649"/>
                      <a:pt x="2384" y="1655"/>
                      <a:pt x="2384" y="1655"/>
                    </a:cubicBezTo>
                    <a:cubicBezTo>
                      <a:pt x="2382" y="1653"/>
                      <a:pt x="2392" y="1641"/>
                      <a:pt x="2397" y="1645"/>
                    </a:cubicBezTo>
                    <a:close/>
                    <a:moveTo>
                      <a:pt x="2490" y="1641"/>
                    </a:moveTo>
                    <a:cubicBezTo>
                      <a:pt x="2487" y="1645"/>
                      <a:pt x="2484" y="1633"/>
                      <a:pt x="2484" y="1633"/>
                    </a:cubicBezTo>
                    <a:cubicBezTo>
                      <a:pt x="2485" y="1628"/>
                      <a:pt x="2493" y="1638"/>
                      <a:pt x="2490" y="1641"/>
                    </a:cubicBezTo>
                    <a:close/>
                    <a:moveTo>
                      <a:pt x="2727" y="1266"/>
                    </a:moveTo>
                    <a:cubicBezTo>
                      <a:pt x="2732" y="1267"/>
                      <a:pt x="2735" y="1273"/>
                      <a:pt x="2735" y="1273"/>
                    </a:cubicBezTo>
                    <a:cubicBezTo>
                      <a:pt x="2735" y="1273"/>
                      <a:pt x="2745" y="1271"/>
                      <a:pt x="2752" y="1264"/>
                    </a:cubicBezTo>
                    <a:cubicBezTo>
                      <a:pt x="2733" y="1263"/>
                      <a:pt x="2746" y="1248"/>
                      <a:pt x="2746" y="1248"/>
                    </a:cubicBezTo>
                    <a:cubicBezTo>
                      <a:pt x="2759" y="1247"/>
                      <a:pt x="2759" y="1247"/>
                      <a:pt x="2759" y="1247"/>
                    </a:cubicBezTo>
                    <a:cubicBezTo>
                      <a:pt x="2761" y="1237"/>
                      <a:pt x="2761" y="1237"/>
                      <a:pt x="2761" y="1237"/>
                    </a:cubicBezTo>
                    <a:cubicBezTo>
                      <a:pt x="2736" y="1238"/>
                      <a:pt x="2736" y="1238"/>
                      <a:pt x="2736" y="1238"/>
                    </a:cubicBezTo>
                    <a:cubicBezTo>
                      <a:pt x="2736" y="1249"/>
                      <a:pt x="2721" y="1265"/>
                      <a:pt x="2727" y="1266"/>
                    </a:cubicBezTo>
                    <a:close/>
                    <a:moveTo>
                      <a:pt x="2623" y="1369"/>
                    </a:moveTo>
                    <a:cubicBezTo>
                      <a:pt x="2629" y="1376"/>
                      <a:pt x="2629" y="1376"/>
                      <a:pt x="2629" y="1376"/>
                    </a:cubicBezTo>
                    <a:cubicBezTo>
                      <a:pt x="2649" y="1345"/>
                      <a:pt x="2649" y="1345"/>
                      <a:pt x="2649" y="1345"/>
                    </a:cubicBezTo>
                    <a:cubicBezTo>
                      <a:pt x="2659" y="1349"/>
                      <a:pt x="2659" y="1349"/>
                      <a:pt x="2659" y="1349"/>
                    </a:cubicBezTo>
                    <a:cubicBezTo>
                      <a:pt x="2665" y="1347"/>
                      <a:pt x="2665" y="1347"/>
                      <a:pt x="2665" y="1347"/>
                    </a:cubicBezTo>
                    <a:cubicBezTo>
                      <a:pt x="2671" y="1360"/>
                      <a:pt x="2671" y="1360"/>
                      <a:pt x="2671" y="1360"/>
                    </a:cubicBezTo>
                    <a:cubicBezTo>
                      <a:pt x="2671" y="1360"/>
                      <a:pt x="2675" y="1348"/>
                      <a:pt x="2677" y="1348"/>
                    </a:cubicBezTo>
                    <a:cubicBezTo>
                      <a:pt x="2679" y="1348"/>
                      <a:pt x="2691" y="1345"/>
                      <a:pt x="2691" y="1345"/>
                    </a:cubicBezTo>
                    <a:cubicBezTo>
                      <a:pt x="2691" y="1345"/>
                      <a:pt x="2699" y="1359"/>
                      <a:pt x="2701" y="1359"/>
                    </a:cubicBezTo>
                    <a:cubicBezTo>
                      <a:pt x="2703" y="1359"/>
                      <a:pt x="2705" y="1351"/>
                      <a:pt x="2705" y="1351"/>
                    </a:cubicBezTo>
                    <a:cubicBezTo>
                      <a:pt x="2694" y="1343"/>
                      <a:pt x="2694" y="1343"/>
                      <a:pt x="2694" y="1343"/>
                    </a:cubicBezTo>
                    <a:cubicBezTo>
                      <a:pt x="2711" y="1327"/>
                      <a:pt x="2711" y="1327"/>
                      <a:pt x="2711" y="1327"/>
                    </a:cubicBezTo>
                    <a:cubicBezTo>
                      <a:pt x="2711" y="1327"/>
                      <a:pt x="2712" y="1319"/>
                      <a:pt x="2722" y="1318"/>
                    </a:cubicBezTo>
                    <a:cubicBezTo>
                      <a:pt x="2732" y="1317"/>
                      <a:pt x="2735" y="1323"/>
                      <a:pt x="2735" y="1323"/>
                    </a:cubicBezTo>
                    <a:cubicBezTo>
                      <a:pt x="2751" y="1319"/>
                      <a:pt x="2751" y="1319"/>
                      <a:pt x="2751" y="1319"/>
                    </a:cubicBezTo>
                    <a:cubicBezTo>
                      <a:pt x="2740" y="1304"/>
                      <a:pt x="2740" y="1304"/>
                      <a:pt x="2740" y="1304"/>
                    </a:cubicBezTo>
                    <a:cubicBezTo>
                      <a:pt x="2740" y="1304"/>
                      <a:pt x="2739" y="1295"/>
                      <a:pt x="2736" y="1292"/>
                    </a:cubicBezTo>
                    <a:cubicBezTo>
                      <a:pt x="2733" y="1289"/>
                      <a:pt x="2737" y="1297"/>
                      <a:pt x="2725" y="1305"/>
                    </a:cubicBezTo>
                    <a:cubicBezTo>
                      <a:pt x="2707" y="1305"/>
                      <a:pt x="2687" y="1323"/>
                      <a:pt x="2687" y="1323"/>
                    </a:cubicBezTo>
                    <a:cubicBezTo>
                      <a:pt x="2687" y="1323"/>
                      <a:pt x="2687" y="1323"/>
                      <a:pt x="2680" y="1319"/>
                    </a:cubicBezTo>
                    <a:cubicBezTo>
                      <a:pt x="2673" y="1314"/>
                      <a:pt x="2692" y="1297"/>
                      <a:pt x="2692" y="1297"/>
                    </a:cubicBezTo>
                    <a:cubicBezTo>
                      <a:pt x="2655" y="1307"/>
                      <a:pt x="2655" y="1307"/>
                      <a:pt x="2655" y="1307"/>
                    </a:cubicBezTo>
                    <a:cubicBezTo>
                      <a:pt x="2659" y="1319"/>
                      <a:pt x="2659" y="1319"/>
                      <a:pt x="2659" y="1319"/>
                    </a:cubicBezTo>
                    <a:cubicBezTo>
                      <a:pt x="2659" y="1319"/>
                      <a:pt x="2615" y="1353"/>
                      <a:pt x="2613" y="1364"/>
                    </a:cubicBezTo>
                    <a:cubicBezTo>
                      <a:pt x="2612" y="1375"/>
                      <a:pt x="2622" y="1385"/>
                      <a:pt x="2622" y="1385"/>
                    </a:cubicBezTo>
                    <a:lnTo>
                      <a:pt x="2623" y="1369"/>
                    </a:lnTo>
                    <a:close/>
                    <a:moveTo>
                      <a:pt x="680" y="2164"/>
                    </a:moveTo>
                    <a:cubicBezTo>
                      <a:pt x="680" y="2167"/>
                      <a:pt x="685" y="2183"/>
                      <a:pt x="720" y="2202"/>
                    </a:cubicBezTo>
                    <a:cubicBezTo>
                      <a:pt x="769" y="2203"/>
                      <a:pt x="797" y="2236"/>
                      <a:pt x="795" y="2243"/>
                    </a:cubicBezTo>
                    <a:cubicBezTo>
                      <a:pt x="794" y="2251"/>
                      <a:pt x="784" y="2234"/>
                      <a:pt x="773" y="2231"/>
                    </a:cubicBezTo>
                    <a:cubicBezTo>
                      <a:pt x="763" y="2229"/>
                      <a:pt x="751" y="2244"/>
                      <a:pt x="749" y="2251"/>
                    </a:cubicBezTo>
                    <a:cubicBezTo>
                      <a:pt x="746" y="2257"/>
                      <a:pt x="760" y="2257"/>
                      <a:pt x="760" y="2257"/>
                    </a:cubicBezTo>
                    <a:cubicBezTo>
                      <a:pt x="757" y="2266"/>
                      <a:pt x="757" y="2266"/>
                      <a:pt x="757" y="2266"/>
                    </a:cubicBezTo>
                    <a:cubicBezTo>
                      <a:pt x="734" y="2264"/>
                      <a:pt x="734" y="2264"/>
                      <a:pt x="734" y="2264"/>
                    </a:cubicBezTo>
                    <a:cubicBezTo>
                      <a:pt x="734" y="2264"/>
                      <a:pt x="717" y="2296"/>
                      <a:pt x="705" y="2296"/>
                    </a:cubicBezTo>
                    <a:cubicBezTo>
                      <a:pt x="693" y="2296"/>
                      <a:pt x="697" y="2285"/>
                      <a:pt x="690" y="2281"/>
                    </a:cubicBezTo>
                    <a:cubicBezTo>
                      <a:pt x="683" y="2277"/>
                      <a:pt x="672" y="2289"/>
                      <a:pt x="672" y="2289"/>
                    </a:cubicBezTo>
                    <a:cubicBezTo>
                      <a:pt x="742" y="2365"/>
                      <a:pt x="742" y="2365"/>
                      <a:pt x="742" y="2365"/>
                    </a:cubicBezTo>
                    <a:cubicBezTo>
                      <a:pt x="775" y="2337"/>
                      <a:pt x="775" y="2337"/>
                      <a:pt x="775" y="2337"/>
                    </a:cubicBezTo>
                    <a:cubicBezTo>
                      <a:pt x="775" y="2337"/>
                      <a:pt x="777" y="2341"/>
                      <a:pt x="780" y="2343"/>
                    </a:cubicBezTo>
                    <a:cubicBezTo>
                      <a:pt x="783" y="2345"/>
                      <a:pt x="789" y="2333"/>
                      <a:pt x="789" y="2333"/>
                    </a:cubicBezTo>
                    <a:cubicBezTo>
                      <a:pt x="780" y="2324"/>
                      <a:pt x="780" y="2324"/>
                      <a:pt x="780" y="2324"/>
                    </a:cubicBezTo>
                    <a:cubicBezTo>
                      <a:pt x="800" y="2309"/>
                      <a:pt x="800" y="2309"/>
                      <a:pt x="800" y="2309"/>
                    </a:cubicBezTo>
                    <a:cubicBezTo>
                      <a:pt x="800" y="2309"/>
                      <a:pt x="813" y="2313"/>
                      <a:pt x="822" y="2313"/>
                    </a:cubicBezTo>
                    <a:cubicBezTo>
                      <a:pt x="831" y="2313"/>
                      <a:pt x="821" y="2299"/>
                      <a:pt x="821" y="2299"/>
                    </a:cubicBezTo>
                    <a:cubicBezTo>
                      <a:pt x="821" y="2299"/>
                      <a:pt x="835" y="2303"/>
                      <a:pt x="843" y="2302"/>
                    </a:cubicBezTo>
                    <a:cubicBezTo>
                      <a:pt x="850" y="2301"/>
                      <a:pt x="845" y="2288"/>
                      <a:pt x="845" y="2288"/>
                    </a:cubicBezTo>
                    <a:cubicBezTo>
                      <a:pt x="821" y="2261"/>
                      <a:pt x="821" y="2261"/>
                      <a:pt x="821" y="2261"/>
                    </a:cubicBezTo>
                    <a:cubicBezTo>
                      <a:pt x="829" y="2245"/>
                      <a:pt x="829" y="2245"/>
                      <a:pt x="829" y="2245"/>
                    </a:cubicBezTo>
                    <a:cubicBezTo>
                      <a:pt x="845" y="2256"/>
                      <a:pt x="845" y="2256"/>
                      <a:pt x="845" y="2256"/>
                    </a:cubicBezTo>
                    <a:cubicBezTo>
                      <a:pt x="861" y="2256"/>
                      <a:pt x="861" y="2256"/>
                      <a:pt x="861" y="2256"/>
                    </a:cubicBezTo>
                    <a:cubicBezTo>
                      <a:pt x="861" y="2256"/>
                      <a:pt x="864" y="2265"/>
                      <a:pt x="865" y="2277"/>
                    </a:cubicBezTo>
                    <a:cubicBezTo>
                      <a:pt x="867" y="2289"/>
                      <a:pt x="877" y="2285"/>
                      <a:pt x="887" y="2273"/>
                    </a:cubicBezTo>
                    <a:cubicBezTo>
                      <a:pt x="883" y="2259"/>
                      <a:pt x="865" y="2239"/>
                      <a:pt x="865" y="2239"/>
                    </a:cubicBezTo>
                    <a:cubicBezTo>
                      <a:pt x="877" y="2227"/>
                      <a:pt x="877" y="2227"/>
                      <a:pt x="877" y="2227"/>
                    </a:cubicBezTo>
                    <a:cubicBezTo>
                      <a:pt x="879" y="2233"/>
                      <a:pt x="879" y="2233"/>
                      <a:pt x="879" y="2233"/>
                    </a:cubicBezTo>
                    <a:cubicBezTo>
                      <a:pt x="899" y="2231"/>
                      <a:pt x="899" y="2231"/>
                      <a:pt x="899" y="2231"/>
                    </a:cubicBezTo>
                    <a:cubicBezTo>
                      <a:pt x="899" y="2213"/>
                      <a:pt x="899" y="2213"/>
                      <a:pt x="899" y="2213"/>
                    </a:cubicBezTo>
                    <a:cubicBezTo>
                      <a:pt x="915" y="2241"/>
                      <a:pt x="915" y="2241"/>
                      <a:pt x="915" y="2241"/>
                    </a:cubicBezTo>
                    <a:cubicBezTo>
                      <a:pt x="935" y="2222"/>
                      <a:pt x="935" y="2222"/>
                      <a:pt x="935" y="2222"/>
                    </a:cubicBezTo>
                    <a:cubicBezTo>
                      <a:pt x="942" y="2233"/>
                      <a:pt x="942" y="2233"/>
                      <a:pt x="942" y="2233"/>
                    </a:cubicBezTo>
                    <a:cubicBezTo>
                      <a:pt x="942" y="2233"/>
                      <a:pt x="958" y="2223"/>
                      <a:pt x="963" y="2223"/>
                    </a:cubicBezTo>
                    <a:cubicBezTo>
                      <a:pt x="967" y="2223"/>
                      <a:pt x="973" y="2181"/>
                      <a:pt x="973" y="2181"/>
                    </a:cubicBezTo>
                    <a:cubicBezTo>
                      <a:pt x="962" y="2177"/>
                      <a:pt x="962" y="2177"/>
                      <a:pt x="962" y="2177"/>
                    </a:cubicBezTo>
                    <a:cubicBezTo>
                      <a:pt x="962" y="2177"/>
                      <a:pt x="965" y="2164"/>
                      <a:pt x="969" y="2165"/>
                    </a:cubicBezTo>
                    <a:cubicBezTo>
                      <a:pt x="972" y="2167"/>
                      <a:pt x="973" y="2178"/>
                      <a:pt x="973" y="2178"/>
                    </a:cubicBezTo>
                    <a:cubicBezTo>
                      <a:pt x="989" y="2187"/>
                      <a:pt x="989" y="2187"/>
                      <a:pt x="989" y="2187"/>
                    </a:cubicBezTo>
                    <a:cubicBezTo>
                      <a:pt x="989" y="2173"/>
                      <a:pt x="989" y="2173"/>
                      <a:pt x="989" y="2173"/>
                    </a:cubicBezTo>
                    <a:cubicBezTo>
                      <a:pt x="989" y="2173"/>
                      <a:pt x="990" y="2178"/>
                      <a:pt x="998" y="2178"/>
                    </a:cubicBezTo>
                    <a:cubicBezTo>
                      <a:pt x="1006" y="2178"/>
                      <a:pt x="1015" y="2151"/>
                      <a:pt x="1016" y="2150"/>
                    </a:cubicBezTo>
                    <a:cubicBezTo>
                      <a:pt x="1016" y="2149"/>
                      <a:pt x="1015" y="2148"/>
                      <a:pt x="1009" y="2140"/>
                    </a:cubicBezTo>
                    <a:cubicBezTo>
                      <a:pt x="1009" y="2121"/>
                      <a:pt x="993" y="2099"/>
                      <a:pt x="990" y="2097"/>
                    </a:cubicBezTo>
                    <a:cubicBezTo>
                      <a:pt x="987" y="2095"/>
                      <a:pt x="973" y="2113"/>
                      <a:pt x="967" y="2107"/>
                    </a:cubicBezTo>
                    <a:cubicBezTo>
                      <a:pt x="962" y="2101"/>
                      <a:pt x="996" y="2084"/>
                      <a:pt x="996" y="2084"/>
                    </a:cubicBezTo>
                    <a:cubicBezTo>
                      <a:pt x="1006" y="2090"/>
                      <a:pt x="1006" y="2090"/>
                      <a:pt x="1006" y="2090"/>
                    </a:cubicBezTo>
                    <a:cubicBezTo>
                      <a:pt x="1006" y="2090"/>
                      <a:pt x="1019" y="2082"/>
                      <a:pt x="1011" y="2077"/>
                    </a:cubicBezTo>
                    <a:cubicBezTo>
                      <a:pt x="1003" y="2073"/>
                      <a:pt x="1008" y="2043"/>
                      <a:pt x="1008" y="2043"/>
                    </a:cubicBezTo>
                    <a:cubicBezTo>
                      <a:pt x="997" y="2030"/>
                      <a:pt x="997" y="2030"/>
                      <a:pt x="997" y="2030"/>
                    </a:cubicBezTo>
                    <a:cubicBezTo>
                      <a:pt x="1006" y="2030"/>
                      <a:pt x="1006" y="2030"/>
                      <a:pt x="1006" y="2030"/>
                    </a:cubicBezTo>
                    <a:cubicBezTo>
                      <a:pt x="1006" y="2030"/>
                      <a:pt x="1018" y="2049"/>
                      <a:pt x="1025" y="2045"/>
                    </a:cubicBezTo>
                    <a:cubicBezTo>
                      <a:pt x="1031" y="2041"/>
                      <a:pt x="1038" y="2029"/>
                      <a:pt x="1044" y="2037"/>
                    </a:cubicBezTo>
                    <a:cubicBezTo>
                      <a:pt x="1050" y="2046"/>
                      <a:pt x="1071" y="2052"/>
                      <a:pt x="1071" y="2052"/>
                    </a:cubicBezTo>
                    <a:cubicBezTo>
                      <a:pt x="1103" y="2027"/>
                      <a:pt x="1103" y="2027"/>
                      <a:pt x="1103" y="2027"/>
                    </a:cubicBezTo>
                    <a:cubicBezTo>
                      <a:pt x="1103" y="2027"/>
                      <a:pt x="1103" y="2011"/>
                      <a:pt x="1105" y="2009"/>
                    </a:cubicBezTo>
                    <a:cubicBezTo>
                      <a:pt x="1107" y="2006"/>
                      <a:pt x="1113" y="2008"/>
                      <a:pt x="1111" y="1993"/>
                    </a:cubicBezTo>
                    <a:cubicBezTo>
                      <a:pt x="1093" y="1993"/>
                      <a:pt x="1067" y="2024"/>
                      <a:pt x="1045" y="2029"/>
                    </a:cubicBezTo>
                    <a:cubicBezTo>
                      <a:pt x="1024" y="2035"/>
                      <a:pt x="1025" y="2010"/>
                      <a:pt x="1025" y="2010"/>
                    </a:cubicBezTo>
                    <a:cubicBezTo>
                      <a:pt x="1025" y="2010"/>
                      <a:pt x="1033" y="2007"/>
                      <a:pt x="1034" y="2003"/>
                    </a:cubicBezTo>
                    <a:cubicBezTo>
                      <a:pt x="1035" y="1999"/>
                      <a:pt x="1028" y="1989"/>
                      <a:pt x="1028" y="1987"/>
                    </a:cubicBezTo>
                    <a:cubicBezTo>
                      <a:pt x="1028" y="1985"/>
                      <a:pt x="1049" y="1986"/>
                      <a:pt x="1049" y="1986"/>
                    </a:cubicBezTo>
                    <a:cubicBezTo>
                      <a:pt x="1049" y="1986"/>
                      <a:pt x="1051" y="1972"/>
                      <a:pt x="1050" y="1969"/>
                    </a:cubicBezTo>
                    <a:cubicBezTo>
                      <a:pt x="1049" y="1967"/>
                      <a:pt x="1051" y="1972"/>
                      <a:pt x="1069" y="1967"/>
                    </a:cubicBezTo>
                    <a:cubicBezTo>
                      <a:pt x="1069" y="1947"/>
                      <a:pt x="1096" y="1939"/>
                      <a:pt x="1096" y="1939"/>
                    </a:cubicBezTo>
                    <a:cubicBezTo>
                      <a:pt x="1096" y="1939"/>
                      <a:pt x="1107" y="1934"/>
                      <a:pt x="1101" y="1926"/>
                    </a:cubicBezTo>
                    <a:cubicBezTo>
                      <a:pt x="1077" y="1927"/>
                      <a:pt x="1081" y="1908"/>
                      <a:pt x="1081" y="1908"/>
                    </a:cubicBezTo>
                    <a:cubicBezTo>
                      <a:pt x="1103" y="1869"/>
                      <a:pt x="1103" y="1869"/>
                      <a:pt x="1103" y="1869"/>
                    </a:cubicBezTo>
                    <a:cubicBezTo>
                      <a:pt x="1103" y="1869"/>
                      <a:pt x="1091" y="1862"/>
                      <a:pt x="1091" y="1855"/>
                    </a:cubicBezTo>
                    <a:cubicBezTo>
                      <a:pt x="1091" y="1849"/>
                      <a:pt x="1095" y="1843"/>
                      <a:pt x="1095" y="1843"/>
                    </a:cubicBezTo>
                    <a:cubicBezTo>
                      <a:pt x="1089" y="1835"/>
                      <a:pt x="1089" y="1835"/>
                      <a:pt x="1089" y="1835"/>
                    </a:cubicBezTo>
                    <a:cubicBezTo>
                      <a:pt x="1089" y="1835"/>
                      <a:pt x="1089" y="1835"/>
                      <a:pt x="1085" y="1835"/>
                    </a:cubicBezTo>
                    <a:cubicBezTo>
                      <a:pt x="1068" y="1807"/>
                      <a:pt x="1050" y="1811"/>
                      <a:pt x="1050" y="1811"/>
                    </a:cubicBezTo>
                    <a:cubicBezTo>
                      <a:pt x="1061" y="1823"/>
                      <a:pt x="1042" y="1833"/>
                      <a:pt x="1042" y="1833"/>
                    </a:cubicBezTo>
                    <a:cubicBezTo>
                      <a:pt x="1042" y="1833"/>
                      <a:pt x="1029" y="1835"/>
                      <a:pt x="1026" y="1835"/>
                    </a:cubicBezTo>
                    <a:cubicBezTo>
                      <a:pt x="1023" y="1835"/>
                      <a:pt x="1020" y="1844"/>
                      <a:pt x="1017" y="1848"/>
                    </a:cubicBezTo>
                    <a:cubicBezTo>
                      <a:pt x="1015" y="1852"/>
                      <a:pt x="969" y="1872"/>
                      <a:pt x="953" y="1887"/>
                    </a:cubicBezTo>
                    <a:cubicBezTo>
                      <a:pt x="939" y="1887"/>
                      <a:pt x="949" y="1895"/>
                      <a:pt x="936" y="1908"/>
                    </a:cubicBezTo>
                    <a:cubicBezTo>
                      <a:pt x="911" y="1909"/>
                      <a:pt x="921" y="1913"/>
                      <a:pt x="907" y="1921"/>
                    </a:cubicBezTo>
                    <a:cubicBezTo>
                      <a:pt x="888" y="1920"/>
                      <a:pt x="883" y="1922"/>
                      <a:pt x="871" y="1931"/>
                    </a:cubicBezTo>
                    <a:cubicBezTo>
                      <a:pt x="852" y="1935"/>
                      <a:pt x="845" y="1951"/>
                      <a:pt x="843" y="1953"/>
                    </a:cubicBezTo>
                    <a:cubicBezTo>
                      <a:pt x="841" y="1955"/>
                      <a:pt x="822" y="1955"/>
                      <a:pt x="822" y="1955"/>
                    </a:cubicBezTo>
                    <a:cubicBezTo>
                      <a:pt x="811" y="1970"/>
                      <a:pt x="811" y="1970"/>
                      <a:pt x="811" y="1970"/>
                    </a:cubicBezTo>
                    <a:cubicBezTo>
                      <a:pt x="811" y="1970"/>
                      <a:pt x="814" y="1973"/>
                      <a:pt x="818" y="1992"/>
                    </a:cubicBezTo>
                    <a:cubicBezTo>
                      <a:pt x="837" y="1999"/>
                      <a:pt x="839" y="2034"/>
                      <a:pt x="839" y="2034"/>
                    </a:cubicBezTo>
                    <a:cubicBezTo>
                      <a:pt x="839" y="2034"/>
                      <a:pt x="837" y="2041"/>
                      <a:pt x="829" y="2032"/>
                    </a:cubicBezTo>
                    <a:cubicBezTo>
                      <a:pt x="829" y="2021"/>
                      <a:pt x="823" y="2011"/>
                      <a:pt x="807" y="2003"/>
                    </a:cubicBezTo>
                    <a:cubicBezTo>
                      <a:pt x="806" y="1988"/>
                      <a:pt x="787" y="1975"/>
                      <a:pt x="787" y="1975"/>
                    </a:cubicBezTo>
                    <a:cubicBezTo>
                      <a:pt x="787" y="1975"/>
                      <a:pt x="779" y="1989"/>
                      <a:pt x="779" y="1991"/>
                    </a:cubicBezTo>
                    <a:cubicBezTo>
                      <a:pt x="779" y="1993"/>
                      <a:pt x="790" y="2010"/>
                      <a:pt x="790" y="2010"/>
                    </a:cubicBezTo>
                    <a:cubicBezTo>
                      <a:pt x="790" y="2010"/>
                      <a:pt x="781" y="2015"/>
                      <a:pt x="781" y="2019"/>
                    </a:cubicBezTo>
                    <a:cubicBezTo>
                      <a:pt x="782" y="2022"/>
                      <a:pt x="794" y="2024"/>
                      <a:pt x="796" y="2031"/>
                    </a:cubicBezTo>
                    <a:cubicBezTo>
                      <a:pt x="798" y="2037"/>
                      <a:pt x="797" y="2045"/>
                      <a:pt x="787" y="2045"/>
                    </a:cubicBezTo>
                    <a:cubicBezTo>
                      <a:pt x="776" y="2045"/>
                      <a:pt x="768" y="2025"/>
                      <a:pt x="768" y="2025"/>
                    </a:cubicBezTo>
                    <a:cubicBezTo>
                      <a:pt x="758" y="2031"/>
                      <a:pt x="758" y="2031"/>
                      <a:pt x="758" y="2031"/>
                    </a:cubicBezTo>
                    <a:cubicBezTo>
                      <a:pt x="758" y="2031"/>
                      <a:pt x="751" y="2023"/>
                      <a:pt x="761" y="2023"/>
                    </a:cubicBezTo>
                    <a:cubicBezTo>
                      <a:pt x="770" y="2023"/>
                      <a:pt x="773" y="2008"/>
                      <a:pt x="773" y="2008"/>
                    </a:cubicBezTo>
                    <a:cubicBezTo>
                      <a:pt x="761" y="2011"/>
                      <a:pt x="761" y="2011"/>
                      <a:pt x="761" y="2011"/>
                    </a:cubicBezTo>
                    <a:cubicBezTo>
                      <a:pt x="764" y="2003"/>
                      <a:pt x="764" y="2003"/>
                      <a:pt x="764" y="2003"/>
                    </a:cubicBezTo>
                    <a:cubicBezTo>
                      <a:pt x="759" y="1994"/>
                      <a:pt x="759" y="1994"/>
                      <a:pt x="759" y="1994"/>
                    </a:cubicBezTo>
                    <a:cubicBezTo>
                      <a:pt x="741" y="2006"/>
                      <a:pt x="741" y="2006"/>
                      <a:pt x="741" y="2006"/>
                    </a:cubicBezTo>
                    <a:cubicBezTo>
                      <a:pt x="719" y="1989"/>
                      <a:pt x="719" y="1989"/>
                      <a:pt x="719" y="1989"/>
                    </a:cubicBezTo>
                    <a:cubicBezTo>
                      <a:pt x="703" y="2026"/>
                      <a:pt x="703" y="2026"/>
                      <a:pt x="703" y="2026"/>
                    </a:cubicBezTo>
                    <a:cubicBezTo>
                      <a:pt x="703" y="2026"/>
                      <a:pt x="721" y="2032"/>
                      <a:pt x="713" y="2039"/>
                    </a:cubicBezTo>
                    <a:cubicBezTo>
                      <a:pt x="705" y="2045"/>
                      <a:pt x="696" y="2031"/>
                      <a:pt x="696" y="2031"/>
                    </a:cubicBezTo>
                    <a:cubicBezTo>
                      <a:pt x="685" y="2042"/>
                      <a:pt x="685" y="2042"/>
                      <a:pt x="685" y="2042"/>
                    </a:cubicBezTo>
                    <a:cubicBezTo>
                      <a:pt x="692" y="2055"/>
                      <a:pt x="692" y="2055"/>
                      <a:pt x="692" y="2055"/>
                    </a:cubicBezTo>
                    <a:cubicBezTo>
                      <a:pt x="692" y="2055"/>
                      <a:pt x="674" y="2083"/>
                      <a:pt x="676" y="2084"/>
                    </a:cubicBezTo>
                    <a:cubicBezTo>
                      <a:pt x="678" y="2085"/>
                      <a:pt x="693" y="2125"/>
                      <a:pt x="699" y="2125"/>
                    </a:cubicBezTo>
                    <a:cubicBezTo>
                      <a:pt x="706" y="2125"/>
                      <a:pt x="713" y="2147"/>
                      <a:pt x="713" y="2147"/>
                    </a:cubicBezTo>
                    <a:cubicBezTo>
                      <a:pt x="706" y="2160"/>
                      <a:pt x="706" y="2160"/>
                      <a:pt x="706" y="2160"/>
                    </a:cubicBezTo>
                    <a:cubicBezTo>
                      <a:pt x="706" y="2160"/>
                      <a:pt x="699" y="2152"/>
                      <a:pt x="697" y="2151"/>
                    </a:cubicBezTo>
                    <a:cubicBezTo>
                      <a:pt x="695" y="2151"/>
                      <a:pt x="697" y="2159"/>
                      <a:pt x="689" y="2159"/>
                    </a:cubicBezTo>
                    <a:cubicBezTo>
                      <a:pt x="681" y="2159"/>
                      <a:pt x="689" y="2152"/>
                      <a:pt x="672" y="2141"/>
                    </a:cubicBezTo>
                    <a:cubicBezTo>
                      <a:pt x="649" y="2142"/>
                      <a:pt x="663" y="2161"/>
                      <a:pt x="663" y="2161"/>
                    </a:cubicBezTo>
                    <a:cubicBezTo>
                      <a:pt x="663" y="2161"/>
                      <a:pt x="680" y="2161"/>
                      <a:pt x="680" y="2164"/>
                    </a:cubicBezTo>
                    <a:close/>
                    <a:moveTo>
                      <a:pt x="1013" y="2013"/>
                    </a:moveTo>
                    <a:cubicBezTo>
                      <a:pt x="1019" y="2013"/>
                      <a:pt x="1029" y="2016"/>
                      <a:pt x="1019" y="2020"/>
                    </a:cubicBezTo>
                    <a:cubicBezTo>
                      <a:pt x="1009" y="2024"/>
                      <a:pt x="1013" y="2013"/>
                      <a:pt x="1013" y="2013"/>
                    </a:cubicBezTo>
                    <a:close/>
                    <a:moveTo>
                      <a:pt x="865" y="2214"/>
                    </a:moveTo>
                    <a:cubicBezTo>
                      <a:pt x="859" y="2215"/>
                      <a:pt x="854" y="2197"/>
                      <a:pt x="854" y="2197"/>
                    </a:cubicBezTo>
                    <a:cubicBezTo>
                      <a:pt x="859" y="2196"/>
                      <a:pt x="872" y="2213"/>
                      <a:pt x="865" y="2214"/>
                    </a:cubicBezTo>
                    <a:close/>
                    <a:moveTo>
                      <a:pt x="847" y="2034"/>
                    </a:moveTo>
                    <a:cubicBezTo>
                      <a:pt x="853" y="2035"/>
                      <a:pt x="853" y="2035"/>
                      <a:pt x="853" y="2035"/>
                    </a:cubicBezTo>
                    <a:cubicBezTo>
                      <a:pt x="852" y="2048"/>
                      <a:pt x="852" y="2048"/>
                      <a:pt x="852" y="2048"/>
                    </a:cubicBezTo>
                    <a:cubicBezTo>
                      <a:pt x="852" y="2048"/>
                      <a:pt x="846" y="2039"/>
                      <a:pt x="847" y="2034"/>
                    </a:cubicBezTo>
                    <a:close/>
                    <a:moveTo>
                      <a:pt x="672" y="2109"/>
                    </a:moveTo>
                    <a:cubicBezTo>
                      <a:pt x="677" y="2117"/>
                      <a:pt x="677" y="2117"/>
                      <a:pt x="677" y="2117"/>
                    </a:cubicBezTo>
                    <a:cubicBezTo>
                      <a:pt x="681" y="2108"/>
                      <a:pt x="681" y="2108"/>
                      <a:pt x="681" y="2108"/>
                    </a:cubicBezTo>
                    <a:lnTo>
                      <a:pt x="672" y="2109"/>
                    </a:lnTo>
                    <a:close/>
                    <a:moveTo>
                      <a:pt x="1016" y="2149"/>
                    </a:moveTo>
                    <a:cubicBezTo>
                      <a:pt x="1016" y="2149"/>
                      <a:pt x="1016" y="2150"/>
                      <a:pt x="1016" y="2150"/>
                    </a:cubicBezTo>
                    <a:cubicBezTo>
                      <a:pt x="1016" y="2150"/>
                      <a:pt x="1016" y="2149"/>
                      <a:pt x="1016" y="2149"/>
                    </a:cubicBezTo>
                    <a:close/>
                    <a:moveTo>
                      <a:pt x="1257" y="1379"/>
                    </a:moveTo>
                    <a:cubicBezTo>
                      <a:pt x="1254" y="1386"/>
                      <a:pt x="1254" y="1386"/>
                      <a:pt x="1254" y="1386"/>
                    </a:cubicBezTo>
                    <a:cubicBezTo>
                      <a:pt x="1265" y="1387"/>
                      <a:pt x="1265" y="1387"/>
                      <a:pt x="1265" y="1387"/>
                    </a:cubicBezTo>
                    <a:lnTo>
                      <a:pt x="1257" y="1379"/>
                    </a:lnTo>
                    <a:close/>
                    <a:moveTo>
                      <a:pt x="1113" y="1394"/>
                    </a:moveTo>
                    <a:cubicBezTo>
                      <a:pt x="1109" y="1402"/>
                      <a:pt x="1109" y="1402"/>
                      <a:pt x="1109" y="1402"/>
                    </a:cubicBezTo>
                    <a:cubicBezTo>
                      <a:pt x="1119" y="1403"/>
                      <a:pt x="1119" y="1403"/>
                      <a:pt x="1119" y="1403"/>
                    </a:cubicBezTo>
                    <a:lnTo>
                      <a:pt x="1113" y="1394"/>
                    </a:lnTo>
                    <a:close/>
                    <a:moveTo>
                      <a:pt x="1013" y="2245"/>
                    </a:moveTo>
                    <a:cubicBezTo>
                      <a:pt x="1005" y="2244"/>
                      <a:pt x="1005" y="2244"/>
                      <a:pt x="1005" y="2244"/>
                    </a:cubicBezTo>
                    <a:cubicBezTo>
                      <a:pt x="997" y="2247"/>
                      <a:pt x="997" y="2247"/>
                      <a:pt x="997" y="2247"/>
                    </a:cubicBezTo>
                    <a:cubicBezTo>
                      <a:pt x="1014" y="2265"/>
                      <a:pt x="1014" y="2265"/>
                      <a:pt x="1014" y="2265"/>
                    </a:cubicBezTo>
                    <a:cubicBezTo>
                      <a:pt x="1018" y="2253"/>
                      <a:pt x="1018" y="2253"/>
                      <a:pt x="1018" y="2253"/>
                    </a:cubicBezTo>
                    <a:cubicBezTo>
                      <a:pt x="1027" y="2251"/>
                      <a:pt x="1027" y="2251"/>
                      <a:pt x="1027" y="2251"/>
                    </a:cubicBezTo>
                    <a:cubicBezTo>
                      <a:pt x="1021" y="2239"/>
                      <a:pt x="1021" y="2239"/>
                      <a:pt x="1021" y="2239"/>
                    </a:cubicBezTo>
                    <a:cubicBezTo>
                      <a:pt x="1021" y="2239"/>
                      <a:pt x="1022" y="2245"/>
                      <a:pt x="1013" y="2245"/>
                    </a:cubicBezTo>
                    <a:close/>
                    <a:moveTo>
                      <a:pt x="70" y="2250"/>
                    </a:moveTo>
                    <a:cubicBezTo>
                      <a:pt x="80" y="2250"/>
                      <a:pt x="80" y="2250"/>
                      <a:pt x="80" y="2250"/>
                    </a:cubicBezTo>
                    <a:cubicBezTo>
                      <a:pt x="75" y="2238"/>
                      <a:pt x="75" y="2238"/>
                      <a:pt x="75" y="2238"/>
                    </a:cubicBezTo>
                    <a:lnTo>
                      <a:pt x="70" y="2250"/>
                    </a:lnTo>
                    <a:close/>
                    <a:moveTo>
                      <a:pt x="455" y="2516"/>
                    </a:moveTo>
                    <a:cubicBezTo>
                      <a:pt x="467" y="2517"/>
                      <a:pt x="469" y="2508"/>
                      <a:pt x="469" y="2508"/>
                    </a:cubicBezTo>
                    <a:cubicBezTo>
                      <a:pt x="465" y="2496"/>
                      <a:pt x="465" y="2496"/>
                      <a:pt x="465" y="2496"/>
                    </a:cubicBezTo>
                    <a:cubicBezTo>
                      <a:pt x="465" y="2496"/>
                      <a:pt x="461" y="2503"/>
                      <a:pt x="457" y="2506"/>
                    </a:cubicBezTo>
                    <a:cubicBezTo>
                      <a:pt x="453" y="2509"/>
                      <a:pt x="451" y="2501"/>
                      <a:pt x="440" y="2497"/>
                    </a:cubicBezTo>
                    <a:cubicBezTo>
                      <a:pt x="429" y="2492"/>
                      <a:pt x="429" y="2511"/>
                      <a:pt x="429" y="2511"/>
                    </a:cubicBezTo>
                    <a:cubicBezTo>
                      <a:pt x="429" y="2511"/>
                      <a:pt x="436" y="2505"/>
                      <a:pt x="441" y="2506"/>
                    </a:cubicBezTo>
                    <a:cubicBezTo>
                      <a:pt x="447" y="2507"/>
                      <a:pt x="444" y="2515"/>
                      <a:pt x="455" y="2516"/>
                    </a:cubicBezTo>
                    <a:close/>
                    <a:moveTo>
                      <a:pt x="483" y="1957"/>
                    </a:moveTo>
                    <a:cubicBezTo>
                      <a:pt x="483" y="1949"/>
                      <a:pt x="472" y="1954"/>
                      <a:pt x="473" y="1958"/>
                    </a:cubicBezTo>
                    <a:cubicBezTo>
                      <a:pt x="473" y="1958"/>
                      <a:pt x="483" y="1966"/>
                      <a:pt x="483" y="1957"/>
                    </a:cubicBezTo>
                    <a:close/>
                    <a:moveTo>
                      <a:pt x="454" y="2993"/>
                    </a:moveTo>
                    <a:cubicBezTo>
                      <a:pt x="454" y="2993"/>
                      <a:pt x="467" y="2993"/>
                      <a:pt x="467" y="3000"/>
                    </a:cubicBezTo>
                    <a:cubicBezTo>
                      <a:pt x="467" y="3007"/>
                      <a:pt x="473" y="2985"/>
                      <a:pt x="473" y="2985"/>
                    </a:cubicBezTo>
                    <a:cubicBezTo>
                      <a:pt x="473" y="2985"/>
                      <a:pt x="455" y="2987"/>
                      <a:pt x="454" y="2993"/>
                    </a:cubicBezTo>
                    <a:close/>
                    <a:moveTo>
                      <a:pt x="9" y="2279"/>
                    </a:moveTo>
                    <a:cubicBezTo>
                      <a:pt x="18" y="2277"/>
                      <a:pt x="18" y="2277"/>
                      <a:pt x="18" y="2277"/>
                    </a:cubicBezTo>
                    <a:cubicBezTo>
                      <a:pt x="18" y="2277"/>
                      <a:pt x="21" y="2292"/>
                      <a:pt x="28" y="2292"/>
                    </a:cubicBezTo>
                    <a:cubicBezTo>
                      <a:pt x="35" y="2292"/>
                      <a:pt x="36" y="2286"/>
                      <a:pt x="36" y="2286"/>
                    </a:cubicBezTo>
                    <a:cubicBezTo>
                      <a:pt x="42" y="2291"/>
                      <a:pt x="42" y="2291"/>
                      <a:pt x="42" y="2291"/>
                    </a:cubicBezTo>
                    <a:cubicBezTo>
                      <a:pt x="46" y="2287"/>
                      <a:pt x="46" y="2287"/>
                      <a:pt x="46" y="2287"/>
                    </a:cubicBezTo>
                    <a:cubicBezTo>
                      <a:pt x="46" y="2287"/>
                      <a:pt x="16" y="2269"/>
                      <a:pt x="10" y="2269"/>
                    </a:cubicBezTo>
                    <a:cubicBezTo>
                      <a:pt x="4" y="2269"/>
                      <a:pt x="0" y="2281"/>
                      <a:pt x="9" y="2279"/>
                    </a:cubicBezTo>
                    <a:close/>
                    <a:moveTo>
                      <a:pt x="528" y="2951"/>
                    </a:moveTo>
                    <a:cubicBezTo>
                      <a:pt x="528" y="2941"/>
                      <a:pt x="528" y="2941"/>
                      <a:pt x="528" y="2941"/>
                    </a:cubicBezTo>
                    <a:cubicBezTo>
                      <a:pt x="521" y="2950"/>
                      <a:pt x="521" y="2950"/>
                      <a:pt x="521" y="2950"/>
                    </a:cubicBezTo>
                    <a:lnTo>
                      <a:pt x="528" y="2951"/>
                    </a:lnTo>
                    <a:close/>
                    <a:moveTo>
                      <a:pt x="429" y="3046"/>
                    </a:moveTo>
                    <a:cubicBezTo>
                      <a:pt x="429" y="3046"/>
                      <a:pt x="436" y="3047"/>
                      <a:pt x="446" y="3045"/>
                    </a:cubicBezTo>
                    <a:cubicBezTo>
                      <a:pt x="456" y="3044"/>
                      <a:pt x="444" y="3036"/>
                      <a:pt x="443" y="3029"/>
                    </a:cubicBezTo>
                    <a:cubicBezTo>
                      <a:pt x="443" y="3021"/>
                      <a:pt x="448" y="3023"/>
                      <a:pt x="449" y="3019"/>
                    </a:cubicBezTo>
                    <a:cubicBezTo>
                      <a:pt x="451" y="3016"/>
                      <a:pt x="453" y="3013"/>
                      <a:pt x="437" y="3011"/>
                    </a:cubicBezTo>
                    <a:cubicBezTo>
                      <a:pt x="437" y="3011"/>
                      <a:pt x="437" y="3011"/>
                      <a:pt x="431" y="3011"/>
                    </a:cubicBezTo>
                    <a:cubicBezTo>
                      <a:pt x="424" y="3012"/>
                      <a:pt x="421" y="3031"/>
                      <a:pt x="421" y="3031"/>
                    </a:cubicBezTo>
                    <a:cubicBezTo>
                      <a:pt x="429" y="3036"/>
                      <a:pt x="429" y="3036"/>
                      <a:pt x="429" y="3036"/>
                    </a:cubicBezTo>
                    <a:lnTo>
                      <a:pt x="429" y="3046"/>
                    </a:lnTo>
                    <a:close/>
                    <a:moveTo>
                      <a:pt x="686" y="2353"/>
                    </a:moveTo>
                    <a:cubicBezTo>
                      <a:pt x="686" y="2361"/>
                      <a:pt x="695" y="2364"/>
                      <a:pt x="701" y="2359"/>
                    </a:cubicBezTo>
                    <a:cubicBezTo>
                      <a:pt x="701" y="2359"/>
                      <a:pt x="703" y="2353"/>
                      <a:pt x="699" y="2353"/>
                    </a:cubicBezTo>
                    <a:cubicBezTo>
                      <a:pt x="694" y="2353"/>
                      <a:pt x="697" y="2335"/>
                      <a:pt x="697" y="2335"/>
                    </a:cubicBezTo>
                    <a:cubicBezTo>
                      <a:pt x="697" y="2335"/>
                      <a:pt x="691" y="2332"/>
                      <a:pt x="686" y="2335"/>
                    </a:cubicBezTo>
                    <a:cubicBezTo>
                      <a:pt x="681" y="2339"/>
                      <a:pt x="691" y="2342"/>
                      <a:pt x="691" y="2342"/>
                    </a:cubicBezTo>
                    <a:cubicBezTo>
                      <a:pt x="691" y="2342"/>
                      <a:pt x="686" y="2346"/>
                      <a:pt x="686" y="2353"/>
                    </a:cubicBezTo>
                    <a:close/>
                    <a:moveTo>
                      <a:pt x="469" y="2922"/>
                    </a:moveTo>
                    <a:cubicBezTo>
                      <a:pt x="476" y="2929"/>
                      <a:pt x="476" y="2929"/>
                      <a:pt x="476" y="2929"/>
                    </a:cubicBezTo>
                    <a:cubicBezTo>
                      <a:pt x="467" y="2935"/>
                      <a:pt x="467" y="2935"/>
                      <a:pt x="467" y="2935"/>
                    </a:cubicBezTo>
                    <a:cubicBezTo>
                      <a:pt x="467" y="2935"/>
                      <a:pt x="480" y="2976"/>
                      <a:pt x="495" y="2980"/>
                    </a:cubicBezTo>
                    <a:cubicBezTo>
                      <a:pt x="505" y="2967"/>
                      <a:pt x="505" y="2967"/>
                      <a:pt x="505" y="2967"/>
                    </a:cubicBezTo>
                    <a:cubicBezTo>
                      <a:pt x="492" y="2951"/>
                      <a:pt x="492" y="2951"/>
                      <a:pt x="492" y="2951"/>
                    </a:cubicBezTo>
                    <a:cubicBezTo>
                      <a:pt x="505" y="2936"/>
                      <a:pt x="505" y="2936"/>
                      <a:pt x="505" y="2936"/>
                    </a:cubicBezTo>
                    <a:cubicBezTo>
                      <a:pt x="505" y="2936"/>
                      <a:pt x="495" y="2929"/>
                      <a:pt x="499" y="2927"/>
                    </a:cubicBezTo>
                    <a:cubicBezTo>
                      <a:pt x="502" y="2925"/>
                      <a:pt x="504" y="2935"/>
                      <a:pt x="513" y="2933"/>
                    </a:cubicBezTo>
                    <a:cubicBezTo>
                      <a:pt x="523" y="2931"/>
                      <a:pt x="545" y="2900"/>
                      <a:pt x="545" y="2900"/>
                    </a:cubicBezTo>
                    <a:cubicBezTo>
                      <a:pt x="549" y="2909"/>
                      <a:pt x="549" y="2909"/>
                      <a:pt x="549" y="2909"/>
                    </a:cubicBezTo>
                    <a:cubicBezTo>
                      <a:pt x="563" y="2891"/>
                      <a:pt x="563" y="2891"/>
                      <a:pt x="563" y="2891"/>
                    </a:cubicBezTo>
                    <a:cubicBezTo>
                      <a:pt x="563" y="2891"/>
                      <a:pt x="559" y="2887"/>
                      <a:pt x="562" y="2884"/>
                    </a:cubicBezTo>
                    <a:cubicBezTo>
                      <a:pt x="565" y="2881"/>
                      <a:pt x="573" y="2879"/>
                      <a:pt x="573" y="2881"/>
                    </a:cubicBezTo>
                    <a:cubicBezTo>
                      <a:pt x="573" y="2883"/>
                      <a:pt x="572" y="2887"/>
                      <a:pt x="574" y="2887"/>
                    </a:cubicBezTo>
                    <a:cubicBezTo>
                      <a:pt x="576" y="2887"/>
                      <a:pt x="583" y="2878"/>
                      <a:pt x="583" y="2878"/>
                    </a:cubicBezTo>
                    <a:cubicBezTo>
                      <a:pt x="568" y="2867"/>
                      <a:pt x="568" y="2867"/>
                      <a:pt x="568" y="2867"/>
                    </a:cubicBezTo>
                    <a:cubicBezTo>
                      <a:pt x="551" y="2885"/>
                      <a:pt x="551" y="2885"/>
                      <a:pt x="551" y="2885"/>
                    </a:cubicBezTo>
                    <a:cubicBezTo>
                      <a:pt x="551" y="2885"/>
                      <a:pt x="541" y="2874"/>
                      <a:pt x="531" y="2875"/>
                    </a:cubicBezTo>
                    <a:cubicBezTo>
                      <a:pt x="521" y="2875"/>
                      <a:pt x="539" y="2864"/>
                      <a:pt x="535" y="2857"/>
                    </a:cubicBezTo>
                    <a:cubicBezTo>
                      <a:pt x="532" y="2849"/>
                      <a:pt x="521" y="2840"/>
                      <a:pt x="521" y="2840"/>
                    </a:cubicBezTo>
                    <a:cubicBezTo>
                      <a:pt x="521" y="2840"/>
                      <a:pt x="534" y="2886"/>
                      <a:pt x="491" y="2874"/>
                    </a:cubicBezTo>
                    <a:cubicBezTo>
                      <a:pt x="497" y="2887"/>
                      <a:pt x="496" y="2903"/>
                      <a:pt x="485" y="2904"/>
                    </a:cubicBezTo>
                    <a:cubicBezTo>
                      <a:pt x="473" y="2905"/>
                      <a:pt x="469" y="2922"/>
                      <a:pt x="469" y="2922"/>
                    </a:cubicBezTo>
                    <a:close/>
                    <a:moveTo>
                      <a:pt x="495" y="2931"/>
                    </a:moveTo>
                    <a:cubicBezTo>
                      <a:pt x="496" y="2938"/>
                      <a:pt x="488" y="2929"/>
                      <a:pt x="488" y="2929"/>
                    </a:cubicBezTo>
                    <a:cubicBezTo>
                      <a:pt x="487" y="2924"/>
                      <a:pt x="495" y="2925"/>
                      <a:pt x="495" y="2931"/>
                    </a:cubicBezTo>
                    <a:close/>
                    <a:moveTo>
                      <a:pt x="626" y="2344"/>
                    </a:moveTo>
                    <a:cubicBezTo>
                      <a:pt x="631" y="2341"/>
                      <a:pt x="649" y="2336"/>
                      <a:pt x="643" y="2329"/>
                    </a:cubicBezTo>
                    <a:cubicBezTo>
                      <a:pt x="637" y="2323"/>
                      <a:pt x="627" y="2321"/>
                      <a:pt x="627" y="2321"/>
                    </a:cubicBezTo>
                    <a:cubicBezTo>
                      <a:pt x="613" y="2329"/>
                      <a:pt x="613" y="2329"/>
                      <a:pt x="613" y="2329"/>
                    </a:cubicBezTo>
                    <a:cubicBezTo>
                      <a:pt x="613" y="2337"/>
                      <a:pt x="621" y="2347"/>
                      <a:pt x="626" y="2344"/>
                    </a:cubicBezTo>
                    <a:close/>
                    <a:moveTo>
                      <a:pt x="703" y="2261"/>
                    </a:moveTo>
                    <a:cubicBezTo>
                      <a:pt x="711" y="2248"/>
                      <a:pt x="711" y="2248"/>
                      <a:pt x="711" y="2248"/>
                    </a:cubicBezTo>
                    <a:cubicBezTo>
                      <a:pt x="711" y="2248"/>
                      <a:pt x="713" y="2260"/>
                      <a:pt x="723" y="2257"/>
                    </a:cubicBezTo>
                    <a:cubicBezTo>
                      <a:pt x="733" y="2255"/>
                      <a:pt x="741" y="2242"/>
                      <a:pt x="741" y="2242"/>
                    </a:cubicBezTo>
                    <a:cubicBezTo>
                      <a:pt x="741" y="2242"/>
                      <a:pt x="734" y="2225"/>
                      <a:pt x="729" y="2225"/>
                    </a:cubicBezTo>
                    <a:cubicBezTo>
                      <a:pt x="725" y="2224"/>
                      <a:pt x="699" y="2245"/>
                      <a:pt x="693" y="2245"/>
                    </a:cubicBezTo>
                    <a:cubicBezTo>
                      <a:pt x="685" y="2245"/>
                      <a:pt x="703" y="2261"/>
                      <a:pt x="703" y="2261"/>
                    </a:cubicBezTo>
                    <a:close/>
                    <a:moveTo>
                      <a:pt x="541" y="2857"/>
                    </a:moveTo>
                    <a:cubicBezTo>
                      <a:pt x="550" y="2860"/>
                      <a:pt x="550" y="2860"/>
                      <a:pt x="550" y="2860"/>
                    </a:cubicBezTo>
                    <a:cubicBezTo>
                      <a:pt x="550" y="2860"/>
                      <a:pt x="566" y="2847"/>
                      <a:pt x="556" y="2846"/>
                    </a:cubicBezTo>
                    <a:cubicBezTo>
                      <a:pt x="546" y="2845"/>
                      <a:pt x="541" y="2857"/>
                      <a:pt x="541" y="2857"/>
                    </a:cubicBezTo>
                    <a:close/>
                    <a:moveTo>
                      <a:pt x="517" y="2477"/>
                    </a:moveTo>
                    <a:cubicBezTo>
                      <a:pt x="533" y="2476"/>
                      <a:pt x="533" y="2476"/>
                      <a:pt x="533" y="2476"/>
                    </a:cubicBezTo>
                    <a:cubicBezTo>
                      <a:pt x="533" y="2476"/>
                      <a:pt x="539" y="2488"/>
                      <a:pt x="547" y="2488"/>
                    </a:cubicBezTo>
                    <a:cubicBezTo>
                      <a:pt x="541" y="2473"/>
                      <a:pt x="542" y="2470"/>
                      <a:pt x="544" y="2470"/>
                    </a:cubicBezTo>
                    <a:cubicBezTo>
                      <a:pt x="546" y="2470"/>
                      <a:pt x="561" y="2491"/>
                      <a:pt x="561" y="2491"/>
                    </a:cubicBezTo>
                    <a:cubicBezTo>
                      <a:pt x="551" y="2492"/>
                      <a:pt x="551" y="2492"/>
                      <a:pt x="551" y="2492"/>
                    </a:cubicBezTo>
                    <a:cubicBezTo>
                      <a:pt x="551" y="2492"/>
                      <a:pt x="569" y="2513"/>
                      <a:pt x="565" y="2527"/>
                    </a:cubicBezTo>
                    <a:cubicBezTo>
                      <a:pt x="562" y="2542"/>
                      <a:pt x="547" y="2545"/>
                      <a:pt x="547" y="2545"/>
                    </a:cubicBezTo>
                    <a:cubicBezTo>
                      <a:pt x="547" y="2545"/>
                      <a:pt x="545" y="2581"/>
                      <a:pt x="563" y="2581"/>
                    </a:cubicBezTo>
                    <a:cubicBezTo>
                      <a:pt x="564" y="2584"/>
                      <a:pt x="581" y="2595"/>
                      <a:pt x="577" y="2595"/>
                    </a:cubicBezTo>
                    <a:cubicBezTo>
                      <a:pt x="574" y="2595"/>
                      <a:pt x="565" y="2588"/>
                      <a:pt x="565" y="2588"/>
                    </a:cubicBezTo>
                    <a:cubicBezTo>
                      <a:pt x="537" y="2604"/>
                      <a:pt x="537" y="2604"/>
                      <a:pt x="537" y="2604"/>
                    </a:cubicBezTo>
                    <a:cubicBezTo>
                      <a:pt x="537" y="2604"/>
                      <a:pt x="555" y="2636"/>
                      <a:pt x="552" y="2645"/>
                    </a:cubicBezTo>
                    <a:cubicBezTo>
                      <a:pt x="549" y="2655"/>
                      <a:pt x="537" y="2688"/>
                      <a:pt x="537" y="2688"/>
                    </a:cubicBezTo>
                    <a:cubicBezTo>
                      <a:pt x="537" y="2688"/>
                      <a:pt x="542" y="2703"/>
                      <a:pt x="523" y="2714"/>
                    </a:cubicBezTo>
                    <a:cubicBezTo>
                      <a:pt x="531" y="2723"/>
                      <a:pt x="538" y="2734"/>
                      <a:pt x="538" y="2734"/>
                    </a:cubicBezTo>
                    <a:cubicBezTo>
                      <a:pt x="533" y="2751"/>
                      <a:pt x="533" y="2751"/>
                      <a:pt x="533" y="2751"/>
                    </a:cubicBezTo>
                    <a:cubicBezTo>
                      <a:pt x="541" y="2767"/>
                      <a:pt x="541" y="2767"/>
                      <a:pt x="541" y="2767"/>
                    </a:cubicBezTo>
                    <a:cubicBezTo>
                      <a:pt x="541" y="2767"/>
                      <a:pt x="541" y="2803"/>
                      <a:pt x="556" y="2812"/>
                    </a:cubicBezTo>
                    <a:cubicBezTo>
                      <a:pt x="571" y="2821"/>
                      <a:pt x="589" y="2809"/>
                      <a:pt x="596" y="2810"/>
                    </a:cubicBezTo>
                    <a:cubicBezTo>
                      <a:pt x="603" y="2811"/>
                      <a:pt x="586" y="2833"/>
                      <a:pt x="586" y="2833"/>
                    </a:cubicBezTo>
                    <a:cubicBezTo>
                      <a:pt x="587" y="2853"/>
                      <a:pt x="594" y="2859"/>
                      <a:pt x="594" y="2857"/>
                    </a:cubicBezTo>
                    <a:cubicBezTo>
                      <a:pt x="594" y="2855"/>
                      <a:pt x="607" y="2836"/>
                      <a:pt x="607" y="2836"/>
                    </a:cubicBezTo>
                    <a:cubicBezTo>
                      <a:pt x="607" y="2836"/>
                      <a:pt x="599" y="2821"/>
                      <a:pt x="605" y="2819"/>
                    </a:cubicBezTo>
                    <a:cubicBezTo>
                      <a:pt x="611" y="2818"/>
                      <a:pt x="607" y="2824"/>
                      <a:pt x="615" y="2824"/>
                    </a:cubicBezTo>
                    <a:cubicBezTo>
                      <a:pt x="622" y="2824"/>
                      <a:pt x="629" y="2807"/>
                      <a:pt x="629" y="2807"/>
                    </a:cubicBezTo>
                    <a:cubicBezTo>
                      <a:pt x="608" y="2779"/>
                      <a:pt x="608" y="2779"/>
                      <a:pt x="608" y="2779"/>
                    </a:cubicBezTo>
                    <a:cubicBezTo>
                      <a:pt x="608" y="2779"/>
                      <a:pt x="621" y="2775"/>
                      <a:pt x="617" y="2767"/>
                    </a:cubicBezTo>
                    <a:cubicBezTo>
                      <a:pt x="614" y="2758"/>
                      <a:pt x="605" y="2738"/>
                      <a:pt x="605" y="2729"/>
                    </a:cubicBezTo>
                    <a:cubicBezTo>
                      <a:pt x="605" y="2721"/>
                      <a:pt x="625" y="2687"/>
                      <a:pt x="625" y="2687"/>
                    </a:cubicBezTo>
                    <a:cubicBezTo>
                      <a:pt x="625" y="2687"/>
                      <a:pt x="642" y="2685"/>
                      <a:pt x="642" y="2674"/>
                    </a:cubicBezTo>
                    <a:cubicBezTo>
                      <a:pt x="642" y="2663"/>
                      <a:pt x="616" y="2663"/>
                      <a:pt x="629" y="2641"/>
                    </a:cubicBezTo>
                    <a:cubicBezTo>
                      <a:pt x="615" y="2628"/>
                      <a:pt x="610" y="2625"/>
                      <a:pt x="610" y="2625"/>
                    </a:cubicBezTo>
                    <a:cubicBezTo>
                      <a:pt x="610" y="2625"/>
                      <a:pt x="611" y="2614"/>
                      <a:pt x="602" y="2611"/>
                    </a:cubicBezTo>
                    <a:cubicBezTo>
                      <a:pt x="593" y="2607"/>
                      <a:pt x="586" y="2592"/>
                      <a:pt x="593" y="2592"/>
                    </a:cubicBezTo>
                    <a:cubicBezTo>
                      <a:pt x="601" y="2592"/>
                      <a:pt x="601" y="2601"/>
                      <a:pt x="612" y="2601"/>
                    </a:cubicBezTo>
                    <a:cubicBezTo>
                      <a:pt x="623" y="2601"/>
                      <a:pt x="617" y="2584"/>
                      <a:pt x="624" y="2588"/>
                    </a:cubicBezTo>
                    <a:cubicBezTo>
                      <a:pt x="631" y="2592"/>
                      <a:pt x="622" y="2605"/>
                      <a:pt x="622" y="2605"/>
                    </a:cubicBezTo>
                    <a:cubicBezTo>
                      <a:pt x="622" y="2605"/>
                      <a:pt x="647" y="2609"/>
                      <a:pt x="646" y="2599"/>
                    </a:cubicBezTo>
                    <a:cubicBezTo>
                      <a:pt x="645" y="2588"/>
                      <a:pt x="631" y="2577"/>
                      <a:pt x="631" y="2566"/>
                    </a:cubicBezTo>
                    <a:cubicBezTo>
                      <a:pt x="631" y="2555"/>
                      <a:pt x="637" y="2553"/>
                      <a:pt x="637" y="2553"/>
                    </a:cubicBezTo>
                    <a:cubicBezTo>
                      <a:pt x="633" y="2547"/>
                      <a:pt x="633" y="2547"/>
                      <a:pt x="633" y="2547"/>
                    </a:cubicBezTo>
                    <a:cubicBezTo>
                      <a:pt x="644" y="2539"/>
                      <a:pt x="644" y="2539"/>
                      <a:pt x="644" y="2539"/>
                    </a:cubicBezTo>
                    <a:cubicBezTo>
                      <a:pt x="644" y="2539"/>
                      <a:pt x="647" y="2557"/>
                      <a:pt x="647" y="2555"/>
                    </a:cubicBezTo>
                    <a:cubicBezTo>
                      <a:pt x="647" y="2553"/>
                      <a:pt x="665" y="2519"/>
                      <a:pt x="664" y="2515"/>
                    </a:cubicBezTo>
                    <a:cubicBezTo>
                      <a:pt x="663" y="2510"/>
                      <a:pt x="673" y="2507"/>
                      <a:pt x="673" y="2507"/>
                    </a:cubicBezTo>
                    <a:cubicBezTo>
                      <a:pt x="673" y="2507"/>
                      <a:pt x="670" y="2495"/>
                      <a:pt x="670" y="2493"/>
                    </a:cubicBezTo>
                    <a:cubicBezTo>
                      <a:pt x="670" y="2491"/>
                      <a:pt x="695" y="2462"/>
                      <a:pt x="685" y="2459"/>
                    </a:cubicBezTo>
                    <a:cubicBezTo>
                      <a:pt x="674" y="2457"/>
                      <a:pt x="661" y="2461"/>
                      <a:pt x="661" y="2461"/>
                    </a:cubicBezTo>
                    <a:cubicBezTo>
                      <a:pt x="658" y="2445"/>
                      <a:pt x="658" y="2445"/>
                      <a:pt x="658" y="2445"/>
                    </a:cubicBezTo>
                    <a:cubicBezTo>
                      <a:pt x="641" y="2443"/>
                      <a:pt x="641" y="2443"/>
                      <a:pt x="641" y="2443"/>
                    </a:cubicBezTo>
                    <a:cubicBezTo>
                      <a:pt x="641" y="2443"/>
                      <a:pt x="636" y="2433"/>
                      <a:pt x="641" y="2433"/>
                    </a:cubicBezTo>
                    <a:cubicBezTo>
                      <a:pt x="647" y="2433"/>
                      <a:pt x="667" y="2437"/>
                      <a:pt x="667" y="2437"/>
                    </a:cubicBezTo>
                    <a:cubicBezTo>
                      <a:pt x="667" y="2437"/>
                      <a:pt x="671" y="2454"/>
                      <a:pt x="681" y="2451"/>
                    </a:cubicBezTo>
                    <a:cubicBezTo>
                      <a:pt x="691" y="2449"/>
                      <a:pt x="700" y="2428"/>
                      <a:pt x="700" y="2428"/>
                    </a:cubicBezTo>
                    <a:cubicBezTo>
                      <a:pt x="700" y="2428"/>
                      <a:pt x="703" y="2419"/>
                      <a:pt x="707" y="2419"/>
                    </a:cubicBezTo>
                    <a:cubicBezTo>
                      <a:pt x="710" y="2419"/>
                      <a:pt x="711" y="2410"/>
                      <a:pt x="707" y="2410"/>
                    </a:cubicBezTo>
                    <a:cubicBezTo>
                      <a:pt x="704" y="2410"/>
                      <a:pt x="701" y="2421"/>
                      <a:pt x="698" y="2422"/>
                    </a:cubicBezTo>
                    <a:cubicBezTo>
                      <a:pt x="695" y="2423"/>
                      <a:pt x="671" y="2404"/>
                      <a:pt x="671" y="2404"/>
                    </a:cubicBezTo>
                    <a:cubicBezTo>
                      <a:pt x="671" y="2404"/>
                      <a:pt x="662" y="2421"/>
                      <a:pt x="659" y="2416"/>
                    </a:cubicBezTo>
                    <a:cubicBezTo>
                      <a:pt x="655" y="2411"/>
                      <a:pt x="666" y="2403"/>
                      <a:pt x="661" y="2399"/>
                    </a:cubicBezTo>
                    <a:cubicBezTo>
                      <a:pt x="657" y="2396"/>
                      <a:pt x="644" y="2391"/>
                      <a:pt x="647" y="2387"/>
                    </a:cubicBezTo>
                    <a:cubicBezTo>
                      <a:pt x="649" y="2383"/>
                      <a:pt x="674" y="2373"/>
                      <a:pt x="666" y="2363"/>
                    </a:cubicBezTo>
                    <a:cubicBezTo>
                      <a:pt x="658" y="2353"/>
                      <a:pt x="661" y="2348"/>
                      <a:pt x="652" y="2348"/>
                    </a:cubicBezTo>
                    <a:cubicBezTo>
                      <a:pt x="643" y="2348"/>
                      <a:pt x="631" y="2381"/>
                      <a:pt x="631" y="2381"/>
                    </a:cubicBezTo>
                    <a:cubicBezTo>
                      <a:pt x="631" y="2381"/>
                      <a:pt x="641" y="2388"/>
                      <a:pt x="639" y="2388"/>
                    </a:cubicBezTo>
                    <a:cubicBezTo>
                      <a:pt x="636" y="2388"/>
                      <a:pt x="622" y="2401"/>
                      <a:pt x="622" y="2404"/>
                    </a:cubicBezTo>
                    <a:cubicBezTo>
                      <a:pt x="622" y="2407"/>
                      <a:pt x="597" y="2409"/>
                      <a:pt x="597" y="2409"/>
                    </a:cubicBezTo>
                    <a:cubicBezTo>
                      <a:pt x="587" y="2397"/>
                      <a:pt x="587" y="2397"/>
                      <a:pt x="587" y="2397"/>
                    </a:cubicBezTo>
                    <a:cubicBezTo>
                      <a:pt x="597" y="2383"/>
                      <a:pt x="597" y="2383"/>
                      <a:pt x="597" y="2383"/>
                    </a:cubicBezTo>
                    <a:cubicBezTo>
                      <a:pt x="611" y="2381"/>
                      <a:pt x="611" y="2381"/>
                      <a:pt x="611" y="2381"/>
                    </a:cubicBezTo>
                    <a:cubicBezTo>
                      <a:pt x="603" y="2363"/>
                      <a:pt x="603" y="2363"/>
                      <a:pt x="603" y="2363"/>
                    </a:cubicBezTo>
                    <a:cubicBezTo>
                      <a:pt x="575" y="2407"/>
                      <a:pt x="575" y="2407"/>
                      <a:pt x="575" y="2407"/>
                    </a:cubicBezTo>
                    <a:cubicBezTo>
                      <a:pt x="565" y="2409"/>
                      <a:pt x="565" y="2409"/>
                      <a:pt x="565" y="2409"/>
                    </a:cubicBezTo>
                    <a:cubicBezTo>
                      <a:pt x="561" y="2427"/>
                      <a:pt x="561" y="2427"/>
                      <a:pt x="561" y="2427"/>
                    </a:cubicBezTo>
                    <a:cubicBezTo>
                      <a:pt x="549" y="2415"/>
                      <a:pt x="549" y="2415"/>
                      <a:pt x="549" y="2415"/>
                    </a:cubicBezTo>
                    <a:cubicBezTo>
                      <a:pt x="562" y="2404"/>
                      <a:pt x="562" y="2404"/>
                      <a:pt x="562" y="2404"/>
                    </a:cubicBezTo>
                    <a:cubicBezTo>
                      <a:pt x="513" y="2409"/>
                      <a:pt x="513" y="2409"/>
                      <a:pt x="513" y="2409"/>
                    </a:cubicBezTo>
                    <a:cubicBezTo>
                      <a:pt x="513" y="2409"/>
                      <a:pt x="504" y="2433"/>
                      <a:pt x="498" y="2433"/>
                    </a:cubicBezTo>
                    <a:cubicBezTo>
                      <a:pt x="491" y="2439"/>
                      <a:pt x="487" y="2454"/>
                      <a:pt x="487" y="2454"/>
                    </a:cubicBezTo>
                    <a:cubicBezTo>
                      <a:pt x="487" y="2454"/>
                      <a:pt x="515" y="2461"/>
                      <a:pt x="517" y="2477"/>
                    </a:cubicBezTo>
                    <a:close/>
                    <a:moveTo>
                      <a:pt x="558" y="2617"/>
                    </a:moveTo>
                    <a:cubicBezTo>
                      <a:pt x="558" y="2617"/>
                      <a:pt x="567" y="2624"/>
                      <a:pt x="567" y="2629"/>
                    </a:cubicBezTo>
                    <a:cubicBezTo>
                      <a:pt x="567" y="2635"/>
                      <a:pt x="555" y="2621"/>
                      <a:pt x="558" y="2617"/>
                    </a:cubicBezTo>
                    <a:close/>
                    <a:moveTo>
                      <a:pt x="637" y="2523"/>
                    </a:moveTo>
                    <a:cubicBezTo>
                      <a:pt x="637" y="2523"/>
                      <a:pt x="644" y="2517"/>
                      <a:pt x="650" y="2521"/>
                    </a:cubicBezTo>
                    <a:cubicBezTo>
                      <a:pt x="656" y="2524"/>
                      <a:pt x="639" y="2525"/>
                      <a:pt x="641" y="2530"/>
                    </a:cubicBezTo>
                    <a:cubicBezTo>
                      <a:pt x="643" y="2535"/>
                      <a:pt x="630" y="2531"/>
                      <a:pt x="630" y="2531"/>
                    </a:cubicBezTo>
                    <a:cubicBezTo>
                      <a:pt x="630" y="2520"/>
                      <a:pt x="637" y="2523"/>
                      <a:pt x="637" y="2523"/>
                    </a:cubicBezTo>
                    <a:close/>
                    <a:moveTo>
                      <a:pt x="582" y="2787"/>
                    </a:moveTo>
                    <a:cubicBezTo>
                      <a:pt x="574" y="2787"/>
                      <a:pt x="575" y="2777"/>
                      <a:pt x="582" y="2777"/>
                    </a:cubicBezTo>
                    <a:cubicBezTo>
                      <a:pt x="589" y="2777"/>
                      <a:pt x="589" y="2786"/>
                      <a:pt x="582" y="2787"/>
                    </a:cubicBezTo>
                    <a:close/>
                    <a:moveTo>
                      <a:pt x="574" y="2504"/>
                    </a:moveTo>
                    <a:cubicBezTo>
                      <a:pt x="585" y="2504"/>
                      <a:pt x="585" y="2504"/>
                      <a:pt x="585" y="2504"/>
                    </a:cubicBezTo>
                    <a:cubicBezTo>
                      <a:pt x="581" y="2515"/>
                      <a:pt x="581" y="2515"/>
                      <a:pt x="581" y="2515"/>
                    </a:cubicBezTo>
                    <a:cubicBezTo>
                      <a:pt x="581" y="2515"/>
                      <a:pt x="587" y="2525"/>
                      <a:pt x="595" y="2524"/>
                    </a:cubicBezTo>
                    <a:cubicBezTo>
                      <a:pt x="602" y="2523"/>
                      <a:pt x="617" y="2512"/>
                      <a:pt x="615" y="2519"/>
                    </a:cubicBezTo>
                    <a:cubicBezTo>
                      <a:pt x="614" y="2525"/>
                      <a:pt x="608" y="2529"/>
                      <a:pt x="608" y="2529"/>
                    </a:cubicBezTo>
                    <a:cubicBezTo>
                      <a:pt x="608" y="2529"/>
                      <a:pt x="613" y="2537"/>
                      <a:pt x="607" y="2538"/>
                    </a:cubicBezTo>
                    <a:cubicBezTo>
                      <a:pt x="601" y="2539"/>
                      <a:pt x="597" y="2535"/>
                      <a:pt x="597" y="2535"/>
                    </a:cubicBezTo>
                    <a:cubicBezTo>
                      <a:pt x="597" y="2535"/>
                      <a:pt x="595" y="2539"/>
                      <a:pt x="585" y="2539"/>
                    </a:cubicBezTo>
                    <a:cubicBezTo>
                      <a:pt x="575" y="2538"/>
                      <a:pt x="574" y="2528"/>
                      <a:pt x="574" y="2528"/>
                    </a:cubicBezTo>
                    <a:cubicBezTo>
                      <a:pt x="573" y="2515"/>
                      <a:pt x="573" y="2515"/>
                      <a:pt x="573" y="2515"/>
                    </a:cubicBezTo>
                    <a:lnTo>
                      <a:pt x="574" y="2504"/>
                    </a:lnTo>
                    <a:close/>
                    <a:moveTo>
                      <a:pt x="1362" y="4632"/>
                    </a:moveTo>
                    <a:cubicBezTo>
                      <a:pt x="1352" y="4621"/>
                      <a:pt x="1352" y="4621"/>
                      <a:pt x="1352" y="4621"/>
                    </a:cubicBezTo>
                    <a:cubicBezTo>
                      <a:pt x="1350" y="4626"/>
                      <a:pt x="1354" y="4639"/>
                      <a:pt x="1354" y="4639"/>
                    </a:cubicBezTo>
                    <a:lnTo>
                      <a:pt x="1362" y="4632"/>
                    </a:lnTo>
                    <a:close/>
                    <a:moveTo>
                      <a:pt x="1216" y="4958"/>
                    </a:moveTo>
                    <a:cubicBezTo>
                      <a:pt x="1216" y="4958"/>
                      <a:pt x="1252" y="4946"/>
                      <a:pt x="1261" y="4946"/>
                    </a:cubicBezTo>
                    <a:cubicBezTo>
                      <a:pt x="1270" y="4946"/>
                      <a:pt x="1291" y="4967"/>
                      <a:pt x="1291" y="4967"/>
                    </a:cubicBezTo>
                    <a:cubicBezTo>
                      <a:pt x="1305" y="4949"/>
                      <a:pt x="1305" y="4949"/>
                      <a:pt x="1305" y="4949"/>
                    </a:cubicBezTo>
                    <a:cubicBezTo>
                      <a:pt x="1310" y="4958"/>
                      <a:pt x="1310" y="4958"/>
                      <a:pt x="1310" y="4958"/>
                    </a:cubicBezTo>
                    <a:cubicBezTo>
                      <a:pt x="1340" y="4923"/>
                      <a:pt x="1340" y="4923"/>
                      <a:pt x="1340" y="4923"/>
                    </a:cubicBezTo>
                    <a:cubicBezTo>
                      <a:pt x="1340" y="4912"/>
                      <a:pt x="1340" y="4912"/>
                      <a:pt x="1340" y="4912"/>
                    </a:cubicBezTo>
                    <a:cubicBezTo>
                      <a:pt x="1354" y="4903"/>
                      <a:pt x="1354" y="4903"/>
                      <a:pt x="1354" y="4903"/>
                    </a:cubicBezTo>
                    <a:cubicBezTo>
                      <a:pt x="1354" y="4903"/>
                      <a:pt x="1351" y="4891"/>
                      <a:pt x="1349" y="4881"/>
                    </a:cubicBezTo>
                    <a:cubicBezTo>
                      <a:pt x="1347" y="4876"/>
                      <a:pt x="1345" y="4872"/>
                      <a:pt x="1343" y="4871"/>
                    </a:cubicBezTo>
                    <a:cubicBezTo>
                      <a:pt x="1337" y="4866"/>
                      <a:pt x="1334" y="4854"/>
                      <a:pt x="1334" y="4854"/>
                    </a:cubicBezTo>
                    <a:cubicBezTo>
                      <a:pt x="1316" y="4854"/>
                      <a:pt x="1316" y="4854"/>
                      <a:pt x="1316" y="4854"/>
                    </a:cubicBezTo>
                    <a:cubicBezTo>
                      <a:pt x="1316" y="4854"/>
                      <a:pt x="1317" y="4872"/>
                      <a:pt x="1308" y="4872"/>
                    </a:cubicBezTo>
                    <a:cubicBezTo>
                      <a:pt x="1299" y="4872"/>
                      <a:pt x="1291" y="4868"/>
                      <a:pt x="1291" y="4868"/>
                    </a:cubicBezTo>
                    <a:cubicBezTo>
                      <a:pt x="1274" y="4876"/>
                      <a:pt x="1274" y="4876"/>
                      <a:pt x="1274" y="4876"/>
                    </a:cubicBezTo>
                    <a:cubicBezTo>
                      <a:pt x="1288" y="4849"/>
                      <a:pt x="1288" y="4849"/>
                      <a:pt x="1288" y="4849"/>
                    </a:cubicBezTo>
                    <a:cubicBezTo>
                      <a:pt x="1288" y="4849"/>
                      <a:pt x="1299" y="4854"/>
                      <a:pt x="1299" y="4849"/>
                    </a:cubicBezTo>
                    <a:cubicBezTo>
                      <a:pt x="1299" y="4845"/>
                      <a:pt x="1308" y="4806"/>
                      <a:pt x="1308" y="4806"/>
                    </a:cubicBezTo>
                    <a:cubicBezTo>
                      <a:pt x="1296" y="4791"/>
                      <a:pt x="1296" y="4791"/>
                      <a:pt x="1296" y="4791"/>
                    </a:cubicBezTo>
                    <a:cubicBezTo>
                      <a:pt x="1296" y="4791"/>
                      <a:pt x="1311" y="4788"/>
                      <a:pt x="1305" y="4783"/>
                    </a:cubicBezTo>
                    <a:cubicBezTo>
                      <a:pt x="1299" y="4779"/>
                      <a:pt x="1291" y="4768"/>
                      <a:pt x="1291" y="4768"/>
                    </a:cubicBezTo>
                    <a:cubicBezTo>
                      <a:pt x="1297" y="4762"/>
                      <a:pt x="1297" y="4762"/>
                      <a:pt x="1297" y="4762"/>
                    </a:cubicBezTo>
                    <a:cubicBezTo>
                      <a:pt x="1294" y="4751"/>
                      <a:pt x="1294" y="4751"/>
                      <a:pt x="1294" y="4751"/>
                    </a:cubicBezTo>
                    <a:cubicBezTo>
                      <a:pt x="1279" y="4736"/>
                      <a:pt x="1279" y="4736"/>
                      <a:pt x="1279" y="4736"/>
                    </a:cubicBezTo>
                    <a:cubicBezTo>
                      <a:pt x="1283" y="4719"/>
                      <a:pt x="1283" y="4719"/>
                      <a:pt x="1283" y="4719"/>
                    </a:cubicBezTo>
                    <a:cubicBezTo>
                      <a:pt x="1283" y="4719"/>
                      <a:pt x="1288" y="4688"/>
                      <a:pt x="1294" y="4697"/>
                    </a:cubicBezTo>
                    <a:cubicBezTo>
                      <a:pt x="1300" y="4707"/>
                      <a:pt x="1305" y="4717"/>
                      <a:pt x="1305" y="4717"/>
                    </a:cubicBezTo>
                    <a:cubicBezTo>
                      <a:pt x="1317" y="4717"/>
                      <a:pt x="1317" y="4717"/>
                      <a:pt x="1317" y="4717"/>
                    </a:cubicBezTo>
                    <a:cubicBezTo>
                      <a:pt x="1323" y="4726"/>
                      <a:pt x="1323" y="4726"/>
                      <a:pt x="1323" y="4726"/>
                    </a:cubicBezTo>
                    <a:cubicBezTo>
                      <a:pt x="1348" y="4737"/>
                      <a:pt x="1348" y="4737"/>
                      <a:pt x="1348" y="4737"/>
                    </a:cubicBezTo>
                    <a:cubicBezTo>
                      <a:pt x="1348" y="4737"/>
                      <a:pt x="1343" y="4737"/>
                      <a:pt x="1343" y="4750"/>
                    </a:cubicBezTo>
                    <a:cubicBezTo>
                      <a:pt x="1343" y="4762"/>
                      <a:pt x="1349" y="4773"/>
                      <a:pt x="1349" y="4773"/>
                    </a:cubicBezTo>
                    <a:cubicBezTo>
                      <a:pt x="1354" y="4791"/>
                      <a:pt x="1354" y="4791"/>
                      <a:pt x="1354" y="4791"/>
                    </a:cubicBezTo>
                    <a:cubicBezTo>
                      <a:pt x="1359" y="4791"/>
                      <a:pt x="1359" y="4791"/>
                      <a:pt x="1359" y="4791"/>
                    </a:cubicBezTo>
                    <a:cubicBezTo>
                      <a:pt x="1340" y="4840"/>
                      <a:pt x="1340" y="4840"/>
                      <a:pt x="1340" y="4840"/>
                    </a:cubicBezTo>
                    <a:cubicBezTo>
                      <a:pt x="1354" y="4843"/>
                      <a:pt x="1354" y="4843"/>
                      <a:pt x="1354" y="4843"/>
                    </a:cubicBezTo>
                    <a:cubicBezTo>
                      <a:pt x="1354" y="4843"/>
                      <a:pt x="1360" y="4864"/>
                      <a:pt x="1368" y="4880"/>
                    </a:cubicBezTo>
                    <a:cubicBezTo>
                      <a:pt x="1375" y="4868"/>
                      <a:pt x="1375" y="4868"/>
                      <a:pt x="1375" y="4868"/>
                    </a:cubicBezTo>
                    <a:cubicBezTo>
                      <a:pt x="1373" y="4851"/>
                      <a:pt x="1373" y="4851"/>
                      <a:pt x="1373" y="4851"/>
                    </a:cubicBezTo>
                    <a:cubicBezTo>
                      <a:pt x="1373" y="4851"/>
                      <a:pt x="1381" y="4856"/>
                      <a:pt x="1385" y="4852"/>
                    </a:cubicBezTo>
                    <a:cubicBezTo>
                      <a:pt x="1389" y="4848"/>
                      <a:pt x="1382" y="4839"/>
                      <a:pt x="1382" y="4839"/>
                    </a:cubicBezTo>
                    <a:cubicBezTo>
                      <a:pt x="1383" y="4811"/>
                      <a:pt x="1383" y="4811"/>
                      <a:pt x="1383" y="4811"/>
                    </a:cubicBezTo>
                    <a:cubicBezTo>
                      <a:pt x="1383" y="4811"/>
                      <a:pt x="1397" y="4805"/>
                      <a:pt x="1398" y="4784"/>
                    </a:cubicBezTo>
                    <a:cubicBezTo>
                      <a:pt x="1399" y="4763"/>
                      <a:pt x="1380" y="4764"/>
                      <a:pt x="1380" y="4764"/>
                    </a:cubicBezTo>
                    <a:cubicBezTo>
                      <a:pt x="1379" y="4743"/>
                      <a:pt x="1379" y="4743"/>
                      <a:pt x="1379" y="4743"/>
                    </a:cubicBezTo>
                    <a:cubicBezTo>
                      <a:pt x="1379" y="4743"/>
                      <a:pt x="1376" y="4735"/>
                      <a:pt x="1375" y="4729"/>
                    </a:cubicBezTo>
                    <a:cubicBezTo>
                      <a:pt x="1374" y="4723"/>
                      <a:pt x="1380" y="4711"/>
                      <a:pt x="1380" y="4711"/>
                    </a:cubicBezTo>
                    <a:cubicBezTo>
                      <a:pt x="1358" y="4681"/>
                      <a:pt x="1358" y="4681"/>
                      <a:pt x="1358" y="4681"/>
                    </a:cubicBezTo>
                    <a:cubicBezTo>
                      <a:pt x="1352" y="4653"/>
                      <a:pt x="1352" y="4653"/>
                      <a:pt x="1352" y="4653"/>
                    </a:cubicBezTo>
                    <a:cubicBezTo>
                      <a:pt x="1331" y="4633"/>
                      <a:pt x="1331" y="4633"/>
                      <a:pt x="1331" y="4633"/>
                    </a:cubicBezTo>
                    <a:cubicBezTo>
                      <a:pt x="1305" y="4625"/>
                      <a:pt x="1305" y="4625"/>
                      <a:pt x="1305" y="4625"/>
                    </a:cubicBezTo>
                    <a:cubicBezTo>
                      <a:pt x="1305" y="4625"/>
                      <a:pt x="1301" y="4634"/>
                      <a:pt x="1289" y="4634"/>
                    </a:cubicBezTo>
                    <a:cubicBezTo>
                      <a:pt x="1277" y="4634"/>
                      <a:pt x="1259" y="4626"/>
                      <a:pt x="1259" y="4626"/>
                    </a:cubicBezTo>
                    <a:cubicBezTo>
                      <a:pt x="1259" y="4626"/>
                      <a:pt x="1258" y="4633"/>
                      <a:pt x="1247" y="4633"/>
                    </a:cubicBezTo>
                    <a:cubicBezTo>
                      <a:pt x="1236" y="4633"/>
                      <a:pt x="1218" y="4654"/>
                      <a:pt x="1175" y="4677"/>
                    </a:cubicBezTo>
                    <a:cubicBezTo>
                      <a:pt x="1177" y="4635"/>
                      <a:pt x="1215" y="4604"/>
                      <a:pt x="1253" y="4591"/>
                    </a:cubicBezTo>
                    <a:cubicBezTo>
                      <a:pt x="1291" y="4578"/>
                      <a:pt x="1284" y="4551"/>
                      <a:pt x="1278" y="4514"/>
                    </a:cubicBezTo>
                    <a:cubicBezTo>
                      <a:pt x="1257" y="4476"/>
                      <a:pt x="1243" y="4489"/>
                      <a:pt x="1243" y="4496"/>
                    </a:cubicBezTo>
                    <a:cubicBezTo>
                      <a:pt x="1243" y="4503"/>
                      <a:pt x="1250" y="4519"/>
                      <a:pt x="1250" y="4519"/>
                    </a:cubicBezTo>
                    <a:cubicBezTo>
                      <a:pt x="1231" y="4515"/>
                      <a:pt x="1231" y="4515"/>
                      <a:pt x="1231" y="4515"/>
                    </a:cubicBezTo>
                    <a:cubicBezTo>
                      <a:pt x="1231" y="4515"/>
                      <a:pt x="1235" y="4504"/>
                      <a:pt x="1237" y="4498"/>
                    </a:cubicBezTo>
                    <a:cubicBezTo>
                      <a:pt x="1239" y="4492"/>
                      <a:pt x="1219" y="4474"/>
                      <a:pt x="1219" y="4474"/>
                    </a:cubicBezTo>
                    <a:cubicBezTo>
                      <a:pt x="1215" y="4456"/>
                      <a:pt x="1215" y="4456"/>
                      <a:pt x="1215" y="4456"/>
                    </a:cubicBezTo>
                    <a:cubicBezTo>
                      <a:pt x="1199" y="4456"/>
                      <a:pt x="1199" y="4456"/>
                      <a:pt x="1199" y="4456"/>
                    </a:cubicBezTo>
                    <a:cubicBezTo>
                      <a:pt x="1198" y="4410"/>
                      <a:pt x="1150" y="4393"/>
                      <a:pt x="1150" y="4393"/>
                    </a:cubicBezTo>
                    <a:cubicBezTo>
                      <a:pt x="1162" y="4346"/>
                      <a:pt x="1162" y="4346"/>
                      <a:pt x="1162" y="4346"/>
                    </a:cubicBezTo>
                    <a:cubicBezTo>
                      <a:pt x="1162" y="4346"/>
                      <a:pt x="1144" y="4331"/>
                      <a:pt x="1144" y="4336"/>
                    </a:cubicBezTo>
                    <a:cubicBezTo>
                      <a:pt x="1144" y="4341"/>
                      <a:pt x="1128" y="4340"/>
                      <a:pt x="1128" y="4340"/>
                    </a:cubicBezTo>
                    <a:cubicBezTo>
                      <a:pt x="1125" y="4319"/>
                      <a:pt x="1125" y="4319"/>
                      <a:pt x="1125" y="4319"/>
                    </a:cubicBezTo>
                    <a:cubicBezTo>
                      <a:pt x="1125" y="4319"/>
                      <a:pt x="1135" y="4300"/>
                      <a:pt x="1135" y="4297"/>
                    </a:cubicBezTo>
                    <a:cubicBezTo>
                      <a:pt x="1135" y="4294"/>
                      <a:pt x="1126" y="4289"/>
                      <a:pt x="1126" y="4289"/>
                    </a:cubicBezTo>
                    <a:cubicBezTo>
                      <a:pt x="1126" y="4289"/>
                      <a:pt x="1130" y="4280"/>
                      <a:pt x="1135" y="4269"/>
                    </a:cubicBezTo>
                    <a:cubicBezTo>
                      <a:pt x="1140" y="4258"/>
                      <a:pt x="1111" y="4227"/>
                      <a:pt x="1111" y="4227"/>
                    </a:cubicBezTo>
                    <a:cubicBezTo>
                      <a:pt x="1096" y="4228"/>
                      <a:pt x="1096" y="4228"/>
                      <a:pt x="1096" y="4228"/>
                    </a:cubicBezTo>
                    <a:cubicBezTo>
                      <a:pt x="1096" y="4228"/>
                      <a:pt x="1078" y="4202"/>
                      <a:pt x="1078" y="4207"/>
                    </a:cubicBezTo>
                    <a:cubicBezTo>
                      <a:pt x="1078" y="4212"/>
                      <a:pt x="1070" y="4218"/>
                      <a:pt x="1036" y="4222"/>
                    </a:cubicBezTo>
                    <a:cubicBezTo>
                      <a:pt x="1012" y="4203"/>
                      <a:pt x="988" y="4197"/>
                      <a:pt x="988" y="4197"/>
                    </a:cubicBezTo>
                    <a:cubicBezTo>
                      <a:pt x="988" y="4197"/>
                      <a:pt x="976" y="4199"/>
                      <a:pt x="955" y="4199"/>
                    </a:cubicBezTo>
                    <a:cubicBezTo>
                      <a:pt x="939" y="4186"/>
                      <a:pt x="921" y="4191"/>
                      <a:pt x="921" y="4191"/>
                    </a:cubicBezTo>
                    <a:cubicBezTo>
                      <a:pt x="921" y="4191"/>
                      <a:pt x="912" y="4202"/>
                      <a:pt x="881" y="4221"/>
                    </a:cubicBezTo>
                    <a:cubicBezTo>
                      <a:pt x="828" y="4212"/>
                      <a:pt x="821" y="4245"/>
                      <a:pt x="821" y="4245"/>
                    </a:cubicBezTo>
                    <a:cubicBezTo>
                      <a:pt x="747" y="4243"/>
                      <a:pt x="747" y="4243"/>
                      <a:pt x="747" y="4243"/>
                    </a:cubicBezTo>
                    <a:cubicBezTo>
                      <a:pt x="716" y="4224"/>
                      <a:pt x="716" y="4224"/>
                      <a:pt x="716" y="4224"/>
                    </a:cubicBezTo>
                    <a:cubicBezTo>
                      <a:pt x="716" y="4224"/>
                      <a:pt x="716" y="4253"/>
                      <a:pt x="716" y="4256"/>
                    </a:cubicBezTo>
                    <a:cubicBezTo>
                      <a:pt x="716" y="4259"/>
                      <a:pt x="704" y="4289"/>
                      <a:pt x="704" y="4289"/>
                    </a:cubicBezTo>
                    <a:cubicBezTo>
                      <a:pt x="704" y="4289"/>
                      <a:pt x="705" y="4284"/>
                      <a:pt x="692" y="4295"/>
                    </a:cubicBezTo>
                    <a:cubicBezTo>
                      <a:pt x="679" y="4306"/>
                      <a:pt x="693" y="4313"/>
                      <a:pt x="693" y="4313"/>
                    </a:cubicBezTo>
                    <a:cubicBezTo>
                      <a:pt x="693" y="4313"/>
                      <a:pt x="690" y="4315"/>
                      <a:pt x="672" y="4337"/>
                    </a:cubicBezTo>
                    <a:cubicBezTo>
                      <a:pt x="634" y="4339"/>
                      <a:pt x="637" y="4321"/>
                      <a:pt x="628" y="4321"/>
                    </a:cubicBezTo>
                    <a:cubicBezTo>
                      <a:pt x="619" y="4321"/>
                      <a:pt x="589" y="4333"/>
                      <a:pt x="589" y="4333"/>
                    </a:cubicBezTo>
                    <a:cubicBezTo>
                      <a:pt x="582" y="4329"/>
                      <a:pt x="582" y="4329"/>
                      <a:pt x="582" y="4329"/>
                    </a:cubicBezTo>
                    <a:cubicBezTo>
                      <a:pt x="582" y="4329"/>
                      <a:pt x="524" y="4403"/>
                      <a:pt x="521" y="4403"/>
                    </a:cubicBezTo>
                    <a:cubicBezTo>
                      <a:pt x="520" y="4403"/>
                      <a:pt x="520" y="4400"/>
                      <a:pt x="519" y="4395"/>
                    </a:cubicBezTo>
                    <a:cubicBezTo>
                      <a:pt x="511" y="4409"/>
                      <a:pt x="502" y="4429"/>
                      <a:pt x="502" y="4439"/>
                    </a:cubicBezTo>
                    <a:cubicBezTo>
                      <a:pt x="503" y="4458"/>
                      <a:pt x="497" y="4503"/>
                      <a:pt x="460" y="4523"/>
                    </a:cubicBezTo>
                    <a:cubicBezTo>
                      <a:pt x="449" y="4562"/>
                      <a:pt x="449" y="4562"/>
                      <a:pt x="449" y="4562"/>
                    </a:cubicBezTo>
                    <a:cubicBezTo>
                      <a:pt x="409" y="4560"/>
                      <a:pt x="409" y="4560"/>
                      <a:pt x="409" y="4560"/>
                    </a:cubicBezTo>
                    <a:cubicBezTo>
                      <a:pt x="355" y="4594"/>
                      <a:pt x="355" y="4594"/>
                      <a:pt x="355" y="4594"/>
                    </a:cubicBezTo>
                    <a:cubicBezTo>
                      <a:pt x="355" y="4594"/>
                      <a:pt x="325" y="4570"/>
                      <a:pt x="320" y="4570"/>
                    </a:cubicBezTo>
                    <a:cubicBezTo>
                      <a:pt x="315" y="4570"/>
                      <a:pt x="281" y="4596"/>
                      <a:pt x="281" y="4596"/>
                    </a:cubicBezTo>
                    <a:cubicBezTo>
                      <a:pt x="291" y="4606"/>
                      <a:pt x="291" y="4606"/>
                      <a:pt x="291" y="4606"/>
                    </a:cubicBezTo>
                    <a:cubicBezTo>
                      <a:pt x="283" y="4616"/>
                      <a:pt x="283" y="4616"/>
                      <a:pt x="283" y="4616"/>
                    </a:cubicBezTo>
                    <a:cubicBezTo>
                      <a:pt x="316" y="4651"/>
                      <a:pt x="316" y="4651"/>
                      <a:pt x="316" y="4651"/>
                    </a:cubicBezTo>
                    <a:cubicBezTo>
                      <a:pt x="325" y="4639"/>
                      <a:pt x="325" y="4639"/>
                      <a:pt x="325" y="4639"/>
                    </a:cubicBezTo>
                    <a:cubicBezTo>
                      <a:pt x="325" y="4639"/>
                      <a:pt x="345" y="4658"/>
                      <a:pt x="379" y="4653"/>
                    </a:cubicBezTo>
                    <a:cubicBezTo>
                      <a:pt x="387" y="4663"/>
                      <a:pt x="382" y="4662"/>
                      <a:pt x="382" y="4662"/>
                    </a:cubicBezTo>
                    <a:cubicBezTo>
                      <a:pt x="382" y="4662"/>
                      <a:pt x="329" y="4689"/>
                      <a:pt x="322" y="4709"/>
                    </a:cubicBezTo>
                    <a:cubicBezTo>
                      <a:pt x="309" y="4714"/>
                      <a:pt x="305" y="4715"/>
                      <a:pt x="305" y="4715"/>
                    </a:cubicBezTo>
                    <a:cubicBezTo>
                      <a:pt x="295" y="4721"/>
                      <a:pt x="295" y="4721"/>
                      <a:pt x="295" y="4721"/>
                    </a:cubicBezTo>
                    <a:cubicBezTo>
                      <a:pt x="295" y="4721"/>
                      <a:pt x="257" y="4720"/>
                      <a:pt x="253" y="4713"/>
                    </a:cubicBezTo>
                    <a:cubicBezTo>
                      <a:pt x="250" y="4705"/>
                      <a:pt x="241" y="4711"/>
                      <a:pt x="241" y="4711"/>
                    </a:cubicBezTo>
                    <a:cubicBezTo>
                      <a:pt x="215" y="4752"/>
                      <a:pt x="215" y="4752"/>
                      <a:pt x="215" y="4752"/>
                    </a:cubicBezTo>
                    <a:cubicBezTo>
                      <a:pt x="205" y="4750"/>
                      <a:pt x="205" y="4750"/>
                      <a:pt x="205" y="4750"/>
                    </a:cubicBezTo>
                    <a:cubicBezTo>
                      <a:pt x="193" y="4764"/>
                      <a:pt x="193" y="4764"/>
                      <a:pt x="193" y="4764"/>
                    </a:cubicBezTo>
                    <a:cubicBezTo>
                      <a:pt x="172" y="4765"/>
                      <a:pt x="172" y="4765"/>
                      <a:pt x="172" y="4765"/>
                    </a:cubicBezTo>
                    <a:cubicBezTo>
                      <a:pt x="175" y="4779"/>
                      <a:pt x="175" y="4779"/>
                      <a:pt x="175" y="4779"/>
                    </a:cubicBezTo>
                    <a:cubicBezTo>
                      <a:pt x="173" y="4786"/>
                      <a:pt x="173" y="4786"/>
                      <a:pt x="173" y="4786"/>
                    </a:cubicBezTo>
                    <a:cubicBezTo>
                      <a:pt x="173" y="4786"/>
                      <a:pt x="207" y="4842"/>
                      <a:pt x="228" y="4843"/>
                    </a:cubicBezTo>
                    <a:cubicBezTo>
                      <a:pt x="243" y="4868"/>
                      <a:pt x="250" y="4873"/>
                      <a:pt x="250" y="4879"/>
                    </a:cubicBezTo>
                    <a:cubicBezTo>
                      <a:pt x="250" y="4885"/>
                      <a:pt x="270" y="4895"/>
                      <a:pt x="270" y="4895"/>
                    </a:cubicBezTo>
                    <a:cubicBezTo>
                      <a:pt x="286" y="4897"/>
                      <a:pt x="286" y="4897"/>
                      <a:pt x="286" y="4897"/>
                    </a:cubicBezTo>
                    <a:cubicBezTo>
                      <a:pt x="286" y="4897"/>
                      <a:pt x="300" y="4936"/>
                      <a:pt x="302" y="4959"/>
                    </a:cubicBezTo>
                    <a:cubicBezTo>
                      <a:pt x="307" y="4966"/>
                      <a:pt x="309" y="4969"/>
                      <a:pt x="309" y="4970"/>
                    </a:cubicBezTo>
                    <a:cubicBezTo>
                      <a:pt x="316" y="4967"/>
                      <a:pt x="316" y="4967"/>
                      <a:pt x="316" y="4967"/>
                    </a:cubicBezTo>
                    <a:cubicBezTo>
                      <a:pt x="316" y="4967"/>
                      <a:pt x="370" y="4966"/>
                      <a:pt x="371" y="4968"/>
                    </a:cubicBezTo>
                    <a:cubicBezTo>
                      <a:pt x="371" y="4970"/>
                      <a:pt x="386" y="4989"/>
                      <a:pt x="386" y="4989"/>
                    </a:cubicBezTo>
                    <a:cubicBezTo>
                      <a:pt x="393" y="4989"/>
                      <a:pt x="393" y="4989"/>
                      <a:pt x="393" y="4989"/>
                    </a:cubicBezTo>
                    <a:cubicBezTo>
                      <a:pt x="421" y="5024"/>
                      <a:pt x="421" y="5024"/>
                      <a:pt x="421" y="5024"/>
                    </a:cubicBezTo>
                    <a:cubicBezTo>
                      <a:pt x="421" y="5024"/>
                      <a:pt x="460" y="5042"/>
                      <a:pt x="469" y="5039"/>
                    </a:cubicBezTo>
                    <a:cubicBezTo>
                      <a:pt x="479" y="5037"/>
                      <a:pt x="498" y="5010"/>
                      <a:pt x="498" y="5010"/>
                    </a:cubicBezTo>
                    <a:cubicBezTo>
                      <a:pt x="498" y="5010"/>
                      <a:pt x="497" y="5025"/>
                      <a:pt x="500" y="5025"/>
                    </a:cubicBezTo>
                    <a:cubicBezTo>
                      <a:pt x="503" y="5025"/>
                      <a:pt x="518" y="5021"/>
                      <a:pt x="518" y="5026"/>
                    </a:cubicBezTo>
                    <a:cubicBezTo>
                      <a:pt x="518" y="5031"/>
                      <a:pt x="519" y="5043"/>
                      <a:pt x="519" y="5043"/>
                    </a:cubicBezTo>
                    <a:cubicBezTo>
                      <a:pt x="519" y="5043"/>
                      <a:pt x="521" y="5031"/>
                      <a:pt x="528" y="5031"/>
                    </a:cubicBezTo>
                    <a:cubicBezTo>
                      <a:pt x="535" y="5031"/>
                      <a:pt x="543" y="5047"/>
                      <a:pt x="543" y="5040"/>
                    </a:cubicBezTo>
                    <a:cubicBezTo>
                      <a:pt x="543" y="5033"/>
                      <a:pt x="541" y="5024"/>
                      <a:pt x="541" y="5021"/>
                    </a:cubicBezTo>
                    <a:cubicBezTo>
                      <a:pt x="541" y="5017"/>
                      <a:pt x="549" y="5001"/>
                      <a:pt x="553" y="5002"/>
                    </a:cubicBezTo>
                    <a:cubicBezTo>
                      <a:pt x="558" y="5003"/>
                      <a:pt x="562" y="5039"/>
                      <a:pt x="562" y="5039"/>
                    </a:cubicBezTo>
                    <a:cubicBezTo>
                      <a:pt x="562" y="5039"/>
                      <a:pt x="565" y="4965"/>
                      <a:pt x="617" y="4960"/>
                    </a:cubicBezTo>
                    <a:cubicBezTo>
                      <a:pt x="630" y="4931"/>
                      <a:pt x="619" y="4925"/>
                      <a:pt x="619" y="4925"/>
                    </a:cubicBezTo>
                    <a:cubicBezTo>
                      <a:pt x="619" y="4925"/>
                      <a:pt x="603" y="4904"/>
                      <a:pt x="597" y="4904"/>
                    </a:cubicBezTo>
                    <a:cubicBezTo>
                      <a:pt x="591" y="4904"/>
                      <a:pt x="615" y="4879"/>
                      <a:pt x="615" y="4879"/>
                    </a:cubicBezTo>
                    <a:cubicBezTo>
                      <a:pt x="631" y="4878"/>
                      <a:pt x="631" y="4878"/>
                      <a:pt x="631" y="4878"/>
                    </a:cubicBezTo>
                    <a:cubicBezTo>
                      <a:pt x="680" y="4815"/>
                      <a:pt x="680" y="4815"/>
                      <a:pt x="680" y="4815"/>
                    </a:cubicBezTo>
                    <a:cubicBezTo>
                      <a:pt x="691" y="4827"/>
                      <a:pt x="691" y="4827"/>
                      <a:pt x="691" y="4827"/>
                    </a:cubicBezTo>
                    <a:cubicBezTo>
                      <a:pt x="705" y="4827"/>
                      <a:pt x="705" y="4827"/>
                      <a:pt x="705" y="4827"/>
                    </a:cubicBezTo>
                    <a:cubicBezTo>
                      <a:pt x="705" y="4827"/>
                      <a:pt x="753" y="4879"/>
                      <a:pt x="757" y="4901"/>
                    </a:cubicBezTo>
                    <a:cubicBezTo>
                      <a:pt x="747" y="4924"/>
                      <a:pt x="747" y="4927"/>
                      <a:pt x="747" y="4927"/>
                    </a:cubicBezTo>
                    <a:cubicBezTo>
                      <a:pt x="747" y="4927"/>
                      <a:pt x="770" y="4932"/>
                      <a:pt x="772" y="4961"/>
                    </a:cubicBezTo>
                    <a:cubicBezTo>
                      <a:pt x="807" y="4997"/>
                      <a:pt x="807" y="4997"/>
                      <a:pt x="807" y="4997"/>
                    </a:cubicBezTo>
                    <a:cubicBezTo>
                      <a:pt x="807" y="4997"/>
                      <a:pt x="822" y="4980"/>
                      <a:pt x="830" y="4982"/>
                    </a:cubicBezTo>
                    <a:cubicBezTo>
                      <a:pt x="838" y="4984"/>
                      <a:pt x="853" y="5021"/>
                      <a:pt x="853" y="5021"/>
                    </a:cubicBezTo>
                    <a:cubicBezTo>
                      <a:pt x="856" y="5028"/>
                      <a:pt x="856" y="5028"/>
                      <a:pt x="856" y="5028"/>
                    </a:cubicBezTo>
                    <a:cubicBezTo>
                      <a:pt x="856" y="5028"/>
                      <a:pt x="841" y="5052"/>
                      <a:pt x="842" y="5068"/>
                    </a:cubicBezTo>
                    <a:cubicBezTo>
                      <a:pt x="843" y="5084"/>
                      <a:pt x="865" y="5109"/>
                      <a:pt x="866" y="5107"/>
                    </a:cubicBezTo>
                    <a:cubicBezTo>
                      <a:pt x="867" y="5105"/>
                      <a:pt x="879" y="5093"/>
                      <a:pt x="879" y="5093"/>
                    </a:cubicBezTo>
                    <a:cubicBezTo>
                      <a:pt x="892" y="5103"/>
                      <a:pt x="892" y="5103"/>
                      <a:pt x="892" y="5103"/>
                    </a:cubicBezTo>
                    <a:cubicBezTo>
                      <a:pt x="892" y="5103"/>
                      <a:pt x="907" y="5095"/>
                      <a:pt x="919" y="5094"/>
                    </a:cubicBezTo>
                    <a:cubicBezTo>
                      <a:pt x="926" y="5083"/>
                      <a:pt x="929" y="5083"/>
                      <a:pt x="929" y="5083"/>
                    </a:cubicBezTo>
                    <a:cubicBezTo>
                      <a:pt x="929" y="5083"/>
                      <a:pt x="938" y="5101"/>
                      <a:pt x="949" y="5099"/>
                    </a:cubicBezTo>
                    <a:cubicBezTo>
                      <a:pt x="961" y="5097"/>
                      <a:pt x="982" y="5073"/>
                      <a:pt x="981" y="5059"/>
                    </a:cubicBezTo>
                    <a:cubicBezTo>
                      <a:pt x="985" y="5051"/>
                      <a:pt x="985" y="5051"/>
                      <a:pt x="985" y="5051"/>
                    </a:cubicBezTo>
                    <a:cubicBezTo>
                      <a:pt x="1001" y="5070"/>
                      <a:pt x="1001" y="5070"/>
                      <a:pt x="1001" y="5070"/>
                    </a:cubicBezTo>
                    <a:cubicBezTo>
                      <a:pt x="1001" y="5070"/>
                      <a:pt x="1010" y="5062"/>
                      <a:pt x="1016" y="5062"/>
                    </a:cubicBezTo>
                    <a:cubicBezTo>
                      <a:pt x="1018" y="5062"/>
                      <a:pt x="1022" y="5063"/>
                      <a:pt x="1026" y="5064"/>
                    </a:cubicBezTo>
                    <a:cubicBezTo>
                      <a:pt x="1025" y="5059"/>
                      <a:pt x="1026" y="5055"/>
                      <a:pt x="1026" y="5055"/>
                    </a:cubicBezTo>
                    <a:cubicBezTo>
                      <a:pt x="1048" y="5055"/>
                      <a:pt x="1048" y="5055"/>
                      <a:pt x="1048" y="5055"/>
                    </a:cubicBezTo>
                    <a:cubicBezTo>
                      <a:pt x="1048" y="5055"/>
                      <a:pt x="1046" y="5067"/>
                      <a:pt x="1056" y="5078"/>
                    </a:cubicBezTo>
                    <a:cubicBezTo>
                      <a:pt x="1066" y="5089"/>
                      <a:pt x="1091" y="5088"/>
                      <a:pt x="1091" y="5088"/>
                    </a:cubicBezTo>
                    <a:cubicBezTo>
                      <a:pt x="1090" y="5097"/>
                      <a:pt x="1090" y="5097"/>
                      <a:pt x="1090" y="5097"/>
                    </a:cubicBezTo>
                    <a:cubicBezTo>
                      <a:pt x="1108" y="5120"/>
                      <a:pt x="1108" y="5120"/>
                      <a:pt x="1108" y="5120"/>
                    </a:cubicBezTo>
                    <a:cubicBezTo>
                      <a:pt x="1136" y="5096"/>
                      <a:pt x="1136" y="5096"/>
                      <a:pt x="1136" y="5096"/>
                    </a:cubicBezTo>
                    <a:cubicBezTo>
                      <a:pt x="1147" y="5096"/>
                      <a:pt x="1147" y="5096"/>
                      <a:pt x="1147" y="5096"/>
                    </a:cubicBezTo>
                    <a:cubicBezTo>
                      <a:pt x="1190" y="5054"/>
                      <a:pt x="1190" y="5054"/>
                      <a:pt x="1190" y="5054"/>
                    </a:cubicBezTo>
                    <a:cubicBezTo>
                      <a:pt x="1190" y="5054"/>
                      <a:pt x="1198" y="5006"/>
                      <a:pt x="1198" y="5002"/>
                    </a:cubicBezTo>
                    <a:cubicBezTo>
                      <a:pt x="1198" y="4998"/>
                      <a:pt x="1190" y="4992"/>
                      <a:pt x="1190" y="4980"/>
                    </a:cubicBezTo>
                    <a:cubicBezTo>
                      <a:pt x="1190" y="4968"/>
                      <a:pt x="1216" y="4958"/>
                      <a:pt x="1216" y="4958"/>
                    </a:cubicBezTo>
                    <a:close/>
                    <a:moveTo>
                      <a:pt x="1212" y="4935"/>
                    </a:moveTo>
                    <a:cubicBezTo>
                      <a:pt x="1212" y="4935"/>
                      <a:pt x="1227" y="4939"/>
                      <a:pt x="1219" y="4945"/>
                    </a:cubicBezTo>
                    <a:cubicBezTo>
                      <a:pt x="1211" y="4952"/>
                      <a:pt x="1212" y="4935"/>
                      <a:pt x="1212" y="4935"/>
                    </a:cubicBezTo>
                    <a:close/>
                    <a:moveTo>
                      <a:pt x="1266" y="4538"/>
                    </a:moveTo>
                    <a:cubicBezTo>
                      <a:pt x="1263" y="4546"/>
                      <a:pt x="1261" y="4531"/>
                      <a:pt x="1261" y="4531"/>
                    </a:cubicBezTo>
                    <a:cubicBezTo>
                      <a:pt x="1269" y="4531"/>
                      <a:pt x="1269" y="4530"/>
                      <a:pt x="1266" y="4538"/>
                    </a:cubicBezTo>
                    <a:close/>
                    <a:moveTo>
                      <a:pt x="1031" y="4647"/>
                    </a:moveTo>
                    <a:cubicBezTo>
                      <a:pt x="1024" y="4653"/>
                      <a:pt x="1022" y="4670"/>
                      <a:pt x="1022" y="4670"/>
                    </a:cubicBezTo>
                    <a:cubicBezTo>
                      <a:pt x="1022" y="4670"/>
                      <a:pt x="1037" y="4662"/>
                      <a:pt x="1036" y="4670"/>
                    </a:cubicBezTo>
                    <a:cubicBezTo>
                      <a:pt x="1034" y="4677"/>
                      <a:pt x="1030" y="4699"/>
                      <a:pt x="1030" y="4699"/>
                    </a:cubicBezTo>
                    <a:cubicBezTo>
                      <a:pt x="1011" y="4711"/>
                      <a:pt x="1011" y="4711"/>
                      <a:pt x="1011" y="4711"/>
                    </a:cubicBezTo>
                    <a:cubicBezTo>
                      <a:pt x="1019" y="4720"/>
                      <a:pt x="1019" y="4720"/>
                      <a:pt x="1019" y="4720"/>
                    </a:cubicBezTo>
                    <a:cubicBezTo>
                      <a:pt x="1010" y="4731"/>
                      <a:pt x="1010" y="4731"/>
                      <a:pt x="1010" y="4731"/>
                    </a:cubicBezTo>
                    <a:cubicBezTo>
                      <a:pt x="1010" y="4761"/>
                      <a:pt x="1010" y="4761"/>
                      <a:pt x="1010" y="4761"/>
                    </a:cubicBezTo>
                    <a:cubicBezTo>
                      <a:pt x="979" y="4774"/>
                      <a:pt x="979" y="4774"/>
                      <a:pt x="979" y="4774"/>
                    </a:cubicBezTo>
                    <a:cubicBezTo>
                      <a:pt x="970" y="4753"/>
                      <a:pt x="970" y="4753"/>
                      <a:pt x="970" y="4753"/>
                    </a:cubicBezTo>
                    <a:cubicBezTo>
                      <a:pt x="961" y="4753"/>
                      <a:pt x="961" y="4753"/>
                      <a:pt x="961" y="4753"/>
                    </a:cubicBezTo>
                    <a:cubicBezTo>
                      <a:pt x="961" y="4753"/>
                      <a:pt x="933" y="4756"/>
                      <a:pt x="913" y="4756"/>
                    </a:cubicBezTo>
                    <a:cubicBezTo>
                      <a:pt x="906" y="4756"/>
                      <a:pt x="900" y="4753"/>
                      <a:pt x="896" y="4750"/>
                    </a:cubicBezTo>
                    <a:cubicBezTo>
                      <a:pt x="901" y="4746"/>
                      <a:pt x="901" y="4746"/>
                      <a:pt x="901" y="4746"/>
                    </a:cubicBezTo>
                    <a:cubicBezTo>
                      <a:pt x="899" y="4733"/>
                      <a:pt x="899" y="4733"/>
                      <a:pt x="899" y="4733"/>
                    </a:cubicBezTo>
                    <a:cubicBezTo>
                      <a:pt x="899" y="4733"/>
                      <a:pt x="895" y="4723"/>
                      <a:pt x="895" y="4711"/>
                    </a:cubicBezTo>
                    <a:cubicBezTo>
                      <a:pt x="895" y="4699"/>
                      <a:pt x="915" y="4687"/>
                      <a:pt x="922" y="4668"/>
                    </a:cubicBezTo>
                    <a:cubicBezTo>
                      <a:pt x="930" y="4650"/>
                      <a:pt x="922" y="4631"/>
                      <a:pt x="922" y="4631"/>
                    </a:cubicBezTo>
                    <a:cubicBezTo>
                      <a:pt x="921" y="4631"/>
                      <a:pt x="921" y="4631"/>
                      <a:pt x="921" y="4631"/>
                    </a:cubicBezTo>
                    <a:cubicBezTo>
                      <a:pt x="921" y="4608"/>
                      <a:pt x="921" y="4608"/>
                      <a:pt x="921" y="4608"/>
                    </a:cubicBezTo>
                    <a:cubicBezTo>
                      <a:pt x="921" y="4608"/>
                      <a:pt x="921" y="4597"/>
                      <a:pt x="924" y="4591"/>
                    </a:cubicBezTo>
                    <a:cubicBezTo>
                      <a:pt x="927" y="4585"/>
                      <a:pt x="927" y="4570"/>
                      <a:pt x="927" y="4570"/>
                    </a:cubicBezTo>
                    <a:cubicBezTo>
                      <a:pt x="927" y="4570"/>
                      <a:pt x="944" y="4569"/>
                      <a:pt x="951" y="4566"/>
                    </a:cubicBezTo>
                    <a:cubicBezTo>
                      <a:pt x="952" y="4571"/>
                      <a:pt x="953" y="4577"/>
                      <a:pt x="951" y="4579"/>
                    </a:cubicBezTo>
                    <a:cubicBezTo>
                      <a:pt x="948" y="4584"/>
                      <a:pt x="951" y="4597"/>
                      <a:pt x="951" y="4597"/>
                    </a:cubicBezTo>
                    <a:cubicBezTo>
                      <a:pt x="965" y="4585"/>
                      <a:pt x="965" y="4585"/>
                      <a:pt x="965" y="4585"/>
                    </a:cubicBezTo>
                    <a:cubicBezTo>
                      <a:pt x="965" y="4585"/>
                      <a:pt x="976" y="4604"/>
                      <a:pt x="985" y="4604"/>
                    </a:cubicBezTo>
                    <a:cubicBezTo>
                      <a:pt x="994" y="4604"/>
                      <a:pt x="1042" y="4574"/>
                      <a:pt x="1045" y="4591"/>
                    </a:cubicBezTo>
                    <a:cubicBezTo>
                      <a:pt x="1048" y="4608"/>
                      <a:pt x="1028" y="4624"/>
                      <a:pt x="1028" y="4624"/>
                    </a:cubicBezTo>
                    <a:cubicBezTo>
                      <a:pt x="1028" y="4624"/>
                      <a:pt x="1039" y="4640"/>
                      <a:pt x="1031" y="4647"/>
                    </a:cubicBezTo>
                    <a:close/>
                    <a:moveTo>
                      <a:pt x="1064" y="4187"/>
                    </a:moveTo>
                    <a:cubicBezTo>
                      <a:pt x="1069" y="4153"/>
                      <a:pt x="1069" y="4153"/>
                      <a:pt x="1069" y="4153"/>
                    </a:cubicBezTo>
                    <a:cubicBezTo>
                      <a:pt x="1049" y="4152"/>
                      <a:pt x="1049" y="4152"/>
                      <a:pt x="1049" y="4152"/>
                    </a:cubicBezTo>
                    <a:cubicBezTo>
                      <a:pt x="1049" y="4152"/>
                      <a:pt x="1044" y="4142"/>
                      <a:pt x="1037" y="4142"/>
                    </a:cubicBezTo>
                    <a:cubicBezTo>
                      <a:pt x="1030" y="4142"/>
                      <a:pt x="1020" y="4158"/>
                      <a:pt x="1020" y="4158"/>
                    </a:cubicBezTo>
                    <a:cubicBezTo>
                      <a:pt x="1019" y="4171"/>
                      <a:pt x="1056" y="4163"/>
                      <a:pt x="1056" y="4163"/>
                    </a:cubicBezTo>
                    <a:cubicBezTo>
                      <a:pt x="1056" y="4163"/>
                      <a:pt x="1056" y="4169"/>
                      <a:pt x="1056" y="4176"/>
                    </a:cubicBezTo>
                    <a:cubicBezTo>
                      <a:pt x="1056" y="4183"/>
                      <a:pt x="1064" y="4187"/>
                      <a:pt x="1064" y="4187"/>
                    </a:cubicBezTo>
                    <a:close/>
                    <a:moveTo>
                      <a:pt x="1405" y="2282"/>
                    </a:moveTo>
                    <a:cubicBezTo>
                      <a:pt x="1415" y="2276"/>
                      <a:pt x="1418" y="2263"/>
                      <a:pt x="1406" y="2262"/>
                    </a:cubicBezTo>
                    <a:cubicBezTo>
                      <a:pt x="1399" y="2261"/>
                      <a:pt x="1399" y="2271"/>
                      <a:pt x="1399" y="2271"/>
                    </a:cubicBezTo>
                    <a:cubicBezTo>
                      <a:pt x="1399" y="2271"/>
                      <a:pt x="1396" y="2288"/>
                      <a:pt x="1405" y="2282"/>
                    </a:cubicBezTo>
                    <a:close/>
                    <a:moveTo>
                      <a:pt x="1423" y="2213"/>
                    </a:moveTo>
                    <a:cubicBezTo>
                      <a:pt x="1419" y="2208"/>
                      <a:pt x="1403" y="2217"/>
                      <a:pt x="1407" y="2224"/>
                    </a:cubicBezTo>
                    <a:cubicBezTo>
                      <a:pt x="1407" y="2224"/>
                      <a:pt x="1426" y="2217"/>
                      <a:pt x="1423" y="2213"/>
                    </a:cubicBezTo>
                    <a:close/>
                    <a:moveTo>
                      <a:pt x="1871" y="1440"/>
                    </a:moveTo>
                    <a:cubicBezTo>
                      <a:pt x="1879" y="1439"/>
                      <a:pt x="1878" y="1428"/>
                      <a:pt x="1872" y="1428"/>
                    </a:cubicBezTo>
                    <a:cubicBezTo>
                      <a:pt x="1865" y="1428"/>
                      <a:pt x="1865" y="1440"/>
                      <a:pt x="1871" y="1440"/>
                    </a:cubicBezTo>
                    <a:close/>
                    <a:moveTo>
                      <a:pt x="933" y="8350"/>
                    </a:moveTo>
                    <a:cubicBezTo>
                      <a:pt x="944" y="8351"/>
                      <a:pt x="944" y="8351"/>
                      <a:pt x="944" y="8351"/>
                    </a:cubicBezTo>
                    <a:cubicBezTo>
                      <a:pt x="940" y="8341"/>
                      <a:pt x="940" y="8341"/>
                      <a:pt x="940" y="8341"/>
                    </a:cubicBezTo>
                    <a:lnTo>
                      <a:pt x="933" y="8350"/>
                    </a:lnTo>
                    <a:close/>
                    <a:moveTo>
                      <a:pt x="1741" y="8021"/>
                    </a:moveTo>
                    <a:cubicBezTo>
                      <a:pt x="1741" y="8021"/>
                      <a:pt x="1741" y="8021"/>
                      <a:pt x="1741" y="8020"/>
                    </a:cubicBezTo>
                    <a:cubicBezTo>
                      <a:pt x="1740" y="8021"/>
                      <a:pt x="1741" y="8021"/>
                      <a:pt x="1741" y="8021"/>
                    </a:cubicBezTo>
                    <a:close/>
                    <a:moveTo>
                      <a:pt x="1319" y="3409"/>
                    </a:moveTo>
                    <a:cubicBezTo>
                      <a:pt x="1319" y="3408"/>
                      <a:pt x="1319" y="3408"/>
                      <a:pt x="1319" y="3408"/>
                    </a:cubicBezTo>
                    <a:cubicBezTo>
                      <a:pt x="1319" y="3408"/>
                      <a:pt x="1319" y="3408"/>
                      <a:pt x="1319" y="3409"/>
                    </a:cubicBezTo>
                    <a:close/>
                    <a:moveTo>
                      <a:pt x="4657" y="6435"/>
                    </a:moveTo>
                    <a:cubicBezTo>
                      <a:pt x="4660" y="6397"/>
                      <a:pt x="4660" y="6397"/>
                      <a:pt x="4660" y="6397"/>
                    </a:cubicBezTo>
                    <a:cubicBezTo>
                      <a:pt x="4660" y="6397"/>
                      <a:pt x="4672" y="6384"/>
                      <a:pt x="4671" y="6374"/>
                    </a:cubicBezTo>
                    <a:cubicBezTo>
                      <a:pt x="4671" y="6364"/>
                      <a:pt x="4656" y="6334"/>
                      <a:pt x="4656" y="6334"/>
                    </a:cubicBezTo>
                    <a:cubicBezTo>
                      <a:pt x="4660" y="6255"/>
                      <a:pt x="4660" y="6255"/>
                      <a:pt x="4660" y="6255"/>
                    </a:cubicBezTo>
                    <a:cubicBezTo>
                      <a:pt x="4660" y="6255"/>
                      <a:pt x="4653" y="6223"/>
                      <a:pt x="4645" y="6219"/>
                    </a:cubicBezTo>
                    <a:cubicBezTo>
                      <a:pt x="4644" y="6215"/>
                      <a:pt x="4644" y="6201"/>
                      <a:pt x="4644" y="6201"/>
                    </a:cubicBezTo>
                    <a:cubicBezTo>
                      <a:pt x="4644" y="6201"/>
                      <a:pt x="4614" y="6151"/>
                      <a:pt x="4557" y="6111"/>
                    </a:cubicBezTo>
                    <a:cubicBezTo>
                      <a:pt x="4517" y="6070"/>
                      <a:pt x="4467" y="6029"/>
                      <a:pt x="4437" y="6022"/>
                    </a:cubicBezTo>
                    <a:cubicBezTo>
                      <a:pt x="4407" y="6015"/>
                      <a:pt x="4376" y="6016"/>
                      <a:pt x="4376" y="6016"/>
                    </a:cubicBezTo>
                    <a:cubicBezTo>
                      <a:pt x="4312" y="5986"/>
                      <a:pt x="4312" y="5986"/>
                      <a:pt x="4312" y="5986"/>
                    </a:cubicBezTo>
                    <a:cubicBezTo>
                      <a:pt x="4299" y="5986"/>
                      <a:pt x="4299" y="5986"/>
                      <a:pt x="4299" y="5986"/>
                    </a:cubicBezTo>
                    <a:cubicBezTo>
                      <a:pt x="4297" y="5999"/>
                      <a:pt x="4297" y="5999"/>
                      <a:pt x="4297" y="5999"/>
                    </a:cubicBezTo>
                    <a:cubicBezTo>
                      <a:pt x="4262" y="5997"/>
                      <a:pt x="4262" y="5997"/>
                      <a:pt x="4262" y="5997"/>
                    </a:cubicBezTo>
                    <a:cubicBezTo>
                      <a:pt x="4253" y="5983"/>
                      <a:pt x="4253" y="5983"/>
                      <a:pt x="4253" y="5983"/>
                    </a:cubicBezTo>
                    <a:cubicBezTo>
                      <a:pt x="4250" y="5989"/>
                      <a:pt x="4250" y="5989"/>
                      <a:pt x="4250" y="5989"/>
                    </a:cubicBezTo>
                    <a:cubicBezTo>
                      <a:pt x="4209" y="5988"/>
                      <a:pt x="4209" y="5988"/>
                      <a:pt x="4209" y="5988"/>
                    </a:cubicBezTo>
                    <a:cubicBezTo>
                      <a:pt x="4209" y="5981"/>
                      <a:pt x="4209" y="5981"/>
                      <a:pt x="4209" y="5981"/>
                    </a:cubicBezTo>
                    <a:cubicBezTo>
                      <a:pt x="4185" y="5980"/>
                      <a:pt x="4185" y="5980"/>
                      <a:pt x="4185" y="5980"/>
                    </a:cubicBezTo>
                    <a:cubicBezTo>
                      <a:pt x="4180" y="5975"/>
                      <a:pt x="4180" y="5975"/>
                      <a:pt x="4180" y="5975"/>
                    </a:cubicBezTo>
                    <a:cubicBezTo>
                      <a:pt x="4180" y="5975"/>
                      <a:pt x="4159" y="5969"/>
                      <a:pt x="4159" y="5990"/>
                    </a:cubicBezTo>
                    <a:cubicBezTo>
                      <a:pt x="4139" y="5988"/>
                      <a:pt x="4113" y="5987"/>
                      <a:pt x="4113" y="5987"/>
                    </a:cubicBezTo>
                    <a:cubicBezTo>
                      <a:pt x="4110" y="5979"/>
                      <a:pt x="4110" y="5979"/>
                      <a:pt x="4110" y="5979"/>
                    </a:cubicBezTo>
                    <a:cubicBezTo>
                      <a:pt x="4079" y="6012"/>
                      <a:pt x="4079" y="6012"/>
                      <a:pt x="4079" y="6012"/>
                    </a:cubicBezTo>
                    <a:cubicBezTo>
                      <a:pt x="4079" y="6032"/>
                      <a:pt x="4079" y="6032"/>
                      <a:pt x="4079" y="6032"/>
                    </a:cubicBezTo>
                    <a:cubicBezTo>
                      <a:pt x="4079" y="6032"/>
                      <a:pt x="4068" y="6061"/>
                      <a:pt x="4063" y="6061"/>
                    </a:cubicBezTo>
                    <a:cubicBezTo>
                      <a:pt x="4059" y="6061"/>
                      <a:pt x="4062" y="6089"/>
                      <a:pt x="4062" y="6089"/>
                    </a:cubicBezTo>
                    <a:cubicBezTo>
                      <a:pt x="4051" y="6091"/>
                      <a:pt x="4051" y="6091"/>
                      <a:pt x="4051" y="6091"/>
                    </a:cubicBezTo>
                    <a:cubicBezTo>
                      <a:pt x="4051" y="6091"/>
                      <a:pt x="4029" y="6098"/>
                      <a:pt x="4029" y="6123"/>
                    </a:cubicBezTo>
                    <a:cubicBezTo>
                      <a:pt x="4013" y="6116"/>
                      <a:pt x="4011" y="6107"/>
                      <a:pt x="4011" y="6107"/>
                    </a:cubicBezTo>
                    <a:cubicBezTo>
                      <a:pt x="3967" y="6109"/>
                      <a:pt x="3967" y="6109"/>
                      <a:pt x="3967" y="6109"/>
                    </a:cubicBezTo>
                    <a:cubicBezTo>
                      <a:pt x="3943" y="6067"/>
                      <a:pt x="3943" y="6067"/>
                      <a:pt x="3943" y="6067"/>
                    </a:cubicBezTo>
                    <a:cubicBezTo>
                      <a:pt x="3943" y="6059"/>
                      <a:pt x="3943" y="6059"/>
                      <a:pt x="3943" y="6059"/>
                    </a:cubicBezTo>
                    <a:cubicBezTo>
                      <a:pt x="3943" y="6059"/>
                      <a:pt x="3918" y="6044"/>
                      <a:pt x="3916" y="6044"/>
                    </a:cubicBezTo>
                    <a:cubicBezTo>
                      <a:pt x="3914" y="6044"/>
                      <a:pt x="3893" y="6043"/>
                      <a:pt x="3893" y="6043"/>
                    </a:cubicBezTo>
                    <a:cubicBezTo>
                      <a:pt x="3889" y="6038"/>
                      <a:pt x="3889" y="6038"/>
                      <a:pt x="3889" y="6038"/>
                    </a:cubicBezTo>
                    <a:cubicBezTo>
                      <a:pt x="3889" y="6038"/>
                      <a:pt x="3880" y="6043"/>
                      <a:pt x="3878" y="6043"/>
                    </a:cubicBezTo>
                    <a:cubicBezTo>
                      <a:pt x="3876" y="6043"/>
                      <a:pt x="3871" y="6037"/>
                      <a:pt x="3871" y="6037"/>
                    </a:cubicBezTo>
                    <a:cubicBezTo>
                      <a:pt x="3895" y="6020"/>
                      <a:pt x="3895" y="6020"/>
                      <a:pt x="3895" y="6020"/>
                    </a:cubicBezTo>
                    <a:cubicBezTo>
                      <a:pt x="3893" y="6009"/>
                      <a:pt x="3893" y="6009"/>
                      <a:pt x="3893" y="6009"/>
                    </a:cubicBezTo>
                    <a:cubicBezTo>
                      <a:pt x="3893" y="6009"/>
                      <a:pt x="3921" y="5955"/>
                      <a:pt x="3998" y="5895"/>
                    </a:cubicBezTo>
                    <a:cubicBezTo>
                      <a:pt x="4021" y="5897"/>
                      <a:pt x="4018" y="5893"/>
                      <a:pt x="4018" y="5893"/>
                    </a:cubicBezTo>
                    <a:cubicBezTo>
                      <a:pt x="4021" y="5834"/>
                      <a:pt x="4021" y="5834"/>
                      <a:pt x="4021" y="5834"/>
                    </a:cubicBezTo>
                    <a:cubicBezTo>
                      <a:pt x="4025" y="5827"/>
                      <a:pt x="4025" y="5827"/>
                      <a:pt x="4025" y="5827"/>
                    </a:cubicBezTo>
                    <a:cubicBezTo>
                      <a:pt x="4007" y="5759"/>
                      <a:pt x="4007" y="5759"/>
                      <a:pt x="4007" y="5759"/>
                    </a:cubicBezTo>
                    <a:cubicBezTo>
                      <a:pt x="3988" y="5733"/>
                      <a:pt x="3988" y="5733"/>
                      <a:pt x="3988" y="5733"/>
                    </a:cubicBezTo>
                    <a:cubicBezTo>
                      <a:pt x="3988" y="5733"/>
                      <a:pt x="3987" y="5702"/>
                      <a:pt x="3967" y="5685"/>
                    </a:cubicBezTo>
                    <a:cubicBezTo>
                      <a:pt x="3963" y="5653"/>
                      <a:pt x="3955" y="5649"/>
                      <a:pt x="3953" y="5646"/>
                    </a:cubicBezTo>
                    <a:cubicBezTo>
                      <a:pt x="3950" y="5643"/>
                      <a:pt x="3950" y="5630"/>
                      <a:pt x="3950" y="5630"/>
                    </a:cubicBezTo>
                    <a:cubicBezTo>
                      <a:pt x="3950" y="5630"/>
                      <a:pt x="3929" y="5604"/>
                      <a:pt x="3929" y="5602"/>
                    </a:cubicBezTo>
                    <a:cubicBezTo>
                      <a:pt x="3928" y="5600"/>
                      <a:pt x="3927" y="5589"/>
                      <a:pt x="3927" y="5589"/>
                    </a:cubicBezTo>
                    <a:cubicBezTo>
                      <a:pt x="3913" y="5582"/>
                      <a:pt x="3913" y="5582"/>
                      <a:pt x="3913" y="5582"/>
                    </a:cubicBezTo>
                    <a:cubicBezTo>
                      <a:pt x="3911" y="5577"/>
                      <a:pt x="3911" y="5577"/>
                      <a:pt x="3911" y="5577"/>
                    </a:cubicBezTo>
                    <a:cubicBezTo>
                      <a:pt x="3903" y="5585"/>
                      <a:pt x="3903" y="5585"/>
                      <a:pt x="3903" y="5585"/>
                    </a:cubicBezTo>
                    <a:cubicBezTo>
                      <a:pt x="3891" y="5586"/>
                      <a:pt x="3891" y="5586"/>
                      <a:pt x="3891" y="5586"/>
                    </a:cubicBezTo>
                    <a:cubicBezTo>
                      <a:pt x="3891" y="5586"/>
                      <a:pt x="3886" y="5567"/>
                      <a:pt x="3863" y="5565"/>
                    </a:cubicBezTo>
                    <a:cubicBezTo>
                      <a:pt x="3857" y="5559"/>
                      <a:pt x="3827" y="5518"/>
                      <a:pt x="3827" y="5518"/>
                    </a:cubicBezTo>
                    <a:cubicBezTo>
                      <a:pt x="3804" y="5515"/>
                      <a:pt x="3804" y="5515"/>
                      <a:pt x="3804" y="5515"/>
                    </a:cubicBezTo>
                    <a:cubicBezTo>
                      <a:pt x="3804" y="5515"/>
                      <a:pt x="3769" y="5471"/>
                      <a:pt x="3749" y="5467"/>
                    </a:cubicBezTo>
                    <a:cubicBezTo>
                      <a:pt x="3735" y="5444"/>
                      <a:pt x="3721" y="5412"/>
                      <a:pt x="3721" y="5412"/>
                    </a:cubicBezTo>
                    <a:cubicBezTo>
                      <a:pt x="3702" y="5412"/>
                      <a:pt x="3702" y="5412"/>
                      <a:pt x="3702" y="5412"/>
                    </a:cubicBezTo>
                    <a:cubicBezTo>
                      <a:pt x="3701" y="5419"/>
                      <a:pt x="3701" y="5419"/>
                      <a:pt x="3701" y="5419"/>
                    </a:cubicBezTo>
                    <a:cubicBezTo>
                      <a:pt x="3683" y="5419"/>
                      <a:pt x="3683" y="5419"/>
                      <a:pt x="3683" y="5419"/>
                    </a:cubicBezTo>
                    <a:cubicBezTo>
                      <a:pt x="3677" y="5425"/>
                      <a:pt x="3677" y="5425"/>
                      <a:pt x="3677" y="5425"/>
                    </a:cubicBezTo>
                    <a:cubicBezTo>
                      <a:pt x="3634" y="5425"/>
                      <a:pt x="3634" y="5425"/>
                      <a:pt x="3634" y="5425"/>
                    </a:cubicBezTo>
                    <a:cubicBezTo>
                      <a:pt x="3634" y="5425"/>
                      <a:pt x="3628" y="5435"/>
                      <a:pt x="3617" y="5435"/>
                    </a:cubicBezTo>
                    <a:cubicBezTo>
                      <a:pt x="3605" y="5435"/>
                      <a:pt x="3608" y="5429"/>
                      <a:pt x="3608" y="5429"/>
                    </a:cubicBezTo>
                    <a:cubicBezTo>
                      <a:pt x="3590" y="5426"/>
                      <a:pt x="3590" y="5426"/>
                      <a:pt x="3590" y="5426"/>
                    </a:cubicBezTo>
                    <a:cubicBezTo>
                      <a:pt x="3571" y="5405"/>
                      <a:pt x="3571" y="5405"/>
                      <a:pt x="3571" y="5405"/>
                    </a:cubicBezTo>
                    <a:cubicBezTo>
                      <a:pt x="3565" y="5414"/>
                      <a:pt x="3565" y="5414"/>
                      <a:pt x="3565" y="5414"/>
                    </a:cubicBezTo>
                    <a:cubicBezTo>
                      <a:pt x="3551" y="5414"/>
                      <a:pt x="3551" y="5414"/>
                      <a:pt x="3551" y="5414"/>
                    </a:cubicBezTo>
                    <a:cubicBezTo>
                      <a:pt x="3551" y="5414"/>
                      <a:pt x="3539" y="5427"/>
                      <a:pt x="3537" y="5419"/>
                    </a:cubicBezTo>
                    <a:cubicBezTo>
                      <a:pt x="3535" y="5412"/>
                      <a:pt x="3563" y="5403"/>
                      <a:pt x="3563" y="5403"/>
                    </a:cubicBezTo>
                    <a:cubicBezTo>
                      <a:pt x="3571" y="5396"/>
                      <a:pt x="3571" y="5396"/>
                      <a:pt x="3571" y="5396"/>
                    </a:cubicBezTo>
                    <a:cubicBezTo>
                      <a:pt x="3599" y="5418"/>
                      <a:pt x="3599" y="5418"/>
                      <a:pt x="3599" y="5418"/>
                    </a:cubicBezTo>
                    <a:cubicBezTo>
                      <a:pt x="3611" y="5420"/>
                      <a:pt x="3611" y="5420"/>
                      <a:pt x="3611" y="5420"/>
                    </a:cubicBezTo>
                    <a:cubicBezTo>
                      <a:pt x="3614" y="5412"/>
                      <a:pt x="3614" y="5412"/>
                      <a:pt x="3614" y="5412"/>
                    </a:cubicBezTo>
                    <a:cubicBezTo>
                      <a:pt x="3662" y="5413"/>
                      <a:pt x="3662" y="5413"/>
                      <a:pt x="3662" y="5413"/>
                    </a:cubicBezTo>
                    <a:cubicBezTo>
                      <a:pt x="3665" y="5406"/>
                      <a:pt x="3665" y="5406"/>
                      <a:pt x="3665" y="5406"/>
                    </a:cubicBezTo>
                    <a:cubicBezTo>
                      <a:pt x="3673" y="5413"/>
                      <a:pt x="3673" y="5413"/>
                      <a:pt x="3673" y="5413"/>
                    </a:cubicBezTo>
                    <a:cubicBezTo>
                      <a:pt x="3673" y="5413"/>
                      <a:pt x="3703" y="5394"/>
                      <a:pt x="3705" y="5394"/>
                    </a:cubicBezTo>
                    <a:cubicBezTo>
                      <a:pt x="3707" y="5394"/>
                      <a:pt x="3731" y="5395"/>
                      <a:pt x="3731" y="5395"/>
                    </a:cubicBezTo>
                    <a:cubicBezTo>
                      <a:pt x="3801" y="5478"/>
                      <a:pt x="3801" y="5478"/>
                      <a:pt x="3801" y="5478"/>
                    </a:cubicBezTo>
                    <a:cubicBezTo>
                      <a:pt x="3820" y="5479"/>
                      <a:pt x="3820" y="5479"/>
                      <a:pt x="3820" y="5479"/>
                    </a:cubicBezTo>
                    <a:cubicBezTo>
                      <a:pt x="3824" y="5487"/>
                      <a:pt x="3824" y="5487"/>
                      <a:pt x="3824" y="5487"/>
                    </a:cubicBezTo>
                    <a:cubicBezTo>
                      <a:pt x="3827" y="5478"/>
                      <a:pt x="3827" y="5478"/>
                      <a:pt x="3827" y="5478"/>
                    </a:cubicBezTo>
                    <a:cubicBezTo>
                      <a:pt x="3827" y="5478"/>
                      <a:pt x="3859" y="5470"/>
                      <a:pt x="3866" y="5469"/>
                    </a:cubicBezTo>
                    <a:cubicBezTo>
                      <a:pt x="3873" y="5469"/>
                      <a:pt x="3916" y="5481"/>
                      <a:pt x="3918" y="5503"/>
                    </a:cubicBezTo>
                    <a:cubicBezTo>
                      <a:pt x="3901" y="5523"/>
                      <a:pt x="3901" y="5528"/>
                      <a:pt x="3901" y="5528"/>
                    </a:cubicBezTo>
                    <a:cubicBezTo>
                      <a:pt x="3908" y="5530"/>
                      <a:pt x="3908" y="5530"/>
                      <a:pt x="3908" y="5530"/>
                    </a:cubicBezTo>
                    <a:cubicBezTo>
                      <a:pt x="3925" y="5505"/>
                      <a:pt x="3925" y="5505"/>
                      <a:pt x="3925" y="5505"/>
                    </a:cubicBezTo>
                    <a:cubicBezTo>
                      <a:pt x="3925" y="5505"/>
                      <a:pt x="3909" y="5450"/>
                      <a:pt x="3894" y="5441"/>
                    </a:cubicBezTo>
                    <a:cubicBezTo>
                      <a:pt x="3887" y="5430"/>
                      <a:pt x="3846" y="5375"/>
                      <a:pt x="3846" y="5375"/>
                    </a:cubicBezTo>
                    <a:cubicBezTo>
                      <a:pt x="3846" y="5375"/>
                      <a:pt x="3786" y="5295"/>
                      <a:pt x="3778" y="5266"/>
                    </a:cubicBezTo>
                    <a:cubicBezTo>
                      <a:pt x="3770" y="5237"/>
                      <a:pt x="3750" y="5190"/>
                      <a:pt x="3750" y="5173"/>
                    </a:cubicBezTo>
                    <a:cubicBezTo>
                      <a:pt x="3750" y="5155"/>
                      <a:pt x="3759" y="5119"/>
                      <a:pt x="3803" y="5125"/>
                    </a:cubicBezTo>
                    <a:cubicBezTo>
                      <a:pt x="3817" y="5114"/>
                      <a:pt x="3816" y="5106"/>
                      <a:pt x="3816" y="5106"/>
                    </a:cubicBezTo>
                    <a:cubicBezTo>
                      <a:pt x="3769" y="5080"/>
                      <a:pt x="3769" y="5080"/>
                      <a:pt x="3769" y="5080"/>
                    </a:cubicBezTo>
                    <a:cubicBezTo>
                      <a:pt x="3769" y="5080"/>
                      <a:pt x="3719" y="5084"/>
                      <a:pt x="3720" y="5040"/>
                    </a:cubicBezTo>
                    <a:cubicBezTo>
                      <a:pt x="3721" y="5037"/>
                      <a:pt x="3728" y="5033"/>
                      <a:pt x="3728" y="5033"/>
                    </a:cubicBezTo>
                    <a:cubicBezTo>
                      <a:pt x="3728" y="5033"/>
                      <a:pt x="3670" y="5016"/>
                      <a:pt x="3671" y="4979"/>
                    </a:cubicBezTo>
                    <a:cubicBezTo>
                      <a:pt x="3671" y="4975"/>
                      <a:pt x="3662" y="4976"/>
                      <a:pt x="3662" y="4976"/>
                    </a:cubicBezTo>
                    <a:cubicBezTo>
                      <a:pt x="3659" y="4941"/>
                      <a:pt x="3659" y="4941"/>
                      <a:pt x="3659" y="4941"/>
                    </a:cubicBezTo>
                    <a:cubicBezTo>
                      <a:pt x="3637" y="4909"/>
                      <a:pt x="3637" y="4909"/>
                      <a:pt x="3637" y="4909"/>
                    </a:cubicBezTo>
                    <a:cubicBezTo>
                      <a:pt x="3637" y="4909"/>
                      <a:pt x="3641" y="4887"/>
                      <a:pt x="3615" y="4885"/>
                    </a:cubicBezTo>
                    <a:cubicBezTo>
                      <a:pt x="3615" y="4883"/>
                      <a:pt x="3602" y="4870"/>
                      <a:pt x="3602" y="4870"/>
                    </a:cubicBezTo>
                    <a:cubicBezTo>
                      <a:pt x="3609" y="4855"/>
                      <a:pt x="3609" y="4855"/>
                      <a:pt x="3609" y="4855"/>
                    </a:cubicBezTo>
                    <a:cubicBezTo>
                      <a:pt x="3581" y="4827"/>
                      <a:pt x="3581" y="4827"/>
                      <a:pt x="3581" y="4827"/>
                    </a:cubicBezTo>
                    <a:cubicBezTo>
                      <a:pt x="3543" y="4818"/>
                      <a:pt x="3543" y="4818"/>
                      <a:pt x="3543" y="4818"/>
                    </a:cubicBezTo>
                    <a:cubicBezTo>
                      <a:pt x="3543" y="4818"/>
                      <a:pt x="3541" y="4795"/>
                      <a:pt x="3513" y="4793"/>
                    </a:cubicBezTo>
                    <a:cubicBezTo>
                      <a:pt x="3495" y="4773"/>
                      <a:pt x="3495" y="4768"/>
                      <a:pt x="3495" y="4768"/>
                    </a:cubicBezTo>
                    <a:cubicBezTo>
                      <a:pt x="3427" y="4746"/>
                      <a:pt x="3427" y="4746"/>
                      <a:pt x="3427" y="4746"/>
                    </a:cubicBezTo>
                    <a:cubicBezTo>
                      <a:pt x="3397" y="4746"/>
                      <a:pt x="3397" y="4746"/>
                      <a:pt x="3397" y="4746"/>
                    </a:cubicBezTo>
                    <a:cubicBezTo>
                      <a:pt x="3365" y="4717"/>
                      <a:pt x="3365" y="4717"/>
                      <a:pt x="3365" y="4717"/>
                    </a:cubicBezTo>
                    <a:cubicBezTo>
                      <a:pt x="3347" y="4715"/>
                      <a:pt x="3347" y="4715"/>
                      <a:pt x="3347" y="4715"/>
                    </a:cubicBezTo>
                    <a:cubicBezTo>
                      <a:pt x="3347" y="4715"/>
                      <a:pt x="3336" y="4701"/>
                      <a:pt x="3334" y="4701"/>
                    </a:cubicBezTo>
                    <a:cubicBezTo>
                      <a:pt x="3332" y="4701"/>
                      <a:pt x="3327" y="4731"/>
                      <a:pt x="3327" y="4731"/>
                    </a:cubicBezTo>
                    <a:cubicBezTo>
                      <a:pt x="3320" y="4731"/>
                      <a:pt x="3320" y="4731"/>
                      <a:pt x="3320" y="4731"/>
                    </a:cubicBezTo>
                    <a:cubicBezTo>
                      <a:pt x="3318" y="4704"/>
                      <a:pt x="3318" y="4704"/>
                      <a:pt x="3318" y="4704"/>
                    </a:cubicBezTo>
                    <a:cubicBezTo>
                      <a:pt x="3323" y="4698"/>
                      <a:pt x="3323" y="4698"/>
                      <a:pt x="3323" y="4698"/>
                    </a:cubicBezTo>
                    <a:cubicBezTo>
                      <a:pt x="3304" y="4676"/>
                      <a:pt x="3304" y="4676"/>
                      <a:pt x="3304" y="4676"/>
                    </a:cubicBezTo>
                    <a:cubicBezTo>
                      <a:pt x="3304" y="4676"/>
                      <a:pt x="3301" y="4667"/>
                      <a:pt x="3318" y="4667"/>
                    </a:cubicBezTo>
                    <a:cubicBezTo>
                      <a:pt x="3314" y="4664"/>
                      <a:pt x="3312" y="4655"/>
                      <a:pt x="3305" y="4653"/>
                    </a:cubicBezTo>
                    <a:cubicBezTo>
                      <a:pt x="3297" y="4651"/>
                      <a:pt x="3256" y="4609"/>
                      <a:pt x="3256" y="4609"/>
                    </a:cubicBezTo>
                    <a:cubicBezTo>
                      <a:pt x="3255" y="4575"/>
                      <a:pt x="3255" y="4575"/>
                      <a:pt x="3255" y="4575"/>
                    </a:cubicBezTo>
                    <a:cubicBezTo>
                      <a:pt x="3255" y="4575"/>
                      <a:pt x="3231" y="4528"/>
                      <a:pt x="3230" y="4515"/>
                    </a:cubicBezTo>
                    <a:cubicBezTo>
                      <a:pt x="3229" y="4503"/>
                      <a:pt x="3237" y="4498"/>
                      <a:pt x="3237" y="4498"/>
                    </a:cubicBezTo>
                    <a:cubicBezTo>
                      <a:pt x="3237" y="4498"/>
                      <a:pt x="3229" y="4491"/>
                      <a:pt x="3229" y="4483"/>
                    </a:cubicBezTo>
                    <a:cubicBezTo>
                      <a:pt x="3228" y="4476"/>
                      <a:pt x="3235" y="4469"/>
                      <a:pt x="3235" y="4465"/>
                    </a:cubicBezTo>
                    <a:cubicBezTo>
                      <a:pt x="3235" y="4461"/>
                      <a:pt x="3224" y="4454"/>
                      <a:pt x="3224" y="4454"/>
                    </a:cubicBezTo>
                    <a:cubicBezTo>
                      <a:pt x="3222" y="4439"/>
                      <a:pt x="3222" y="4439"/>
                      <a:pt x="3222" y="4439"/>
                    </a:cubicBezTo>
                    <a:cubicBezTo>
                      <a:pt x="3209" y="4439"/>
                      <a:pt x="3209" y="4439"/>
                      <a:pt x="3209" y="4439"/>
                    </a:cubicBezTo>
                    <a:cubicBezTo>
                      <a:pt x="3198" y="4399"/>
                      <a:pt x="3198" y="4399"/>
                      <a:pt x="3198" y="4399"/>
                    </a:cubicBezTo>
                    <a:cubicBezTo>
                      <a:pt x="3187" y="4399"/>
                      <a:pt x="3187" y="4399"/>
                      <a:pt x="3187" y="4399"/>
                    </a:cubicBezTo>
                    <a:cubicBezTo>
                      <a:pt x="3188" y="4379"/>
                      <a:pt x="3188" y="4379"/>
                      <a:pt x="3188" y="4379"/>
                    </a:cubicBezTo>
                    <a:cubicBezTo>
                      <a:pt x="3168" y="4356"/>
                      <a:pt x="3168" y="4356"/>
                      <a:pt x="3168" y="4356"/>
                    </a:cubicBezTo>
                    <a:cubicBezTo>
                      <a:pt x="3171" y="4345"/>
                      <a:pt x="3171" y="4345"/>
                      <a:pt x="3171" y="4345"/>
                    </a:cubicBezTo>
                    <a:cubicBezTo>
                      <a:pt x="3171" y="4345"/>
                      <a:pt x="3159" y="4329"/>
                      <a:pt x="3156" y="4313"/>
                    </a:cubicBezTo>
                    <a:cubicBezTo>
                      <a:pt x="3153" y="4297"/>
                      <a:pt x="3168" y="4295"/>
                      <a:pt x="3168" y="4295"/>
                    </a:cubicBezTo>
                    <a:cubicBezTo>
                      <a:pt x="3155" y="4275"/>
                      <a:pt x="3155" y="4275"/>
                      <a:pt x="3155" y="4275"/>
                    </a:cubicBezTo>
                    <a:cubicBezTo>
                      <a:pt x="3155" y="4275"/>
                      <a:pt x="3151" y="4253"/>
                      <a:pt x="3138" y="4245"/>
                    </a:cubicBezTo>
                    <a:cubicBezTo>
                      <a:pt x="3133" y="4238"/>
                      <a:pt x="3135" y="4212"/>
                      <a:pt x="3135" y="4212"/>
                    </a:cubicBezTo>
                    <a:cubicBezTo>
                      <a:pt x="3135" y="4212"/>
                      <a:pt x="3145" y="4203"/>
                      <a:pt x="3144" y="4195"/>
                    </a:cubicBezTo>
                    <a:cubicBezTo>
                      <a:pt x="3143" y="4187"/>
                      <a:pt x="3117" y="4163"/>
                      <a:pt x="3116" y="4153"/>
                    </a:cubicBezTo>
                    <a:cubicBezTo>
                      <a:pt x="3115" y="4143"/>
                      <a:pt x="3133" y="4123"/>
                      <a:pt x="3131" y="4114"/>
                    </a:cubicBezTo>
                    <a:cubicBezTo>
                      <a:pt x="3128" y="4105"/>
                      <a:pt x="3122" y="4063"/>
                      <a:pt x="3122" y="4063"/>
                    </a:cubicBezTo>
                    <a:cubicBezTo>
                      <a:pt x="3114" y="4061"/>
                      <a:pt x="3114" y="4061"/>
                      <a:pt x="3114" y="4061"/>
                    </a:cubicBezTo>
                    <a:cubicBezTo>
                      <a:pt x="3114" y="4044"/>
                      <a:pt x="3114" y="4044"/>
                      <a:pt x="3114" y="4044"/>
                    </a:cubicBezTo>
                    <a:cubicBezTo>
                      <a:pt x="3101" y="4023"/>
                      <a:pt x="3101" y="4023"/>
                      <a:pt x="3101" y="4023"/>
                    </a:cubicBezTo>
                    <a:cubicBezTo>
                      <a:pt x="3108" y="4018"/>
                      <a:pt x="3108" y="4018"/>
                      <a:pt x="3108" y="4018"/>
                    </a:cubicBezTo>
                    <a:cubicBezTo>
                      <a:pt x="3108" y="4018"/>
                      <a:pt x="3100" y="3995"/>
                      <a:pt x="3095" y="3992"/>
                    </a:cubicBezTo>
                    <a:cubicBezTo>
                      <a:pt x="3089" y="3989"/>
                      <a:pt x="3069" y="3969"/>
                      <a:pt x="3069" y="3969"/>
                    </a:cubicBezTo>
                    <a:cubicBezTo>
                      <a:pt x="3051" y="3969"/>
                      <a:pt x="3051" y="3969"/>
                      <a:pt x="3051" y="3969"/>
                    </a:cubicBezTo>
                    <a:cubicBezTo>
                      <a:pt x="3051" y="3969"/>
                      <a:pt x="3045" y="3985"/>
                      <a:pt x="3040" y="3975"/>
                    </a:cubicBezTo>
                    <a:cubicBezTo>
                      <a:pt x="3035" y="3966"/>
                      <a:pt x="3050" y="3965"/>
                      <a:pt x="3050" y="3965"/>
                    </a:cubicBezTo>
                    <a:cubicBezTo>
                      <a:pt x="3036" y="3943"/>
                      <a:pt x="3036" y="3943"/>
                      <a:pt x="3036" y="3943"/>
                    </a:cubicBezTo>
                    <a:cubicBezTo>
                      <a:pt x="3037" y="3914"/>
                      <a:pt x="3037" y="3914"/>
                      <a:pt x="3037" y="3914"/>
                    </a:cubicBezTo>
                    <a:cubicBezTo>
                      <a:pt x="3003" y="3913"/>
                      <a:pt x="3003" y="3913"/>
                      <a:pt x="3003" y="3913"/>
                    </a:cubicBezTo>
                    <a:cubicBezTo>
                      <a:pt x="3009" y="3929"/>
                      <a:pt x="3009" y="3929"/>
                      <a:pt x="3009" y="3929"/>
                    </a:cubicBezTo>
                    <a:cubicBezTo>
                      <a:pt x="3009" y="3929"/>
                      <a:pt x="3029" y="3931"/>
                      <a:pt x="3029" y="3937"/>
                    </a:cubicBezTo>
                    <a:cubicBezTo>
                      <a:pt x="3029" y="3944"/>
                      <a:pt x="3029" y="3959"/>
                      <a:pt x="3021" y="3957"/>
                    </a:cubicBezTo>
                    <a:cubicBezTo>
                      <a:pt x="3013" y="3955"/>
                      <a:pt x="2996" y="3933"/>
                      <a:pt x="2996" y="3933"/>
                    </a:cubicBezTo>
                    <a:cubicBezTo>
                      <a:pt x="2995" y="3919"/>
                      <a:pt x="2995" y="3919"/>
                      <a:pt x="2995" y="3919"/>
                    </a:cubicBezTo>
                    <a:cubicBezTo>
                      <a:pt x="2995" y="3919"/>
                      <a:pt x="2968" y="3899"/>
                      <a:pt x="2956" y="3879"/>
                    </a:cubicBezTo>
                    <a:cubicBezTo>
                      <a:pt x="2944" y="3859"/>
                      <a:pt x="2937" y="3853"/>
                      <a:pt x="2938" y="3847"/>
                    </a:cubicBezTo>
                    <a:cubicBezTo>
                      <a:pt x="2939" y="3840"/>
                      <a:pt x="2914" y="3819"/>
                      <a:pt x="2914" y="3819"/>
                    </a:cubicBezTo>
                    <a:cubicBezTo>
                      <a:pt x="2915" y="3807"/>
                      <a:pt x="2915" y="3807"/>
                      <a:pt x="2915" y="3807"/>
                    </a:cubicBezTo>
                    <a:cubicBezTo>
                      <a:pt x="2903" y="3790"/>
                      <a:pt x="2903" y="3790"/>
                      <a:pt x="2903" y="3790"/>
                    </a:cubicBezTo>
                    <a:cubicBezTo>
                      <a:pt x="2901" y="3775"/>
                      <a:pt x="2901" y="3775"/>
                      <a:pt x="2901" y="3775"/>
                    </a:cubicBezTo>
                    <a:cubicBezTo>
                      <a:pt x="2883" y="3769"/>
                      <a:pt x="2883" y="3769"/>
                      <a:pt x="2883" y="3769"/>
                    </a:cubicBezTo>
                    <a:cubicBezTo>
                      <a:pt x="2879" y="3747"/>
                      <a:pt x="2879" y="3747"/>
                      <a:pt x="2879" y="3747"/>
                    </a:cubicBezTo>
                    <a:cubicBezTo>
                      <a:pt x="2859" y="3746"/>
                      <a:pt x="2859" y="3746"/>
                      <a:pt x="2859" y="3746"/>
                    </a:cubicBezTo>
                    <a:cubicBezTo>
                      <a:pt x="2859" y="3746"/>
                      <a:pt x="2845" y="3729"/>
                      <a:pt x="2843" y="3729"/>
                    </a:cubicBezTo>
                    <a:cubicBezTo>
                      <a:pt x="2841" y="3729"/>
                      <a:pt x="2824" y="3729"/>
                      <a:pt x="2824" y="3729"/>
                    </a:cubicBezTo>
                    <a:cubicBezTo>
                      <a:pt x="2816" y="3741"/>
                      <a:pt x="2816" y="3741"/>
                      <a:pt x="2816" y="3741"/>
                    </a:cubicBezTo>
                    <a:cubicBezTo>
                      <a:pt x="2804" y="3731"/>
                      <a:pt x="2804" y="3731"/>
                      <a:pt x="2804" y="3731"/>
                    </a:cubicBezTo>
                    <a:cubicBezTo>
                      <a:pt x="2783" y="3728"/>
                      <a:pt x="2783" y="3728"/>
                      <a:pt x="2783" y="3728"/>
                    </a:cubicBezTo>
                    <a:cubicBezTo>
                      <a:pt x="2763" y="3715"/>
                      <a:pt x="2763" y="3715"/>
                      <a:pt x="2763" y="3715"/>
                    </a:cubicBezTo>
                    <a:cubicBezTo>
                      <a:pt x="2759" y="3703"/>
                      <a:pt x="2759" y="3703"/>
                      <a:pt x="2759" y="3703"/>
                    </a:cubicBezTo>
                    <a:cubicBezTo>
                      <a:pt x="2724" y="3683"/>
                      <a:pt x="2724" y="3683"/>
                      <a:pt x="2724" y="3683"/>
                    </a:cubicBezTo>
                    <a:cubicBezTo>
                      <a:pt x="2715" y="3682"/>
                      <a:pt x="2715" y="3682"/>
                      <a:pt x="2715" y="3682"/>
                    </a:cubicBezTo>
                    <a:cubicBezTo>
                      <a:pt x="2715" y="3682"/>
                      <a:pt x="2711" y="3667"/>
                      <a:pt x="2704" y="3667"/>
                    </a:cubicBezTo>
                    <a:cubicBezTo>
                      <a:pt x="2697" y="3668"/>
                      <a:pt x="2691" y="3681"/>
                      <a:pt x="2691" y="3681"/>
                    </a:cubicBezTo>
                    <a:cubicBezTo>
                      <a:pt x="2679" y="3669"/>
                      <a:pt x="2679" y="3669"/>
                      <a:pt x="2679" y="3669"/>
                    </a:cubicBezTo>
                    <a:cubicBezTo>
                      <a:pt x="2679" y="3669"/>
                      <a:pt x="2677" y="3687"/>
                      <a:pt x="2671" y="3682"/>
                    </a:cubicBezTo>
                    <a:cubicBezTo>
                      <a:pt x="2665" y="3677"/>
                      <a:pt x="2672" y="3665"/>
                      <a:pt x="2672" y="3665"/>
                    </a:cubicBezTo>
                    <a:cubicBezTo>
                      <a:pt x="2649" y="3635"/>
                      <a:pt x="2649" y="3635"/>
                      <a:pt x="2649" y="3635"/>
                    </a:cubicBezTo>
                    <a:cubicBezTo>
                      <a:pt x="2635" y="3632"/>
                      <a:pt x="2635" y="3632"/>
                      <a:pt x="2635" y="3632"/>
                    </a:cubicBezTo>
                    <a:cubicBezTo>
                      <a:pt x="2627" y="3625"/>
                      <a:pt x="2627" y="3625"/>
                      <a:pt x="2627" y="3625"/>
                    </a:cubicBezTo>
                    <a:cubicBezTo>
                      <a:pt x="2618" y="3634"/>
                      <a:pt x="2618" y="3634"/>
                      <a:pt x="2618" y="3634"/>
                    </a:cubicBezTo>
                    <a:cubicBezTo>
                      <a:pt x="2611" y="3626"/>
                      <a:pt x="2611" y="3626"/>
                      <a:pt x="2611" y="3626"/>
                    </a:cubicBezTo>
                    <a:cubicBezTo>
                      <a:pt x="2604" y="3626"/>
                      <a:pt x="2604" y="3626"/>
                      <a:pt x="2604" y="3626"/>
                    </a:cubicBezTo>
                    <a:cubicBezTo>
                      <a:pt x="2599" y="3632"/>
                      <a:pt x="2599" y="3632"/>
                      <a:pt x="2599" y="3632"/>
                    </a:cubicBezTo>
                    <a:cubicBezTo>
                      <a:pt x="2592" y="3625"/>
                      <a:pt x="2592" y="3625"/>
                      <a:pt x="2592" y="3625"/>
                    </a:cubicBezTo>
                    <a:cubicBezTo>
                      <a:pt x="2572" y="3625"/>
                      <a:pt x="2572" y="3625"/>
                      <a:pt x="2572" y="3625"/>
                    </a:cubicBezTo>
                    <a:cubicBezTo>
                      <a:pt x="2553" y="3645"/>
                      <a:pt x="2553" y="3645"/>
                      <a:pt x="2553" y="3645"/>
                    </a:cubicBezTo>
                    <a:cubicBezTo>
                      <a:pt x="2547" y="3665"/>
                      <a:pt x="2547" y="3665"/>
                      <a:pt x="2547" y="3665"/>
                    </a:cubicBezTo>
                    <a:cubicBezTo>
                      <a:pt x="2535" y="3665"/>
                      <a:pt x="2535" y="3665"/>
                      <a:pt x="2535" y="3665"/>
                    </a:cubicBezTo>
                    <a:cubicBezTo>
                      <a:pt x="2535" y="3665"/>
                      <a:pt x="2540" y="3665"/>
                      <a:pt x="2540" y="3671"/>
                    </a:cubicBezTo>
                    <a:cubicBezTo>
                      <a:pt x="2540" y="3677"/>
                      <a:pt x="2532" y="3690"/>
                      <a:pt x="2532" y="3690"/>
                    </a:cubicBezTo>
                    <a:cubicBezTo>
                      <a:pt x="2505" y="3689"/>
                      <a:pt x="2505" y="3689"/>
                      <a:pt x="2505" y="3689"/>
                    </a:cubicBezTo>
                    <a:cubicBezTo>
                      <a:pt x="2471" y="3707"/>
                      <a:pt x="2471" y="3707"/>
                      <a:pt x="2471" y="3707"/>
                    </a:cubicBezTo>
                    <a:cubicBezTo>
                      <a:pt x="2471" y="3707"/>
                      <a:pt x="2456" y="3716"/>
                      <a:pt x="2445" y="3707"/>
                    </a:cubicBezTo>
                    <a:cubicBezTo>
                      <a:pt x="2433" y="3697"/>
                      <a:pt x="2421" y="3680"/>
                      <a:pt x="2421" y="3680"/>
                    </a:cubicBezTo>
                    <a:cubicBezTo>
                      <a:pt x="2375" y="3681"/>
                      <a:pt x="2375" y="3681"/>
                      <a:pt x="2375" y="3681"/>
                    </a:cubicBezTo>
                    <a:cubicBezTo>
                      <a:pt x="2369" y="3684"/>
                      <a:pt x="2369" y="3684"/>
                      <a:pt x="2369" y="3684"/>
                    </a:cubicBezTo>
                    <a:cubicBezTo>
                      <a:pt x="2366" y="3679"/>
                      <a:pt x="2366" y="3679"/>
                      <a:pt x="2366" y="3679"/>
                    </a:cubicBezTo>
                    <a:cubicBezTo>
                      <a:pt x="2343" y="3678"/>
                      <a:pt x="2343" y="3678"/>
                      <a:pt x="2343" y="3678"/>
                    </a:cubicBezTo>
                    <a:cubicBezTo>
                      <a:pt x="2343" y="3678"/>
                      <a:pt x="2336" y="3665"/>
                      <a:pt x="2333" y="3665"/>
                    </a:cubicBezTo>
                    <a:cubicBezTo>
                      <a:pt x="2331" y="3665"/>
                      <a:pt x="2330" y="3675"/>
                      <a:pt x="2306" y="3673"/>
                    </a:cubicBezTo>
                    <a:cubicBezTo>
                      <a:pt x="2282" y="3672"/>
                      <a:pt x="2283" y="3665"/>
                      <a:pt x="2283" y="3665"/>
                    </a:cubicBezTo>
                    <a:cubicBezTo>
                      <a:pt x="2283" y="3665"/>
                      <a:pt x="2236" y="3666"/>
                      <a:pt x="2233" y="3650"/>
                    </a:cubicBezTo>
                    <a:cubicBezTo>
                      <a:pt x="2216" y="3649"/>
                      <a:pt x="2206" y="3649"/>
                      <a:pt x="2206" y="3649"/>
                    </a:cubicBezTo>
                    <a:cubicBezTo>
                      <a:pt x="2206" y="3649"/>
                      <a:pt x="2202" y="3655"/>
                      <a:pt x="2197" y="3656"/>
                    </a:cubicBezTo>
                    <a:cubicBezTo>
                      <a:pt x="2193" y="3657"/>
                      <a:pt x="2188" y="3641"/>
                      <a:pt x="2189" y="3636"/>
                    </a:cubicBezTo>
                    <a:cubicBezTo>
                      <a:pt x="2189" y="3631"/>
                      <a:pt x="2210" y="3617"/>
                      <a:pt x="2215" y="3627"/>
                    </a:cubicBezTo>
                    <a:cubicBezTo>
                      <a:pt x="2221" y="3638"/>
                      <a:pt x="2221" y="3636"/>
                      <a:pt x="2221" y="3636"/>
                    </a:cubicBezTo>
                    <a:cubicBezTo>
                      <a:pt x="2221" y="3636"/>
                      <a:pt x="2234" y="3614"/>
                      <a:pt x="2245" y="3642"/>
                    </a:cubicBezTo>
                    <a:cubicBezTo>
                      <a:pt x="2269" y="3647"/>
                      <a:pt x="2275" y="3641"/>
                      <a:pt x="2275" y="3641"/>
                    </a:cubicBezTo>
                    <a:cubicBezTo>
                      <a:pt x="2311" y="3663"/>
                      <a:pt x="2311" y="3663"/>
                      <a:pt x="2311" y="3663"/>
                    </a:cubicBezTo>
                    <a:cubicBezTo>
                      <a:pt x="2319" y="3661"/>
                      <a:pt x="2319" y="3661"/>
                      <a:pt x="2319" y="3661"/>
                    </a:cubicBezTo>
                    <a:cubicBezTo>
                      <a:pt x="2321" y="3651"/>
                      <a:pt x="2321" y="3651"/>
                      <a:pt x="2321" y="3651"/>
                    </a:cubicBezTo>
                    <a:cubicBezTo>
                      <a:pt x="2339" y="3653"/>
                      <a:pt x="2339" y="3653"/>
                      <a:pt x="2339" y="3653"/>
                    </a:cubicBezTo>
                    <a:cubicBezTo>
                      <a:pt x="2339" y="3653"/>
                      <a:pt x="2361" y="3641"/>
                      <a:pt x="2355" y="3633"/>
                    </a:cubicBezTo>
                    <a:cubicBezTo>
                      <a:pt x="2357" y="3635"/>
                      <a:pt x="2361" y="3638"/>
                      <a:pt x="2361" y="3638"/>
                    </a:cubicBezTo>
                    <a:cubicBezTo>
                      <a:pt x="2391" y="3634"/>
                      <a:pt x="2391" y="3634"/>
                      <a:pt x="2391" y="3634"/>
                    </a:cubicBezTo>
                    <a:cubicBezTo>
                      <a:pt x="2391" y="3627"/>
                      <a:pt x="2391" y="3627"/>
                      <a:pt x="2391" y="3627"/>
                    </a:cubicBezTo>
                    <a:cubicBezTo>
                      <a:pt x="2417" y="3626"/>
                      <a:pt x="2417" y="3626"/>
                      <a:pt x="2417" y="3626"/>
                    </a:cubicBezTo>
                    <a:cubicBezTo>
                      <a:pt x="2422" y="3610"/>
                      <a:pt x="2422" y="3610"/>
                      <a:pt x="2422" y="3610"/>
                    </a:cubicBezTo>
                    <a:cubicBezTo>
                      <a:pt x="2421" y="3587"/>
                      <a:pt x="2421" y="3587"/>
                      <a:pt x="2421" y="3587"/>
                    </a:cubicBezTo>
                    <a:cubicBezTo>
                      <a:pt x="2435" y="3588"/>
                      <a:pt x="2435" y="3588"/>
                      <a:pt x="2435" y="3588"/>
                    </a:cubicBezTo>
                    <a:cubicBezTo>
                      <a:pt x="2500" y="3523"/>
                      <a:pt x="2500" y="3523"/>
                      <a:pt x="2500" y="3523"/>
                    </a:cubicBezTo>
                    <a:cubicBezTo>
                      <a:pt x="2539" y="3523"/>
                      <a:pt x="2539" y="3523"/>
                      <a:pt x="2539" y="3523"/>
                    </a:cubicBezTo>
                    <a:cubicBezTo>
                      <a:pt x="2539" y="3523"/>
                      <a:pt x="2543" y="3542"/>
                      <a:pt x="2561" y="3539"/>
                    </a:cubicBezTo>
                    <a:cubicBezTo>
                      <a:pt x="2563" y="3541"/>
                      <a:pt x="2563" y="3547"/>
                      <a:pt x="2563" y="3547"/>
                    </a:cubicBezTo>
                    <a:cubicBezTo>
                      <a:pt x="2569" y="3537"/>
                      <a:pt x="2569" y="3537"/>
                      <a:pt x="2569" y="3537"/>
                    </a:cubicBezTo>
                    <a:cubicBezTo>
                      <a:pt x="2572" y="3545"/>
                      <a:pt x="2572" y="3545"/>
                      <a:pt x="2572" y="3545"/>
                    </a:cubicBezTo>
                    <a:cubicBezTo>
                      <a:pt x="2572" y="3545"/>
                      <a:pt x="2580" y="3524"/>
                      <a:pt x="2606" y="3524"/>
                    </a:cubicBezTo>
                    <a:cubicBezTo>
                      <a:pt x="2632" y="3509"/>
                      <a:pt x="2667" y="3485"/>
                      <a:pt x="2673" y="3475"/>
                    </a:cubicBezTo>
                    <a:cubicBezTo>
                      <a:pt x="2656" y="3465"/>
                      <a:pt x="2641" y="3448"/>
                      <a:pt x="2635" y="3437"/>
                    </a:cubicBezTo>
                    <a:cubicBezTo>
                      <a:pt x="2629" y="3427"/>
                      <a:pt x="2603" y="3433"/>
                      <a:pt x="2603" y="3433"/>
                    </a:cubicBezTo>
                    <a:cubicBezTo>
                      <a:pt x="2575" y="3419"/>
                      <a:pt x="2575" y="3419"/>
                      <a:pt x="2575" y="3419"/>
                    </a:cubicBezTo>
                    <a:cubicBezTo>
                      <a:pt x="2575" y="3409"/>
                      <a:pt x="2575" y="3409"/>
                      <a:pt x="2575" y="3409"/>
                    </a:cubicBezTo>
                    <a:cubicBezTo>
                      <a:pt x="2568" y="3403"/>
                      <a:pt x="2568" y="3403"/>
                      <a:pt x="2568" y="3403"/>
                    </a:cubicBezTo>
                    <a:cubicBezTo>
                      <a:pt x="2568" y="3403"/>
                      <a:pt x="2566" y="3417"/>
                      <a:pt x="2559" y="3413"/>
                    </a:cubicBezTo>
                    <a:cubicBezTo>
                      <a:pt x="2553" y="3408"/>
                      <a:pt x="2573" y="3388"/>
                      <a:pt x="2573" y="3388"/>
                    </a:cubicBezTo>
                    <a:cubicBezTo>
                      <a:pt x="2572" y="3361"/>
                      <a:pt x="2572" y="3361"/>
                      <a:pt x="2572" y="3361"/>
                    </a:cubicBezTo>
                    <a:cubicBezTo>
                      <a:pt x="2572" y="3361"/>
                      <a:pt x="2582" y="3363"/>
                      <a:pt x="2580" y="3357"/>
                    </a:cubicBezTo>
                    <a:cubicBezTo>
                      <a:pt x="2578" y="3351"/>
                      <a:pt x="2568" y="3341"/>
                      <a:pt x="2568" y="3341"/>
                    </a:cubicBezTo>
                    <a:cubicBezTo>
                      <a:pt x="2564" y="3349"/>
                      <a:pt x="2564" y="3349"/>
                      <a:pt x="2564" y="3349"/>
                    </a:cubicBezTo>
                    <a:cubicBezTo>
                      <a:pt x="2545" y="3348"/>
                      <a:pt x="2545" y="3348"/>
                      <a:pt x="2545" y="3348"/>
                    </a:cubicBezTo>
                    <a:cubicBezTo>
                      <a:pt x="2545" y="3342"/>
                      <a:pt x="2545" y="3342"/>
                      <a:pt x="2545" y="3342"/>
                    </a:cubicBezTo>
                    <a:cubicBezTo>
                      <a:pt x="2517" y="3341"/>
                      <a:pt x="2517" y="3341"/>
                      <a:pt x="2517" y="3341"/>
                    </a:cubicBezTo>
                    <a:cubicBezTo>
                      <a:pt x="2497" y="3361"/>
                      <a:pt x="2497" y="3361"/>
                      <a:pt x="2497" y="3361"/>
                    </a:cubicBezTo>
                    <a:cubicBezTo>
                      <a:pt x="2481" y="3362"/>
                      <a:pt x="2481" y="3362"/>
                      <a:pt x="2481" y="3362"/>
                    </a:cubicBezTo>
                    <a:cubicBezTo>
                      <a:pt x="2455" y="3379"/>
                      <a:pt x="2455" y="3379"/>
                      <a:pt x="2455" y="3379"/>
                    </a:cubicBezTo>
                    <a:cubicBezTo>
                      <a:pt x="2439" y="3379"/>
                      <a:pt x="2439" y="3379"/>
                      <a:pt x="2439" y="3379"/>
                    </a:cubicBezTo>
                    <a:cubicBezTo>
                      <a:pt x="2426" y="3391"/>
                      <a:pt x="2426" y="3391"/>
                      <a:pt x="2426" y="3391"/>
                    </a:cubicBezTo>
                    <a:cubicBezTo>
                      <a:pt x="2413" y="3391"/>
                      <a:pt x="2413" y="3391"/>
                      <a:pt x="2413" y="3391"/>
                    </a:cubicBezTo>
                    <a:cubicBezTo>
                      <a:pt x="2405" y="3403"/>
                      <a:pt x="2405" y="3403"/>
                      <a:pt x="2405" y="3403"/>
                    </a:cubicBezTo>
                    <a:cubicBezTo>
                      <a:pt x="2405" y="3403"/>
                      <a:pt x="2376" y="3416"/>
                      <a:pt x="2372" y="3410"/>
                    </a:cubicBezTo>
                    <a:cubicBezTo>
                      <a:pt x="2368" y="3404"/>
                      <a:pt x="2387" y="3394"/>
                      <a:pt x="2395" y="3394"/>
                    </a:cubicBezTo>
                    <a:cubicBezTo>
                      <a:pt x="2403" y="3384"/>
                      <a:pt x="2453" y="3343"/>
                      <a:pt x="2460" y="3343"/>
                    </a:cubicBezTo>
                    <a:cubicBezTo>
                      <a:pt x="2467" y="3343"/>
                      <a:pt x="2473" y="3337"/>
                      <a:pt x="2473" y="3337"/>
                    </a:cubicBezTo>
                    <a:cubicBezTo>
                      <a:pt x="2473" y="3337"/>
                      <a:pt x="2476" y="3344"/>
                      <a:pt x="2479" y="3345"/>
                    </a:cubicBezTo>
                    <a:cubicBezTo>
                      <a:pt x="2481" y="3345"/>
                      <a:pt x="2503" y="3345"/>
                      <a:pt x="2503" y="3345"/>
                    </a:cubicBezTo>
                    <a:cubicBezTo>
                      <a:pt x="2513" y="3332"/>
                      <a:pt x="2513" y="3332"/>
                      <a:pt x="2513" y="3332"/>
                    </a:cubicBezTo>
                    <a:cubicBezTo>
                      <a:pt x="2557" y="3332"/>
                      <a:pt x="2557" y="3332"/>
                      <a:pt x="2557" y="3332"/>
                    </a:cubicBezTo>
                    <a:cubicBezTo>
                      <a:pt x="2559" y="3327"/>
                      <a:pt x="2559" y="3327"/>
                      <a:pt x="2559" y="3327"/>
                    </a:cubicBezTo>
                    <a:cubicBezTo>
                      <a:pt x="2598" y="3329"/>
                      <a:pt x="2598" y="3329"/>
                      <a:pt x="2598" y="3329"/>
                    </a:cubicBezTo>
                    <a:cubicBezTo>
                      <a:pt x="2598" y="3329"/>
                      <a:pt x="2601" y="3342"/>
                      <a:pt x="2612" y="3335"/>
                    </a:cubicBezTo>
                    <a:cubicBezTo>
                      <a:pt x="2615" y="3321"/>
                      <a:pt x="2615" y="3309"/>
                      <a:pt x="2615" y="3309"/>
                    </a:cubicBezTo>
                    <a:cubicBezTo>
                      <a:pt x="2615" y="3309"/>
                      <a:pt x="2644" y="3299"/>
                      <a:pt x="2660" y="3272"/>
                    </a:cubicBezTo>
                    <a:cubicBezTo>
                      <a:pt x="2679" y="3271"/>
                      <a:pt x="2699" y="3261"/>
                      <a:pt x="2700" y="3243"/>
                    </a:cubicBezTo>
                    <a:cubicBezTo>
                      <a:pt x="2714" y="3232"/>
                      <a:pt x="2721" y="3225"/>
                      <a:pt x="2719" y="3219"/>
                    </a:cubicBezTo>
                    <a:cubicBezTo>
                      <a:pt x="2716" y="3213"/>
                      <a:pt x="2706" y="3213"/>
                      <a:pt x="2705" y="3207"/>
                    </a:cubicBezTo>
                    <a:cubicBezTo>
                      <a:pt x="2705" y="3201"/>
                      <a:pt x="2708" y="3188"/>
                      <a:pt x="2724" y="3188"/>
                    </a:cubicBezTo>
                    <a:cubicBezTo>
                      <a:pt x="2739" y="3175"/>
                      <a:pt x="2739" y="3172"/>
                      <a:pt x="2739" y="3166"/>
                    </a:cubicBezTo>
                    <a:cubicBezTo>
                      <a:pt x="2739" y="3160"/>
                      <a:pt x="2733" y="3157"/>
                      <a:pt x="2733" y="3153"/>
                    </a:cubicBezTo>
                    <a:cubicBezTo>
                      <a:pt x="2733" y="3148"/>
                      <a:pt x="2739" y="3119"/>
                      <a:pt x="2761" y="3117"/>
                    </a:cubicBezTo>
                    <a:cubicBezTo>
                      <a:pt x="2775" y="3108"/>
                      <a:pt x="2769" y="3103"/>
                      <a:pt x="2781" y="3103"/>
                    </a:cubicBezTo>
                    <a:cubicBezTo>
                      <a:pt x="2791" y="3095"/>
                      <a:pt x="2833" y="3049"/>
                      <a:pt x="2835" y="3038"/>
                    </a:cubicBezTo>
                    <a:cubicBezTo>
                      <a:pt x="2838" y="3027"/>
                      <a:pt x="2841" y="3019"/>
                      <a:pt x="2843" y="3019"/>
                    </a:cubicBezTo>
                    <a:cubicBezTo>
                      <a:pt x="2846" y="3019"/>
                      <a:pt x="2845" y="2970"/>
                      <a:pt x="2845" y="2970"/>
                    </a:cubicBezTo>
                    <a:cubicBezTo>
                      <a:pt x="2851" y="2967"/>
                      <a:pt x="2851" y="2967"/>
                      <a:pt x="2851" y="2967"/>
                    </a:cubicBezTo>
                    <a:cubicBezTo>
                      <a:pt x="2851" y="2967"/>
                      <a:pt x="2853" y="2943"/>
                      <a:pt x="2870" y="2925"/>
                    </a:cubicBezTo>
                    <a:cubicBezTo>
                      <a:pt x="2887" y="2907"/>
                      <a:pt x="2890" y="2905"/>
                      <a:pt x="2890" y="2899"/>
                    </a:cubicBezTo>
                    <a:cubicBezTo>
                      <a:pt x="2890" y="2894"/>
                      <a:pt x="2909" y="2871"/>
                      <a:pt x="2909" y="2865"/>
                    </a:cubicBezTo>
                    <a:cubicBezTo>
                      <a:pt x="2909" y="2858"/>
                      <a:pt x="2912" y="2850"/>
                      <a:pt x="2912" y="2850"/>
                    </a:cubicBezTo>
                    <a:cubicBezTo>
                      <a:pt x="2900" y="2849"/>
                      <a:pt x="2900" y="2849"/>
                      <a:pt x="2900" y="2849"/>
                    </a:cubicBezTo>
                    <a:cubicBezTo>
                      <a:pt x="2895" y="2805"/>
                      <a:pt x="2895" y="2805"/>
                      <a:pt x="2895" y="2805"/>
                    </a:cubicBezTo>
                    <a:cubicBezTo>
                      <a:pt x="2895" y="2805"/>
                      <a:pt x="2908" y="2793"/>
                      <a:pt x="2907" y="2783"/>
                    </a:cubicBezTo>
                    <a:cubicBezTo>
                      <a:pt x="2907" y="2774"/>
                      <a:pt x="2919" y="2768"/>
                      <a:pt x="2919" y="2760"/>
                    </a:cubicBezTo>
                    <a:cubicBezTo>
                      <a:pt x="2919" y="2752"/>
                      <a:pt x="2954" y="2699"/>
                      <a:pt x="2968" y="2694"/>
                    </a:cubicBezTo>
                    <a:cubicBezTo>
                      <a:pt x="2970" y="2687"/>
                      <a:pt x="2970" y="2687"/>
                      <a:pt x="2970" y="2687"/>
                    </a:cubicBezTo>
                    <a:cubicBezTo>
                      <a:pt x="2982" y="2687"/>
                      <a:pt x="2982" y="2687"/>
                      <a:pt x="2982" y="2687"/>
                    </a:cubicBezTo>
                    <a:cubicBezTo>
                      <a:pt x="2993" y="2675"/>
                      <a:pt x="2993" y="2675"/>
                      <a:pt x="2993" y="2675"/>
                    </a:cubicBezTo>
                    <a:cubicBezTo>
                      <a:pt x="2993" y="2655"/>
                      <a:pt x="2993" y="2655"/>
                      <a:pt x="2993" y="2655"/>
                    </a:cubicBezTo>
                    <a:cubicBezTo>
                      <a:pt x="3005" y="2655"/>
                      <a:pt x="3005" y="2655"/>
                      <a:pt x="3005" y="2655"/>
                    </a:cubicBezTo>
                    <a:cubicBezTo>
                      <a:pt x="3021" y="2641"/>
                      <a:pt x="3021" y="2641"/>
                      <a:pt x="3021" y="2641"/>
                    </a:cubicBezTo>
                    <a:cubicBezTo>
                      <a:pt x="3018" y="2632"/>
                      <a:pt x="3018" y="2632"/>
                      <a:pt x="3018" y="2632"/>
                    </a:cubicBezTo>
                    <a:cubicBezTo>
                      <a:pt x="3034" y="2616"/>
                      <a:pt x="3034" y="2616"/>
                      <a:pt x="3034" y="2616"/>
                    </a:cubicBezTo>
                    <a:cubicBezTo>
                      <a:pt x="3022" y="2609"/>
                      <a:pt x="3022" y="2609"/>
                      <a:pt x="3022" y="2609"/>
                    </a:cubicBezTo>
                    <a:cubicBezTo>
                      <a:pt x="3022" y="2609"/>
                      <a:pt x="3036" y="2600"/>
                      <a:pt x="3034" y="2593"/>
                    </a:cubicBezTo>
                    <a:cubicBezTo>
                      <a:pt x="3032" y="2587"/>
                      <a:pt x="3015" y="2569"/>
                      <a:pt x="3015" y="2569"/>
                    </a:cubicBezTo>
                    <a:cubicBezTo>
                      <a:pt x="3015" y="2548"/>
                      <a:pt x="3015" y="2548"/>
                      <a:pt x="3015" y="2548"/>
                    </a:cubicBezTo>
                    <a:cubicBezTo>
                      <a:pt x="3007" y="2543"/>
                      <a:pt x="3007" y="2543"/>
                      <a:pt x="3007" y="2543"/>
                    </a:cubicBezTo>
                    <a:cubicBezTo>
                      <a:pt x="3008" y="2509"/>
                      <a:pt x="3008" y="2509"/>
                      <a:pt x="3008" y="2509"/>
                    </a:cubicBezTo>
                    <a:cubicBezTo>
                      <a:pt x="3008" y="2509"/>
                      <a:pt x="2991" y="2497"/>
                      <a:pt x="2989" y="2498"/>
                    </a:cubicBezTo>
                    <a:cubicBezTo>
                      <a:pt x="2985" y="2496"/>
                      <a:pt x="2963" y="2463"/>
                      <a:pt x="2963" y="2463"/>
                    </a:cubicBezTo>
                    <a:cubicBezTo>
                      <a:pt x="2936" y="2459"/>
                      <a:pt x="2936" y="2459"/>
                      <a:pt x="2936" y="2459"/>
                    </a:cubicBezTo>
                    <a:cubicBezTo>
                      <a:pt x="2928" y="2449"/>
                      <a:pt x="2928" y="2449"/>
                      <a:pt x="2928" y="2449"/>
                    </a:cubicBezTo>
                    <a:cubicBezTo>
                      <a:pt x="2897" y="2447"/>
                      <a:pt x="2897" y="2447"/>
                      <a:pt x="2897" y="2447"/>
                    </a:cubicBezTo>
                    <a:cubicBezTo>
                      <a:pt x="2894" y="2441"/>
                      <a:pt x="2894" y="2441"/>
                      <a:pt x="2894" y="2441"/>
                    </a:cubicBezTo>
                    <a:cubicBezTo>
                      <a:pt x="2883" y="2446"/>
                      <a:pt x="2883" y="2446"/>
                      <a:pt x="2883" y="2446"/>
                    </a:cubicBezTo>
                    <a:cubicBezTo>
                      <a:pt x="2877" y="2439"/>
                      <a:pt x="2877" y="2439"/>
                      <a:pt x="2877" y="2439"/>
                    </a:cubicBezTo>
                    <a:cubicBezTo>
                      <a:pt x="2845" y="2463"/>
                      <a:pt x="2845" y="2463"/>
                      <a:pt x="2845" y="2463"/>
                    </a:cubicBezTo>
                    <a:cubicBezTo>
                      <a:pt x="2824" y="2459"/>
                      <a:pt x="2824" y="2459"/>
                      <a:pt x="2824" y="2459"/>
                    </a:cubicBezTo>
                    <a:cubicBezTo>
                      <a:pt x="2819" y="2451"/>
                      <a:pt x="2819" y="2451"/>
                      <a:pt x="2819" y="2451"/>
                    </a:cubicBezTo>
                    <a:cubicBezTo>
                      <a:pt x="2812" y="2457"/>
                      <a:pt x="2812" y="2457"/>
                      <a:pt x="2812" y="2457"/>
                    </a:cubicBezTo>
                    <a:cubicBezTo>
                      <a:pt x="2797" y="2444"/>
                      <a:pt x="2797" y="2444"/>
                      <a:pt x="2797" y="2444"/>
                    </a:cubicBezTo>
                    <a:cubicBezTo>
                      <a:pt x="2777" y="2460"/>
                      <a:pt x="2777" y="2460"/>
                      <a:pt x="2777" y="2460"/>
                    </a:cubicBezTo>
                    <a:cubicBezTo>
                      <a:pt x="2768" y="2455"/>
                      <a:pt x="2768" y="2455"/>
                      <a:pt x="2768" y="2455"/>
                    </a:cubicBezTo>
                    <a:cubicBezTo>
                      <a:pt x="2768" y="2455"/>
                      <a:pt x="2741" y="2476"/>
                      <a:pt x="2720" y="2456"/>
                    </a:cubicBezTo>
                    <a:cubicBezTo>
                      <a:pt x="2712" y="2459"/>
                      <a:pt x="2705" y="2444"/>
                      <a:pt x="2703" y="2467"/>
                    </a:cubicBezTo>
                    <a:cubicBezTo>
                      <a:pt x="2700" y="2468"/>
                      <a:pt x="2687" y="2459"/>
                      <a:pt x="2680" y="2458"/>
                    </a:cubicBezTo>
                    <a:cubicBezTo>
                      <a:pt x="2673" y="2457"/>
                      <a:pt x="2663" y="2451"/>
                      <a:pt x="2649" y="2451"/>
                    </a:cubicBezTo>
                    <a:cubicBezTo>
                      <a:pt x="2636" y="2451"/>
                      <a:pt x="2603" y="2444"/>
                      <a:pt x="2595" y="2443"/>
                    </a:cubicBezTo>
                    <a:cubicBezTo>
                      <a:pt x="2586" y="2443"/>
                      <a:pt x="2566" y="2435"/>
                      <a:pt x="2555" y="2432"/>
                    </a:cubicBezTo>
                    <a:cubicBezTo>
                      <a:pt x="2545" y="2429"/>
                      <a:pt x="2512" y="2441"/>
                      <a:pt x="2490" y="2455"/>
                    </a:cubicBezTo>
                    <a:cubicBezTo>
                      <a:pt x="2459" y="2453"/>
                      <a:pt x="2445" y="2463"/>
                      <a:pt x="2369" y="2415"/>
                    </a:cubicBezTo>
                    <a:cubicBezTo>
                      <a:pt x="2324" y="2406"/>
                      <a:pt x="2293" y="2417"/>
                      <a:pt x="2290" y="2424"/>
                    </a:cubicBezTo>
                    <a:cubicBezTo>
                      <a:pt x="2287" y="2431"/>
                      <a:pt x="2270" y="2425"/>
                      <a:pt x="2270" y="2425"/>
                    </a:cubicBezTo>
                    <a:cubicBezTo>
                      <a:pt x="2275" y="2432"/>
                      <a:pt x="2275" y="2432"/>
                      <a:pt x="2275" y="2432"/>
                    </a:cubicBezTo>
                    <a:cubicBezTo>
                      <a:pt x="2254" y="2453"/>
                      <a:pt x="2254" y="2453"/>
                      <a:pt x="2254" y="2453"/>
                    </a:cubicBezTo>
                    <a:cubicBezTo>
                      <a:pt x="2221" y="2456"/>
                      <a:pt x="2221" y="2456"/>
                      <a:pt x="2221" y="2456"/>
                    </a:cubicBezTo>
                    <a:cubicBezTo>
                      <a:pt x="2221" y="2456"/>
                      <a:pt x="2233" y="2474"/>
                      <a:pt x="2223" y="2474"/>
                    </a:cubicBezTo>
                    <a:cubicBezTo>
                      <a:pt x="2212" y="2474"/>
                      <a:pt x="2211" y="2478"/>
                      <a:pt x="2216" y="2462"/>
                    </a:cubicBezTo>
                    <a:cubicBezTo>
                      <a:pt x="2208" y="2445"/>
                      <a:pt x="2201" y="2453"/>
                      <a:pt x="2180" y="2453"/>
                    </a:cubicBezTo>
                    <a:cubicBezTo>
                      <a:pt x="2177" y="2462"/>
                      <a:pt x="2169" y="2465"/>
                      <a:pt x="2163" y="2465"/>
                    </a:cubicBezTo>
                    <a:cubicBezTo>
                      <a:pt x="2156" y="2465"/>
                      <a:pt x="2124" y="2497"/>
                      <a:pt x="2124" y="2497"/>
                    </a:cubicBezTo>
                    <a:cubicBezTo>
                      <a:pt x="2124" y="2497"/>
                      <a:pt x="2111" y="2503"/>
                      <a:pt x="2087" y="2501"/>
                    </a:cubicBezTo>
                    <a:cubicBezTo>
                      <a:pt x="2063" y="2500"/>
                      <a:pt x="2063" y="2495"/>
                      <a:pt x="2063" y="2495"/>
                    </a:cubicBezTo>
                    <a:cubicBezTo>
                      <a:pt x="2041" y="2495"/>
                      <a:pt x="2041" y="2495"/>
                      <a:pt x="2041" y="2495"/>
                    </a:cubicBezTo>
                    <a:cubicBezTo>
                      <a:pt x="2041" y="2495"/>
                      <a:pt x="2022" y="2500"/>
                      <a:pt x="2015" y="2500"/>
                    </a:cubicBezTo>
                    <a:cubicBezTo>
                      <a:pt x="2009" y="2500"/>
                      <a:pt x="2015" y="2512"/>
                      <a:pt x="2015" y="2512"/>
                    </a:cubicBezTo>
                    <a:cubicBezTo>
                      <a:pt x="2029" y="2513"/>
                      <a:pt x="2029" y="2513"/>
                      <a:pt x="2029" y="2513"/>
                    </a:cubicBezTo>
                    <a:cubicBezTo>
                      <a:pt x="2029" y="2513"/>
                      <a:pt x="1998" y="2541"/>
                      <a:pt x="1998" y="2551"/>
                    </a:cubicBezTo>
                    <a:cubicBezTo>
                      <a:pt x="1985" y="2553"/>
                      <a:pt x="1982" y="2550"/>
                      <a:pt x="1982" y="2550"/>
                    </a:cubicBezTo>
                    <a:cubicBezTo>
                      <a:pt x="1982" y="2550"/>
                      <a:pt x="1980" y="2577"/>
                      <a:pt x="1965" y="2573"/>
                    </a:cubicBezTo>
                    <a:cubicBezTo>
                      <a:pt x="1951" y="2568"/>
                      <a:pt x="1949" y="2557"/>
                      <a:pt x="1949" y="2557"/>
                    </a:cubicBezTo>
                    <a:cubicBezTo>
                      <a:pt x="1981" y="2513"/>
                      <a:pt x="1981" y="2513"/>
                      <a:pt x="1981" y="2513"/>
                    </a:cubicBezTo>
                    <a:cubicBezTo>
                      <a:pt x="2004" y="2510"/>
                      <a:pt x="2004" y="2510"/>
                      <a:pt x="2004" y="2510"/>
                    </a:cubicBezTo>
                    <a:cubicBezTo>
                      <a:pt x="2002" y="2491"/>
                      <a:pt x="2002" y="2491"/>
                      <a:pt x="2002" y="2491"/>
                    </a:cubicBezTo>
                    <a:cubicBezTo>
                      <a:pt x="2051" y="2436"/>
                      <a:pt x="2051" y="2436"/>
                      <a:pt x="2051" y="2436"/>
                    </a:cubicBezTo>
                    <a:cubicBezTo>
                      <a:pt x="2023" y="2433"/>
                      <a:pt x="2023" y="2433"/>
                      <a:pt x="2023" y="2433"/>
                    </a:cubicBezTo>
                    <a:cubicBezTo>
                      <a:pt x="2001" y="2446"/>
                      <a:pt x="2001" y="2446"/>
                      <a:pt x="2001" y="2446"/>
                    </a:cubicBezTo>
                    <a:cubicBezTo>
                      <a:pt x="1976" y="2446"/>
                      <a:pt x="1976" y="2446"/>
                      <a:pt x="1976" y="2446"/>
                    </a:cubicBezTo>
                    <a:cubicBezTo>
                      <a:pt x="1976" y="2437"/>
                      <a:pt x="1976" y="2437"/>
                      <a:pt x="1976" y="2437"/>
                    </a:cubicBezTo>
                    <a:cubicBezTo>
                      <a:pt x="2007" y="2403"/>
                      <a:pt x="2007" y="2403"/>
                      <a:pt x="2007" y="2403"/>
                    </a:cubicBezTo>
                    <a:cubicBezTo>
                      <a:pt x="2027" y="2403"/>
                      <a:pt x="2027" y="2403"/>
                      <a:pt x="2027" y="2403"/>
                    </a:cubicBezTo>
                    <a:cubicBezTo>
                      <a:pt x="2027" y="2403"/>
                      <a:pt x="2033" y="2395"/>
                      <a:pt x="2038" y="2396"/>
                    </a:cubicBezTo>
                    <a:cubicBezTo>
                      <a:pt x="2043" y="2397"/>
                      <a:pt x="2033" y="2411"/>
                      <a:pt x="2033" y="2411"/>
                    </a:cubicBezTo>
                    <a:cubicBezTo>
                      <a:pt x="2033" y="2429"/>
                      <a:pt x="2033" y="2429"/>
                      <a:pt x="2033" y="2429"/>
                    </a:cubicBezTo>
                    <a:cubicBezTo>
                      <a:pt x="2062" y="2428"/>
                      <a:pt x="2062" y="2428"/>
                      <a:pt x="2062" y="2428"/>
                    </a:cubicBezTo>
                    <a:cubicBezTo>
                      <a:pt x="2062" y="2428"/>
                      <a:pt x="2093" y="2371"/>
                      <a:pt x="2102" y="2369"/>
                    </a:cubicBezTo>
                    <a:cubicBezTo>
                      <a:pt x="2111" y="2359"/>
                      <a:pt x="2151" y="2326"/>
                      <a:pt x="2149" y="2305"/>
                    </a:cubicBezTo>
                    <a:cubicBezTo>
                      <a:pt x="2148" y="2302"/>
                      <a:pt x="2137" y="2305"/>
                      <a:pt x="2137" y="2305"/>
                    </a:cubicBezTo>
                    <a:cubicBezTo>
                      <a:pt x="2137" y="2305"/>
                      <a:pt x="2119" y="2336"/>
                      <a:pt x="2099" y="2336"/>
                    </a:cubicBezTo>
                    <a:cubicBezTo>
                      <a:pt x="2080" y="2336"/>
                      <a:pt x="2063" y="2311"/>
                      <a:pt x="2063" y="2311"/>
                    </a:cubicBezTo>
                    <a:cubicBezTo>
                      <a:pt x="2026" y="2340"/>
                      <a:pt x="2026" y="2340"/>
                      <a:pt x="2026" y="2340"/>
                    </a:cubicBezTo>
                    <a:cubicBezTo>
                      <a:pt x="2026" y="2340"/>
                      <a:pt x="2001" y="2318"/>
                      <a:pt x="2000" y="2316"/>
                    </a:cubicBezTo>
                    <a:cubicBezTo>
                      <a:pt x="1999" y="2314"/>
                      <a:pt x="2032" y="2296"/>
                      <a:pt x="2042" y="2310"/>
                    </a:cubicBezTo>
                    <a:cubicBezTo>
                      <a:pt x="2044" y="2302"/>
                      <a:pt x="2044" y="2302"/>
                      <a:pt x="2044" y="2302"/>
                    </a:cubicBezTo>
                    <a:cubicBezTo>
                      <a:pt x="2044" y="2302"/>
                      <a:pt x="2040" y="2298"/>
                      <a:pt x="2040" y="2295"/>
                    </a:cubicBezTo>
                    <a:cubicBezTo>
                      <a:pt x="2040" y="2291"/>
                      <a:pt x="2051" y="2280"/>
                      <a:pt x="2051" y="2271"/>
                    </a:cubicBezTo>
                    <a:cubicBezTo>
                      <a:pt x="2051" y="2263"/>
                      <a:pt x="2050" y="2265"/>
                      <a:pt x="2047" y="2255"/>
                    </a:cubicBezTo>
                    <a:cubicBezTo>
                      <a:pt x="2045" y="2245"/>
                      <a:pt x="2047" y="2219"/>
                      <a:pt x="2094" y="2223"/>
                    </a:cubicBezTo>
                    <a:cubicBezTo>
                      <a:pt x="2094" y="2223"/>
                      <a:pt x="2095" y="2210"/>
                      <a:pt x="2116" y="2210"/>
                    </a:cubicBezTo>
                    <a:cubicBezTo>
                      <a:pt x="2115" y="2208"/>
                      <a:pt x="2115" y="2164"/>
                      <a:pt x="2159" y="2166"/>
                    </a:cubicBezTo>
                    <a:cubicBezTo>
                      <a:pt x="2159" y="2162"/>
                      <a:pt x="2201" y="2139"/>
                      <a:pt x="2199" y="2133"/>
                    </a:cubicBezTo>
                    <a:cubicBezTo>
                      <a:pt x="2197" y="2127"/>
                      <a:pt x="2212" y="2130"/>
                      <a:pt x="2212" y="2130"/>
                    </a:cubicBezTo>
                    <a:cubicBezTo>
                      <a:pt x="2262" y="2097"/>
                      <a:pt x="2262" y="2097"/>
                      <a:pt x="2262" y="2097"/>
                    </a:cubicBezTo>
                    <a:cubicBezTo>
                      <a:pt x="2314" y="2024"/>
                      <a:pt x="2314" y="2024"/>
                      <a:pt x="2314" y="2024"/>
                    </a:cubicBezTo>
                    <a:cubicBezTo>
                      <a:pt x="2314" y="2024"/>
                      <a:pt x="2378" y="1999"/>
                      <a:pt x="2393" y="1999"/>
                    </a:cubicBezTo>
                    <a:cubicBezTo>
                      <a:pt x="2405" y="1984"/>
                      <a:pt x="2423" y="1959"/>
                      <a:pt x="2435" y="1959"/>
                    </a:cubicBezTo>
                    <a:cubicBezTo>
                      <a:pt x="2442" y="1951"/>
                      <a:pt x="2444" y="1905"/>
                      <a:pt x="2465" y="1899"/>
                    </a:cubicBezTo>
                    <a:cubicBezTo>
                      <a:pt x="2462" y="1894"/>
                      <a:pt x="2461" y="1881"/>
                      <a:pt x="2461" y="1881"/>
                    </a:cubicBezTo>
                    <a:cubicBezTo>
                      <a:pt x="2437" y="1877"/>
                      <a:pt x="2437" y="1877"/>
                      <a:pt x="2437" y="1877"/>
                    </a:cubicBezTo>
                    <a:cubicBezTo>
                      <a:pt x="2428" y="1852"/>
                      <a:pt x="2428" y="1852"/>
                      <a:pt x="2428" y="1852"/>
                    </a:cubicBezTo>
                    <a:cubicBezTo>
                      <a:pt x="2457" y="1815"/>
                      <a:pt x="2457" y="1815"/>
                      <a:pt x="2457" y="1815"/>
                    </a:cubicBezTo>
                    <a:cubicBezTo>
                      <a:pt x="2461" y="1797"/>
                      <a:pt x="2461" y="1797"/>
                      <a:pt x="2461" y="1797"/>
                    </a:cubicBezTo>
                    <a:cubicBezTo>
                      <a:pt x="2471" y="1785"/>
                      <a:pt x="2471" y="1785"/>
                      <a:pt x="2471" y="1785"/>
                    </a:cubicBezTo>
                    <a:cubicBezTo>
                      <a:pt x="2478" y="1754"/>
                      <a:pt x="2478" y="1754"/>
                      <a:pt x="2478" y="1754"/>
                    </a:cubicBezTo>
                    <a:cubicBezTo>
                      <a:pt x="2432" y="1756"/>
                      <a:pt x="2432" y="1756"/>
                      <a:pt x="2432" y="1756"/>
                    </a:cubicBezTo>
                    <a:cubicBezTo>
                      <a:pt x="2432" y="1763"/>
                      <a:pt x="2432" y="1763"/>
                      <a:pt x="2432" y="1763"/>
                    </a:cubicBezTo>
                    <a:cubicBezTo>
                      <a:pt x="2415" y="1762"/>
                      <a:pt x="2415" y="1762"/>
                      <a:pt x="2415" y="1762"/>
                    </a:cubicBezTo>
                    <a:cubicBezTo>
                      <a:pt x="2414" y="1751"/>
                      <a:pt x="2414" y="1751"/>
                      <a:pt x="2414" y="1751"/>
                    </a:cubicBezTo>
                    <a:cubicBezTo>
                      <a:pt x="2393" y="1747"/>
                      <a:pt x="2393" y="1747"/>
                      <a:pt x="2393" y="1747"/>
                    </a:cubicBezTo>
                    <a:cubicBezTo>
                      <a:pt x="2390" y="1753"/>
                      <a:pt x="2390" y="1753"/>
                      <a:pt x="2390" y="1753"/>
                    </a:cubicBezTo>
                    <a:cubicBezTo>
                      <a:pt x="2381" y="1755"/>
                      <a:pt x="2381" y="1755"/>
                      <a:pt x="2381" y="1755"/>
                    </a:cubicBezTo>
                    <a:cubicBezTo>
                      <a:pt x="2381" y="1746"/>
                      <a:pt x="2381" y="1746"/>
                      <a:pt x="2381" y="1746"/>
                    </a:cubicBezTo>
                    <a:cubicBezTo>
                      <a:pt x="2365" y="1745"/>
                      <a:pt x="2365" y="1745"/>
                      <a:pt x="2365" y="1745"/>
                    </a:cubicBezTo>
                    <a:cubicBezTo>
                      <a:pt x="2365" y="1753"/>
                      <a:pt x="2365" y="1753"/>
                      <a:pt x="2365" y="1753"/>
                    </a:cubicBezTo>
                    <a:cubicBezTo>
                      <a:pt x="2338" y="1755"/>
                      <a:pt x="2338" y="1755"/>
                      <a:pt x="2338" y="1755"/>
                    </a:cubicBezTo>
                    <a:cubicBezTo>
                      <a:pt x="2327" y="1732"/>
                      <a:pt x="2327" y="1732"/>
                      <a:pt x="2327" y="1732"/>
                    </a:cubicBezTo>
                    <a:cubicBezTo>
                      <a:pt x="2305" y="1754"/>
                      <a:pt x="2305" y="1754"/>
                      <a:pt x="2305" y="1754"/>
                    </a:cubicBezTo>
                    <a:cubicBezTo>
                      <a:pt x="2338" y="1781"/>
                      <a:pt x="2338" y="1781"/>
                      <a:pt x="2338" y="1781"/>
                    </a:cubicBezTo>
                    <a:cubicBezTo>
                      <a:pt x="2325" y="1791"/>
                      <a:pt x="2325" y="1791"/>
                      <a:pt x="2325" y="1791"/>
                    </a:cubicBezTo>
                    <a:cubicBezTo>
                      <a:pt x="2325" y="1791"/>
                      <a:pt x="2299" y="1775"/>
                      <a:pt x="2287" y="1775"/>
                    </a:cubicBezTo>
                    <a:cubicBezTo>
                      <a:pt x="2275" y="1775"/>
                      <a:pt x="2260" y="1786"/>
                      <a:pt x="2250" y="1781"/>
                    </a:cubicBezTo>
                    <a:cubicBezTo>
                      <a:pt x="2249" y="1771"/>
                      <a:pt x="2253" y="1769"/>
                      <a:pt x="2253" y="1769"/>
                    </a:cubicBezTo>
                    <a:cubicBezTo>
                      <a:pt x="2201" y="1769"/>
                      <a:pt x="2201" y="1769"/>
                      <a:pt x="2201" y="1769"/>
                    </a:cubicBezTo>
                    <a:cubicBezTo>
                      <a:pt x="2146" y="1805"/>
                      <a:pt x="2146" y="1805"/>
                      <a:pt x="2146" y="1805"/>
                    </a:cubicBezTo>
                    <a:cubicBezTo>
                      <a:pt x="2139" y="1798"/>
                      <a:pt x="2139" y="1798"/>
                      <a:pt x="2139" y="1798"/>
                    </a:cubicBezTo>
                    <a:cubicBezTo>
                      <a:pt x="2125" y="1803"/>
                      <a:pt x="2125" y="1803"/>
                      <a:pt x="2125" y="1803"/>
                    </a:cubicBezTo>
                    <a:cubicBezTo>
                      <a:pt x="2093" y="1803"/>
                      <a:pt x="2093" y="1803"/>
                      <a:pt x="2093" y="1803"/>
                    </a:cubicBezTo>
                    <a:cubicBezTo>
                      <a:pt x="2085" y="1809"/>
                      <a:pt x="2085" y="1809"/>
                      <a:pt x="2085" y="1809"/>
                    </a:cubicBezTo>
                    <a:cubicBezTo>
                      <a:pt x="2082" y="1799"/>
                      <a:pt x="2082" y="1799"/>
                      <a:pt x="2082" y="1799"/>
                    </a:cubicBezTo>
                    <a:cubicBezTo>
                      <a:pt x="2082" y="1799"/>
                      <a:pt x="2062" y="1802"/>
                      <a:pt x="2055" y="1802"/>
                    </a:cubicBezTo>
                    <a:cubicBezTo>
                      <a:pt x="2047" y="1802"/>
                      <a:pt x="2045" y="1777"/>
                      <a:pt x="2045" y="1777"/>
                    </a:cubicBezTo>
                    <a:cubicBezTo>
                      <a:pt x="2045" y="1777"/>
                      <a:pt x="2035" y="1775"/>
                      <a:pt x="2019" y="1804"/>
                    </a:cubicBezTo>
                    <a:cubicBezTo>
                      <a:pt x="2007" y="1807"/>
                      <a:pt x="2007" y="1807"/>
                      <a:pt x="2007" y="1807"/>
                    </a:cubicBezTo>
                    <a:cubicBezTo>
                      <a:pt x="2006" y="1799"/>
                      <a:pt x="2006" y="1799"/>
                      <a:pt x="2006" y="1799"/>
                    </a:cubicBezTo>
                    <a:cubicBezTo>
                      <a:pt x="1981" y="1798"/>
                      <a:pt x="1981" y="1798"/>
                      <a:pt x="1981" y="1798"/>
                    </a:cubicBezTo>
                    <a:cubicBezTo>
                      <a:pt x="1981" y="1798"/>
                      <a:pt x="1984" y="1816"/>
                      <a:pt x="1973" y="1815"/>
                    </a:cubicBezTo>
                    <a:cubicBezTo>
                      <a:pt x="1961" y="1813"/>
                      <a:pt x="1958" y="1802"/>
                      <a:pt x="1958" y="1802"/>
                    </a:cubicBezTo>
                    <a:cubicBezTo>
                      <a:pt x="1958" y="1802"/>
                      <a:pt x="1957" y="1815"/>
                      <a:pt x="1950" y="1815"/>
                    </a:cubicBezTo>
                    <a:cubicBezTo>
                      <a:pt x="1943" y="1815"/>
                      <a:pt x="1937" y="1823"/>
                      <a:pt x="1937" y="1823"/>
                    </a:cubicBezTo>
                    <a:cubicBezTo>
                      <a:pt x="1919" y="1810"/>
                      <a:pt x="1919" y="1810"/>
                      <a:pt x="1919" y="1810"/>
                    </a:cubicBezTo>
                    <a:cubicBezTo>
                      <a:pt x="1919" y="1810"/>
                      <a:pt x="1904" y="1820"/>
                      <a:pt x="1903" y="1815"/>
                    </a:cubicBezTo>
                    <a:cubicBezTo>
                      <a:pt x="1901" y="1809"/>
                      <a:pt x="1908" y="1803"/>
                      <a:pt x="1908" y="1803"/>
                    </a:cubicBezTo>
                    <a:cubicBezTo>
                      <a:pt x="1905" y="1797"/>
                      <a:pt x="1905" y="1797"/>
                      <a:pt x="1905" y="1797"/>
                    </a:cubicBezTo>
                    <a:cubicBezTo>
                      <a:pt x="1905" y="1797"/>
                      <a:pt x="1891" y="1799"/>
                      <a:pt x="1892" y="1814"/>
                    </a:cubicBezTo>
                    <a:cubicBezTo>
                      <a:pt x="1892" y="1814"/>
                      <a:pt x="1879" y="1836"/>
                      <a:pt x="1867" y="1839"/>
                    </a:cubicBezTo>
                    <a:cubicBezTo>
                      <a:pt x="1866" y="1846"/>
                      <a:pt x="1861" y="1858"/>
                      <a:pt x="1861" y="1858"/>
                    </a:cubicBezTo>
                    <a:cubicBezTo>
                      <a:pt x="1847" y="1871"/>
                      <a:pt x="1847" y="1871"/>
                      <a:pt x="1847" y="1871"/>
                    </a:cubicBezTo>
                    <a:cubicBezTo>
                      <a:pt x="1843" y="1863"/>
                      <a:pt x="1843" y="1863"/>
                      <a:pt x="1843" y="1863"/>
                    </a:cubicBezTo>
                    <a:cubicBezTo>
                      <a:pt x="1843" y="1863"/>
                      <a:pt x="1857" y="1844"/>
                      <a:pt x="1856" y="1839"/>
                    </a:cubicBezTo>
                    <a:cubicBezTo>
                      <a:pt x="1855" y="1835"/>
                      <a:pt x="1868" y="1827"/>
                      <a:pt x="1868" y="1827"/>
                    </a:cubicBezTo>
                    <a:cubicBezTo>
                      <a:pt x="1859" y="1802"/>
                      <a:pt x="1859" y="1802"/>
                      <a:pt x="1859" y="1802"/>
                    </a:cubicBezTo>
                    <a:cubicBezTo>
                      <a:pt x="1815" y="1781"/>
                      <a:pt x="1815" y="1781"/>
                      <a:pt x="1815" y="1781"/>
                    </a:cubicBezTo>
                    <a:cubicBezTo>
                      <a:pt x="1801" y="1786"/>
                      <a:pt x="1801" y="1786"/>
                      <a:pt x="1801" y="1786"/>
                    </a:cubicBezTo>
                    <a:cubicBezTo>
                      <a:pt x="1794" y="1779"/>
                      <a:pt x="1794" y="1779"/>
                      <a:pt x="1794" y="1779"/>
                    </a:cubicBezTo>
                    <a:cubicBezTo>
                      <a:pt x="1794" y="1779"/>
                      <a:pt x="1785" y="1801"/>
                      <a:pt x="1785" y="1804"/>
                    </a:cubicBezTo>
                    <a:cubicBezTo>
                      <a:pt x="1785" y="1807"/>
                      <a:pt x="1791" y="1820"/>
                      <a:pt x="1787" y="1821"/>
                    </a:cubicBezTo>
                    <a:cubicBezTo>
                      <a:pt x="1784" y="1821"/>
                      <a:pt x="1768" y="1825"/>
                      <a:pt x="1768" y="1825"/>
                    </a:cubicBezTo>
                    <a:cubicBezTo>
                      <a:pt x="1768" y="1825"/>
                      <a:pt x="1755" y="1841"/>
                      <a:pt x="1755" y="1849"/>
                    </a:cubicBezTo>
                    <a:cubicBezTo>
                      <a:pt x="1747" y="1857"/>
                      <a:pt x="1726" y="1873"/>
                      <a:pt x="1726" y="1873"/>
                    </a:cubicBezTo>
                    <a:cubicBezTo>
                      <a:pt x="1720" y="1868"/>
                      <a:pt x="1720" y="1868"/>
                      <a:pt x="1720" y="1868"/>
                    </a:cubicBezTo>
                    <a:cubicBezTo>
                      <a:pt x="1765" y="1816"/>
                      <a:pt x="1765" y="1816"/>
                      <a:pt x="1765" y="1816"/>
                    </a:cubicBezTo>
                    <a:cubicBezTo>
                      <a:pt x="1762" y="1799"/>
                      <a:pt x="1762" y="1799"/>
                      <a:pt x="1762" y="1799"/>
                    </a:cubicBezTo>
                    <a:cubicBezTo>
                      <a:pt x="1753" y="1802"/>
                      <a:pt x="1753" y="1802"/>
                      <a:pt x="1753" y="1802"/>
                    </a:cubicBezTo>
                    <a:cubicBezTo>
                      <a:pt x="1734" y="1787"/>
                      <a:pt x="1734" y="1787"/>
                      <a:pt x="1734" y="1787"/>
                    </a:cubicBezTo>
                    <a:cubicBezTo>
                      <a:pt x="1730" y="1791"/>
                      <a:pt x="1730" y="1791"/>
                      <a:pt x="1730" y="1791"/>
                    </a:cubicBezTo>
                    <a:cubicBezTo>
                      <a:pt x="1729" y="1779"/>
                      <a:pt x="1729" y="1779"/>
                      <a:pt x="1729" y="1779"/>
                    </a:cubicBezTo>
                    <a:cubicBezTo>
                      <a:pt x="1729" y="1779"/>
                      <a:pt x="1711" y="1773"/>
                      <a:pt x="1711" y="1767"/>
                    </a:cubicBezTo>
                    <a:cubicBezTo>
                      <a:pt x="1712" y="1764"/>
                      <a:pt x="1703" y="1765"/>
                      <a:pt x="1703" y="1765"/>
                    </a:cubicBezTo>
                    <a:cubicBezTo>
                      <a:pt x="1711" y="1782"/>
                      <a:pt x="1711" y="1782"/>
                      <a:pt x="1711" y="1782"/>
                    </a:cubicBezTo>
                    <a:cubicBezTo>
                      <a:pt x="1699" y="1787"/>
                      <a:pt x="1699" y="1787"/>
                      <a:pt x="1699" y="1787"/>
                    </a:cubicBezTo>
                    <a:cubicBezTo>
                      <a:pt x="1699" y="1793"/>
                      <a:pt x="1699" y="1793"/>
                      <a:pt x="1699" y="1793"/>
                    </a:cubicBezTo>
                    <a:cubicBezTo>
                      <a:pt x="1699" y="1793"/>
                      <a:pt x="1711" y="1807"/>
                      <a:pt x="1709" y="1809"/>
                    </a:cubicBezTo>
                    <a:cubicBezTo>
                      <a:pt x="1707" y="1811"/>
                      <a:pt x="1691" y="1795"/>
                      <a:pt x="1691" y="1795"/>
                    </a:cubicBezTo>
                    <a:cubicBezTo>
                      <a:pt x="1690" y="1767"/>
                      <a:pt x="1690" y="1767"/>
                      <a:pt x="1690" y="1767"/>
                    </a:cubicBezTo>
                    <a:cubicBezTo>
                      <a:pt x="1690" y="1767"/>
                      <a:pt x="1665" y="1765"/>
                      <a:pt x="1663" y="1751"/>
                    </a:cubicBezTo>
                    <a:cubicBezTo>
                      <a:pt x="1655" y="1761"/>
                      <a:pt x="1655" y="1761"/>
                      <a:pt x="1655" y="1761"/>
                    </a:cubicBezTo>
                    <a:cubicBezTo>
                      <a:pt x="1651" y="1750"/>
                      <a:pt x="1651" y="1750"/>
                      <a:pt x="1651" y="1750"/>
                    </a:cubicBezTo>
                    <a:cubicBezTo>
                      <a:pt x="1639" y="1750"/>
                      <a:pt x="1639" y="1750"/>
                      <a:pt x="1639" y="1750"/>
                    </a:cubicBezTo>
                    <a:cubicBezTo>
                      <a:pt x="1629" y="1755"/>
                      <a:pt x="1629" y="1755"/>
                      <a:pt x="1629" y="1755"/>
                    </a:cubicBezTo>
                    <a:cubicBezTo>
                      <a:pt x="1611" y="1741"/>
                      <a:pt x="1611" y="1741"/>
                      <a:pt x="1611" y="1741"/>
                    </a:cubicBezTo>
                    <a:cubicBezTo>
                      <a:pt x="1611" y="1741"/>
                      <a:pt x="1605" y="1794"/>
                      <a:pt x="1590" y="1805"/>
                    </a:cubicBezTo>
                    <a:cubicBezTo>
                      <a:pt x="1572" y="1807"/>
                      <a:pt x="1572" y="1807"/>
                      <a:pt x="1572" y="1807"/>
                    </a:cubicBezTo>
                    <a:cubicBezTo>
                      <a:pt x="1572" y="1807"/>
                      <a:pt x="1558" y="1822"/>
                      <a:pt x="1559" y="1837"/>
                    </a:cubicBezTo>
                    <a:cubicBezTo>
                      <a:pt x="1561" y="1851"/>
                      <a:pt x="1580" y="1866"/>
                      <a:pt x="1580" y="1866"/>
                    </a:cubicBezTo>
                    <a:cubicBezTo>
                      <a:pt x="1580" y="1866"/>
                      <a:pt x="1563" y="1887"/>
                      <a:pt x="1563" y="1891"/>
                    </a:cubicBezTo>
                    <a:cubicBezTo>
                      <a:pt x="1563" y="1895"/>
                      <a:pt x="1577" y="1905"/>
                      <a:pt x="1570" y="1907"/>
                    </a:cubicBezTo>
                    <a:cubicBezTo>
                      <a:pt x="1563" y="1909"/>
                      <a:pt x="1551" y="1895"/>
                      <a:pt x="1551" y="1895"/>
                    </a:cubicBezTo>
                    <a:cubicBezTo>
                      <a:pt x="1544" y="1919"/>
                      <a:pt x="1544" y="1919"/>
                      <a:pt x="1544" y="1919"/>
                    </a:cubicBezTo>
                    <a:cubicBezTo>
                      <a:pt x="1544" y="1919"/>
                      <a:pt x="1537" y="1913"/>
                      <a:pt x="1531" y="1913"/>
                    </a:cubicBezTo>
                    <a:cubicBezTo>
                      <a:pt x="1524" y="1913"/>
                      <a:pt x="1518" y="1923"/>
                      <a:pt x="1518" y="1923"/>
                    </a:cubicBezTo>
                    <a:cubicBezTo>
                      <a:pt x="1541" y="1930"/>
                      <a:pt x="1541" y="1930"/>
                      <a:pt x="1541" y="1930"/>
                    </a:cubicBezTo>
                    <a:cubicBezTo>
                      <a:pt x="1541" y="1930"/>
                      <a:pt x="1536" y="1938"/>
                      <a:pt x="1535" y="1941"/>
                    </a:cubicBezTo>
                    <a:cubicBezTo>
                      <a:pt x="1535" y="1943"/>
                      <a:pt x="1556" y="2003"/>
                      <a:pt x="1556" y="2003"/>
                    </a:cubicBezTo>
                    <a:cubicBezTo>
                      <a:pt x="1556" y="2003"/>
                      <a:pt x="1536" y="1999"/>
                      <a:pt x="1536" y="2015"/>
                    </a:cubicBezTo>
                    <a:cubicBezTo>
                      <a:pt x="1532" y="2017"/>
                      <a:pt x="1516" y="2000"/>
                      <a:pt x="1516" y="2000"/>
                    </a:cubicBezTo>
                    <a:cubicBezTo>
                      <a:pt x="1507" y="2005"/>
                      <a:pt x="1507" y="2005"/>
                      <a:pt x="1507" y="2005"/>
                    </a:cubicBezTo>
                    <a:cubicBezTo>
                      <a:pt x="1498" y="1996"/>
                      <a:pt x="1498" y="1996"/>
                      <a:pt x="1498" y="1996"/>
                    </a:cubicBezTo>
                    <a:cubicBezTo>
                      <a:pt x="1485" y="2003"/>
                      <a:pt x="1485" y="2003"/>
                      <a:pt x="1485" y="2003"/>
                    </a:cubicBezTo>
                    <a:cubicBezTo>
                      <a:pt x="1493" y="2019"/>
                      <a:pt x="1493" y="2019"/>
                      <a:pt x="1493" y="2019"/>
                    </a:cubicBezTo>
                    <a:cubicBezTo>
                      <a:pt x="1479" y="2025"/>
                      <a:pt x="1479" y="2025"/>
                      <a:pt x="1479" y="2025"/>
                    </a:cubicBezTo>
                    <a:cubicBezTo>
                      <a:pt x="1479" y="2025"/>
                      <a:pt x="1468" y="2009"/>
                      <a:pt x="1453" y="2008"/>
                    </a:cubicBezTo>
                    <a:cubicBezTo>
                      <a:pt x="1447" y="2006"/>
                      <a:pt x="1446" y="1997"/>
                      <a:pt x="1446" y="1997"/>
                    </a:cubicBezTo>
                    <a:cubicBezTo>
                      <a:pt x="1431" y="2023"/>
                      <a:pt x="1431" y="2023"/>
                      <a:pt x="1431" y="2023"/>
                    </a:cubicBezTo>
                    <a:cubicBezTo>
                      <a:pt x="1443" y="2029"/>
                      <a:pt x="1443" y="2029"/>
                      <a:pt x="1443" y="2029"/>
                    </a:cubicBezTo>
                    <a:cubicBezTo>
                      <a:pt x="1443" y="2029"/>
                      <a:pt x="1474" y="2073"/>
                      <a:pt x="1473" y="2081"/>
                    </a:cubicBezTo>
                    <a:cubicBezTo>
                      <a:pt x="1483" y="2086"/>
                      <a:pt x="1491" y="2091"/>
                      <a:pt x="1491" y="2091"/>
                    </a:cubicBezTo>
                    <a:cubicBezTo>
                      <a:pt x="1479" y="2095"/>
                      <a:pt x="1479" y="2095"/>
                      <a:pt x="1479" y="2095"/>
                    </a:cubicBezTo>
                    <a:cubicBezTo>
                      <a:pt x="1479" y="2108"/>
                      <a:pt x="1479" y="2108"/>
                      <a:pt x="1479" y="2108"/>
                    </a:cubicBezTo>
                    <a:cubicBezTo>
                      <a:pt x="1485" y="2108"/>
                      <a:pt x="1485" y="2108"/>
                      <a:pt x="1485" y="2108"/>
                    </a:cubicBezTo>
                    <a:cubicBezTo>
                      <a:pt x="1485" y="2108"/>
                      <a:pt x="1490" y="2135"/>
                      <a:pt x="1483" y="2137"/>
                    </a:cubicBezTo>
                    <a:cubicBezTo>
                      <a:pt x="1475" y="2138"/>
                      <a:pt x="1459" y="2139"/>
                      <a:pt x="1459" y="2131"/>
                    </a:cubicBezTo>
                    <a:cubicBezTo>
                      <a:pt x="1458" y="2126"/>
                      <a:pt x="1452" y="2135"/>
                      <a:pt x="1452" y="2135"/>
                    </a:cubicBezTo>
                    <a:cubicBezTo>
                      <a:pt x="1424" y="2110"/>
                      <a:pt x="1424" y="2110"/>
                      <a:pt x="1424" y="2110"/>
                    </a:cubicBezTo>
                    <a:cubicBezTo>
                      <a:pt x="1424" y="2110"/>
                      <a:pt x="1398" y="2128"/>
                      <a:pt x="1422" y="2149"/>
                    </a:cubicBezTo>
                    <a:cubicBezTo>
                      <a:pt x="1418" y="2152"/>
                      <a:pt x="1411" y="2154"/>
                      <a:pt x="1411" y="2154"/>
                    </a:cubicBezTo>
                    <a:cubicBezTo>
                      <a:pt x="1414" y="2166"/>
                      <a:pt x="1414" y="2166"/>
                      <a:pt x="1414" y="2166"/>
                    </a:cubicBezTo>
                    <a:cubicBezTo>
                      <a:pt x="1429" y="2167"/>
                      <a:pt x="1429" y="2167"/>
                      <a:pt x="1429" y="2167"/>
                    </a:cubicBezTo>
                    <a:cubicBezTo>
                      <a:pt x="1429" y="2174"/>
                      <a:pt x="1429" y="2174"/>
                      <a:pt x="1429" y="2174"/>
                    </a:cubicBezTo>
                    <a:cubicBezTo>
                      <a:pt x="1414" y="2176"/>
                      <a:pt x="1414" y="2176"/>
                      <a:pt x="1414" y="2176"/>
                    </a:cubicBezTo>
                    <a:cubicBezTo>
                      <a:pt x="1414" y="2176"/>
                      <a:pt x="1409" y="2191"/>
                      <a:pt x="1415" y="2191"/>
                    </a:cubicBezTo>
                    <a:cubicBezTo>
                      <a:pt x="1421" y="2191"/>
                      <a:pt x="1424" y="2184"/>
                      <a:pt x="1424" y="2184"/>
                    </a:cubicBezTo>
                    <a:cubicBezTo>
                      <a:pt x="1433" y="2194"/>
                      <a:pt x="1433" y="2194"/>
                      <a:pt x="1433" y="2194"/>
                    </a:cubicBezTo>
                    <a:cubicBezTo>
                      <a:pt x="1446" y="2181"/>
                      <a:pt x="1446" y="2181"/>
                      <a:pt x="1446" y="2181"/>
                    </a:cubicBezTo>
                    <a:cubicBezTo>
                      <a:pt x="1446" y="2181"/>
                      <a:pt x="1441" y="2181"/>
                      <a:pt x="1441" y="2175"/>
                    </a:cubicBezTo>
                    <a:cubicBezTo>
                      <a:pt x="1441" y="2169"/>
                      <a:pt x="1455" y="2174"/>
                      <a:pt x="1455" y="2174"/>
                    </a:cubicBezTo>
                    <a:cubicBezTo>
                      <a:pt x="1457" y="2187"/>
                      <a:pt x="1457" y="2187"/>
                      <a:pt x="1457" y="2187"/>
                    </a:cubicBezTo>
                    <a:cubicBezTo>
                      <a:pt x="1457" y="2187"/>
                      <a:pt x="1472" y="2189"/>
                      <a:pt x="1473" y="2211"/>
                    </a:cubicBezTo>
                    <a:cubicBezTo>
                      <a:pt x="1473" y="2211"/>
                      <a:pt x="1513" y="2209"/>
                      <a:pt x="1513" y="2230"/>
                    </a:cubicBezTo>
                    <a:cubicBezTo>
                      <a:pt x="1506" y="2231"/>
                      <a:pt x="1506" y="2231"/>
                      <a:pt x="1506" y="2231"/>
                    </a:cubicBezTo>
                    <a:cubicBezTo>
                      <a:pt x="1514" y="2242"/>
                      <a:pt x="1514" y="2242"/>
                      <a:pt x="1514" y="2242"/>
                    </a:cubicBezTo>
                    <a:cubicBezTo>
                      <a:pt x="1513" y="2253"/>
                      <a:pt x="1513" y="2253"/>
                      <a:pt x="1513" y="2253"/>
                    </a:cubicBezTo>
                    <a:cubicBezTo>
                      <a:pt x="1513" y="2253"/>
                      <a:pt x="1468" y="2251"/>
                      <a:pt x="1466" y="2249"/>
                    </a:cubicBezTo>
                    <a:cubicBezTo>
                      <a:pt x="1464" y="2248"/>
                      <a:pt x="1454" y="2231"/>
                      <a:pt x="1454" y="2231"/>
                    </a:cubicBezTo>
                    <a:cubicBezTo>
                      <a:pt x="1433" y="2245"/>
                      <a:pt x="1433" y="2245"/>
                      <a:pt x="1433" y="2245"/>
                    </a:cubicBezTo>
                    <a:cubicBezTo>
                      <a:pt x="1433" y="2245"/>
                      <a:pt x="1449" y="2267"/>
                      <a:pt x="1467" y="2266"/>
                    </a:cubicBezTo>
                    <a:cubicBezTo>
                      <a:pt x="1471" y="2271"/>
                      <a:pt x="1473" y="2279"/>
                      <a:pt x="1473" y="2279"/>
                    </a:cubicBezTo>
                    <a:cubicBezTo>
                      <a:pt x="1502" y="2289"/>
                      <a:pt x="1502" y="2289"/>
                      <a:pt x="1502" y="2289"/>
                    </a:cubicBezTo>
                    <a:cubicBezTo>
                      <a:pt x="1502" y="2289"/>
                      <a:pt x="1509" y="2300"/>
                      <a:pt x="1503" y="2300"/>
                    </a:cubicBezTo>
                    <a:cubicBezTo>
                      <a:pt x="1496" y="2300"/>
                      <a:pt x="1471" y="2290"/>
                      <a:pt x="1471" y="2290"/>
                    </a:cubicBezTo>
                    <a:cubicBezTo>
                      <a:pt x="1450" y="2265"/>
                      <a:pt x="1450" y="2265"/>
                      <a:pt x="1450" y="2265"/>
                    </a:cubicBezTo>
                    <a:cubicBezTo>
                      <a:pt x="1436" y="2265"/>
                      <a:pt x="1436" y="2265"/>
                      <a:pt x="1436" y="2265"/>
                    </a:cubicBezTo>
                    <a:cubicBezTo>
                      <a:pt x="1436" y="2265"/>
                      <a:pt x="1437" y="2257"/>
                      <a:pt x="1429" y="2257"/>
                    </a:cubicBezTo>
                    <a:cubicBezTo>
                      <a:pt x="1421" y="2257"/>
                      <a:pt x="1410" y="2294"/>
                      <a:pt x="1410" y="2294"/>
                    </a:cubicBezTo>
                    <a:cubicBezTo>
                      <a:pt x="1405" y="2290"/>
                      <a:pt x="1405" y="2290"/>
                      <a:pt x="1405" y="2290"/>
                    </a:cubicBezTo>
                    <a:cubicBezTo>
                      <a:pt x="1405" y="2290"/>
                      <a:pt x="1368" y="2290"/>
                      <a:pt x="1369" y="2276"/>
                    </a:cubicBezTo>
                    <a:cubicBezTo>
                      <a:pt x="1369" y="2262"/>
                      <a:pt x="1367" y="2252"/>
                      <a:pt x="1367" y="2252"/>
                    </a:cubicBezTo>
                    <a:cubicBezTo>
                      <a:pt x="1367" y="2252"/>
                      <a:pt x="1361" y="2244"/>
                      <a:pt x="1347" y="2244"/>
                    </a:cubicBezTo>
                    <a:cubicBezTo>
                      <a:pt x="1333" y="2244"/>
                      <a:pt x="1324" y="2259"/>
                      <a:pt x="1324" y="2266"/>
                    </a:cubicBezTo>
                    <a:cubicBezTo>
                      <a:pt x="1324" y="2273"/>
                      <a:pt x="1320" y="2273"/>
                      <a:pt x="1320" y="2273"/>
                    </a:cubicBezTo>
                    <a:cubicBezTo>
                      <a:pt x="1320" y="2273"/>
                      <a:pt x="1328" y="2282"/>
                      <a:pt x="1328" y="2289"/>
                    </a:cubicBezTo>
                    <a:cubicBezTo>
                      <a:pt x="1328" y="2295"/>
                      <a:pt x="1321" y="2305"/>
                      <a:pt x="1329" y="2310"/>
                    </a:cubicBezTo>
                    <a:cubicBezTo>
                      <a:pt x="1337" y="2315"/>
                      <a:pt x="1339" y="2319"/>
                      <a:pt x="1341" y="2316"/>
                    </a:cubicBezTo>
                    <a:cubicBezTo>
                      <a:pt x="1343" y="2313"/>
                      <a:pt x="1331" y="2301"/>
                      <a:pt x="1331" y="2296"/>
                    </a:cubicBezTo>
                    <a:cubicBezTo>
                      <a:pt x="1331" y="2291"/>
                      <a:pt x="1335" y="2286"/>
                      <a:pt x="1341" y="2299"/>
                    </a:cubicBezTo>
                    <a:cubicBezTo>
                      <a:pt x="1347" y="2311"/>
                      <a:pt x="1362" y="2317"/>
                      <a:pt x="1337" y="2338"/>
                    </a:cubicBezTo>
                    <a:cubicBezTo>
                      <a:pt x="1335" y="2340"/>
                      <a:pt x="1346" y="2351"/>
                      <a:pt x="1342" y="2351"/>
                    </a:cubicBezTo>
                    <a:cubicBezTo>
                      <a:pt x="1338" y="2351"/>
                      <a:pt x="1317" y="2340"/>
                      <a:pt x="1317" y="2323"/>
                    </a:cubicBezTo>
                    <a:cubicBezTo>
                      <a:pt x="1317" y="2317"/>
                      <a:pt x="1323" y="2316"/>
                      <a:pt x="1323" y="2316"/>
                    </a:cubicBezTo>
                    <a:cubicBezTo>
                      <a:pt x="1323" y="2316"/>
                      <a:pt x="1305" y="2299"/>
                      <a:pt x="1305" y="2294"/>
                    </a:cubicBezTo>
                    <a:cubicBezTo>
                      <a:pt x="1305" y="2289"/>
                      <a:pt x="1314" y="2287"/>
                      <a:pt x="1311" y="2282"/>
                    </a:cubicBezTo>
                    <a:cubicBezTo>
                      <a:pt x="1309" y="2277"/>
                      <a:pt x="1253" y="2287"/>
                      <a:pt x="1253" y="2287"/>
                    </a:cubicBezTo>
                    <a:cubicBezTo>
                      <a:pt x="1253" y="2287"/>
                      <a:pt x="1245" y="2314"/>
                      <a:pt x="1257" y="2324"/>
                    </a:cubicBezTo>
                    <a:cubicBezTo>
                      <a:pt x="1255" y="2328"/>
                      <a:pt x="1253" y="2349"/>
                      <a:pt x="1253" y="2349"/>
                    </a:cubicBezTo>
                    <a:cubicBezTo>
                      <a:pt x="1253" y="2349"/>
                      <a:pt x="1249" y="2367"/>
                      <a:pt x="1258" y="2367"/>
                    </a:cubicBezTo>
                    <a:cubicBezTo>
                      <a:pt x="1261" y="2372"/>
                      <a:pt x="1255" y="2377"/>
                      <a:pt x="1250" y="2376"/>
                    </a:cubicBezTo>
                    <a:cubicBezTo>
                      <a:pt x="1245" y="2375"/>
                      <a:pt x="1255" y="2387"/>
                      <a:pt x="1255" y="2387"/>
                    </a:cubicBezTo>
                    <a:cubicBezTo>
                      <a:pt x="1265" y="2373"/>
                      <a:pt x="1265" y="2373"/>
                      <a:pt x="1265" y="2373"/>
                    </a:cubicBezTo>
                    <a:cubicBezTo>
                      <a:pt x="1265" y="2373"/>
                      <a:pt x="1268" y="2383"/>
                      <a:pt x="1299" y="2382"/>
                    </a:cubicBezTo>
                    <a:cubicBezTo>
                      <a:pt x="1311" y="2403"/>
                      <a:pt x="1311" y="2403"/>
                      <a:pt x="1311" y="2403"/>
                    </a:cubicBezTo>
                    <a:cubicBezTo>
                      <a:pt x="1292" y="2404"/>
                      <a:pt x="1292" y="2404"/>
                      <a:pt x="1292" y="2404"/>
                    </a:cubicBezTo>
                    <a:cubicBezTo>
                      <a:pt x="1292" y="2404"/>
                      <a:pt x="1287" y="2393"/>
                      <a:pt x="1278" y="2393"/>
                    </a:cubicBezTo>
                    <a:cubicBezTo>
                      <a:pt x="1269" y="2393"/>
                      <a:pt x="1259" y="2409"/>
                      <a:pt x="1258" y="2419"/>
                    </a:cubicBezTo>
                    <a:cubicBezTo>
                      <a:pt x="1250" y="2429"/>
                      <a:pt x="1249" y="2446"/>
                      <a:pt x="1249" y="2446"/>
                    </a:cubicBezTo>
                    <a:cubicBezTo>
                      <a:pt x="1249" y="2446"/>
                      <a:pt x="1282" y="2447"/>
                      <a:pt x="1283" y="2476"/>
                    </a:cubicBezTo>
                    <a:cubicBezTo>
                      <a:pt x="1297" y="2493"/>
                      <a:pt x="1297" y="2493"/>
                      <a:pt x="1297" y="2493"/>
                    </a:cubicBezTo>
                    <a:cubicBezTo>
                      <a:pt x="1289" y="2514"/>
                      <a:pt x="1289" y="2514"/>
                      <a:pt x="1289" y="2514"/>
                    </a:cubicBezTo>
                    <a:cubicBezTo>
                      <a:pt x="1289" y="2514"/>
                      <a:pt x="1253" y="2482"/>
                      <a:pt x="1249" y="2482"/>
                    </a:cubicBezTo>
                    <a:cubicBezTo>
                      <a:pt x="1244" y="2482"/>
                      <a:pt x="1225" y="2485"/>
                      <a:pt x="1227" y="2530"/>
                    </a:cubicBezTo>
                    <a:cubicBezTo>
                      <a:pt x="1219" y="2555"/>
                      <a:pt x="1217" y="2582"/>
                      <a:pt x="1231" y="2585"/>
                    </a:cubicBezTo>
                    <a:cubicBezTo>
                      <a:pt x="1245" y="2587"/>
                      <a:pt x="1247" y="2587"/>
                      <a:pt x="1247" y="2587"/>
                    </a:cubicBezTo>
                    <a:cubicBezTo>
                      <a:pt x="1245" y="2601"/>
                      <a:pt x="1245" y="2601"/>
                      <a:pt x="1245" y="2601"/>
                    </a:cubicBezTo>
                    <a:cubicBezTo>
                      <a:pt x="1240" y="2603"/>
                      <a:pt x="1240" y="2603"/>
                      <a:pt x="1240" y="2603"/>
                    </a:cubicBezTo>
                    <a:cubicBezTo>
                      <a:pt x="1247" y="2615"/>
                      <a:pt x="1247" y="2615"/>
                      <a:pt x="1247" y="2615"/>
                    </a:cubicBezTo>
                    <a:cubicBezTo>
                      <a:pt x="1247" y="2615"/>
                      <a:pt x="1222" y="2630"/>
                      <a:pt x="1263" y="2659"/>
                    </a:cubicBezTo>
                    <a:cubicBezTo>
                      <a:pt x="1295" y="2643"/>
                      <a:pt x="1312" y="2629"/>
                      <a:pt x="1312" y="2629"/>
                    </a:cubicBezTo>
                    <a:cubicBezTo>
                      <a:pt x="1337" y="2619"/>
                      <a:pt x="1337" y="2619"/>
                      <a:pt x="1337" y="2619"/>
                    </a:cubicBezTo>
                    <a:cubicBezTo>
                      <a:pt x="1338" y="2632"/>
                      <a:pt x="1338" y="2632"/>
                      <a:pt x="1338" y="2632"/>
                    </a:cubicBezTo>
                    <a:cubicBezTo>
                      <a:pt x="1338" y="2632"/>
                      <a:pt x="1325" y="2631"/>
                      <a:pt x="1325" y="2639"/>
                    </a:cubicBezTo>
                    <a:cubicBezTo>
                      <a:pt x="1325" y="2646"/>
                      <a:pt x="1337" y="2648"/>
                      <a:pt x="1337" y="2648"/>
                    </a:cubicBezTo>
                    <a:cubicBezTo>
                      <a:pt x="1337" y="2648"/>
                      <a:pt x="1342" y="2677"/>
                      <a:pt x="1323" y="2659"/>
                    </a:cubicBezTo>
                    <a:cubicBezTo>
                      <a:pt x="1321" y="2660"/>
                      <a:pt x="1320" y="2655"/>
                      <a:pt x="1320" y="2655"/>
                    </a:cubicBezTo>
                    <a:cubicBezTo>
                      <a:pt x="1320" y="2655"/>
                      <a:pt x="1287" y="2683"/>
                      <a:pt x="1287" y="2693"/>
                    </a:cubicBezTo>
                    <a:cubicBezTo>
                      <a:pt x="1283" y="2697"/>
                      <a:pt x="1284" y="2695"/>
                      <a:pt x="1283" y="2697"/>
                    </a:cubicBezTo>
                    <a:cubicBezTo>
                      <a:pt x="1281" y="2698"/>
                      <a:pt x="1282" y="2705"/>
                      <a:pt x="1282" y="2705"/>
                    </a:cubicBezTo>
                    <a:cubicBezTo>
                      <a:pt x="1282" y="2705"/>
                      <a:pt x="1256" y="2707"/>
                      <a:pt x="1250" y="2717"/>
                    </a:cubicBezTo>
                    <a:cubicBezTo>
                      <a:pt x="1233" y="2719"/>
                      <a:pt x="1223" y="2728"/>
                      <a:pt x="1219" y="2731"/>
                    </a:cubicBezTo>
                    <a:cubicBezTo>
                      <a:pt x="1215" y="2733"/>
                      <a:pt x="1206" y="2729"/>
                      <a:pt x="1206" y="2729"/>
                    </a:cubicBezTo>
                    <a:cubicBezTo>
                      <a:pt x="1206" y="2718"/>
                      <a:pt x="1206" y="2718"/>
                      <a:pt x="1206" y="2718"/>
                    </a:cubicBezTo>
                    <a:cubicBezTo>
                      <a:pt x="1197" y="2711"/>
                      <a:pt x="1197" y="2711"/>
                      <a:pt x="1197" y="2711"/>
                    </a:cubicBezTo>
                    <a:cubicBezTo>
                      <a:pt x="1197" y="2711"/>
                      <a:pt x="1193" y="2724"/>
                      <a:pt x="1187" y="2717"/>
                    </a:cubicBezTo>
                    <a:cubicBezTo>
                      <a:pt x="1180" y="2709"/>
                      <a:pt x="1201" y="2689"/>
                      <a:pt x="1201" y="2689"/>
                    </a:cubicBezTo>
                    <a:cubicBezTo>
                      <a:pt x="1201" y="2689"/>
                      <a:pt x="1192" y="2673"/>
                      <a:pt x="1176" y="2671"/>
                    </a:cubicBezTo>
                    <a:cubicBezTo>
                      <a:pt x="1168" y="2665"/>
                      <a:pt x="1168" y="2665"/>
                      <a:pt x="1168" y="2665"/>
                    </a:cubicBezTo>
                    <a:cubicBezTo>
                      <a:pt x="1168" y="2665"/>
                      <a:pt x="1154" y="2672"/>
                      <a:pt x="1156" y="2693"/>
                    </a:cubicBezTo>
                    <a:cubicBezTo>
                      <a:pt x="1147" y="2696"/>
                      <a:pt x="1135" y="2711"/>
                      <a:pt x="1135" y="2711"/>
                    </a:cubicBezTo>
                    <a:cubicBezTo>
                      <a:pt x="1133" y="2702"/>
                      <a:pt x="1133" y="2702"/>
                      <a:pt x="1133" y="2702"/>
                    </a:cubicBezTo>
                    <a:cubicBezTo>
                      <a:pt x="1144" y="2690"/>
                      <a:pt x="1144" y="2690"/>
                      <a:pt x="1144" y="2690"/>
                    </a:cubicBezTo>
                    <a:cubicBezTo>
                      <a:pt x="1143" y="2680"/>
                      <a:pt x="1143" y="2680"/>
                      <a:pt x="1143" y="2680"/>
                    </a:cubicBezTo>
                    <a:cubicBezTo>
                      <a:pt x="1120" y="2674"/>
                      <a:pt x="1120" y="2674"/>
                      <a:pt x="1120" y="2674"/>
                    </a:cubicBezTo>
                    <a:cubicBezTo>
                      <a:pt x="1119" y="2655"/>
                      <a:pt x="1119" y="2655"/>
                      <a:pt x="1119" y="2655"/>
                    </a:cubicBezTo>
                    <a:cubicBezTo>
                      <a:pt x="1119" y="2655"/>
                      <a:pt x="1104" y="2643"/>
                      <a:pt x="1104" y="2640"/>
                    </a:cubicBezTo>
                    <a:cubicBezTo>
                      <a:pt x="1104" y="2637"/>
                      <a:pt x="1115" y="2626"/>
                      <a:pt x="1113" y="2620"/>
                    </a:cubicBezTo>
                    <a:cubicBezTo>
                      <a:pt x="1112" y="2614"/>
                      <a:pt x="1093" y="2605"/>
                      <a:pt x="1093" y="2605"/>
                    </a:cubicBezTo>
                    <a:cubicBezTo>
                      <a:pt x="1093" y="2605"/>
                      <a:pt x="1109" y="2574"/>
                      <a:pt x="1105" y="2549"/>
                    </a:cubicBezTo>
                    <a:cubicBezTo>
                      <a:pt x="1105" y="2549"/>
                      <a:pt x="1101" y="2547"/>
                      <a:pt x="1101" y="2539"/>
                    </a:cubicBezTo>
                    <a:cubicBezTo>
                      <a:pt x="1101" y="2532"/>
                      <a:pt x="1107" y="2499"/>
                      <a:pt x="1107" y="2497"/>
                    </a:cubicBezTo>
                    <a:cubicBezTo>
                      <a:pt x="1107" y="2495"/>
                      <a:pt x="1100" y="2489"/>
                      <a:pt x="1100" y="2489"/>
                    </a:cubicBezTo>
                    <a:cubicBezTo>
                      <a:pt x="1107" y="2481"/>
                      <a:pt x="1107" y="2481"/>
                      <a:pt x="1107" y="2481"/>
                    </a:cubicBezTo>
                    <a:cubicBezTo>
                      <a:pt x="1107" y="2481"/>
                      <a:pt x="1093" y="2469"/>
                      <a:pt x="1092" y="2451"/>
                    </a:cubicBezTo>
                    <a:cubicBezTo>
                      <a:pt x="1087" y="2447"/>
                      <a:pt x="1084" y="2444"/>
                      <a:pt x="1084" y="2444"/>
                    </a:cubicBezTo>
                    <a:cubicBezTo>
                      <a:pt x="1065" y="2439"/>
                      <a:pt x="1065" y="2439"/>
                      <a:pt x="1065" y="2439"/>
                    </a:cubicBezTo>
                    <a:cubicBezTo>
                      <a:pt x="1065" y="2439"/>
                      <a:pt x="1061" y="2406"/>
                      <a:pt x="1041" y="2399"/>
                    </a:cubicBezTo>
                    <a:cubicBezTo>
                      <a:pt x="1039" y="2391"/>
                      <a:pt x="1038" y="2389"/>
                      <a:pt x="1038" y="2389"/>
                    </a:cubicBezTo>
                    <a:cubicBezTo>
                      <a:pt x="1009" y="2391"/>
                      <a:pt x="1009" y="2391"/>
                      <a:pt x="1009" y="2391"/>
                    </a:cubicBezTo>
                    <a:cubicBezTo>
                      <a:pt x="1013" y="2403"/>
                      <a:pt x="1013" y="2403"/>
                      <a:pt x="1013" y="2403"/>
                    </a:cubicBezTo>
                    <a:cubicBezTo>
                      <a:pt x="1013" y="2403"/>
                      <a:pt x="1003" y="2421"/>
                      <a:pt x="1001" y="2421"/>
                    </a:cubicBezTo>
                    <a:cubicBezTo>
                      <a:pt x="999" y="2421"/>
                      <a:pt x="988" y="2421"/>
                      <a:pt x="988" y="2421"/>
                    </a:cubicBezTo>
                    <a:cubicBezTo>
                      <a:pt x="977" y="2435"/>
                      <a:pt x="977" y="2435"/>
                      <a:pt x="977" y="2435"/>
                    </a:cubicBezTo>
                    <a:cubicBezTo>
                      <a:pt x="990" y="2453"/>
                      <a:pt x="990" y="2453"/>
                      <a:pt x="990" y="2453"/>
                    </a:cubicBezTo>
                    <a:cubicBezTo>
                      <a:pt x="989" y="2475"/>
                      <a:pt x="989" y="2475"/>
                      <a:pt x="989" y="2475"/>
                    </a:cubicBezTo>
                    <a:cubicBezTo>
                      <a:pt x="1005" y="2477"/>
                      <a:pt x="1005" y="2477"/>
                      <a:pt x="1005" y="2477"/>
                    </a:cubicBezTo>
                    <a:cubicBezTo>
                      <a:pt x="1007" y="2490"/>
                      <a:pt x="1007" y="2490"/>
                      <a:pt x="1007" y="2490"/>
                    </a:cubicBezTo>
                    <a:cubicBezTo>
                      <a:pt x="989" y="2493"/>
                      <a:pt x="989" y="2493"/>
                      <a:pt x="989" y="2493"/>
                    </a:cubicBezTo>
                    <a:cubicBezTo>
                      <a:pt x="989" y="2493"/>
                      <a:pt x="1005" y="2536"/>
                      <a:pt x="1013" y="2535"/>
                    </a:cubicBezTo>
                    <a:cubicBezTo>
                      <a:pt x="1011" y="2545"/>
                      <a:pt x="1011" y="2545"/>
                      <a:pt x="1011" y="2545"/>
                    </a:cubicBezTo>
                    <a:cubicBezTo>
                      <a:pt x="987" y="2518"/>
                      <a:pt x="987" y="2518"/>
                      <a:pt x="987" y="2518"/>
                    </a:cubicBezTo>
                    <a:cubicBezTo>
                      <a:pt x="988" y="2528"/>
                      <a:pt x="988" y="2528"/>
                      <a:pt x="988" y="2528"/>
                    </a:cubicBezTo>
                    <a:cubicBezTo>
                      <a:pt x="976" y="2523"/>
                      <a:pt x="976" y="2523"/>
                      <a:pt x="976" y="2523"/>
                    </a:cubicBezTo>
                    <a:cubicBezTo>
                      <a:pt x="972" y="2529"/>
                      <a:pt x="972" y="2529"/>
                      <a:pt x="972" y="2529"/>
                    </a:cubicBezTo>
                    <a:cubicBezTo>
                      <a:pt x="963" y="2530"/>
                      <a:pt x="963" y="2530"/>
                      <a:pt x="963" y="2530"/>
                    </a:cubicBezTo>
                    <a:cubicBezTo>
                      <a:pt x="932" y="2501"/>
                      <a:pt x="932" y="2501"/>
                      <a:pt x="932" y="2501"/>
                    </a:cubicBezTo>
                    <a:cubicBezTo>
                      <a:pt x="918" y="2501"/>
                      <a:pt x="918" y="2501"/>
                      <a:pt x="918" y="2501"/>
                    </a:cubicBezTo>
                    <a:cubicBezTo>
                      <a:pt x="915" y="2482"/>
                      <a:pt x="915" y="2482"/>
                      <a:pt x="915" y="2482"/>
                    </a:cubicBezTo>
                    <a:cubicBezTo>
                      <a:pt x="893" y="2455"/>
                      <a:pt x="893" y="2455"/>
                      <a:pt x="893" y="2455"/>
                    </a:cubicBezTo>
                    <a:cubicBezTo>
                      <a:pt x="893" y="2455"/>
                      <a:pt x="885" y="2496"/>
                      <a:pt x="877" y="2495"/>
                    </a:cubicBezTo>
                    <a:cubicBezTo>
                      <a:pt x="869" y="2495"/>
                      <a:pt x="910" y="2509"/>
                      <a:pt x="908" y="2523"/>
                    </a:cubicBezTo>
                    <a:cubicBezTo>
                      <a:pt x="908" y="2523"/>
                      <a:pt x="925" y="2534"/>
                      <a:pt x="917" y="2537"/>
                    </a:cubicBezTo>
                    <a:cubicBezTo>
                      <a:pt x="909" y="2539"/>
                      <a:pt x="905" y="2525"/>
                      <a:pt x="905" y="2525"/>
                    </a:cubicBezTo>
                    <a:cubicBezTo>
                      <a:pt x="905" y="2525"/>
                      <a:pt x="894" y="2533"/>
                      <a:pt x="891" y="2531"/>
                    </a:cubicBezTo>
                    <a:cubicBezTo>
                      <a:pt x="889" y="2528"/>
                      <a:pt x="885" y="2517"/>
                      <a:pt x="880" y="2514"/>
                    </a:cubicBezTo>
                    <a:cubicBezTo>
                      <a:pt x="875" y="2511"/>
                      <a:pt x="874" y="2526"/>
                      <a:pt x="878" y="2526"/>
                    </a:cubicBezTo>
                    <a:cubicBezTo>
                      <a:pt x="882" y="2526"/>
                      <a:pt x="885" y="2529"/>
                      <a:pt x="885" y="2529"/>
                    </a:cubicBezTo>
                    <a:cubicBezTo>
                      <a:pt x="886" y="2546"/>
                      <a:pt x="886" y="2546"/>
                      <a:pt x="886" y="2546"/>
                    </a:cubicBezTo>
                    <a:cubicBezTo>
                      <a:pt x="886" y="2546"/>
                      <a:pt x="906" y="2572"/>
                      <a:pt x="901" y="2572"/>
                    </a:cubicBezTo>
                    <a:cubicBezTo>
                      <a:pt x="897" y="2572"/>
                      <a:pt x="891" y="2562"/>
                      <a:pt x="891" y="2562"/>
                    </a:cubicBezTo>
                    <a:cubicBezTo>
                      <a:pt x="891" y="2562"/>
                      <a:pt x="897" y="2577"/>
                      <a:pt x="891" y="2577"/>
                    </a:cubicBezTo>
                    <a:cubicBezTo>
                      <a:pt x="885" y="2577"/>
                      <a:pt x="863" y="2539"/>
                      <a:pt x="863" y="2539"/>
                    </a:cubicBezTo>
                    <a:cubicBezTo>
                      <a:pt x="854" y="2538"/>
                      <a:pt x="854" y="2538"/>
                      <a:pt x="854" y="2538"/>
                    </a:cubicBezTo>
                    <a:cubicBezTo>
                      <a:pt x="854" y="2524"/>
                      <a:pt x="854" y="2524"/>
                      <a:pt x="854" y="2524"/>
                    </a:cubicBezTo>
                    <a:cubicBezTo>
                      <a:pt x="854" y="2524"/>
                      <a:pt x="825" y="2529"/>
                      <a:pt x="838" y="2553"/>
                    </a:cubicBezTo>
                    <a:cubicBezTo>
                      <a:pt x="835" y="2560"/>
                      <a:pt x="841" y="2563"/>
                      <a:pt x="827" y="2557"/>
                    </a:cubicBezTo>
                    <a:cubicBezTo>
                      <a:pt x="812" y="2550"/>
                      <a:pt x="817" y="2567"/>
                      <a:pt x="817" y="2567"/>
                    </a:cubicBezTo>
                    <a:cubicBezTo>
                      <a:pt x="821" y="2574"/>
                      <a:pt x="821" y="2574"/>
                      <a:pt x="821" y="2574"/>
                    </a:cubicBezTo>
                    <a:cubicBezTo>
                      <a:pt x="821" y="2574"/>
                      <a:pt x="815" y="2594"/>
                      <a:pt x="819" y="2594"/>
                    </a:cubicBezTo>
                    <a:cubicBezTo>
                      <a:pt x="822" y="2594"/>
                      <a:pt x="830" y="2581"/>
                      <a:pt x="839" y="2592"/>
                    </a:cubicBezTo>
                    <a:cubicBezTo>
                      <a:pt x="847" y="2603"/>
                      <a:pt x="841" y="2614"/>
                      <a:pt x="841" y="2614"/>
                    </a:cubicBezTo>
                    <a:cubicBezTo>
                      <a:pt x="841" y="2614"/>
                      <a:pt x="859" y="2644"/>
                      <a:pt x="884" y="2642"/>
                    </a:cubicBezTo>
                    <a:cubicBezTo>
                      <a:pt x="889" y="2649"/>
                      <a:pt x="903" y="2659"/>
                      <a:pt x="908" y="2657"/>
                    </a:cubicBezTo>
                    <a:cubicBezTo>
                      <a:pt x="913" y="2656"/>
                      <a:pt x="925" y="2647"/>
                      <a:pt x="921" y="2639"/>
                    </a:cubicBezTo>
                    <a:cubicBezTo>
                      <a:pt x="917" y="2631"/>
                      <a:pt x="916" y="2631"/>
                      <a:pt x="916" y="2624"/>
                    </a:cubicBezTo>
                    <a:cubicBezTo>
                      <a:pt x="916" y="2617"/>
                      <a:pt x="936" y="2611"/>
                      <a:pt x="936" y="2611"/>
                    </a:cubicBezTo>
                    <a:cubicBezTo>
                      <a:pt x="933" y="2622"/>
                      <a:pt x="933" y="2622"/>
                      <a:pt x="933" y="2622"/>
                    </a:cubicBezTo>
                    <a:cubicBezTo>
                      <a:pt x="936" y="2630"/>
                      <a:pt x="936" y="2630"/>
                      <a:pt x="936" y="2630"/>
                    </a:cubicBezTo>
                    <a:cubicBezTo>
                      <a:pt x="946" y="2617"/>
                      <a:pt x="946" y="2617"/>
                      <a:pt x="946" y="2617"/>
                    </a:cubicBezTo>
                    <a:cubicBezTo>
                      <a:pt x="946" y="2617"/>
                      <a:pt x="948" y="2639"/>
                      <a:pt x="962" y="2638"/>
                    </a:cubicBezTo>
                    <a:cubicBezTo>
                      <a:pt x="965" y="2639"/>
                      <a:pt x="958" y="2653"/>
                      <a:pt x="958" y="2653"/>
                    </a:cubicBezTo>
                    <a:cubicBezTo>
                      <a:pt x="958" y="2653"/>
                      <a:pt x="976" y="2653"/>
                      <a:pt x="981" y="2645"/>
                    </a:cubicBezTo>
                    <a:cubicBezTo>
                      <a:pt x="986" y="2647"/>
                      <a:pt x="983" y="2655"/>
                      <a:pt x="975" y="2655"/>
                    </a:cubicBezTo>
                    <a:cubicBezTo>
                      <a:pt x="967" y="2655"/>
                      <a:pt x="951" y="2669"/>
                      <a:pt x="951" y="2679"/>
                    </a:cubicBezTo>
                    <a:cubicBezTo>
                      <a:pt x="951" y="2688"/>
                      <a:pt x="961" y="2690"/>
                      <a:pt x="961" y="2690"/>
                    </a:cubicBezTo>
                    <a:cubicBezTo>
                      <a:pt x="961" y="2690"/>
                      <a:pt x="964" y="2732"/>
                      <a:pt x="992" y="2734"/>
                    </a:cubicBezTo>
                    <a:cubicBezTo>
                      <a:pt x="992" y="2739"/>
                      <a:pt x="1005" y="2767"/>
                      <a:pt x="1013" y="2768"/>
                    </a:cubicBezTo>
                    <a:cubicBezTo>
                      <a:pt x="1022" y="2769"/>
                      <a:pt x="1034" y="2749"/>
                      <a:pt x="1037" y="2757"/>
                    </a:cubicBezTo>
                    <a:cubicBezTo>
                      <a:pt x="1041" y="2764"/>
                      <a:pt x="1009" y="2789"/>
                      <a:pt x="1023" y="2789"/>
                    </a:cubicBezTo>
                    <a:cubicBezTo>
                      <a:pt x="1035" y="2785"/>
                      <a:pt x="1061" y="2773"/>
                      <a:pt x="1065" y="2775"/>
                    </a:cubicBezTo>
                    <a:cubicBezTo>
                      <a:pt x="1068" y="2777"/>
                      <a:pt x="1051" y="2796"/>
                      <a:pt x="1051" y="2796"/>
                    </a:cubicBezTo>
                    <a:cubicBezTo>
                      <a:pt x="1065" y="2811"/>
                      <a:pt x="1065" y="2811"/>
                      <a:pt x="1065" y="2811"/>
                    </a:cubicBezTo>
                    <a:cubicBezTo>
                      <a:pt x="1083" y="2789"/>
                      <a:pt x="1083" y="2789"/>
                      <a:pt x="1083" y="2789"/>
                    </a:cubicBezTo>
                    <a:cubicBezTo>
                      <a:pt x="1079" y="2783"/>
                      <a:pt x="1079" y="2783"/>
                      <a:pt x="1079" y="2783"/>
                    </a:cubicBezTo>
                    <a:cubicBezTo>
                      <a:pt x="1079" y="2783"/>
                      <a:pt x="1085" y="2766"/>
                      <a:pt x="1101" y="2766"/>
                    </a:cubicBezTo>
                    <a:cubicBezTo>
                      <a:pt x="1116" y="2766"/>
                      <a:pt x="1112" y="2800"/>
                      <a:pt x="1112" y="2800"/>
                    </a:cubicBezTo>
                    <a:cubicBezTo>
                      <a:pt x="1125" y="2814"/>
                      <a:pt x="1125" y="2814"/>
                      <a:pt x="1125" y="2814"/>
                    </a:cubicBezTo>
                    <a:cubicBezTo>
                      <a:pt x="1157" y="2759"/>
                      <a:pt x="1157" y="2759"/>
                      <a:pt x="1157" y="2759"/>
                    </a:cubicBezTo>
                    <a:cubicBezTo>
                      <a:pt x="1157" y="2759"/>
                      <a:pt x="1169" y="2787"/>
                      <a:pt x="1173" y="2787"/>
                    </a:cubicBezTo>
                    <a:cubicBezTo>
                      <a:pt x="1177" y="2786"/>
                      <a:pt x="1201" y="2779"/>
                      <a:pt x="1201" y="2779"/>
                    </a:cubicBezTo>
                    <a:cubicBezTo>
                      <a:pt x="1201" y="2779"/>
                      <a:pt x="1135" y="2824"/>
                      <a:pt x="1165" y="2825"/>
                    </a:cubicBezTo>
                    <a:cubicBezTo>
                      <a:pt x="1167" y="2826"/>
                      <a:pt x="1153" y="2843"/>
                      <a:pt x="1153" y="2843"/>
                    </a:cubicBezTo>
                    <a:cubicBezTo>
                      <a:pt x="1162" y="2849"/>
                      <a:pt x="1162" y="2849"/>
                      <a:pt x="1162" y="2849"/>
                    </a:cubicBezTo>
                    <a:cubicBezTo>
                      <a:pt x="1162" y="2849"/>
                      <a:pt x="1122" y="2875"/>
                      <a:pt x="1157" y="2891"/>
                    </a:cubicBezTo>
                    <a:cubicBezTo>
                      <a:pt x="1203" y="2877"/>
                      <a:pt x="1216" y="2853"/>
                      <a:pt x="1225" y="2831"/>
                    </a:cubicBezTo>
                    <a:cubicBezTo>
                      <a:pt x="1244" y="2827"/>
                      <a:pt x="1246" y="2829"/>
                      <a:pt x="1246" y="2829"/>
                    </a:cubicBezTo>
                    <a:cubicBezTo>
                      <a:pt x="1259" y="2801"/>
                      <a:pt x="1259" y="2801"/>
                      <a:pt x="1259" y="2801"/>
                    </a:cubicBezTo>
                    <a:cubicBezTo>
                      <a:pt x="1254" y="2790"/>
                      <a:pt x="1254" y="2790"/>
                      <a:pt x="1254" y="2790"/>
                    </a:cubicBezTo>
                    <a:cubicBezTo>
                      <a:pt x="1254" y="2790"/>
                      <a:pt x="1307" y="2783"/>
                      <a:pt x="1313" y="2749"/>
                    </a:cubicBezTo>
                    <a:cubicBezTo>
                      <a:pt x="1319" y="2747"/>
                      <a:pt x="1327" y="2747"/>
                      <a:pt x="1327" y="2747"/>
                    </a:cubicBezTo>
                    <a:cubicBezTo>
                      <a:pt x="1327" y="2747"/>
                      <a:pt x="1333" y="2764"/>
                      <a:pt x="1299" y="2787"/>
                    </a:cubicBezTo>
                    <a:cubicBezTo>
                      <a:pt x="1299" y="2807"/>
                      <a:pt x="1317" y="2809"/>
                      <a:pt x="1317" y="2809"/>
                    </a:cubicBezTo>
                    <a:cubicBezTo>
                      <a:pt x="1317" y="2817"/>
                      <a:pt x="1317" y="2817"/>
                      <a:pt x="1317" y="2817"/>
                    </a:cubicBezTo>
                    <a:cubicBezTo>
                      <a:pt x="1286" y="2820"/>
                      <a:pt x="1286" y="2820"/>
                      <a:pt x="1286" y="2820"/>
                    </a:cubicBezTo>
                    <a:cubicBezTo>
                      <a:pt x="1286" y="2820"/>
                      <a:pt x="1279" y="2844"/>
                      <a:pt x="1264" y="2843"/>
                    </a:cubicBezTo>
                    <a:cubicBezTo>
                      <a:pt x="1253" y="2852"/>
                      <a:pt x="1250" y="2861"/>
                      <a:pt x="1250" y="2861"/>
                    </a:cubicBezTo>
                    <a:cubicBezTo>
                      <a:pt x="1250" y="2861"/>
                      <a:pt x="1269" y="2885"/>
                      <a:pt x="1277" y="2885"/>
                    </a:cubicBezTo>
                    <a:cubicBezTo>
                      <a:pt x="1285" y="2885"/>
                      <a:pt x="1307" y="2872"/>
                      <a:pt x="1306" y="2879"/>
                    </a:cubicBezTo>
                    <a:cubicBezTo>
                      <a:pt x="1305" y="2887"/>
                      <a:pt x="1301" y="2896"/>
                      <a:pt x="1301" y="2896"/>
                    </a:cubicBezTo>
                    <a:cubicBezTo>
                      <a:pt x="1301" y="2896"/>
                      <a:pt x="1307" y="2917"/>
                      <a:pt x="1319" y="2916"/>
                    </a:cubicBezTo>
                    <a:cubicBezTo>
                      <a:pt x="1323" y="2917"/>
                      <a:pt x="1327" y="2931"/>
                      <a:pt x="1324" y="2931"/>
                    </a:cubicBezTo>
                    <a:cubicBezTo>
                      <a:pt x="1321" y="2931"/>
                      <a:pt x="1311" y="2923"/>
                      <a:pt x="1303" y="2923"/>
                    </a:cubicBezTo>
                    <a:cubicBezTo>
                      <a:pt x="1296" y="2923"/>
                      <a:pt x="1287" y="2899"/>
                      <a:pt x="1285" y="2899"/>
                    </a:cubicBezTo>
                    <a:cubicBezTo>
                      <a:pt x="1283" y="2899"/>
                      <a:pt x="1243" y="2897"/>
                      <a:pt x="1243" y="2897"/>
                    </a:cubicBezTo>
                    <a:cubicBezTo>
                      <a:pt x="1243" y="2897"/>
                      <a:pt x="1228" y="2902"/>
                      <a:pt x="1229" y="2937"/>
                    </a:cubicBezTo>
                    <a:cubicBezTo>
                      <a:pt x="1215" y="2964"/>
                      <a:pt x="1214" y="2966"/>
                      <a:pt x="1213" y="2966"/>
                    </a:cubicBezTo>
                    <a:cubicBezTo>
                      <a:pt x="1217" y="2974"/>
                      <a:pt x="1217" y="2974"/>
                      <a:pt x="1217" y="2974"/>
                    </a:cubicBezTo>
                    <a:cubicBezTo>
                      <a:pt x="1213" y="2978"/>
                      <a:pt x="1213" y="2978"/>
                      <a:pt x="1213" y="2978"/>
                    </a:cubicBezTo>
                    <a:cubicBezTo>
                      <a:pt x="1209" y="2971"/>
                      <a:pt x="1209" y="2971"/>
                      <a:pt x="1209" y="2971"/>
                    </a:cubicBezTo>
                    <a:cubicBezTo>
                      <a:pt x="1193" y="2984"/>
                      <a:pt x="1193" y="2984"/>
                      <a:pt x="1193" y="2984"/>
                    </a:cubicBezTo>
                    <a:cubicBezTo>
                      <a:pt x="1193" y="2984"/>
                      <a:pt x="1200" y="2999"/>
                      <a:pt x="1211" y="2999"/>
                    </a:cubicBezTo>
                    <a:cubicBezTo>
                      <a:pt x="1223" y="2998"/>
                      <a:pt x="1276" y="2984"/>
                      <a:pt x="1276" y="2984"/>
                    </a:cubicBezTo>
                    <a:cubicBezTo>
                      <a:pt x="1275" y="2994"/>
                      <a:pt x="1275" y="2994"/>
                      <a:pt x="1275" y="2994"/>
                    </a:cubicBezTo>
                    <a:cubicBezTo>
                      <a:pt x="1252" y="3009"/>
                      <a:pt x="1252" y="3009"/>
                      <a:pt x="1252" y="3009"/>
                    </a:cubicBezTo>
                    <a:cubicBezTo>
                      <a:pt x="1252" y="3009"/>
                      <a:pt x="1271" y="3012"/>
                      <a:pt x="1269" y="3015"/>
                    </a:cubicBezTo>
                    <a:cubicBezTo>
                      <a:pt x="1267" y="3017"/>
                      <a:pt x="1227" y="3027"/>
                      <a:pt x="1227" y="3027"/>
                    </a:cubicBezTo>
                    <a:cubicBezTo>
                      <a:pt x="1227" y="3027"/>
                      <a:pt x="1218" y="3051"/>
                      <a:pt x="1209" y="3051"/>
                    </a:cubicBezTo>
                    <a:cubicBezTo>
                      <a:pt x="1209" y="3055"/>
                      <a:pt x="1211" y="3085"/>
                      <a:pt x="1203" y="3083"/>
                    </a:cubicBezTo>
                    <a:cubicBezTo>
                      <a:pt x="1195" y="3081"/>
                      <a:pt x="1186" y="3062"/>
                      <a:pt x="1178" y="3063"/>
                    </a:cubicBezTo>
                    <a:cubicBezTo>
                      <a:pt x="1170" y="3063"/>
                      <a:pt x="1149" y="3075"/>
                      <a:pt x="1149" y="3075"/>
                    </a:cubicBezTo>
                    <a:cubicBezTo>
                      <a:pt x="1093" y="3075"/>
                      <a:pt x="1093" y="3075"/>
                      <a:pt x="1093" y="3075"/>
                    </a:cubicBezTo>
                    <a:cubicBezTo>
                      <a:pt x="1073" y="3081"/>
                      <a:pt x="1073" y="3081"/>
                      <a:pt x="1073" y="3081"/>
                    </a:cubicBezTo>
                    <a:cubicBezTo>
                      <a:pt x="1077" y="3091"/>
                      <a:pt x="1077" y="3091"/>
                      <a:pt x="1077" y="3091"/>
                    </a:cubicBezTo>
                    <a:cubicBezTo>
                      <a:pt x="1067" y="3092"/>
                      <a:pt x="1067" y="3092"/>
                      <a:pt x="1067" y="3092"/>
                    </a:cubicBezTo>
                    <a:cubicBezTo>
                      <a:pt x="1055" y="3103"/>
                      <a:pt x="1055" y="3103"/>
                      <a:pt x="1055" y="3103"/>
                    </a:cubicBezTo>
                    <a:cubicBezTo>
                      <a:pt x="1055" y="3103"/>
                      <a:pt x="1059" y="3150"/>
                      <a:pt x="1141" y="3131"/>
                    </a:cubicBezTo>
                    <a:cubicBezTo>
                      <a:pt x="1167" y="3147"/>
                      <a:pt x="1173" y="3148"/>
                      <a:pt x="1173" y="3148"/>
                    </a:cubicBezTo>
                    <a:cubicBezTo>
                      <a:pt x="1186" y="3141"/>
                      <a:pt x="1186" y="3141"/>
                      <a:pt x="1186" y="3141"/>
                    </a:cubicBezTo>
                    <a:cubicBezTo>
                      <a:pt x="1186" y="3141"/>
                      <a:pt x="1191" y="3162"/>
                      <a:pt x="1157" y="3163"/>
                    </a:cubicBezTo>
                    <a:cubicBezTo>
                      <a:pt x="1158" y="3170"/>
                      <a:pt x="1157" y="3183"/>
                      <a:pt x="1157" y="3183"/>
                    </a:cubicBezTo>
                    <a:cubicBezTo>
                      <a:pt x="1157" y="3183"/>
                      <a:pt x="1173" y="3191"/>
                      <a:pt x="1171" y="3201"/>
                    </a:cubicBezTo>
                    <a:cubicBezTo>
                      <a:pt x="1171" y="3204"/>
                      <a:pt x="1211" y="3251"/>
                      <a:pt x="1256" y="3244"/>
                    </a:cubicBezTo>
                    <a:cubicBezTo>
                      <a:pt x="1256" y="3244"/>
                      <a:pt x="1263" y="3231"/>
                      <a:pt x="1267" y="3234"/>
                    </a:cubicBezTo>
                    <a:cubicBezTo>
                      <a:pt x="1271" y="3237"/>
                      <a:pt x="1259" y="3249"/>
                      <a:pt x="1259" y="3249"/>
                    </a:cubicBezTo>
                    <a:cubicBezTo>
                      <a:pt x="1266" y="3257"/>
                      <a:pt x="1266" y="3257"/>
                      <a:pt x="1266" y="3257"/>
                    </a:cubicBezTo>
                    <a:cubicBezTo>
                      <a:pt x="1287" y="3261"/>
                      <a:pt x="1287" y="3261"/>
                      <a:pt x="1287" y="3261"/>
                    </a:cubicBezTo>
                    <a:cubicBezTo>
                      <a:pt x="1287" y="3261"/>
                      <a:pt x="1284" y="3275"/>
                      <a:pt x="1299" y="3275"/>
                    </a:cubicBezTo>
                    <a:cubicBezTo>
                      <a:pt x="1315" y="3275"/>
                      <a:pt x="1371" y="3229"/>
                      <a:pt x="1371" y="3224"/>
                    </a:cubicBezTo>
                    <a:cubicBezTo>
                      <a:pt x="1371" y="3219"/>
                      <a:pt x="1373" y="3211"/>
                      <a:pt x="1373" y="3211"/>
                    </a:cubicBezTo>
                    <a:cubicBezTo>
                      <a:pt x="1413" y="3175"/>
                      <a:pt x="1413" y="3175"/>
                      <a:pt x="1413" y="3175"/>
                    </a:cubicBezTo>
                    <a:cubicBezTo>
                      <a:pt x="1423" y="3173"/>
                      <a:pt x="1423" y="3173"/>
                      <a:pt x="1423" y="3173"/>
                    </a:cubicBezTo>
                    <a:cubicBezTo>
                      <a:pt x="1447" y="3152"/>
                      <a:pt x="1447" y="3152"/>
                      <a:pt x="1447" y="3152"/>
                    </a:cubicBezTo>
                    <a:cubicBezTo>
                      <a:pt x="1447" y="3152"/>
                      <a:pt x="1443" y="3140"/>
                      <a:pt x="1458" y="3140"/>
                    </a:cubicBezTo>
                    <a:cubicBezTo>
                      <a:pt x="1458" y="3140"/>
                      <a:pt x="1467" y="3116"/>
                      <a:pt x="1474" y="3133"/>
                    </a:cubicBezTo>
                    <a:cubicBezTo>
                      <a:pt x="1491" y="3119"/>
                      <a:pt x="1491" y="3119"/>
                      <a:pt x="1491" y="3119"/>
                    </a:cubicBezTo>
                    <a:cubicBezTo>
                      <a:pt x="1505" y="3141"/>
                      <a:pt x="1505" y="3141"/>
                      <a:pt x="1505" y="3141"/>
                    </a:cubicBezTo>
                    <a:cubicBezTo>
                      <a:pt x="1491" y="3158"/>
                      <a:pt x="1491" y="3158"/>
                      <a:pt x="1491" y="3158"/>
                    </a:cubicBezTo>
                    <a:cubicBezTo>
                      <a:pt x="1485" y="3150"/>
                      <a:pt x="1485" y="3150"/>
                      <a:pt x="1485" y="3150"/>
                    </a:cubicBezTo>
                    <a:cubicBezTo>
                      <a:pt x="1485" y="3150"/>
                      <a:pt x="1462" y="3163"/>
                      <a:pt x="1461" y="3167"/>
                    </a:cubicBezTo>
                    <a:cubicBezTo>
                      <a:pt x="1461" y="3171"/>
                      <a:pt x="1467" y="3176"/>
                      <a:pt x="1467" y="3176"/>
                    </a:cubicBezTo>
                    <a:cubicBezTo>
                      <a:pt x="1457" y="3189"/>
                      <a:pt x="1457" y="3189"/>
                      <a:pt x="1457" y="3189"/>
                    </a:cubicBezTo>
                    <a:cubicBezTo>
                      <a:pt x="1457" y="3189"/>
                      <a:pt x="1457" y="3177"/>
                      <a:pt x="1436" y="3212"/>
                    </a:cubicBezTo>
                    <a:cubicBezTo>
                      <a:pt x="1427" y="3205"/>
                      <a:pt x="1428" y="3199"/>
                      <a:pt x="1428" y="3199"/>
                    </a:cubicBezTo>
                    <a:cubicBezTo>
                      <a:pt x="1420" y="3208"/>
                      <a:pt x="1420" y="3208"/>
                      <a:pt x="1420" y="3208"/>
                    </a:cubicBezTo>
                    <a:cubicBezTo>
                      <a:pt x="1429" y="3225"/>
                      <a:pt x="1429" y="3225"/>
                      <a:pt x="1429" y="3225"/>
                    </a:cubicBezTo>
                    <a:cubicBezTo>
                      <a:pt x="1429" y="3225"/>
                      <a:pt x="1417" y="3234"/>
                      <a:pt x="1417" y="3249"/>
                    </a:cubicBezTo>
                    <a:cubicBezTo>
                      <a:pt x="1408" y="3259"/>
                      <a:pt x="1394" y="3285"/>
                      <a:pt x="1394" y="3285"/>
                    </a:cubicBezTo>
                    <a:cubicBezTo>
                      <a:pt x="1394" y="3285"/>
                      <a:pt x="1399" y="3294"/>
                      <a:pt x="1402" y="3294"/>
                    </a:cubicBezTo>
                    <a:cubicBezTo>
                      <a:pt x="1405" y="3294"/>
                      <a:pt x="1415" y="3282"/>
                      <a:pt x="1415" y="3282"/>
                    </a:cubicBezTo>
                    <a:cubicBezTo>
                      <a:pt x="1425" y="3297"/>
                      <a:pt x="1425" y="3297"/>
                      <a:pt x="1425" y="3297"/>
                    </a:cubicBezTo>
                    <a:cubicBezTo>
                      <a:pt x="1425" y="3297"/>
                      <a:pt x="1421" y="3313"/>
                      <a:pt x="1397" y="3313"/>
                    </a:cubicBezTo>
                    <a:cubicBezTo>
                      <a:pt x="1393" y="3316"/>
                      <a:pt x="1369" y="3336"/>
                      <a:pt x="1369" y="3336"/>
                    </a:cubicBezTo>
                    <a:cubicBezTo>
                      <a:pt x="1354" y="3336"/>
                      <a:pt x="1354" y="3336"/>
                      <a:pt x="1354" y="3336"/>
                    </a:cubicBezTo>
                    <a:cubicBezTo>
                      <a:pt x="1354" y="3336"/>
                      <a:pt x="1335" y="3353"/>
                      <a:pt x="1337" y="3353"/>
                    </a:cubicBezTo>
                    <a:cubicBezTo>
                      <a:pt x="1339" y="3353"/>
                      <a:pt x="1356" y="3367"/>
                      <a:pt x="1356" y="3367"/>
                    </a:cubicBezTo>
                    <a:cubicBezTo>
                      <a:pt x="1363" y="3361"/>
                      <a:pt x="1363" y="3361"/>
                      <a:pt x="1363" y="3361"/>
                    </a:cubicBezTo>
                    <a:cubicBezTo>
                      <a:pt x="1363" y="3361"/>
                      <a:pt x="1381" y="3355"/>
                      <a:pt x="1335" y="3409"/>
                    </a:cubicBezTo>
                    <a:cubicBezTo>
                      <a:pt x="1320" y="3411"/>
                      <a:pt x="1319" y="3409"/>
                      <a:pt x="1319" y="3409"/>
                    </a:cubicBezTo>
                    <a:cubicBezTo>
                      <a:pt x="1316" y="3412"/>
                      <a:pt x="1299" y="3433"/>
                      <a:pt x="1303" y="3433"/>
                    </a:cubicBezTo>
                    <a:cubicBezTo>
                      <a:pt x="1308" y="3433"/>
                      <a:pt x="1311" y="3427"/>
                      <a:pt x="1311" y="3427"/>
                    </a:cubicBezTo>
                    <a:cubicBezTo>
                      <a:pt x="1319" y="3438"/>
                      <a:pt x="1319" y="3438"/>
                      <a:pt x="1319" y="3438"/>
                    </a:cubicBezTo>
                    <a:cubicBezTo>
                      <a:pt x="1319" y="3438"/>
                      <a:pt x="1310" y="3431"/>
                      <a:pt x="1303" y="3479"/>
                    </a:cubicBezTo>
                    <a:cubicBezTo>
                      <a:pt x="1317" y="3501"/>
                      <a:pt x="1321" y="3503"/>
                      <a:pt x="1321" y="3503"/>
                    </a:cubicBezTo>
                    <a:cubicBezTo>
                      <a:pt x="1321" y="3495"/>
                      <a:pt x="1321" y="3495"/>
                      <a:pt x="1321" y="3495"/>
                    </a:cubicBezTo>
                    <a:cubicBezTo>
                      <a:pt x="1321" y="3495"/>
                      <a:pt x="1327" y="3501"/>
                      <a:pt x="1331" y="3498"/>
                    </a:cubicBezTo>
                    <a:cubicBezTo>
                      <a:pt x="1335" y="3495"/>
                      <a:pt x="1342" y="3488"/>
                      <a:pt x="1342" y="3488"/>
                    </a:cubicBezTo>
                    <a:cubicBezTo>
                      <a:pt x="1327" y="3466"/>
                      <a:pt x="1327" y="3466"/>
                      <a:pt x="1327" y="3466"/>
                    </a:cubicBezTo>
                    <a:cubicBezTo>
                      <a:pt x="1327" y="3466"/>
                      <a:pt x="1328" y="3451"/>
                      <a:pt x="1337" y="3459"/>
                    </a:cubicBezTo>
                    <a:cubicBezTo>
                      <a:pt x="1347" y="3459"/>
                      <a:pt x="1347" y="3457"/>
                      <a:pt x="1347" y="3454"/>
                    </a:cubicBezTo>
                    <a:cubicBezTo>
                      <a:pt x="1347" y="3451"/>
                      <a:pt x="1367" y="3454"/>
                      <a:pt x="1367" y="3454"/>
                    </a:cubicBezTo>
                    <a:cubicBezTo>
                      <a:pt x="1367" y="3462"/>
                      <a:pt x="1367" y="3462"/>
                      <a:pt x="1367" y="3462"/>
                    </a:cubicBezTo>
                    <a:cubicBezTo>
                      <a:pt x="1367" y="3462"/>
                      <a:pt x="1346" y="3460"/>
                      <a:pt x="1346" y="3471"/>
                    </a:cubicBezTo>
                    <a:cubicBezTo>
                      <a:pt x="1351" y="3473"/>
                      <a:pt x="1355" y="3474"/>
                      <a:pt x="1355" y="3474"/>
                    </a:cubicBezTo>
                    <a:cubicBezTo>
                      <a:pt x="1355" y="3490"/>
                      <a:pt x="1355" y="3490"/>
                      <a:pt x="1355" y="3490"/>
                    </a:cubicBezTo>
                    <a:cubicBezTo>
                      <a:pt x="1329" y="3521"/>
                      <a:pt x="1329" y="3521"/>
                      <a:pt x="1329" y="3521"/>
                    </a:cubicBezTo>
                    <a:cubicBezTo>
                      <a:pt x="1328" y="3547"/>
                      <a:pt x="1328" y="3547"/>
                      <a:pt x="1328" y="3547"/>
                    </a:cubicBezTo>
                    <a:cubicBezTo>
                      <a:pt x="1353" y="3521"/>
                      <a:pt x="1353" y="3521"/>
                      <a:pt x="1353" y="3521"/>
                    </a:cubicBezTo>
                    <a:cubicBezTo>
                      <a:pt x="1355" y="3533"/>
                      <a:pt x="1355" y="3533"/>
                      <a:pt x="1355" y="3533"/>
                    </a:cubicBezTo>
                    <a:cubicBezTo>
                      <a:pt x="1347" y="3544"/>
                      <a:pt x="1347" y="3544"/>
                      <a:pt x="1347" y="3544"/>
                    </a:cubicBezTo>
                    <a:cubicBezTo>
                      <a:pt x="1353" y="3550"/>
                      <a:pt x="1353" y="3550"/>
                      <a:pt x="1353" y="3550"/>
                    </a:cubicBezTo>
                    <a:cubicBezTo>
                      <a:pt x="1347" y="3561"/>
                      <a:pt x="1347" y="3561"/>
                      <a:pt x="1347" y="3561"/>
                    </a:cubicBezTo>
                    <a:cubicBezTo>
                      <a:pt x="1359" y="3579"/>
                      <a:pt x="1359" y="3579"/>
                      <a:pt x="1359" y="3579"/>
                    </a:cubicBezTo>
                    <a:cubicBezTo>
                      <a:pt x="1359" y="3579"/>
                      <a:pt x="1334" y="3563"/>
                      <a:pt x="1330" y="3590"/>
                    </a:cubicBezTo>
                    <a:cubicBezTo>
                      <a:pt x="1330" y="3590"/>
                      <a:pt x="1316" y="3599"/>
                      <a:pt x="1314" y="3617"/>
                    </a:cubicBezTo>
                    <a:cubicBezTo>
                      <a:pt x="1311" y="3615"/>
                      <a:pt x="1297" y="3645"/>
                      <a:pt x="1293" y="3653"/>
                    </a:cubicBezTo>
                    <a:cubicBezTo>
                      <a:pt x="1289" y="3661"/>
                      <a:pt x="1280" y="3671"/>
                      <a:pt x="1280" y="3671"/>
                    </a:cubicBezTo>
                    <a:cubicBezTo>
                      <a:pt x="1291" y="3693"/>
                      <a:pt x="1291" y="3693"/>
                      <a:pt x="1291" y="3693"/>
                    </a:cubicBezTo>
                    <a:cubicBezTo>
                      <a:pt x="1291" y="3693"/>
                      <a:pt x="1298" y="3684"/>
                      <a:pt x="1298" y="3674"/>
                    </a:cubicBezTo>
                    <a:cubicBezTo>
                      <a:pt x="1298" y="3664"/>
                      <a:pt x="1329" y="3625"/>
                      <a:pt x="1329" y="3625"/>
                    </a:cubicBezTo>
                    <a:cubicBezTo>
                      <a:pt x="1335" y="3628"/>
                      <a:pt x="1335" y="3628"/>
                      <a:pt x="1335" y="3628"/>
                    </a:cubicBezTo>
                    <a:cubicBezTo>
                      <a:pt x="1335" y="3628"/>
                      <a:pt x="1317" y="3665"/>
                      <a:pt x="1304" y="3679"/>
                    </a:cubicBezTo>
                    <a:cubicBezTo>
                      <a:pt x="1304" y="3679"/>
                      <a:pt x="1299" y="3692"/>
                      <a:pt x="1294" y="3698"/>
                    </a:cubicBezTo>
                    <a:cubicBezTo>
                      <a:pt x="1289" y="3704"/>
                      <a:pt x="1292" y="3731"/>
                      <a:pt x="1295" y="3731"/>
                    </a:cubicBezTo>
                    <a:cubicBezTo>
                      <a:pt x="1297" y="3730"/>
                      <a:pt x="1308" y="3718"/>
                      <a:pt x="1314" y="3717"/>
                    </a:cubicBezTo>
                    <a:cubicBezTo>
                      <a:pt x="1320" y="3717"/>
                      <a:pt x="1329" y="3690"/>
                      <a:pt x="1334" y="3696"/>
                    </a:cubicBezTo>
                    <a:cubicBezTo>
                      <a:pt x="1339" y="3702"/>
                      <a:pt x="1339" y="3702"/>
                      <a:pt x="1339" y="3702"/>
                    </a:cubicBezTo>
                    <a:cubicBezTo>
                      <a:pt x="1329" y="3706"/>
                      <a:pt x="1329" y="3706"/>
                      <a:pt x="1329" y="3706"/>
                    </a:cubicBezTo>
                    <a:cubicBezTo>
                      <a:pt x="1316" y="3738"/>
                      <a:pt x="1316" y="3738"/>
                      <a:pt x="1316" y="3738"/>
                    </a:cubicBezTo>
                    <a:cubicBezTo>
                      <a:pt x="1307" y="3737"/>
                      <a:pt x="1307" y="3737"/>
                      <a:pt x="1307" y="3737"/>
                    </a:cubicBezTo>
                    <a:cubicBezTo>
                      <a:pt x="1307" y="3737"/>
                      <a:pt x="1286" y="3825"/>
                      <a:pt x="1324" y="3802"/>
                    </a:cubicBezTo>
                    <a:cubicBezTo>
                      <a:pt x="1324" y="3802"/>
                      <a:pt x="1323" y="3824"/>
                      <a:pt x="1327" y="3823"/>
                    </a:cubicBezTo>
                    <a:cubicBezTo>
                      <a:pt x="1331" y="3823"/>
                      <a:pt x="1339" y="3810"/>
                      <a:pt x="1343" y="3810"/>
                    </a:cubicBezTo>
                    <a:cubicBezTo>
                      <a:pt x="1347" y="3810"/>
                      <a:pt x="1345" y="3815"/>
                      <a:pt x="1345" y="3815"/>
                    </a:cubicBezTo>
                    <a:cubicBezTo>
                      <a:pt x="1345" y="3815"/>
                      <a:pt x="1315" y="3873"/>
                      <a:pt x="1296" y="3875"/>
                    </a:cubicBezTo>
                    <a:cubicBezTo>
                      <a:pt x="1299" y="3882"/>
                      <a:pt x="1302" y="3907"/>
                      <a:pt x="1296" y="3907"/>
                    </a:cubicBezTo>
                    <a:cubicBezTo>
                      <a:pt x="1290" y="3906"/>
                      <a:pt x="1294" y="3952"/>
                      <a:pt x="1279" y="3952"/>
                    </a:cubicBezTo>
                    <a:cubicBezTo>
                      <a:pt x="1279" y="3952"/>
                      <a:pt x="1276" y="3977"/>
                      <a:pt x="1279" y="3976"/>
                    </a:cubicBezTo>
                    <a:cubicBezTo>
                      <a:pt x="1281" y="3975"/>
                      <a:pt x="1282" y="3989"/>
                      <a:pt x="1282" y="3989"/>
                    </a:cubicBezTo>
                    <a:cubicBezTo>
                      <a:pt x="1277" y="3991"/>
                      <a:pt x="1277" y="3991"/>
                      <a:pt x="1277" y="3991"/>
                    </a:cubicBezTo>
                    <a:cubicBezTo>
                      <a:pt x="1273" y="4063"/>
                      <a:pt x="1273" y="4063"/>
                      <a:pt x="1273" y="4063"/>
                    </a:cubicBezTo>
                    <a:cubicBezTo>
                      <a:pt x="1262" y="4063"/>
                      <a:pt x="1262" y="4063"/>
                      <a:pt x="1262" y="4063"/>
                    </a:cubicBezTo>
                    <a:cubicBezTo>
                      <a:pt x="1262" y="4063"/>
                      <a:pt x="1239" y="4081"/>
                      <a:pt x="1239" y="4111"/>
                    </a:cubicBezTo>
                    <a:cubicBezTo>
                      <a:pt x="1239" y="4141"/>
                      <a:pt x="1223" y="4169"/>
                      <a:pt x="1258" y="4169"/>
                    </a:cubicBezTo>
                    <a:cubicBezTo>
                      <a:pt x="1293" y="4169"/>
                      <a:pt x="1298" y="4157"/>
                      <a:pt x="1298" y="4157"/>
                    </a:cubicBezTo>
                    <a:cubicBezTo>
                      <a:pt x="1315" y="4155"/>
                      <a:pt x="1315" y="4155"/>
                      <a:pt x="1315" y="4155"/>
                    </a:cubicBezTo>
                    <a:cubicBezTo>
                      <a:pt x="1317" y="4161"/>
                      <a:pt x="1317" y="4161"/>
                      <a:pt x="1317" y="4161"/>
                    </a:cubicBezTo>
                    <a:cubicBezTo>
                      <a:pt x="1317" y="4161"/>
                      <a:pt x="1343" y="4156"/>
                      <a:pt x="1366" y="4114"/>
                    </a:cubicBezTo>
                    <a:cubicBezTo>
                      <a:pt x="1359" y="4079"/>
                      <a:pt x="1344" y="4071"/>
                      <a:pt x="1344" y="4071"/>
                    </a:cubicBezTo>
                    <a:cubicBezTo>
                      <a:pt x="1343" y="4063"/>
                      <a:pt x="1343" y="4063"/>
                      <a:pt x="1343" y="4063"/>
                    </a:cubicBezTo>
                    <a:cubicBezTo>
                      <a:pt x="1343" y="4063"/>
                      <a:pt x="1355" y="4064"/>
                      <a:pt x="1357" y="4043"/>
                    </a:cubicBezTo>
                    <a:cubicBezTo>
                      <a:pt x="1359" y="4038"/>
                      <a:pt x="1369" y="4028"/>
                      <a:pt x="1369" y="4007"/>
                    </a:cubicBezTo>
                    <a:cubicBezTo>
                      <a:pt x="1373" y="3998"/>
                      <a:pt x="1385" y="3995"/>
                      <a:pt x="1381" y="3961"/>
                    </a:cubicBezTo>
                    <a:cubicBezTo>
                      <a:pt x="1381" y="3961"/>
                      <a:pt x="1387" y="3966"/>
                      <a:pt x="1387" y="3964"/>
                    </a:cubicBezTo>
                    <a:cubicBezTo>
                      <a:pt x="1387" y="3962"/>
                      <a:pt x="1402" y="3955"/>
                      <a:pt x="1398" y="3949"/>
                    </a:cubicBezTo>
                    <a:cubicBezTo>
                      <a:pt x="1394" y="3943"/>
                      <a:pt x="1384" y="3941"/>
                      <a:pt x="1385" y="3921"/>
                    </a:cubicBezTo>
                    <a:cubicBezTo>
                      <a:pt x="1385" y="3902"/>
                      <a:pt x="1395" y="3901"/>
                      <a:pt x="1395" y="3879"/>
                    </a:cubicBezTo>
                    <a:cubicBezTo>
                      <a:pt x="1397" y="3878"/>
                      <a:pt x="1403" y="3871"/>
                      <a:pt x="1403" y="3871"/>
                    </a:cubicBezTo>
                    <a:cubicBezTo>
                      <a:pt x="1397" y="3862"/>
                      <a:pt x="1397" y="3862"/>
                      <a:pt x="1397" y="3862"/>
                    </a:cubicBezTo>
                    <a:cubicBezTo>
                      <a:pt x="1397" y="3862"/>
                      <a:pt x="1423" y="3820"/>
                      <a:pt x="1461" y="3819"/>
                    </a:cubicBezTo>
                    <a:cubicBezTo>
                      <a:pt x="1461" y="3794"/>
                      <a:pt x="1460" y="3789"/>
                      <a:pt x="1460" y="3789"/>
                    </a:cubicBezTo>
                    <a:cubicBezTo>
                      <a:pt x="1453" y="3789"/>
                      <a:pt x="1453" y="3789"/>
                      <a:pt x="1453" y="3789"/>
                    </a:cubicBezTo>
                    <a:cubicBezTo>
                      <a:pt x="1451" y="3775"/>
                      <a:pt x="1451" y="3775"/>
                      <a:pt x="1451" y="3775"/>
                    </a:cubicBezTo>
                    <a:cubicBezTo>
                      <a:pt x="1451" y="3775"/>
                      <a:pt x="1409" y="3737"/>
                      <a:pt x="1410" y="3685"/>
                    </a:cubicBezTo>
                    <a:cubicBezTo>
                      <a:pt x="1409" y="3682"/>
                      <a:pt x="1404" y="3682"/>
                      <a:pt x="1404" y="3682"/>
                    </a:cubicBezTo>
                    <a:cubicBezTo>
                      <a:pt x="1404" y="3682"/>
                      <a:pt x="1400" y="3632"/>
                      <a:pt x="1399" y="3628"/>
                    </a:cubicBezTo>
                    <a:cubicBezTo>
                      <a:pt x="1399" y="3624"/>
                      <a:pt x="1405" y="3624"/>
                      <a:pt x="1405" y="3624"/>
                    </a:cubicBezTo>
                    <a:cubicBezTo>
                      <a:pt x="1405" y="3624"/>
                      <a:pt x="1414" y="3646"/>
                      <a:pt x="1424" y="3645"/>
                    </a:cubicBezTo>
                    <a:cubicBezTo>
                      <a:pt x="1434" y="3645"/>
                      <a:pt x="1435" y="3628"/>
                      <a:pt x="1435" y="3628"/>
                    </a:cubicBezTo>
                    <a:cubicBezTo>
                      <a:pt x="1445" y="3633"/>
                      <a:pt x="1445" y="3633"/>
                      <a:pt x="1445" y="3633"/>
                    </a:cubicBezTo>
                    <a:cubicBezTo>
                      <a:pt x="1449" y="3615"/>
                      <a:pt x="1449" y="3615"/>
                      <a:pt x="1449" y="3615"/>
                    </a:cubicBezTo>
                    <a:cubicBezTo>
                      <a:pt x="1449" y="3615"/>
                      <a:pt x="1455" y="3600"/>
                      <a:pt x="1465" y="3600"/>
                    </a:cubicBezTo>
                    <a:cubicBezTo>
                      <a:pt x="1474" y="3600"/>
                      <a:pt x="1476" y="3585"/>
                      <a:pt x="1476" y="3585"/>
                    </a:cubicBezTo>
                    <a:cubicBezTo>
                      <a:pt x="1476" y="3585"/>
                      <a:pt x="1489" y="3582"/>
                      <a:pt x="1492" y="3560"/>
                    </a:cubicBezTo>
                    <a:cubicBezTo>
                      <a:pt x="1495" y="3561"/>
                      <a:pt x="1515" y="3538"/>
                      <a:pt x="1515" y="3538"/>
                    </a:cubicBezTo>
                    <a:cubicBezTo>
                      <a:pt x="1533" y="3533"/>
                      <a:pt x="1533" y="3533"/>
                      <a:pt x="1533" y="3533"/>
                    </a:cubicBezTo>
                    <a:cubicBezTo>
                      <a:pt x="1533" y="3533"/>
                      <a:pt x="1554" y="3525"/>
                      <a:pt x="1553" y="3503"/>
                    </a:cubicBezTo>
                    <a:cubicBezTo>
                      <a:pt x="1559" y="3497"/>
                      <a:pt x="1571" y="3474"/>
                      <a:pt x="1571" y="3474"/>
                    </a:cubicBezTo>
                    <a:cubicBezTo>
                      <a:pt x="1581" y="3481"/>
                      <a:pt x="1581" y="3481"/>
                      <a:pt x="1581" y="3481"/>
                    </a:cubicBezTo>
                    <a:cubicBezTo>
                      <a:pt x="1581" y="3481"/>
                      <a:pt x="1562" y="3505"/>
                      <a:pt x="1563" y="3524"/>
                    </a:cubicBezTo>
                    <a:cubicBezTo>
                      <a:pt x="1561" y="3525"/>
                      <a:pt x="1542" y="3546"/>
                      <a:pt x="1519" y="3545"/>
                    </a:cubicBezTo>
                    <a:cubicBezTo>
                      <a:pt x="1503" y="3559"/>
                      <a:pt x="1504" y="3563"/>
                      <a:pt x="1504" y="3563"/>
                    </a:cubicBezTo>
                    <a:cubicBezTo>
                      <a:pt x="1509" y="3567"/>
                      <a:pt x="1509" y="3567"/>
                      <a:pt x="1509" y="3567"/>
                    </a:cubicBezTo>
                    <a:cubicBezTo>
                      <a:pt x="1509" y="3567"/>
                      <a:pt x="1463" y="3606"/>
                      <a:pt x="1465" y="3630"/>
                    </a:cubicBezTo>
                    <a:cubicBezTo>
                      <a:pt x="1450" y="3637"/>
                      <a:pt x="1449" y="3647"/>
                      <a:pt x="1449" y="3659"/>
                    </a:cubicBezTo>
                    <a:cubicBezTo>
                      <a:pt x="1449" y="3672"/>
                      <a:pt x="1445" y="3668"/>
                      <a:pt x="1445" y="3668"/>
                    </a:cubicBezTo>
                    <a:cubicBezTo>
                      <a:pt x="1450" y="3679"/>
                      <a:pt x="1450" y="3679"/>
                      <a:pt x="1450" y="3679"/>
                    </a:cubicBezTo>
                    <a:cubicBezTo>
                      <a:pt x="1443" y="3691"/>
                      <a:pt x="1443" y="3691"/>
                      <a:pt x="1443" y="3691"/>
                    </a:cubicBezTo>
                    <a:cubicBezTo>
                      <a:pt x="1447" y="3736"/>
                      <a:pt x="1447" y="3736"/>
                      <a:pt x="1447" y="3736"/>
                    </a:cubicBezTo>
                    <a:cubicBezTo>
                      <a:pt x="1447" y="3736"/>
                      <a:pt x="1476" y="3741"/>
                      <a:pt x="1457" y="3751"/>
                    </a:cubicBezTo>
                    <a:cubicBezTo>
                      <a:pt x="1461" y="3761"/>
                      <a:pt x="1461" y="3761"/>
                      <a:pt x="1461" y="3761"/>
                    </a:cubicBezTo>
                    <a:cubicBezTo>
                      <a:pt x="1487" y="3761"/>
                      <a:pt x="1487" y="3761"/>
                      <a:pt x="1487" y="3761"/>
                    </a:cubicBezTo>
                    <a:cubicBezTo>
                      <a:pt x="1504" y="3780"/>
                      <a:pt x="1504" y="3780"/>
                      <a:pt x="1504" y="3780"/>
                    </a:cubicBezTo>
                    <a:cubicBezTo>
                      <a:pt x="1512" y="3768"/>
                      <a:pt x="1512" y="3768"/>
                      <a:pt x="1512" y="3768"/>
                    </a:cubicBezTo>
                    <a:cubicBezTo>
                      <a:pt x="1512" y="3768"/>
                      <a:pt x="1493" y="3735"/>
                      <a:pt x="1494" y="3725"/>
                    </a:cubicBezTo>
                    <a:cubicBezTo>
                      <a:pt x="1495" y="3716"/>
                      <a:pt x="1505" y="3724"/>
                      <a:pt x="1505" y="3731"/>
                    </a:cubicBezTo>
                    <a:cubicBezTo>
                      <a:pt x="1510" y="3739"/>
                      <a:pt x="1526" y="3763"/>
                      <a:pt x="1526" y="3763"/>
                    </a:cubicBezTo>
                    <a:cubicBezTo>
                      <a:pt x="1542" y="3765"/>
                      <a:pt x="1542" y="3765"/>
                      <a:pt x="1542" y="3765"/>
                    </a:cubicBezTo>
                    <a:cubicBezTo>
                      <a:pt x="1542" y="3765"/>
                      <a:pt x="1537" y="3777"/>
                      <a:pt x="1537" y="3782"/>
                    </a:cubicBezTo>
                    <a:cubicBezTo>
                      <a:pt x="1538" y="3787"/>
                      <a:pt x="1546" y="3795"/>
                      <a:pt x="1545" y="3798"/>
                    </a:cubicBezTo>
                    <a:cubicBezTo>
                      <a:pt x="1545" y="3801"/>
                      <a:pt x="1542" y="3809"/>
                      <a:pt x="1542" y="3809"/>
                    </a:cubicBezTo>
                    <a:cubicBezTo>
                      <a:pt x="1545" y="3815"/>
                      <a:pt x="1545" y="3815"/>
                      <a:pt x="1545" y="3815"/>
                    </a:cubicBezTo>
                    <a:cubicBezTo>
                      <a:pt x="1545" y="3815"/>
                      <a:pt x="1569" y="3810"/>
                      <a:pt x="1573" y="3851"/>
                    </a:cubicBezTo>
                    <a:cubicBezTo>
                      <a:pt x="1579" y="3861"/>
                      <a:pt x="1582" y="3857"/>
                      <a:pt x="1588" y="3857"/>
                    </a:cubicBezTo>
                    <a:cubicBezTo>
                      <a:pt x="1594" y="3857"/>
                      <a:pt x="1599" y="3849"/>
                      <a:pt x="1600" y="3843"/>
                    </a:cubicBezTo>
                    <a:cubicBezTo>
                      <a:pt x="1601" y="3837"/>
                      <a:pt x="1583" y="3842"/>
                      <a:pt x="1590" y="3836"/>
                    </a:cubicBezTo>
                    <a:cubicBezTo>
                      <a:pt x="1597" y="3830"/>
                      <a:pt x="1603" y="3823"/>
                      <a:pt x="1603" y="3816"/>
                    </a:cubicBezTo>
                    <a:cubicBezTo>
                      <a:pt x="1603" y="3809"/>
                      <a:pt x="1587" y="3762"/>
                      <a:pt x="1587" y="3762"/>
                    </a:cubicBezTo>
                    <a:cubicBezTo>
                      <a:pt x="1577" y="3762"/>
                      <a:pt x="1577" y="3762"/>
                      <a:pt x="1577" y="3762"/>
                    </a:cubicBezTo>
                    <a:cubicBezTo>
                      <a:pt x="1564" y="3749"/>
                      <a:pt x="1564" y="3749"/>
                      <a:pt x="1564" y="3749"/>
                    </a:cubicBezTo>
                    <a:cubicBezTo>
                      <a:pt x="1564" y="3731"/>
                      <a:pt x="1564" y="3731"/>
                      <a:pt x="1564" y="3731"/>
                    </a:cubicBezTo>
                    <a:cubicBezTo>
                      <a:pt x="1564" y="3731"/>
                      <a:pt x="1568" y="3718"/>
                      <a:pt x="1567" y="3716"/>
                    </a:cubicBezTo>
                    <a:cubicBezTo>
                      <a:pt x="1567" y="3714"/>
                      <a:pt x="1554" y="3685"/>
                      <a:pt x="1561" y="3682"/>
                    </a:cubicBezTo>
                    <a:cubicBezTo>
                      <a:pt x="1569" y="3679"/>
                      <a:pt x="1583" y="3739"/>
                      <a:pt x="1583" y="3746"/>
                    </a:cubicBezTo>
                    <a:cubicBezTo>
                      <a:pt x="1587" y="3747"/>
                      <a:pt x="1603" y="3748"/>
                      <a:pt x="1603" y="3757"/>
                    </a:cubicBezTo>
                    <a:cubicBezTo>
                      <a:pt x="1609" y="3762"/>
                      <a:pt x="1610" y="3757"/>
                      <a:pt x="1610" y="3757"/>
                    </a:cubicBezTo>
                    <a:cubicBezTo>
                      <a:pt x="1610" y="3757"/>
                      <a:pt x="1613" y="3735"/>
                      <a:pt x="1622" y="3733"/>
                    </a:cubicBezTo>
                    <a:cubicBezTo>
                      <a:pt x="1623" y="3731"/>
                      <a:pt x="1623" y="3710"/>
                      <a:pt x="1631" y="3704"/>
                    </a:cubicBezTo>
                    <a:cubicBezTo>
                      <a:pt x="1626" y="3701"/>
                      <a:pt x="1635" y="3683"/>
                      <a:pt x="1645" y="3677"/>
                    </a:cubicBezTo>
                    <a:cubicBezTo>
                      <a:pt x="1645" y="3673"/>
                      <a:pt x="1634" y="3666"/>
                      <a:pt x="1646" y="3664"/>
                    </a:cubicBezTo>
                    <a:cubicBezTo>
                      <a:pt x="1647" y="3661"/>
                      <a:pt x="1647" y="3647"/>
                      <a:pt x="1647" y="3647"/>
                    </a:cubicBezTo>
                    <a:cubicBezTo>
                      <a:pt x="1643" y="3621"/>
                      <a:pt x="1643" y="3621"/>
                      <a:pt x="1643" y="3621"/>
                    </a:cubicBezTo>
                    <a:cubicBezTo>
                      <a:pt x="1638" y="3616"/>
                      <a:pt x="1638" y="3616"/>
                      <a:pt x="1638" y="3616"/>
                    </a:cubicBezTo>
                    <a:cubicBezTo>
                      <a:pt x="1654" y="3599"/>
                      <a:pt x="1654" y="3599"/>
                      <a:pt x="1654" y="3599"/>
                    </a:cubicBezTo>
                    <a:cubicBezTo>
                      <a:pt x="1648" y="3619"/>
                      <a:pt x="1648" y="3619"/>
                      <a:pt x="1648" y="3619"/>
                    </a:cubicBezTo>
                    <a:cubicBezTo>
                      <a:pt x="1657" y="3621"/>
                      <a:pt x="1657" y="3621"/>
                      <a:pt x="1657" y="3621"/>
                    </a:cubicBezTo>
                    <a:cubicBezTo>
                      <a:pt x="1657" y="3621"/>
                      <a:pt x="1653" y="3663"/>
                      <a:pt x="1665" y="3663"/>
                    </a:cubicBezTo>
                    <a:cubicBezTo>
                      <a:pt x="1677" y="3664"/>
                      <a:pt x="1704" y="3663"/>
                      <a:pt x="1704" y="3663"/>
                    </a:cubicBezTo>
                    <a:cubicBezTo>
                      <a:pt x="1704" y="3663"/>
                      <a:pt x="1672" y="3632"/>
                      <a:pt x="1672" y="3621"/>
                    </a:cubicBezTo>
                    <a:cubicBezTo>
                      <a:pt x="1672" y="3611"/>
                      <a:pt x="1669" y="3600"/>
                      <a:pt x="1674" y="3600"/>
                    </a:cubicBezTo>
                    <a:cubicBezTo>
                      <a:pt x="1679" y="3600"/>
                      <a:pt x="1692" y="3636"/>
                      <a:pt x="1692" y="3636"/>
                    </a:cubicBezTo>
                    <a:cubicBezTo>
                      <a:pt x="1692" y="3636"/>
                      <a:pt x="1711" y="3661"/>
                      <a:pt x="1730" y="3661"/>
                    </a:cubicBezTo>
                    <a:cubicBezTo>
                      <a:pt x="1733" y="3669"/>
                      <a:pt x="1733" y="3685"/>
                      <a:pt x="1733" y="3685"/>
                    </a:cubicBezTo>
                    <a:cubicBezTo>
                      <a:pt x="1779" y="3698"/>
                      <a:pt x="1779" y="3698"/>
                      <a:pt x="1779" y="3698"/>
                    </a:cubicBezTo>
                    <a:cubicBezTo>
                      <a:pt x="1778" y="3707"/>
                      <a:pt x="1778" y="3707"/>
                      <a:pt x="1778" y="3707"/>
                    </a:cubicBezTo>
                    <a:cubicBezTo>
                      <a:pt x="1778" y="3707"/>
                      <a:pt x="1753" y="3717"/>
                      <a:pt x="1704" y="3687"/>
                    </a:cubicBezTo>
                    <a:cubicBezTo>
                      <a:pt x="1682" y="3681"/>
                      <a:pt x="1653" y="3672"/>
                      <a:pt x="1653" y="3715"/>
                    </a:cubicBezTo>
                    <a:cubicBezTo>
                      <a:pt x="1653" y="3729"/>
                      <a:pt x="1644" y="3730"/>
                      <a:pt x="1644" y="3734"/>
                    </a:cubicBezTo>
                    <a:cubicBezTo>
                      <a:pt x="1644" y="3738"/>
                      <a:pt x="1648" y="3766"/>
                      <a:pt x="1648" y="3766"/>
                    </a:cubicBezTo>
                    <a:cubicBezTo>
                      <a:pt x="1643" y="3771"/>
                      <a:pt x="1643" y="3771"/>
                      <a:pt x="1643" y="3771"/>
                    </a:cubicBezTo>
                    <a:cubicBezTo>
                      <a:pt x="1643" y="3771"/>
                      <a:pt x="1649" y="3811"/>
                      <a:pt x="1661" y="3811"/>
                    </a:cubicBezTo>
                    <a:cubicBezTo>
                      <a:pt x="1664" y="3810"/>
                      <a:pt x="1661" y="3837"/>
                      <a:pt x="1661" y="3837"/>
                    </a:cubicBezTo>
                    <a:cubicBezTo>
                      <a:pt x="1639" y="3855"/>
                      <a:pt x="1639" y="3855"/>
                      <a:pt x="1639" y="3855"/>
                    </a:cubicBezTo>
                    <a:cubicBezTo>
                      <a:pt x="1639" y="3878"/>
                      <a:pt x="1639" y="3878"/>
                      <a:pt x="1639" y="3878"/>
                    </a:cubicBezTo>
                    <a:cubicBezTo>
                      <a:pt x="1651" y="3880"/>
                      <a:pt x="1651" y="3880"/>
                      <a:pt x="1651" y="3880"/>
                    </a:cubicBezTo>
                    <a:cubicBezTo>
                      <a:pt x="1678" y="3907"/>
                      <a:pt x="1678" y="3907"/>
                      <a:pt x="1678" y="3907"/>
                    </a:cubicBezTo>
                    <a:cubicBezTo>
                      <a:pt x="1670" y="3916"/>
                      <a:pt x="1670" y="3916"/>
                      <a:pt x="1670" y="3916"/>
                    </a:cubicBezTo>
                    <a:cubicBezTo>
                      <a:pt x="1690" y="3931"/>
                      <a:pt x="1690" y="3931"/>
                      <a:pt x="1690" y="3931"/>
                    </a:cubicBezTo>
                    <a:cubicBezTo>
                      <a:pt x="1701" y="3924"/>
                      <a:pt x="1701" y="3924"/>
                      <a:pt x="1701" y="3924"/>
                    </a:cubicBezTo>
                    <a:cubicBezTo>
                      <a:pt x="1701" y="3924"/>
                      <a:pt x="1754" y="3949"/>
                      <a:pt x="1746" y="3986"/>
                    </a:cubicBezTo>
                    <a:cubicBezTo>
                      <a:pt x="1739" y="3988"/>
                      <a:pt x="1737" y="3983"/>
                      <a:pt x="1737" y="3983"/>
                    </a:cubicBezTo>
                    <a:cubicBezTo>
                      <a:pt x="1735" y="3989"/>
                      <a:pt x="1735" y="3989"/>
                      <a:pt x="1735" y="3989"/>
                    </a:cubicBezTo>
                    <a:cubicBezTo>
                      <a:pt x="1760" y="4016"/>
                      <a:pt x="1760" y="4016"/>
                      <a:pt x="1760" y="4016"/>
                    </a:cubicBezTo>
                    <a:cubicBezTo>
                      <a:pt x="1763" y="4033"/>
                      <a:pt x="1763" y="4033"/>
                      <a:pt x="1763" y="4033"/>
                    </a:cubicBezTo>
                    <a:cubicBezTo>
                      <a:pt x="1763" y="4033"/>
                      <a:pt x="1747" y="4050"/>
                      <a:pt x="1749" y="4068"/>
                    </a:cubicBezTo>
                    <a:cubicBezTo>
                      <a:pt x="1731" y="4068"/>
                      <a:pt x="1731" y="4068"/>
                      <a:pt x="1731" y="4068"/>
                    </a:cubicBezTo>
                    <a:cubicBezTo>
                      <a:pt x="1731" y="4068"/>
                      <a:pt x="1692" y="4083"/>
                      <a:pt x="1698" y="4118"/>
                    </a:cubicBezTo>
                    <a:cubicBezTo>
                      <a:pt x="1665" y="4149"/>
                      <a:pt x="1665" y="4149"/>
                      <a:pt x="1665" y="4149"/>
                    </a:cubicBezTo>
                    <a:cubicBezTo>
                      <a:pt x="1668" y="4190"/>
                      <a:pt x="1668" y="4190"/>
                      <a:pt x="1668" y="4190"/>
                    </a:cubicBezTo>
                    <a:cubicBezTo>
                      <a:pt x="1668" y="4190"/>
                      <a:pt x="1653" y="4205"/>
                      <a:pt x="1658" y="4225"/>
                    </a:cubicBezTo>
                    <a:cubicBezTo>
                      <a:pt x="1645" y="4234"/>
                      <a:pt x="1620" y="4268"/>
                      <a:pt x="1620" y="4268"/>
                    </a:cubicBezTo>
                    <a:cubicBezTo>
                      <a:pt x="1598" y="4287"/>
                      <a:pt x="1598" y="4287"/>
                      <a:pt x="1598" y="4287"/>
                    </a:cubicBezTo>
                    <a:cubicBezTo>
                      <a:pt x="1597" y="4309"/>
                      <a:pt x="1597" y="4309"/>
                      <a:pt x="1597" y="4309"/>
                    </a:cubicBezTo>
                    <a:cubicBezTo>
                      <a:pt x="1597" y="4309"/>
                      <a:pt x="1591" y="4317"/>
                      <a:pt x="1590" y="4329"/>
                    </a:cubicBezTo>
                    <a:cubicBezTo>
                      <a:pt x="1578" y="4336"/>
                      <a:pt x="1554" y="4381"/>
                      <a:pt x="1575" y="4391"/>
                    </a:cubicBezTo>
                    <a:cubicBezTo>
                      <a:pt x="1579" y="4409"/>
                      <a:pt x="1587" y="4429"/>
                      <a:pt x="1594" y="4431"/>
                    </a:cubicBezTo>
                    <a:cubicBezTo>
                      <a:pt x="1598" y="4443"/>
                      <a:pt x="1597" y="4457"/>
                      <a:pt x="1595" y="4458"/>
                    </a:cubicBezTo>
                    <a:cubicBezTo>
                      <a:pt x="1592" y="4459"/>
                      <a:pt x="1575" y="4459"/>
                      <a:pt x="1575" y="4459"/>
                    </a:cubicBezTo>
                    <a:cubicBezTo>
                      <a:pt x="1575" y="4459"/>
                      <a:pt x="1561" y="4431"/>
                      <a:pt x="1565" y="4425"/>
                    </a:cubicBezTo>
                    <a:cubicBezTo>
                      <a:pt x="1570" y="4419"/>
                      <a:pt x="1565" y="4400"/>
                      <a:pt x="1565" y="4400"/>
                    </a:cubicBezTo>
                    <a:cubicBezTo>
                      <a:pt x="1555" y="4380"/>
                      <a:pt x="1555" y="4380"/>
                      <a:pt x="1555" y="4380"/>
                    </a:cubicBezTo>
                    <a:cubicBezTo>
                      <a:pt x="1538" y="4379"/>
                      <a:pt x="1538" y="4379"/>
                      <a:pt x="1538" y="4379"/>
                    </a:cubicBezTo>
                    <a:cubicBezTo>
                      <a:pt x="1538" y="4385"/>
                      <a:pt x="1538" y="4385"/>
                      <a:pt x="1538" y="4385"/>
                    </a:cubicBezTo>
                    <a:cubicBezTo>
                      <a:pt x="1528" y="4385"/>
                      <a:pt x="1528" y="4385"/>
                      <a:pt x="1528" y="4385"/>
                    </a:cubicBezTo>
                    <a:cubicBezTo>
                      <a:pt x="1511" y="4410"/>
                      <a:pt x="1511" y="4410"/>
                      <a:pt x="1511" y="4410"/>
                    </a:cubicBezTo>
                    <a:cubicBezTo>
                      <a:pt x="1518" y="4419"/>
                      <a:pt x="1518" y="4419"/>
                      <a:pt x="1518" y="4419"/>
                    </a:cubicBezTo>
                    <a:cubicBezTo>
                      <a:pt x="1511" y="4427"/>
                      <a:pt x="1511" y="4427"/>
                      <a:pt x="1511" y="4427"/>
                    </a:cubicBezTo>
                    <a:cubicBezTo>
                      <a:pt x="1511" y="4463"/>
                      <a:pt x="1511" y="4463"/>
                      <a:pt x="1511" y="4463"/>
                    </a:cubicBezTo>
                    <a:cubicBezTo>
                      <a:pt x="1511" y="4463"/>
                      <a:pt x="1527" y="4478"/>
                      <a:pt x="1527" y="4493"/>
                    </a:cubicBezTo>
                    <a:cubicBezTo>
                      <a:pt x="1528" y="4509"/>
                      <a:pt x="1588" y="4557"/>
                      <a:pt x="1588" y="4557"/>
                    </a:cubicBezTo>
                    <a:cubicBezTo>
                      <a:pt x="1591" y="4579"/>
                      <a:pt x="1591" y="4579"/>
                      <a:pt x="1591" y="4579"/>
                    </a:cubicBezTo>
                    <a:cubicBezTo>
                      <a:pt x="1598" y="4579"/>
                      <a:pt x="1598" y="4579"/>
                      <a:pt x="1598" y="4579"/>
                    </a:cubicBezTo>
                    <a:cubicBezTo>
                      <a:pt x="1601" y="4599"/>
                      <a:pt x="1601" y="4599"/>
                      <a:pt x="1601" y="4599"/>
                    </a:cubicBezTo>
                    <a:cubicBezTo>
                      <a:pt x="1616" y="4618"/>
                      <a:pt x="1616" y="4618"/>
                      <a:pt x="1616" y="4618"/>
                    </a:cubicBezTo>
                    <a:cubicBezTo>
                      <a:pt x="1616" y="4618"/>
                      <a:pt x="1607" y="4622"/>
                      <a:pt x="1607" y="4630"/>
                    </a:cubicBezTo>
                    <a:cubicBezTo>
                      <a:pt x="1607" y="4638"/>
                      <a:pt x="1628" y="4666"/>
                      <a:pt x="1634" y="4665"/>
                    </a:cubicBezTo>
                    <a:cubicBezTo>
                      <a:pt x="1640" y="4665"/>
                      <a:pt x="1646" y="4667"/>
                      <a:pt x="1646" y="4667"/>
                    </a:cubicBezTo>
                    <a:cubicBezTo>
                      <a:pt x="1646" y="4667"/>
                      <a:pt x="1647" y="4675"/>
                      <a:pt x="1649" y="4674"/>
                    </a:cubicBezTo>
                    <a:cubicBezTo>
                      <a:pt x="1651" y="4673"/>
                      <a:pt x="1663" y="4664"/>
                      <a:pt x="1663" y="4664"/>
                    </a:cubicBezTo>
                    <a:cubicBezTo>
                      <a:pt x="1650" y="4663"/>
                      <a:pt x="1650" y="4663"/>
                      <a:pt x="1650" y="4663"/>
                    </a:cubicBezTo>
                    <a:cubicBezTo>
                      <a:pt x="1649" y="4643"/>
                      <a:pt x="1649" y="4643"/>
                      <a:pt x="1649" y="4643"/>
                    </a:cubicBezTo>
                    <a:cubicBezTo>
                      <a:pt x="1649" y="4643"/>
                      <a:pt x="1656" y="4639"/>
                      <a:pt x="1655" y="4635"/>
                    </a:cubicBezTo>
                    <a:cubicBezTo>
                      <a:pt x="1653" y="4630"/>
                      <a:pt x="1638" y="4614"/>
                      <a:pt x="1638" y="4614"/>
                    </a:cubicBezTo>
                    <a:cubicBezTo>
                      <a:pt x="1638" y="4614"/>
                      <a:pt x="1633" y="4586"/>
                      <a:pt x="1627" y="4583"/>
                    </a:cubicBezTo>
                    <a:cubicBezTo>
                      <a:pt x="1622" y="4581"/>
                      <a:pt x="1627" y="4557"/>
                      <a:pt x="1621" y="4555"/>
                    </a:cubicBezTo>
                    <a:cubicBezTo>
                      <a:pt x="1614" y="4553"/>
                      <a:pt x="1611" y="4540"/>
                      <a:pt x="1613" y="4536"/>
                    </a:cubicBezTo>
                    <a:cubicBezTo>
                      <a:pt x="1614" y="4532"/>
                      <a:pt x="1660" y="4497"/>
                      <a:pt x="1671" y="4499"/>
                    </a:cubicBezTo>
                    <a:cubicBezTo>
                      <a:pt x="1681" y="4500"/>
                      <a:pt x="1689" y="4527"/>
                      <a:pt x="1691" y="4527"/>
                    </a:cubicBezTo>
                    <a:cubicBezTo>
                      <a:pt x="1693" y="4527"/>
                      <a:pt x="1721" y="4527"/>
                      <a:pt x="1721" y="4527"/>
                    </a:cubicBezTo>
                    <a:cubicBezTo>
                      <a:pt x="1721" y="4527"/>
                      <a:pt x="1752" y="4570"/>
                      <a:pt x="1775" y="4570"/>
                    </a:cubicBezTo>
                    <a:cubicBezTo>
                      <a:pt x="1783" y="4576"/>
                      <a:pt x="1772" y="4599"/>
                      <a:pt x="1793" y="4597"/>
                    </a:cubicBezTo>
                    <a:cubicBezTo>
                      <a:pt x="1793" y="4597"/>
                      <a:pt x="1813" y="4631"/>
                      <a:pt x="1847" y="4633"/>
                    </a:cubicBezTo>
                    <a:cubicBezTo>
                      <a:pt x="1863" y="4643"/>
                      <a:pt x="1857" y="4649"/>
                      <a:pt x="1860" y="4647"/>
                    </a:cubicBezTo>
                    <a:cubicBezTo>
                      <a:pt x="1863" y="4645"/>
                      <a:pt x="1885" y="4631"/>
                      <a:pt x="1884" y="4619"/>
                    </a:cubicBezTo>
                    <a:cubicBezTo>
                      <a:pt x="1883" y="4608"/>
                      <a:pt x="1877" y="4601"/>
                      <a:pt x="1877" y="4593"/>
                    </a:cubicBezTo>
                    <a:cubicBezTo>
                      <a:pt x="1877" y="4586"/>
                      <a:pt x="1883" y="4577"/>
                      <a:pt x="1883" y="4577"/>
                    </a:cubicBezTo>
                    <a:cubicBezTo>
                      <a:pt x="1883" y="4577"/>
                      <a:pt x="1881" y="4573"/>
                      <a:pt x="1881" y="4564"/>
                    </a:cubicBezTo>
                    <a:cubicBezTo>
                      <a:pt x="1881" y="4555"/>
                      <a:pt x="1889" y="4551"/>
                      <a:pt x="1889" y="4551"/>
                    </a:cubicBezTo>
                    <a:cubicBezTo>
                      <a:pt x="1874" y="4533"/>
                      <a:pt x="1874" y="4533"/>
                      <a:pt x="1874" y="4533"/>
                    </a:cubicBezTo>
                    <a:cubicBezTo>
                      <a:pt x="1859" y="4533"/>
                      <a:pt x="1859" y="4533"/>
                      <a:pt x="1859" y="4533"/>
                    </a:cubicBezTo>
                    <a:cubicBezTo>
                      <a:pt x="1859" y="4533"/>
                      <a:pt x="1836" y="4491"/>
                      <a:pt x="1853" y="4485"/>
                    </a:cubicBezTo>
                    <a:cubicBezTo>
                      <a:pt x="1869" y="4479"/>
                      <a:pt x="1869" y="4489"/>
                      <a:pt x="1869" y="4489"/>
                    </a:cubicBezTo>
                    <a:cubicBezTo>
                      <a:pt x="1869" y="4489"/>
                      <a:pt x="1895" y="4528"/>
                      <a:pt x="1920" y="4524"/>
                    </a:cubicBezTo>
                    <a:cubicBezTo>
                      <a:pt x="1931" y="4518"/>
                      <a:pt x="1938" y="4513"/>
                      <a:pt x="1938" y="4513"/>
                    </a:cubicBezTo>
                    <a:cubicBezTo>
                      <a:pt x="1943" y="4535"/>
                      <a:pt x="1943" y="4535"/>
                      <a:pt x="1943" y="4535"/>
                    </a:cubicBezTo>
                    <a:cubicBezTo>
                      <a:pt x="1977" y="4575"/>
                      <a:pt x="1977" y="4575"/>
                      <a:pt x="1977" y="4575"/>
                    </a:cubicBezTo>
                    <a:cubicBezTo>
                      <a:pt x="1985" y="4567"/>
                      <a:pt x="1985" y="4567"/>
                      <a:pt x="1985" y="4567"/>
                    </a:cubicBezTo>
                    <a:cubicBezTo>
                      <a:pt x="1985" y="4567"/>
                      <a:pt x="1994" y="4584"/>
                      <a:pt x="1996" y="4583"/>
                    </a:cubicBezTo>
                    <a:cubicBezTo>
                      <a:pt x="1998" y="4581"/>
                      <a:pt x="2007" y="4573"/>
                      <a:pt x="2007" y="4573"/>
                    </a:cubicBezTo>
                    <a:cubicBezTo>
                      <a:pt x="2007" y="4573"/>
                      <a:pt x="2001" y="4569"/>
                      <a:pt x="2003" y="4563"/>
                    </a:cubicBezTo>
                    <a:cubicBezTo>
                      <a:pt x="2006" y="4557"/>
                      <a:pt x="2005" y="4543"/>
                      <a:pt x="2005" y="4543"/>
                    </a:cubicBezTo>
                    <a:cubicBezTo>
                      <a:pt x="2005" y="4543"/>
                      <a:pt x="2019" y="4541"/>
                      <a:pt x="2021" y="4545"/>
                    </a:cubicBezTo>
                    <a:cubicBezTo>
                      <a:pt x="2024" y="4548"/>
                      <a:pt x="2009" y="4559"/>
                      <a:pt x="2010" y="4561"/>
                    </a:cubicBezTo>
                    <a:cubicBezTo>
                      <a:pt x="2011" y="4563"/>
                      <a:pt x="2013" y="4581"/>
                      <a:pt x="2047" y="4579"/>
                    </a:cubicBezTo>
                    <a:cubicBezTo>
                      <a:pt x="2078" y="4563"/>
                      <a:pt x="2085" y="4556"/>
                      <a:pt x="2099" y="4556"/>
                    </a:cubicBezTo>
                    <a:cubicBezTo>
                      <a:pt x="2118" y="4545"/>
                      <a:pt x="2123" y="4536"/>
                      <a:pt x="2123" y="4536"/>
                    </a:cubicBezTo>
                    <a:cubicBezTo>
                      <a:pt x="2123" y="4536"/>
                      <a:pt x="2111" y="4529"/>
                      <a:pt x="2113" y="4527"/>
                    </a:cubicBezTo>
                    <a:cubicBezTo>
                      <a:pt x="2115" y="4524"/>
                      <a:pt x="2129" y="4524"/>
                      <a:pt x="2129" y="4524"/>
                    </a:cubicBezTo>
                    <a:cubicBezTo>
                      <a:pt x="2122" y="4506"/>
                      <a:pt x="2122" y="4506"/>
                      <a:pt x="2122" y="4506"/>
                    </a:cubicBezTo>
                    <a:cubicBezTo>
                      <a:pt x="2122" y="4506"/>
                      <a:pt x="2132" y="4517"/>
                      <a:pt x="2145" y="4517"/>
                    </a:cubicBezTo>
                    <a:cubicBezTo>
                      <a:pt x="2157" y="4517"/>
                      <a:pt x="2161" y="4501"/>
                      <a:pt x="2163" y="4501"/>
                    </a:cubicBezTo>
                    <a:cubicBezTo>
                      <a:pt x="2165" y="4501"/>
                      <a:pt x="2198" y="4499"/>
                      <a:pt x="2200" y="4499"/>
                    </a:cubicBezTo>
                    <a:cubicBezTo>
                      <a:pt x="2202" y="4499"/>
                      <a:pt x="2207" y="4511"/>
                      <a:pt x="2225" y="4503"/>
                    </a:cubicBezTo>
                    <a:cubicBezTo>
                      <a:pt x="2242" y="4496"/>
                      <a:pt x="2241" y="4484"/>
                      <a:pt x="2241" y="4484"/>
                    </a:cubicBezTo>
                    <a:cubicBezTo>
                      <a:pt x="2241" y="4484"/>
                      <a:pt x="2226" y="4461"/>
                      <a:pt x="2226" y="4458"/>
                    </a:cubicBezTo>
                    <a:cubicBezTo>
                      <a:pt x="2226" y="4455"/>
                      <a:pt x="2232" y="4419"/>
                      <a:pt x="2232" y="4419"/>
                    </a:cubicBezTo>
                    <a:cubicBezTo>
                      <a:pt x="2232" y="4419"/>
                      <a:pt x="2242" y="4440"/>
                      <a:pt x="2264" y="4437"/>
                    </a:cubicBezTo>
                    <a:cubicBezTo>
                      <a:pt x="2286" y="4433"/>
                      <a:pt x="2299" y="4419"/>
                      <a:pt x="2299" y="4419"/>
                    </a:cubicBezTo>
                    <a:cubicBezTo>
                      <a:pt x="2299" y="4419"/>
                      <a:pt x="2304" y="4435"/>
                      <a:pt x="2307" y="4435"/>
                    </a:cubicBezTo>
                    <a:cubicBezTo>
                      <a:pt x="2309" y="4435"/>
                      <a:pt x="2340" y="4435"/>
                      <a:pt x="2340" y="4435"/>
                    </a:cubicBezTo>
                    <a:cubicBezTo>
                      <a:pt x="2340" y="4435"/>
                      <a:pt x="2340" y="4427"/>
                      <a:pt x="2343" y="4427"/>
                    </a:cubicBezTo>
                    <a:cubicBezTo>
                      <a:pt x="2345" y="4427"/>
                      <a:pt x="2367" y="4442"/>
                      <a:pt x="2367" y="4442"/>
                    </a:cubicBezTo>
                    <a:cubicBezTo>
                      <a:pt x="2375" y="4437"/>
                      <a:pt x="2375" y="4437"/>
                      <a:pt x="2375" y="4437"/>
                    </a:cubicBezTo>
                    <a:cubicBezTo>
                      <a:pt x="2417" y="4439"/>
                      <a:pt x="2417" y="4439"/>
                      <a:pt x="2417" y="4439"/>
                    </a:cubicBezTo>
                    <a:cubicBezTo>
                      <a:pt x="2427" y="4445"/>
                      <a:pt x="2427" y="4445"/>
                      <a:pt x="2427" y="4445"/>
                    </a:cubicBezTo>
                    <a:cubicBezTo>
                      <a:pt x="2456" y="4430"/>
                      <a:pt x="2456" y="4430"/>
                      <a:pt x="2456" y="4430"/>
                    </a:cubicBezTo>
                    <a:cubicBezTo>
                      <a:pt x="2456" y="4430"/>
                      <a:pt x="2449" y="4451"/>
                      <a:pt x="2449" y="4465"/>
                    </a:cubicBezTo>
                    <a:cubicBezTo>
                      <a:pt x="2421" y="4469"/>
                      <a:pt x="2425" y="4466"/>
                      <a:pt x="2425" y="4466"/>
                    </a:cubicBezTo>
                    <a:cubicBezTo>
                      <a:pt x="2425" y="4466"/>
                      <a:pt x="2407" y="4457"/>
                      <a:pt x="2407" y="4449"/>
                    </a:cubicBezTo>
                    <a:cubicBezTo>
                      <a:pt x="2394" y="4442"/>
                      <a:pt x="2356" y="4463"/>
                      <a:pt x="2355" y="4470"/>
                    </a:cubicBezTo>
                    <a:cubicBezTo>
                      <a:pt x="2350" y="4475"/>
                      <a:pt x="2350" y="4475"/>
                      <a:pt x="2350" y="4475"/>
                    </a:cubicBezTo>
                    <a:cubicBezTo>
                      <a:pt x="2364" y="4489"/>
                      <a:pt x="2364" y="4489"/>
                      <a:pt x="2364" y="4489"/>
                    </a:cubicBezTo>
                    <a:cubicBezTo>
                      <a:pt x="2353" y="4497"/>
                      <a:pt x="2353" y="4497"/>
                      <a:pt x="2353" y="4497"/>
                    </a:cubicBezTo>
                    <a:cubicBezTo>
                      <a:pt x="2339" y="4485"/>
                      <a:pt x="2339" y="4485"/>
                      <a:pt x="2339" y="4485"/>
                    </a:cubicBezTo>
                    <a:cubicBezTo>
                      <a:pt x="2339" y="4485"/>
                      <a:pt x="2307" y="4503"/>
                      <a:pt x="2311" y="4529"/>
                    </a:cubicBezTo>
                    <a:cubicBezTo>
                      <a:pt x="2295" y="4553"/>
                      <a:pt x="2295" y="4566"/>
                      <a:pt x="2295" y="4566"/>
                    </a:cubicBezTo>
                    <a:cubicBezTo>
                      <a:pt x="2295" y="4566"/>
                      <a:pt x="2306" y="4601"/>
                      <a:pt x="2261" y="4622"/>
                    </a:cubicBezTo>
                    <a:cubicBezTo>
                      <a:pt x="2259" y="4641"/>
                      <a:pt x="2251" y="4653"/>
                      <a:pt x="2237" y="4666"/>
                    </a:cubicBezTo>
                    <a:cubicBezTo>
                      <a:pt x="2230" y="4675"/>
                      <a:pt x="2229" y="4684"/>
                      <a:pt x="2235" y="4693"/>
                    </a:cubicBezTo>
                    <a:cubicBezTo>
                      <a:pt x="2240" y="4701"/>
                      <a:pt x="2220" y="4720"/>
                      <a:pt x="2229" y="4736"/>
                    </a:cubicBezTo>
                    <a:cubicBezTo>
                      <a:pt x="2219" y="4748"/>
                      <a:pt x="2217" y="4757"/>
                      <a:pt x="2220" y="4762"/>
                    </a:cubicBezTo>
                    <a:cubicBezTo>
                      <a:pt x="2209" y="4763"/>
                      <a:pt x="2203" y="4777"/>
                      <a:pt x="2203" y="4777"/>
                    </a:cubicBezTo>
                    <a:cubicBezTo>
                      <a:pt x="2211" y="4785"/>
                      <a:pt x="2211" y="4785"/>
                      <a:pt x="2211" y="4785"/>
                    </a:cubicBezTo>
                    <a:cubicBezTo>
                      <a:pt x="2213" y="4796"/>
                      <a:pt x="2213" y="4796"/>
                      <a:pt x="2213" y="4796"/>
                    </a:cubicBezTo>
                    <a:cubicBezTo>
                      <a:pt x="2221" y="4797"/>
                      <a:pt x="2221" y="4797"/>
                      <a:pt x="2221" y="4797"/>
                    </a:cubicBezTo>
                    <a:cubicBezTo>
                      <a:pt x="2221" y="4797"/>
                      <a:pt x="2325" y="4918"/>
                      <a:pt x="2301" y="4945"/>
                    </a:cubicBezTo>
                    <a:cubicBezTo>
                      <a:pt x="2313" y="4971"/>
                      <a:pt x="2343" y="5023"/>
                      <a:pt x="2345" y="5023"/>
                    </a:cubicBezTo>
                    <a:cubicBezTo>
                      <a:pt x="2348" y="5023"/>
                      <a:pt x="2381" y="5023"/>
                      <a:pt x="2381" y="5023"/>
                    </a:cubicBezTo>
                    <a:cubicBezTo>
                      <a:pt x="2392" y="4979"/>
                      <a:pt x="2392" y="4979"/>
                      <a:pt x="2392" y="4979"/>
                    </a:cubicBezTo>
                    <a:cubicBezTo>
                      <a:pt x="2392" y="4979"/>
                      <a:pt x="2414" y="4989"/>
                      <a:pt x="2393" y="5031"/>
                    </a:cubicBezTo>
                    <a:cubicBezTo>
                      <a:pt x="2375" y="5033"/>
                      <a:pt x="2373" y="5031"/>
                      <a:pt x="2375" y="5048"/>
                    </a:cubicBezTo>
                    <a:cubicBezTo>
                      <a:pt x="2377" y="5065"/>
                      <a:pt x="2369" y="5051"/>
                      <a:pt x="2369" y="5051"/>
                    </a:cubicBezTo>
                    <a:cubicBezTo>
                      <a:pt x="2369" y="5077"/>
                      <a:pt x="2369" y="5077"/>
                      <a:pt x="2369" y="5077"/>
                    </a:cubicBezTo>
                    <a:cubicBezTo>
                      <a:pt x="2369" y="5077"/>
                      <a:pt x="2397" y="5131"/>
                      <a:pt x="2399" y="5131"/>
                    </a:cubicBezTo>
                    <a:cubicBezTo>
                      <a:pt x="2401" y="5131"/>
                      <a:pt x="2416" y="5131"/>
                      <a:pt x="2416" y="5131"/>
                    </a:cubicBezTo>
                    <a:cubicBezTo>
                      <a:pt x="2416" y="5131"/>
                      <a:pt x="2387" y="5111"/>
                      <a:pt x="2386" y="5095"/>
                    </a:cubicBezTo>
                    <a:cubicBezTo>
                      <a:pt x="2386" y="5091"/>
                      <a:pt x="2405" y="5085"/>
                      <a:pt x="2405" y="5085"/>
                    </a:cubicBezTo>
                    <a:cubicBezTo>
                      <a:pt x="2405" y="5085"/>
                      <a:pt x="2409" y="5120"/>
                      <a:pt x="2425" y="5120"/>
                    </a:cubicBezTo>
                    <a:cubicBezTo>
                      <a:pt x="2429" y="5118"/>
                      <a:pt x="2420" y="5103"/>
                      <a:pt x="2436" y="5089"/>
                    </a:cubicBezTo>
                    <a:cubicBezTo>
                      <a:pt x="2452" y="5076"/>
                      <a:pt x="2468" y="5043"/>
                      <a:pt x="2468" y="5021"/>
                    </a:cubicBezTo>
                    <a:cubicBezTo>
                      <a:pt x="2479" y="5001"/>
                      <a:pt x="2481" y="5007"/>
                      <a:pt x="2481" y="5007"/>
                    </a:cubicBezTo>
                    <a:cubicBezTo>
                      <a:pt x="2482" y="5016"/>
                      <a:pt x="2482" y="5016"/>
                      <a:pt x="2482" y="5016"/>
                    </a:cubicBezTo>
                    <a:cubicBezTo>
                      <a:pt x="2478" y="5025"/>
                      <a:pt x="2478" y="5025"/>
                      <a:pt x="2478" y="5025"/>
                    </a:cubicBezTo>
                    <a:cubicBezTo>
                      <a:pt x="2494" y="5042"/>
                      <a:pt x="2494" y="5042"/>
                      <a:pt x="2494" y="5042"/>
                    </a:cubicBezTo>
                    <a:cubicBezTo>
                      <a:pt x="2494" y="5042"/>
                      <a:pt x="2485" y="5051"/>
                      <a:pt x="2489" y="5051"/>
                    </a:cubicBezTo>
                    <a:cubicBezTo>
                      <a:pt x="2492" y="5051"/>
                      <a:pt x="2509" y="5060"/>
                      <a:pt x="2509" y="5060"/>
                    </a:cubicBezTo>
                    <a:cubicBezTo>
                      <a:pt x="2523" y="5055"/>
                      <a:pt x="2523" y="5055"/>
                      <a:pt x="2523" y="5055"/>
                    </a:cubicBezTo>
                    <a:cubicBezTo>
                      <a:pt x="2523" y="5055"/>
                      <a:pt x="2535" y="5020"/>
                      <a:pt x="2547" y="5020"/>
                    </a:cubicBezTo>
                    <a:cubicBezTo>
                      <a:pt x="2559" y="5020"/>
                      <a:pt x="2538" y="5021"/>
                      <a:pt x="2581" y="5080"/>
                    </a:cubicBezTo>
                    <a:cubicBezTo>
                      <a:pt x="2559" y="5117"/>
                      <a:pt x="2559" y="5117"/>
                      <a:pt x="2559" y="5117"/>
                    </a:cubicBezTo>
                    <a:cubicBezTo>
                      <a:pt x="2553" y="5113"/>
                      <a:pt x="2553" y="5113"/>
                      <a:pt x="2553" y="5113"/>
                    </a:cubicBezTo>
                    <a:cubicBezTo>
                      <a:pt x="2529" y="5144"/>
                      <a:pt x="2529" y="5144"/>
                      <a:pt x="2529" y="5144"/>
                    </a:cubicBezTo>
                    <a:cubicBezTo>
                      <a:pt x="2536" y="5159"/>
                      <a:pt x="2536" y="5159"/>
                      <a:pt x="2536" y="5159"/>
                    </a:cubicBezTo>
                    <a:cubicBezTo>
                      <a:pt x="2536" y="5159"/>
                      <a:pt x="2533" y="5179"/>
                      <a:pt x="2535" y="5179"/>
                    </a:cubicBezTo>
                    <a:cubicBezTo>
                      <a:pt x="2537" y="5179"/>
                      <a:pt x="2539" y="5181"/>
                      <a:pt x="2539" y="5181"/>
                    </a:cubicBezTo>
                    <a:cubicBezTo>
                      <a:pt x="2546" y="5175"/>
                      <a:pt x="2546" y="5175"/>
                      <a:pt x="2546" y="5175"/>
                    </a:cubicBezTo>
                    <a:cubicBezTo>
                      <a:pt x="2546" y="5175"/>
                      <a:pt x="2557" y="5203"/>
                      <a:pt x="2546" y="5205"/>
                    </a:cubicBezTo>
                    <a:cubicBezTo>
                      <a:pt x="2535" y="5207"/>
                      <a:pt x="2519" y="5207"/>
                      <a:pt x="2519" y="5207"/>
                    </a:cubicBezTo>
                    <a:cubicBezTo>
                      <a:pt x="2519" y="5207"/>
                      <a:pt x="2499" y="5215"/>
                      <a:pt x="2496" y="5222"/>
                    </a:cubicBezTo>
                    <a:cubicBezTo>
                      <a:pt x="2493" y="5229"/>
                      <a:pt x="2471" y="5223"/>
                      <a:pt x="2471" y="5223"/>
                    </a:cubicBezTo>
                    <a:cubicBezTo>
                      <a:pt x="2466" y="5239"/>
                      <a:pt x="2466" y="5239"/>
                      <a:pt x="2466" y="5239"/>
                    </a:cubicBezTo>
                    <a:cubicBezTo>
                      <a:pt x="2466" y="5239"/>
                      <a:pt x="2469" y="5244"/>
                      <a:pt x="2470" y="5253"/>
                    </a:cubicBezTo>
                    <a:cubicBezTo>
                      <a:pt x="2471" y="5261"/>
                      <a:pt x="2439" y="5385"/>
                      <a:pt x="2531" y="5372"/>
                    </a:cubicBezTo>
                    <a:cubicBezTo>
                      <a:pt x="2533" y="5379"/>
                      <a:pt x="2532" y="5386"/>
                      <a:pt x="2532" y="5386"/>
                    </a:cubicBezTo>
                    <a:cubicBezTo>
                      <a:pt x="2514" y="5383"/>
                      <a:pt x="2514" y="5383"/>
                      <a:pt x="2514" y="5383"/>
                    </a:cubicBezTo>
                    <a:cubicBezTo>
                      <a:pt x="2473" y="5441"/>
                      <a:pt x="2473" y="5441"/>
                      <a:pt x="2473" y="5441"/>
                    </a:cubicBezTo>
                    <a:cubicBezTo>
                      <a:pt x="2470" y="5453"/>
                      <a:pt x="2470" y="5453"/>
                      <a:pt x="2470" y="5453"/>
                    </a:cubicBezTo>
                    <a:cubicBezTo>
                      <a:pt x="2470" y="5453"/>
                      <a:pt x="2446" y="5487"/>
                      <a:pt x="2447" y="5506"/>
                    </a:cubicBezTo>
                    <a:cubicBezTo>
                      <a:pt x="2447" y="5525"/>
                      <a:pt x="2467" y="5539"/>
                      <a:pt x="2465" y="5549"/>
                    </a:cubicBezTo>
                    <a:cubicBezTo>
                      <a:pt x="2474" y="5557"/>
                      <a:pt x="2476" y="5569"/>
                      <a:pt x="2476" y="5569"/>
                    </a:cubicBezTo>
                    <a:cubicBezTo>
                      <a:pt x="2471" y="5576"/>
                      <a:pt x="2471" y="5576"/>
                      <a:pt x="2471" y="5576"/>
                    </a:cubicBezTo>
                    <a:cubicBezTo>
                      <a:pt x="2471" y="5576"/>
                      <a:pt x="2493" y="5610"/>
                      <a:pt x="2493" y="5616"/>
                    </a:cubicBezTo>
                    <a:cubicBezTo>
                      <a:pt x="2493" y="5622"/>
                      <a:pt x="2492" y="5652"/>
                      <a:pt x="2523" y="5652"/>
                    </a:cubicBezTo>
                    <a:cubicBezTo>
                      <a:pt x="2541" y="5679"/>
                      <a:pt x="2541" y="5681"/>
                      <a:pt x="2543" y="5681"/>
                    </a:cubicBezTo>
                    <a:cubicBezTo>
                      <a:pt x="2545" y="5681"/>
                      <a:pt x="2585" y="5679"/>
                      <a:pt x="2585" y="5684"/>
                    </a:cubicBezTo>
                    <a:cubicBezTo>
                      <a:pt x="2586" y="5689"/>
                      <a:pt x="2597" y="5662"/>
                      <a:pt x="2600" y="5668"/>
                    </a:cubicBezTo>
                    <a:cubicBezTo>
                      <a:pt x="2603" y="5674"/>
                      <a:pt x="2599" y="5685"/>
                      <a:pt x="2599" y="5685"/>
                    </a:cubicBezTo>
                    <a:cubicBezTo>
                      <a:pt x="2600" y="5695"/>
                      <a:pt x="2600" y="5695"/>
                      <a:pt x="2600" y="5695"/>
                    </a:cubicBezTo>
                    <a:cubicBezTo>
                      <a:pt x="2583" y="5705"/>
                      <a:pt x="2583" y="5705"/>
                      <a:pt x="2583" y="5705"/>
                    </a:cubicBezTo>
                    <a:cubicBezTo>
                      <a:pt x="2583" y="5705"/>
                      <a:pt x="2579" y="5699"/>
                      <a:pt x="2566" y="5700"/>
                    </a:cubicBezTo>
                    <a:cubicBezTo>
                      <a:pt x="2553" y="5701"/>
                      <a:pt x="2559" y="5709"/>
                      <a:pt x="2545" y="5706"/>
                    </a:cubicBezTo>
                    <a:cubicBezTo>
                      <a:pt x="2531" y="5703"/>
                      <a:pt x="2515" y="5689"/>
                      <a:pt x="2515" y="5689"/>
                    </a:cubicBezTo>
                    <a:cubicBezTo>
                      <a:pt x="2515" y="5689"/>
                      <a:pt x="2507" y="5661"/>
                      <a:pt x="2497" y="5655"/>
                    </a:cubicBezTo>
                    <a:cubicBezTo>
                      <a:pt x="2488" y="5649"/>
                      <a:pt x="2489" y="5624"/>
                      <a:pt x="2489" y="5624"/>
                    </a:cubicBezTo>
                    <a:cubicBezTo>
                      <a:pt x="2469" y="5591"/>
                      <a:pt x="2469" y="5591"/>
                      <a:pt x="2469" y="5591"/>
                    </a:cubicBezTo>
                    <a:cubicBezTo>
                      <a:pt x="2469" y="5591"/>
                      <a:pt x="2449" y="5610"/>
                      <a:pt x="2407" y="5628"/>
                    </a:cubicBezTo>
                    <a:cubicBezTo>
                      <a:pt x="2401" y="5651"/>
                      <a:pt x="2414" y="5659"/>
                      <a:pt x="2433" y="5676"/>
                    </a:cubicBezTo>
                    <a:cubicBezTo>
                      <a:pt x="2443" y="5697"/>
                      <a:pt x="2450" y="5724"/>
                      <a:pt x="2450" y="5724"/>
                    </a:cubicBezTo>
                    <a:cubicBezTo>
                      <a:pt x="2441" y="5724"/>
                      <a:pt x="2441" y="5724"/>
                      <a:pt x="2441" y="5724"/>
                    </a:cubicBezTo>
                    <a:cubicBezTo>
                      <a:pt x="2445" y="5746"/>
                      <a:pt x="2445" y="5746"/>
                      <a:pt x="2445" y="5746"/>
                    </a:cubicBezTo>
                    <a:cubicBezTo>
                      <a:pt x="2445" y="5746"/>
                      <a:pt x="2407" y="5712"/>
                      <a:pt x="2404" y="5706"/>
                    </a:cubicBezTo>
                    <a:cubicBezTo>
                      <a:pt x="2401" y="5700"/>
                      <a:pt x="2354" y="5673"/>
                      <a:pt x="2353" y="5670"/>
                    </a:cubicBezTo>
                    <a:cubicBezTo>
                      <a:pt x="2353" y="5667"/>
                      <a:pt x="2360" y="5655"/>
                      <a:pt x="2349" y="5652"/>
                    </a:cubicBezTo>
                    <a:cubicBezTo>
                      <a:pt x="2337" y="5649"/>
                      <a:pt x="2251" y="5691"/>
                      <a:pt x="2234" y="5698"/>
                    </a:cubicBezTo>
                    <a:cubicBezTo>
                      <a:pt x="2201" y="5697"/>
                      <a:pt x="2165" y="5695"/>
                      <a:pt x="2165" y="5695"/>
                    </a:cubicBezTo>
                    <a:cubicBezTo>
                      <a:pt x="2138" y="5669"/>
                      <a:pt x="2138" y="5669"/>
                      <a:pt x="2138" y="5669"/>
                    </a:cubicBezTo>
                    <a:cubicBezTo>
                      <a:pt x="2124" y="5673"/>
                      <a:pt x="2124" y="5673"/>
                      <a:pt x="2124" y="5673"/>
                    </a:cubicBezTo>
                    <a:cubicBezTo>
                      <a:pt x="2112" y="5661"/>
                      <a:pt x="2112" y="5661"/>
                      <a:pt x="2112" y="5661"/>
                    </a:cubicBezTo>
                    <a:cubicBezTo>
                      <a:pt x="2093" y="5661"/>
                      <a:pt x="2093" y="5661"/>
                      <a:pt x="2093" y="5661"/>
                    </a:cubicBezTo>
                    <a:cubicBezTo>
                      <a:pt x="2093" y="5671"/>
                      <a:pt x="2093" y="5671"/>
                      <a:pt x="2093" y="5671"/>
                    </a:cubicBezTo>
                    <a:cubicBezTo>
                      <a:pt x="2093" y="5671"/>
                      <a:pt x="2117" y="5681"/>
                      <a:pt x="2113" y="5689"/>
                    </a:cubicBezTo>
                    <a:cubicBezTo>
                      <a:pt x="2108" y="5697"/>
                      <a:pt x="2074" y="5716"/>
                      <a:pt x="2074" y="5716"/>
                    </a:cubicBezTo>
                    <a:cubicBezTo>
                      <a:pt x="2074" y="5716"/>
                      <a:pt x="2065" y="5708"/>
                      <a:pt x="2021" y="5741"/>
                    </a:cubicBezTo>
                    <a:cubicBezTo>
                      <a:pt x="1974" y="5743"/>
                      <a:pt x="1978" y="5739"/>
                      <a:pt x="1978" y="5737"/>
                    </a:cubicBezTo>
                    <a:cubicBezTo>
                      <a:pt x="1978" y="5735"/>
                      <a:pt x="2001" y="5725"/>
                      <a:pt x="2001" y="5705"/>
                    </a:cubicBezTo>
                    <a:cubicBezTo>
                      <a:pt x="2021" y="5685"/>
                      <a:pt x="2023" y="5679"/>
                      <a:pt x="2023" y="5679"/>
                    </a:cubicBezTo>
                    <a:cubicBezTo>
                      <a:pt x="1996" y="5679"/>
                      <a:pt x="1996" y="5679"/>
                      <a:pt x="1996" y="5679"/>
                    </a:cubicBezTo>
                    <a:cubicBezTo>
                      <a:pt x="1996" y="5679"/>
                      <a:pt x="1999" y="5672"/>
                      <a:pt x="1992" y="5671"/>
                    </a:cubicBezTo>
                    <a:cubicBezTo>
                      <a:pt x="1985" y="5671"/>
                      <a:pt x="1948" y="5694"/>
                      <a:pt x="1948" y="5692"/>
                    </a:cubicBezTo>
                    <a:cubicBezTo>
                      <a:pt x="1948" y="5690"/>
                      <a:pt x="1931" y="5650"/>
                      <a:pt x="1931" y="5650"/>
                    </a:cubicBezTo>
                    <a:cubicBezTo>
                      <a:pt x="1936" y="5645"/>
                      <a:pt x="1936" y="5645"/>
                      <a:pt x="1936" y="5645"/>
                    </a:cubicBezTo>
                    <a:cubicBezTo>
                      <a:pt x="1936" y="5645"/>
                      <a:pt x="1919" y="5652"/>
                      <a:pt x="1916" y="5617"/>
                    </a:cubicBezTo>
                    <a:cubicBezTo>
                      <a:pt x="1917" y="5613"/>
                      <a:pt x="1907" y="5591"/>
                      <a:pt x="1907" y="5591"/>
                    </a:cubicBezTo>
                    <a:cubicBezTo>
                      <a:pt x="1897" y="5600"/>
                      <a:pt x="1897" y="5600"/>
                      <a:pt x="1897" y="5600"/>
                    </a:cubicBezTo>
                    <a:cubicBezTo>
                      <a:pt x="1867" y="5583"/>
                      <a:pt x="1867" y="5583"/>
                      <a:pt x="1867" y="5583"/>
                    </a:cubicBezTo>
                    <a:cubicBezTo>
                      <a:pt x="1833" y="5586"/>
                      <a:pt x="1833" y="5586"/>
                      <a:pt x="1833" y="5586"/>
                    </a:cubicBezTo>
                    <a:cubicBezTo>
                      <a:pt x="1827" y="5599"/>
                      <a:pt x="1827" y="5599"/>
                      <a:pt x="1827" y="5599"/>
                    </a:cubicBezTo>
                    <a:cubicBezTo>
                      <a:pt x="1822" y="5593"/>
                      <a:pt x="1822" y="5593"/>
                      <a:pt x="1822" y="5593"/>
                    </a:cubicBezTo>
                    <a:cubicBezTo>
                      <a:pt x="1811" y="5600"/>
                      <a:pt x="1811" y="5600"/>
                      <a:pt x="1811" y="5600"/>
                    </a:cubicBezTo>
                    <a:cubicBezTo>
                      <a:pt x="1806" y="5591"/>
                      <a:pt x="1806" y="5591"/>
                      <a:pt x="1806" y="5591"/>
                    </a:cubicBezTo>
                    <a:cubicBezTo>
                      <a:pt x="1793" y="5605"/>
                      <a:pt x="1793" y="5605"/>
                      <a:pt x="1793" y="5605"/>
                    </a:cubicBezTo>
                    <a:cubicBezTo>
                      <a:pt x="1776" y="5604"/>
                      <a:pt x="1776" y="5604"/>
                      <a:pt x="1776" y="5604"/>
                    </a:cubicBezTo>
                    <a:cubicBezTo>
                      <a:pt x="1776" y="5604"/>
                      <a:pt x="1782" y="5621"/>
                      <a:pt x="1783" y="5630"/>
                    </a:cubicBezTo>
                    <a:cubicBezTo>
                      <a:pt x="1783" y="5639"/>
                      <a:pt x="1778" y="5657"/>
                      <a:pt x="1778" y="5657"/>
                    </a:cubicBezTo>
                    <a:cubicBezTo>
                      <a:pt x="1771" y="5661"/>
                      <a:pt x="1771" y="5661"/>
                      <a:pt x="1771" y="5661"/>
                    </a:cubicBezTo>
                    <a:cubicBezTo>
                      <a:pt x="1776" y="5670"/>
                      <a:pt x="1776" y="5670"/>
                      <a:pt x="1776" y="5670"/>
                    </a:cubicBezTo>
                    <a:cubicBezTo>
                      <a:pt x="1773" y="5693"/>
                      <a:pt x="1773" y="5693"/>
                      <a:pt x="1773" y="5693"/>
                    </a:cubicBezTo>
                    <a:cubicBezTo>
                      <a:pt x="1773" y="5693"/>
                      <a:pt x="1753" y="5665"/>
                      <a:pt x="1737" y="5665"/>
                    </a:cubicBezTo>
                    <a:cubicBezTo>
                      <a:pt x="1721" y="5666"/>
                      <a:pt x="1718" y="5681"/>
                      <a:pt x="1718" y="5681"/>
                    </a:cubicBezTo>
                    <a:cubicBezTo>
                      <a:pt x="1726" y="5683"/>
                      <a:pt x="1726" y="5683"/>
                      <a:pt x="1726" y="5683"/>
                    </a:cubicBezTo>
                    <a:cubicBezTo>
                      <a:pt x="1727" y="5697"/>
                      <a:pt x="1727" y="5697"/>
                      <a:pt x="1727" y="5697"/>
                    </a:cubicBezTo>
                    <a:cubicBezTo>
                      <a:pt x="1751" y="5701"/>
                      <a:pt x="1751" y="5701"/>
                      <a:pt x="1751" y="5701"/>
                    </a:cubicBezTo>
                    <a:cubicBezTo>
                      <a:pt x="1758" y="5713"/>
                      <a:pt x="1758" y="5713"/>
                      <a:pt x="1758" y="5713"/>
                    </a:cubicBezTo>
                    <a:cubicBezTo>
                      <a:pt x="1758" y="5713"/>
                      <a:pt x="1754" y="5730"/>
                      <a:pt x="1765" y="5730"/>
                    </a:cubicBezTo>
                    <a:cubicBezTo>
                      <a:pt x="1775" y="5730"/>
                      <a:pt x="1784" y="5724"/>
                      <a:pt x="1784" y="5724"/>
                    </a:cubicBezTo>
                    <a:cubicBezTo>
                      <a:pt x="1784" y="5724"/>
                      <a:pt x="1809" y="5752"/>
                      <a:pt x="1807" y="5775"/>
                    </a:cubicBezTo>
                    <a:cubicBezTo>
                      <a:pt x="1817" y="5779"/>
                      <a:pt x="1817" y="5779"/>
                      <a:pt x="1817" y="5779"/>
                    </a:cubicBezTo>
                    <a:cubicBezTo>
                      <a:pt x="1829" y="5775"/>
                      <a:pt x="1829" y="5775"/>
                      <a:pt x="1829" y="5775"/>
                    </a:cubicBezTo>
                    <a:cubicBezTo>
                      <a:pt x="1835" y="5797"/>
                      <a:pt x="1835" y="5797"/>
                      <a:pt x="1835" y="5797"/>
                    </a:cubicBezTo>
                    <a:cubicBezTo>
                      <a:pt x="1835" y="5797"/>
                      <a:pt x="1855" y="5772"/>
                      <a:pt x="1859" y="5776"/>
                    </a:cubicBezTo>
                    <a:cubicBezTo>
                      <a:pt x="1864" y="5780"/>
                      <a:pt x="1845" y="5795"/>
                      <a:pt x="1847" y="5800"/>
                    </a:cubicBezTo>
                    <a:cubicBezTo>
                      <a:pt x="1850" y="5805"/>
                      <a:pt x="1867" y="5809"/>
                      <a:pt x="1867" y="5809"/>
                    </a:cubicBezTo>
                    <a:cubicBezTo>
                      <a:pt x="1867" y="5809"/>
                      <a:pt x="1863" y="5823"/>
                      <a:pt x="1875" y="5821"/>
                    </a:cubicBezTo>
                    <a:cubicBezTo>
                      <a:pt x="1886" y="5818"/>
                      <a:pt x="1920" y="5786"/>
                      <a:pt x="1923" y="5783"/>
                    </a:cubicBezTo>
                    <a:cubicBezTo>
                      <a:pt x="1923" y="5783"/>
                      <a:pt x="1933" y="5778"/>
                      <a:pt x="1909" y="5813"/>
                    </a:cubicBezTo>
                    <a:cubicBezTo>
                      <a:pt x="1880" y="5832"/>
                      <a:pt x="1875" y="5832"/>
                      <a:pt x="1875" y="5832"/>
                    </a:cubicBezTo>
                    <a:cubicBezTo>
                      <a:pt x="1875" y="5832"/>
                      <a:pt x="1898" y="5872"/>
                      <a:pt x="1857" y="5911"/>
                    </a:cubicBezTo>
                    <a:cubicBezTo>
                      <a:pt x="1837" y="5915"/>
                      <a:pt x="1827" y="5935"/>
                      <a:pt x="1827" y="5941"/>
                    </a:cubicBezTo>
                    <a:cubicBezTo>
                      <a:pt x="1815" y="5942"/>
                      <a:pt x="1803" y="5956"/>
                      <a:pt x="1803" y="5959"/>
                    </a:cubicBezTo>
                    <a:cubicBezTo>
                      <a:pt x="1802" y="5963"/>
                      <a:pt x="1787" y="5971"/>
                      <a:pt x="1785" y="5957"/>
                    </a:cubicBezTo>
                    <a:cubicBezTo>
                      <a:pt x="1772" y="5952"/>
                      <a:pt x="1769" y="5969"/>
                      <a:pt x="1769" y="5969"/>
                    </a:cubicBezTo>
                    <a:cubicBezTo>
                      <a:pt x="1769" y="5969"/>
                      <a:pt x="1743" y="5974"/>
                      <a:pt x="1719" y="6022"/>
                    </a:cubicBezTo>
                    <a:cubicBezTo>
                      <a:pt x="1708" y="6023"/>
                      <a:pt x="1708" y="6023"/>
                      <a:pt x="1708" y="6023"/>
                    </a:cubicBezTo>
                    <a:cubicBezTo>
                      <a:pt x="1708" y="6023"/>
                      <a:pt x="1703" y="6050"/>
                      <a:pt x="1697" y="6050"/>
                    </a:cubicBezTo>
                    <a:cubicBezTo>
                      <a:pt x="1691" y="6050"/>
                      <a:pt x="1688" y="6074"/>
                      <a:pt x="1688" y="6074"/>
                    </a:cubicBezTo>
                    <a:cubicBezTo>
                      <a:pt x="1688" y="6074"/>
                      <a:pt x="1692" y="6083"/>
                      <a:pt x="1699" y="6084"/>
                    </a:cubicBezTo>
                    <a:cubicBezTo>
                      <a:pt x="1707" y="6085"/>
                      <a:pt x="1712" y="6068"/>
                      <a:pt x="1717" y="6068"/>
                    </a:cubicBezTo>
                    <a:cubicBezTo>
                      <a:pt x="1723" y="6068"/>
                      <a:pt x="1723" y="6075"/>
                      <a:pt x="1723" y="6075"/>
                    </a:cubicBezTo>
                    <a:cubicBezTo>
                      <a:pt x="1746" y="6069"/>
                      <a:pt x="1746" y="6069"/>
                      <a:pt x="1746" y="6069"/>
                    </a:cubicBezTo>
                    <a:cubicBezTo>
                      <a:pt x="1759" y="6047"/>
                      <a:pt x="1759" y="6047"/>
                      <a:pt x="1759" y="6047"/>
                    </a:cubicBezTo>
                    <a:cubicBezTo>
                      <a:pt x="1787" y="6065"/>
                      <a:pt x="1787" y="6065"/>
                      <a:pt x="1787" y="6065"/>
                    </a:cubicBezTo>
                    <a:cubicBezTo>
                      <a:pt x="1787" y="6065"/>
                      <a:pt x="1784" y="6085"/>
                      <a:pt x="1797" y="6086"/>
                    </a:cubicBezTo>
                    <a:cubicBezTo>
                      <a:pt x="1811" y="6087"/>
                      <a:pt x="1819" y="6077"/>
                      <a:pt x="1817" y="6069"/>
                    </a:cubicBezTo>
                    <a:cubicBezTo>
                      <a:pt x="1815" y="6061"/>
                      <a:pt x="1806" y="6051"/>
                      <a:pt x="1807" y="6049"/>
                    </a:cubicBezTo>
                    <a:cubicBezTo>
                      <a:pt x="1807" y="6047"/>
                      <a:pt x="1821" y="6035"/>
                      <a:pt x="1821" y="6035"/>
                    </a:cubicBezTo>
                    <a:cubicBezTo>
                      <a:pt x="1817" y="6027"/>
                      <a:pt x="1817" y="6027"/>
                      <a:pt x="1817" y="6027"/>
                    </a:cubicBezTo>
                    <a:cubicBezTo>
                      <a:pt x="1817" y="6027"/>
                      <a:pt x="1849" y="6002"/>
                      <a:pt x="1888" y="6003"/>
                    </a:cubicBezTo>
                    <a:cubicBezTo>
                      <a:pt x="1890" y="5992"/>
                      <a:pt x="1890" y="5992"/>
                      <a:pt x="1890" y="5992"/>
                    </a:cubicBezTo>
                    <a:cubicBezTo>
                      <a:pt x="1890" y="5992"/>
                      <a:pt x="1915" y="5983"/>
                      <a:pt x="1930" y="5983"/>
                    </a:cubicBezTo>
                    <a:cubicBezTo>
                      <a:pt x="1945" y="5983"/>
                      <a:pt x="1965" y="5982"/>
                      <a:pt x="1966" y="6009"/>
                    </a:cubicBezTo>
                    <a:cubicBezTo>
                      <a:pt x="1978" y="6030"/>
                      <a:pt x="1985" y="6029"/>
                      <a:pt x="1985" y="6029"/>
                    </a:cubicBezTo>
                    <a:cubicBezTo>
                      <a:pt x="1983" y="6055"/>
                      <a:pt x="1983" y="6055"/>
                      <a:pt x="1983" y="6055"/>
                    </a:cubicBezTo>
                    <a:cubicBezTo>
                      <a:pt x="1970" y="6056"/>
                      <a:pt x="1970" y="6056"/>
                      <a:pt x="1970" y="6056"/>
                    </a:cubicBezTo>
                    <a:cubicBezTo>
                      <a:pt x="1970" y="6056"/>
                      <a:pt x="1953" y="6052"/>
                      <a:pt x="2008" y="6133"/>
                    </a:cubicBezTo>
                    <a:cubicBezTo>
                      <a:pt x="2005" y="6159"/>
                      <a:pt x="2009" y="6159"/>
                      <a:pt x="2009" y="6159"/>
                    </a:cubicBezTo>
                    <a:cubicBezTo>
                      <a:pt x="2009" y="6159"/>
                      <a:pt x="1977" y="6187"/>
                      <a:pt x="1975" y="6215"/>
                    </a:cubicBezTo>
                    <a:cubicBezTo>
                      <a:pt x="1996" y="6239"/>
                      <a:pt x="1995" y="6251"/>
                      <a:pt x="1995" y="6251"/>
                    </a:cubicBezTo>
                    <a:cubicBezTo>
                      <a:pt x="1994" y="6264"/>
                      <a:pt x="1994" y="6264"/>
                      <a:pt x="1994" y="6264"/>
                    </a:cubicBezTo>
                    <a:cubicBezTo>
                      <a:pt x="2006" y="6274"/>
                      <a:pt x="2006" y="6274"/>
                      <a:pt x="2006" y="6274"/>
                    </a:cubicBezTo>
                    <a:cubicBezTo>
                      <a:pt x="2009" y="6326"/>
                      <a:pt x="2009" y="6326"/>
                      <a:pt x="2009" y="6326"/>
                    </a:cubicBezTo>
                    <a:cubicBezTo>
                      <a:pt x="1997" y="6351"/>
                      <a:pt x="1997" y="6351"/>
                      <a:pt x="1997" y="6351"/>
                    </a:cubicBezTo>
                    <a:cubicBezTo>
                      <a:pt x="1990" y="6397"/>
                      <a:pt x="1990" y="6397"/>
                      <a:pt x="1990" y="6397"/>
                    </a:cubicBezTo>
                    <a:cubicBezTo>
                      <a:pt x="1990" y="6397"/>
                      <a:pt x="1971" y="6414"/>
                      <a:pt x="1977" y="6428"/>
                    </a:cubicBezTo>
                    <a:cubicBezTo>
                      <a:pt x="1971" y="6437"/>
                      <a:pt x="1936" y="6499"/>
                      <a:pt x="1929" y="6499"/>
                    </a:cubicBezTo>
                    <a:cubicBezTo>
                      <a:pt x="1921" y="6499"/>
                      <a:pt x="1914" y="6499"/>
                      <a:pt x="1914" y="6499"/>
                    </a:cubicBezTo>
                    <a:cubicBezTo>
                      <a:pt x="1907" y="6512"/>
                      <a:pt x="1907" y="6512"/>
                      <a:pt x="1907" y="6512"/>
                    </a:cubicBezTo>
                    <a:cubicBezTo>
                      <a:pt x="1899" y="6512"/>
                      <a:pt x="1899" y="6512"/>
                      <a:pt x="1899" y="6512"/>
                    </a:cubicBezTo>
                    <a:cubicBezTo>
                      <a:pt x="1899" y="6512"/>
                      <a:pt x="1891" y="6528"/>
                      <a:pt x="1881" y="6527"/>
                    </a:cubicBezTo>
                    <a:cubicBezTo>
                      <a:pt x="1872" y="6527"/>
                      <a:pt x="1868" y="6519"/>
                      <a:pt x="1868" y="6519"/>
                    </a:cubicBezTo>
                    <a:cubicBezTo>
                      <a:pt x="1868" y="6519"/>
                      <a:pt x="1801" y="6589"/>
                      <a:pt x="1793" y="6589"/>
                    </a:cubicBezTo>
                    <a:cubicBezTo>
                      <a:pt x="1784" y="6589"/>
                      <a:pt x="1781" y="6579"/>
                      <a:pt x="1761" y="6579"/>
                    </a:cubicBezTo>
                    <a:cubicBezTo>
                      <a:pt x="1741" y="6579"/>
                      <a:pt x="1720" y="6582"/>
                      <a:pt x="1719" y="6607"/>
                    </a:cubicBezTo>
                    <a:cubicBezTo>
                      <a:pt x="1709" y="6606"/>
                      <a:pt x="1708" y="6596"/>
                      <a:pt x="1703" y="6596"/>
                    </a:cubicBezTo>
                    <a:cubicBezTo>
                      <a:pt x="1697" y="6596"/>
                      <a:pt x="1692" y="6629"/>
                      <a:pt x="1692" y="6629"/>
                    </a:cubicBezTo>
                    <a:cubicBezTo>
                      <a:pt x="1692" y="6629"/>
                      <a:pt x="1678" y="6626"/>
                      <a:pt x="1679" y="6641"/>
                    </a:cubicBezTo>
                    <a:cubicBezTo>
                      <a:pt x="1659" y="6647"/>
                      <a:pt x="1650" y="6641"/>
                      <a:pt x="1650" y="6667"/>
                    </a:cubicBezTo>
                    <a:cubicBezTo>
                      <a:pt x="1631" y="6667"/>
                      <a:pt x="1631" y="6667"/>
                      <a:pt x="1631" y="6667"/>
                    </a:cubicBezTo>
                    <a:cubicBezTo>
                      <a:pt x="1631" y="6667"/>
                      <a:pt x="1624" y="6660"/>
                      <a:pt x="1622" y="6660"/>
                    </a:cubicBezTo>
                    <a:cubicBezTo>
                      <a:pt x="1620" y="6660"/>
                      <a:pt x="1609" y="6681"/>
                      <a:pt x="1600" y="6681"/>
                    </a:cubicBezTo>
                    <a:cubicBezTo>
                      <a:pt x="1591" y="6680"/>
                      <a:pt x="1586" y="6667"/>
                      <a:pt x="1584" y="6667"/>
                    </a:cubicBezTo>
                    <a:cubicBezTo>
                      <a:pt x="1582" y="6667"/>
                      <a:pt x="1551" y="6673"/>
                      <a:pt x="1553" y="6658"/>
                    </a:cubicBezTo>
                    <a:cubicBezTo>
                      <a:pt x="1538" y="6670"/>
                      <a:pt x="1538" y="6670"/>
                      <a:pt x="1538" y="6670"/>
                    </a:cubicBezTo>
                    <a:cubicBezTo>
                      <a:pt x="1542" y="6687"/>
                      <a:pt x="1542" y="6687"/>
                      <a:pt x="1542" y="6687"/>
                    </a:cubicBezTo>
                    <a:cubicBezTo>
                      <a:pt x="1534" y="6691"/>
                      <a:pt x="1534" y="6691"/>
                      <a:pt x="1534" y="6691"/>
                    </a:cubicBezTo>
                    <a:cubicBezTo>
                      <a:pt x="1540" y="6709"/>
                      <a:pt x="1540" y="6709"/>
                      <a:pt x="1540" y="6709"/>
                    </a:cubicBezTo>
                    <a:cubicBezTo>
                      <a:pt x="1540" y="6709"/>
                      <a:pt x="1503" y="6723"/>
                      <a:pt x="1491" y="6723"/>
                    </a:cubicBezTo>
                    <a:cubicBezTo>
                      <a:pt x="1478" y="6723"/>
                      <a:pt x="1462" y="6747"/>
                      <a:pt x="1462" y="6747"/>
                    </a:cubicBezTo>
                    <a:cubicBezTo>
                      <a:pt x="1462" y="6747"/>
                      <a:pt x="1437" y="6750"/>
                      <a:pt x="1432" y="6759"/>
                    </a:cubicBezTo>
                    <a:cubicBezTo>
                      <a:pt x="1441" y="6762"/>
                      <a:pt x="1441" y="6766"/>
                      <a:pt x="1441" y="6766"/>
                    </a:cubicBezTo>
                    <a:cubicBezTo>
                      <a:pt x="1432" y="6773"/>
                      <a:pt x="1432" y="6773"/>
                      <a:pt x="1432" y="6773"/>
                    </a:cubicBezTo>
                    <a:cubicBezTo>
                      <a:pt x="1435" y="6779"/>
                      <a:pt x="1435" y="6779"/>
                      <a:pt x="1435" y="6779"/>
                    </a:cubicBezTo>
                    <a:cubicBezTo>
                      <a:pt x="1430" y="6785"/>
                      <a:pt x="1430" y="6785"/>
                      <a:pt x="1430" y="6785"/>
                    </a:cubicBezTo>
                    <a:cubicBezTo>
                      <a:pt x="1424" y="6776"/>
                      <a:pt x="1424" y="6776"/>
                      <a:pt x="1424" y="6776"/>
                    </a:cubicBezTo>
                    <a:cubicBezTo>
                      <a:pt x="1412" y="6792"/>
                      <a:pt x="1412" y="6792"/>
                      <a:pt x="1412" y="6792"/>
                    </a:cubicBezTo>
                    <a:cubicBezTo>
                      <a:pt x="1423" y="6800"/>
                      <a:pt x="1423" y="6800"/>
                      <a:pt x="1423" y="6800"/>
                    </a:cubicBezTo>
                    <a:cubicBezTo>
                      <a:pt x="1432" y="6791"/>
                      <a:pt x="1432" y="6791"/>
                      <a:pt x="1432" y="6791"/>
                    </a:cubicBezTo>
                    <a:cubicBezTo>
                      <a:pt x="1443" y="6798"/>
                      <a:pt x="1443" y="6798"/>
                      <a:pt x="1443" y="6798"/>
                    </a:cubicBezTo>
                    <a:cubicBezTo>
                      <a:pt x="1443" y="6798"/>
                      <a:pt x="1456" y="6788"/>
                      <a:pt x="1468" y="6789"/>
                    </a:cubicBezTo>
                    <a:cubicBezTo>
                      <a:pt x="1480" y="6789"/>
                      <a:pt x="1525" y="6785"/>
                      <a:pt x="1525" y="6828"/>
                    </a:cubicBezTo>
                    <a:cubicBezTo>
                      <a:pt x="1531" y="6847"/>
                      <a:pt x="1535" y="6857"/>
                      <a:pt x="1523" y="6861"/>
                    </a:cubicBezTo>
                    <a:cubicBezTo>
                      <a:pt x="1511" y="6864"/>
                      <a:pt x="1482" y="6866"/>
                      <a:pt x="1483" y="6884"/>
                    </a:cubicBezTo>
                    <a:cubicBezTo>
                      <a:pt x="1471" y="6895"/>
                      <a:pt x="1480" y="6891"/>
                      <a:pt x="1472" y="6890"/>
                    </a:cubicBezTo>
                    <a:cubicBezTo>
                      <a:pt x="1464" y="6889"/>
                      <a:pt x="1459" y="6881"/>
                      <a:pt x="1459" y="6881"/>
                    </a:cubicBezTo>
                    <a:cubicBezTo>
                      <a:pt x="1458" y="6895"/>
                      <a:pt x="1458" y="6895"/>
                      <a:pt x="1458" y="6895"/>
                    </a:cubicBezTo>
                    <a:cubicBezTo>
                      <a:pt x="1458" y="6895"/>
                      <a:pt x="1463" y="6884"/>
                      <a:pt x="1465" y="6906"/>
                    </a:cubicBezTo>
                    <a:cubicBezTo>
                      <a:pt x="1465" y="6906"/>
                      <a:pt x="1475" y="6902"/>
                      <a:pt x="1481" y="6902"/>
                    </a:cubicBezTo>
                    <a:cubicBezTo>
                      <a:pt x="1486" y="6902"/>
                      <a:pt x="1483" y="6933"/>
                      <a:pt x="1497" y="6934"/>
                    </a:cubicBezTo>
                    <a:cubicBezTo>
                      <a:pt x="1511" y="6935"/>
                      <a:pt x="1508" y="6910"/>
                      <a:pt x="1508" y="6910"/>
                    </a:cubicBezTo>
                    <a:cubicBezTo>
                      <a:pt x="1529" y="6904"/>
                      <a:pt x="1529" y="6904"/>
                      <a:pt x="1529" y="6904"/>
                    </a:cubicBezTo>
                    <a:cubicBezTo>
                      <a:pt x="1529" y="6904"/>
                      <a:pt x="1531" y="6917"/>
                      <a:pt x="1549" y="6917"/>
                    </a:cubicBezTo>
                    <a:cubicBezTo>
                      <a:pt x="1551" y="6923"/>
                      <a:pt x="1551" y="6925"/>
                      <a:pt x="1552" y="6926"/>
                    </a:cubicBezTo>
                    <a:cubicBezTo>
                      <a:pt x="1541" y="6933"/>
                      <a:pt x="1541" y="6933"/>
                      <a:pt x="1541" y="6933"/>
                    </a:cubicBezTo>
                    <a:cubicBezTo>
                      <a:pt x="1541" y="6933"/>
                      <a:pt x="1533" y="6925"/>
                      <a:pt x="1525" y="6925"/>
                    </a:cubicBezTo>
                    <a:cubicBezTo>
                      <a:pt x="1518" y="6926"/>
                      <a:pt x="1513" y="6934"/>
                      <a:pt x="1513" y="6934"/>
                    </a:cubicBezTo>
                    <a:cubicBezTo>
                      <a:pt x="1513" y="6934"/>
                      <a:pt x="1521" y="6949"/>
                      <a:pt x="1545" y="6952"/>
                    </a:cubicBezTo>
                    <a:cubicBezTo>
                      <a:pt x="1561" y="6971"/>
                      <a:pt x="1553" y="6966"/>
                      <a:pt x="1553" y="6966"/>
                    </a:cubicBezTo>
                    <a:cubicBezTo>
                      <a:pt x="1543" y="6974"/>
                      <a:pt x="1543" y="6974"/>
                      <a:pt x="1543" y="6974"/>
                    </a:cubicBezTo>
                    <a:cubicBezTo>
                      <a:pt x="1543" y="6974"/>
                      <a:pt x="1548" y="6994"/>
                      <a:pt x="1592" y="6993"/>
                    </a:cubicBezTo>
                    <a:cubicBezTo>
                      <a:pt x="1601" y="7002"/>
                      <a:pt x="1601" y="7002"/>
                      <a:pt x="1601" y="7002"/>
                    </a:cubicBezTo>
                    <a:cubicBezTo>
                      <a:pt x="1624" y="6993"/>
                      <a:pt x="1624" y="6993"/>
                      <a:pt x="1624" y="6993"/>
                    </a:cubicBezTo>
                    <a:cubicBezTo>
                      <a:pt x="1624" y="6993"/>
                      <a:pt x="1612" y="6971"/>
                      <a:pt x="1647" y="6967"/>
                    </a:cubicBezTo>
                    <a:cubicBezTo>
                      <a:pt x="1664" y="6974"/>
                      <a:pt x="1673" y="6977"/>
                      <a:pt x="1673" y="6977"/>
                    </a:cubicBezTo>
                    <a:cubicBezTo>
                      <a:pt x="1683" y="6961"/>
                      <a:pt x="1683" y="6961"/>
                      <a:pt x="1683" y="6961"/>
                    </a:cubicBezTo>
                    <a:cubicBezTo>
                      <a:pt x="1710" y="6961"/>
                      <a:pt x="1710" y="6961"/>
                      <a:pt x="1710" y="6961"/>
                    </a:cubicBezTo>
                    <a:cubicBezTo>
                      <a:pt x="1709" y="6951"/>
                      <a:pt x="1709" y="6951"/>
                      <a:pt x="1709" y="6951"/>
                    </a:cubicBezTo>
                    <a:cubicBezTo>
                      <a:pt x="1717" y="6949"/>
                      <a:pt x="1717" y="6949"/>
                      <a:pt x="1717" y="6949"/>
                    </a:cubicBezTo>
                    <a:cubicBezTo>
                      <a:pt x="1712" y="6939"/>
                      <a:pt x="1712" y="6939"/>
                      <a:pt x="1712" y="6939"/>
                    </a:cubicBezTo>
                    <a:cubicBezTo>
                      <a:pt x="1721" y="6929"/>
                      <a:pt x="1721" y="6929"/>
                      <a:pt x="1721" y="6929"/>
                    </a:cubicBezTo>
                    <a:cubicBezTo>
                      <a:pt x="1721" y="6929"/>
                      <a:pt x="1713" y="6918"/>
                      <a:pt x="1719" y="6911"/>
                    </a:cubicBezTo>
                    <a:cubicBezTo>
                      <a:pt x="1737" y="6884"/>
                      <a:pt x="1793" y="6901"/>
                      <a:pt x="1793" y="6901"/>
                    </a:cubicBezTo>
                    <a:cubicBezTo>
                      <a:pt x="1793" y="6901"/>
                      <a:pt x="1830" y="6905"/>
                      <a:pt x="1830" y="6903"/>
                    </a:cubicBezTo>
                    <a:cubicBezTo>
                      <a:pt x="1830" y="6901"/>
                      <a:pt x="1839" y="6893"/>
                      <a:pt x="1839" y="6893"/>
                    </a:cubicBezTo>
                    <a:cubicBezTo>
                      <a:pt x="1827" y="6879"/>
                      <a:pt x="1827" y="6879"/>
                      <a:pt x="1827" y="6879"/>
                    </a:cubicBezTo>
                    <a:cubicBezTo>
                      <a:pt x="1833" y="6873"/>
                      <a:pt x="1833" y="6873"/>
                      <a:pt x="1833" y="6873"/>
                    </a:cubicBezTo>
                    <a:cubicBezTo>
                      <a:pt x="1833" y="6873"/>
                      <a:pt x="1835" y="6883"/>
                      <a:pt x="1844" y="6881"/>
                    </a:cubicBezTo>
                    <a:cubicBezTo>
                      <a:pt x="1853" y="6880"/>
                      <a:pt x="1863" y="6860"/>
                      <a:pt x="1863" y="6860"/>
                    </a:cubicBezTo>
                    <a:cubicBezTo>
                      <a:pt x="1868" y="6865"/>
                      <a:pt x="1868" y="6865"/>
                      <a:pt x="1868" y="6865"/>
                    </a:cubicBezTo>
                    <a:cubicBezTo>
                      <a:pt x="1855" y="6884"/>
                      <a:pt x="1855" y="6884"/>
                      <a:pt x="1855" y="6884"/>
                    </a:cubicBezTo>
                    <a:cubicBezTo>
                      <a:pt x="1855" y="6884"/>
                      <a:pt x="1878" y="6903"/>
                      <a:pt x="1869" y="6906"/>
                    </a:cubicBezTo>
                    <a:cubicBezTo>
                      <a:pt x="1859" y="6909"/>
                      <a:pt x="1857" y="6901"/>
                      <a:pt x="1857" y="6901"/>
                    </a:cubicBezTo>
                    <a:cubicBezTo>
                      <a:pt x="1853" y="6906"/>
                      <a:pt x="1853" y="6906"/>
                      <a:pt x="1853" y="6906"/>
                    </a:cubicBezTo>
                    <a:cubicBezTo>
                      <a:pt x="1889" y="6957"/>
                      <a:pt x="1889" y="6957"/>
                      <a:pt x="1889" y="6957"/>
                    </a:cubicBezTo>
                    <a:cubicBezTo>
                      <a:pt x="1915" y="6955"/>
                      <a:pt x="1915" y="6955"/>
                      <a:pt x="1915" y="6955"/>
                    </a:cubicBezTo>
                    <a:cubicBezTo>
                      <a:pt x="1916" y="6945"/>
                      <a:pt x="1916" y="6945"/>
                      <a:pt x="1916" y="6945"/>
                    </a:cubicBezTo>
                    <a:cubicBezTo>
                      <a:pt x="1949" y="6947"/>
                      <a:pt x="1949" y="6947"/>
                      <a:pt x="1949" y="6947"/>
                    </a:cubicBezTo>
                    <a:cubicBezTo>
                      <a:pt x="1949" y="6947"/>
                      <a:pt x="1956" y="6968"/>
                      <a:pt x="1963" y="6968"/>
                    </a:cubicBezTo>
                    <a:cubicBezTo>
                      <a:pt x="1969" y="6968"/>
                      <a:pt x="1981" y="6953"/>
                      <a:pt x="1982" y="6961"/>
                    </a:cubicBezTo>
                    <a:cubicBezTo>
                      <a:pt x="1983" y="6970"/>
                      <a:pt x="1973" y="6971"/>
                      <a:pt x="1973" y="6971"/>
                    </a:cubicBezTo>
                    <a:cubicBezTo>
                      <a:pt x="1966" y="6982"/>
                      <a:pt x="1966" y="6982"/>
                      <a:pt x="1966" y="6982"/>
                    </a:cubicBezTo>
                    <a:cubicBezTo>
                      <a:pt x="1927" y="6984"/>
                      <a:pt x="1927" y="6984"/>
                      <a:pt x="1927" y="6984"/>
                    </a:cubicBezTo>
                    <a:cubicBezTo>
                      <a:pt x="1926" y="6971"/>
                      <a:pt x="1926" y="6971"/>
                      <a:pt x="1926" y="6971"/>
                    </a:cubicBezTo>
                    <a:cubicBezTo>
                      <a:pt x="1890" y="6998"/>
                      <a:pt x="1890" y="6998"/>
                      <a:pt x="1890" y="6998"/>
                    </a:cubicBezTo>
                    <a:cubicBezTo>
                      <a:pt x="1901" y="7011"/>
                      <a:pt x="1901" y="7011"/>
                      <a:pt x="1901" y="7011"/>
                    </a:cubicBezTo>
                    <a:cubicBezTo>
                      <a:pt x="1902" y="7028"/>
                      <a:pt x="1902" y="7028"/>
                      <a:pt x="1902" y="7028"/>
                    </a:cubicBezTo>
                    <a:cubicBezTo>
                      <a:pt x="1902" y="7028"/>
                      <a:pt x="1888" y="7034"/>
                      <a:pt x="1890" y="7035"/>
                    </a:cubicBezTo>
                    <a:cubicBezTo>
                      <a:pt x="1892" y="7037"/>
                      <a:pt x="1904" y="7039"/>
                      <a:pt x="1904" y="7039"/>
                    </a:cubicBezTo>
                    <a:cubicBezTo>
                      <a:pt x="1904" y="7039"/>
                      <a:pt x="1921" y="7061"/>
                      <a:pt x="1932" y="7061"/>
                    </a:cubicBezTo>
                    <a:cubicBezTo>
                      <a:pt x="1943" y="7061"/>
                      <a:pt x="1951" y="7057"/>
                      <a:pt x="1962" y="7057"/>
                    </a:cubicBezTo>
                    <a:cubicBezTo>
                      <a:pt x="1973" y="7057"/>
                      <a:pt x="1971" y="7053"/>
                      <a:pt x="1971" y="7053"/>
                    </a:cubicBezTo>
                    <a:cubicBezTo>
                      <a:pt x="1963" y="7043"/>
                      <a:pt x="1963" y="7043"/>
                      <a:pt x="1963" y="7043"/>
                    </a:cubicBezTo>
                    <a:cubicBezTo>
                      <a:pt x="1963" y="7043"/>
                      <a:pt x="1967" y="7029"/>
                      <a:pt x="1977" y="7029"/>
                    </a:cubicBezTo>
                    <a:cubicBezTo>
                      <a:pt x="1987" y="7030"/>
                      <a:pt x="1987" y="7037"/>
                      <a:pt x="1987" y="7037"/>
                    </a:cubicBezTo>
                    <a:cubicBezTo>
                      <a:pt x="2048" y="7041"/>
                      <a:pt x="2048" y="7041"/>
                      <a:pt x="2048" y="7041"/>
                    </a:cubicBezTo>
                    <a:cubicBezTo>
                      <a:pt x="2048" y="7041"/>
                      <a:pt x="2032" y="7027"/>
                      <a:pt x="2036" y="7020"/>
                    </a:cubicBezTo>
                    <a:cubicBezTo>
                      <a:pt x="2040" y="7013"/>
                      <a:pt x="2049" y="6999"/>
                      <a:pt x="2059" y="6997"/>
                    </a:cubicBezTo>
                    <a:cubicBezTo>
                      <a:pt x="2070" y="6996"/>
                      <a:pt x="2105" y="6997"/>
                      <a:pt x="2105" y="6997"/>
                    </a:cubicBezTo>
                    <a:cubicBezTo>
                      <a:pt x="2131" y="7036"/>
                      <a:pt x="2131" y="7036"/>
                      <a:pt x="2131" y="7036"/>
                    </a:cubicBezTo>
                    <a:cubicBezTo>
                      <a:pt x="2131" y="7036"/>
                      <a:pt x="2149" y="7093"/>
                      <a:pt x="2151" y="7093"/>
                    </a:cubicBezTo>
                    <a:cubicBezTo>
                      <a:pt x="2153" y="7093"/>
                      <a:pt x="2160" y="7093"/>
                      <a:pt x="2160" y="7093"/>
                    </a:cubicBezTo>
                    <a:cubicBezTo>
                      <a:pt x="2162" y="7113"/>
                      <a:pt x="2162" y="7113"/>
                      <a:pt x="2162" y="7113"/>
                    </a:cubicBezTo>
                    <a:cubicBezTo>
                      <a:pt x="2183" y="7115"/>
                      <a:pt x="2183" y="7115"/>
                      <a:pt x="2183" y="7115"/>
                    </a:cubicBezTo>
                    <a:cubicBezTo>
                      <a:pt x="2187" y="7107"/>
                      <a:pt x="2187" y="7107"/>
                      <a:pt x="2187" y="7107"/>
                    </a:cubicBezTo>
                    <a:cubicBezTo>
                      <a:pt x="2187" y="7107"/>
                      <a:pt x="2198" y="7108"/>
                      <a:pt x="2201" y="7128"/>
                    </a:cubicBezTo>
                    <a:cubicBezTo>
                      <a:pt x="2212" y="7135"/>
                      <a:pt x="2240" y="7159"/>
                      <a:pt x="2242" y="7173"/>
                    </a:cubicBezTo>
                    <a:cubicBezTo>
                      <a:pt x="2282" y="7178"/>
                      <a:pt x="2282" y="7178"/>
                      <a:pt x="2282" y="7178"/>
                    </a:cubicBezTo>
                    <a:cubicBezTo>
                      <a:pt x="2289" y="7185"/>
                      <a:pt x="2289" y="7185"/>
                      <a:pt x="2289" y="7185"/>
                    </a:cubicBezTo>
                    <a:cubicBezTo>
                      <a:pt x="2289" y="7185"/>
                      <a:pt x="2347" y="7190"/>
                      <a:pt x="2348" y="7187"/>
                    </a:cubicBezTo>
                    <a:cubicBezTo>
                      <a:pt x="2349" y="7185"/>
                      <a:pt x="2353" y="7178"/>
                      <a:pt x="2353" y="7178"/>
                    </a:cubicBezTo>
                    <a:cubicBezTo>
                      <a:pt x="2353" y="7178"/>
                      <a:pt x="2359" y="7187"/>
                      <a:pt x="2368" y="7186"/>
                    </a:cubicBezTo>
                    <a:cubicBezTo>
                      <a:pt x="2377" y="7185"/>
                      <a:pt x="2392" y="7173"/>
                      <a:pt x="2392" y="7173"/>
                    </a:cubicBezTo>
                    <a:cubicBezTo>
                      <a:pt x="2406" y="7175"/>
                      <a:pt x="2406" y="7175"/>
                      <a:pt x="2406" y="7175"/>
                    </a:cubicBezTo>
                    <a:cubicBezTo>
                      <a:pt x="2409" y="7183"/>
                      <a:pt x="2409" y="7183"/>
                      <a:pt x="2409" y="7183"/>
                    </a:cubicBezTo>
                    <a:cubicBezTo>
                      <a:pt x="2416" y="7174"/>
                      <a:pt x="2416" y="7174"/>
                      <a:pt x="2416" y="7174"/>
                    </a:cubicBezTo>
                    <a:cubicBezTo>
                      <a:pt x="2416" y="7174"/>
                      <a:pt x="2413" y="7135"/>
                      <a:pt x="2435" y="7128"/>
                    </a:cubicBezTo>
                    <a:cubicBezTo>
                      <a:pt x="2437" y="7115"/>
                      <a:pt x="2432" y="7117"/>
                      <a:pt x="2434" y="7115"/>
                    </a:cubicBezTo>
                    <a:cubicBezTo>
                      <a:pt x="2436" y="7113"/>
                      <a:pt x="2499" y="7071"/>
                      <a:pt x="2499" y="7071"/>
                    </a:cubicBezTo>
                    <a:cubicBezTo>
                      <a:pt x="2499" y="7071"/>
                      <a:pt x="2497" y="7059"/>
                      <a:pt x="2500" y="7058"/>
                    </a:cubicBezTo>
                    <a:cubicBezTo>
                      <a:pt x="2503" y="7057"/>
                      <a:pt x="2509" y="7071"/>
                      <a:pt x="2509" y="7071"/>
                    </a:cubicBezTo>
                    <a:cubicBezTo>
                      <a:pt x="2509" y="7071"/>
                      <a:pt x="2536" y="7069"/>
                      <a:pt x="2536" y="7074"/>
                    </a:cubicBezTo>
                    <a:cubicBezTo>
                      <a:pt x="2539" y="7077"/>
                      <a:pt x="2571" y="7066"/>
                      <a:pt x="2571" y="7066"/>
                    </a:cubicBezTo>
                    <a:cubicBezTo>
                      <a:pt x="2571" y="7059"/>
                      <a:pt x="2571" y="7059"/>
                      <a:pt x="2571" y="7059"/>
                    </a:cubicBezTo>
                    <a:cubicBezTo>
                      <a:pt x="2608" y="7037"/>
                      <a:pt x="2608" y="7037"/>
                      <a:pt x="2608" y="7037"/>
                    </a:cubicBezTo>
                    <a:cubicBezTo>
                      <a:pt x="2626" y="7039"/>
                      <a:pt x="2626" y="7039"/>
                      <a:pt x="2626" y="7039"/>
                    </a:cubicBezTo>
                    <a:cubicBezTo>
                      <a:pt x="2640" y="7018"/>
                      <a:pt x="2640" y="7018"/>
                      <a:pt x="2640" y="7018"/>
                    </a:cubicBezTo>
                    <a:cubicBezTo>
                      <a:pt x="2654" y="7019"/>
                      <a:pt x="2654" y="7019"/>
                      <a:pt x="2654" y="7019"/>
                    </a:cubicBezTo>
                    <a:cubicBezTo>
                      <a:pt x="2654" y="7019"/>
                      <a:pt x="2650" y="7001"/>
                      <a:pt x="2656" y="6997"/>
                    </a:cubicBezTo>
                    <a:cubicBezTo>
                      <a:pt x="2662" y="6994"/>
                      <a:pt x="2666" y="6983"/>
                      <a:pt x="2666" y="6983"/>
                    </a:cubicBezTo>
                    <a:cubicBezTo>
                      <a:pt x="2666" y="6983"/>
                      <a:pt x="2663" y="6969"/>
                      <a:pt x="2666" y="6969"/>
                    </a:cubicBezTo>
                    <a:cubicBezTo>
                      <a:pt x="2669" y="6969"/>
                      <a:pt x="2677" y="6956"/>
                      <a:pt x="2688" y="6956"/>
                    </a:cubicBezTo>
                    <a:cubicBezTo>
                      <a:pt x="2699" y="6956"/>
                      <a:pt x="2707" y="6949"/>
                      <a:pt x="2707" y="6949"/>
                    </a:cubicBezTo>
                    <a:cubicBezTo>
                      <a:pt x="2707" y="6949"/>
                      <a:pt x="2726" y="6917"/>
                      <a:pt x="2737" y="6913"/>
                    </a:cubicBezTo>
                    <a:cubicBezTo>
                      <a:pt x="2749" y="6905"/>
                      <a:pt x="2748" y="6903"/>
                      <a:pt x="2748" y="6903"/>
                    </a:cubicBezTo>
                    <a:cubicBezTo>
                      <a:pt x="2759" y="6901"/>
                      <a:pt x="2759" y="6901"/>
                      <a:pt x="2759" y="6901"/>
                    </a:cubicBezTo>
                    <a:cubicBezTo>
                      <a:pt x="2759" y="6901"/>
                      <a:pt x="2762" y="6885"/>
                      <a:pt x="2767" y="6888"/>
                    </a:cubicBezTo>
                    <a:cubicBezTo>
                      <a:pt x="2773" y="6891"/>
                      <a:pt x="2777" y="6898"/>
                      <a:pt x="2777" y="6898"/>
                    </a:cubicBezTo>
                    <a:cubicBezTo>
                      <a:pt x="2777" y="6898"/>
                      <a:pt x="2756" y="6909"/>
                      <a:pt x="2755" y="6914"/>
                    </a:cubicBezTo>
                    <a:cubicBezTo>
                      <a:pt x="2755" y="6919"/>
                      <a:pt x="2731" y="6921"/>
                      <a:pt x="2731" y="6934"/>
                    </a:cubicBezTo>
                    <a:cubicBezTo>
                      <a:pt x="2731" y="6947"/>
                      <a:pt x="2719" y="6959"/>
                      <a:pt x="2719" y="6959"/>
                    </a:cubicBezTo>
                    <a:cubicBezTo>
                      <a:pt x="2719" y="6959"/>
                      <a:pt x="2693" y="6963"/>
                      <a:pt x="2685" y="6997"/>
                    </a:cubicBezTo>
                    <a:cubicBezTo>
                      <a:pt x="2659" y="7029"/>
                      <a:pt x="2655" y="7037"/>
                      <a:pt x="2655" y="7037"/>
                    </a:cubicBezTo>
                    <a:cubicBezTo>
                      <a:pt x="2643" y="7041"/>
                      <a:pt x="2643" y="7041"/>
                      <a:pt x="2643" y="7041"/>
                    </a:cubicBezTo>
                    <a:cubicBezTo>
                      <a:pt x="2643" y="7041"/>
                      <a:pt x="2636" y="7103"/>
                      <a:pt x="2615" y="7104"/>
                    </a:cubicBezTo>
                    <a:cubicBezTo>
                      <a:pt x="2593" y="7105"/>
                      <a:pt x="2577" y="7110"/>
                      <a:pt x="2571" y="7129"/>
                    </a:cubicBezTo>
                    <a:cubicBezTo>
                      <a:pt x="2554" y="7147"/>
                      <a:pt x="2539" y="7180"/>
                      <a:pt x="2539" y="7180"/>
                    </a:cubicBezTo>
                    <a:cubicBezTo>
                      <a:pt x="2539" y="7180"/>
                      <a:pt x="2511" y="7176"/>
                      <a:pt x="2507" y="7181"/>
                    </a:cubicBezTo>
                    <a:cubicBezTo>
                      <a:pt x="2503" y="7187"/>
                      <a:pt x="2509" y="7207"/>
                      <a:pt x="2509" y="7207"/>
                    </a:cubicBezTo>
                    <a:cubicBezTo>
                      <a:pt x="2496" y="7206"/>
                      <a:pt x="2496" y="7206"/>
                      <a:pt x="2496" y="7206"/>
                    </a:cubicBezTo>
                    <a:cubicBezTo>
                      <a:pt x="2496" y="7206"/>
                      <a:pt x="2506" y="7232"/>
                      <a:pt x="2497" y="7233"/>
                    </a:cubicBezTo>
                    <a:cubicBezTo>
                      <a:pt x="2489" y="7235"/>
                      <a:pt x="2481" y="7227"/>
                      <a:pt x="2481" y="7227"/>
                    </a:cubicBezTo>
                    <a:cubicBezTo>
                      <a:pt x="2481" y="7227"/>
                      <a:pt x="2480" y="7243"/>
                      <a:pt x="2487" y="7243"/>
                    </a:cubicBezTo>
                    <a:cubicBezTo>
                      <a:pt x="2486" y="7245"/>
                      <a:pt x="2489" y="7270"/>
                      <a:pt x="2489" y="7270"/>
                    </a:cubicBezTo>
                    <a:cubicBezTo>
                      <a:pt x="2484" y="7274"/>
                      <a:pt x="2484" y="7274"/>
                      <a:pt x="2484" y="7274"/>
                    </a:cubicBezTo>
                    <a:cubicBezTo>
                      <a:pt x="2484" y="7274"/>
                      <a:pt x="2494" y="7314"/>
                      <a:pt x="2494" y="7320"/>
                    </a:cubicBezTo>
                    <a:cubicBezTo>
                      <a:pt x="2494" y="7326"/>
                      <a:pt x="2470" y="7315"/>
                      <a:pt x="2469" y="7332"/>
                    </a:cubicBezTo>
                    <a:cubicBezTo>
                      <a:pt x="2457" y="7334"/>
                      <a:pt x="2451" y="7324"/>
                      <a:pt x="2439" y="7324"/>
                    </a:cubicBezTo>
                    <a:cubicBezTo>
                      <a:pt x="2428" y="7324"/>
                      <a:pt x="2379" y="7343"/>
                      <a:pt x="2379" y="7343"/>
                    </a:cubicBezTo>
                    <a:cubicBezTo>
                      <a:pt x="2306" y="7343"/>
                      <a:pt x="2306" y="7343"/>
                      <a:pt x="2306" y="7343"/>
                    </a:cubicBezTo>
                    <a:cubicBezTo>
                      <a:pt x="2306" y="7343"/>
                      <a:pt x="2272" y="7307"/>
                      <a:pt x="2256" y="7307"/>
                    </a:cubicBezTo>
                    <a:cubicBezTo>
                      <a:pt x="2251" y="7300"/>
                      <a:pt x="2223" y="7291"/>
                      <a:pt x="2219" y="7313"/>
                    </a:cubicBezTo>
                    <a:cubicBezTo>
                      <a:pt x="2209" y="7314"/>
                      <a:pt x="2207" y="7314"/>
                      <a:pt x="2206" y="7314"/>
                    </a:cubicBezTo>
                    <a:cubicBezTo>
                      <a:pt x="2205" y="7314"/>
                      <a:pt x="2196" y="7306"/>
                      <a:pt x="2175" y="7306"/>
                    </a:cubicBezTo>
                    <a:cubicBezTo>
                      <a:pt x="2168" y="7307"/>
                      <a:pt x="2177" y="7295"/>
                      <a:pt x="2148" y="7297"/>
                    </a:cubicBezTo>
                    <a:cubicBezTo>
                      <a:pt x="2137" y="7297"/>
                      <a:pt x="2135" y="7290"/>
                      <a:pt x="2135" y="7290"/>
                    </a:cubicBezTo>
                    <a:cubicBezTo>
                      <a:pt x="2097" y="7304"/>
                      <a:pt x="2097" y="7304"/>
                      <a:pt x="2097" y="7304"/>
                    </a:cubicBezTo>
                    <a:cubicBezTo>
                      <a:pt x="2076" y="7305"/>
                      <a:pt x="2076" y="7305"/>
                      <a:pt x="2076" y="7305"/>
                    </a:cubicBezTo>
                    <a:cubicBezTo>
                      <a:pt x="2072" y="7293"/>
                      <a:pt x="2072" y="7293"/>
                      <a:pt x="2072" y="7293"/>
                    </a:cubicBezTo>
                    <a:cubicBezTo>
                      <a:pt x="2053" y="7310"/>
                      <a:pt x="2053" y="7310"/>
                      <a:pt x="2053" y="7310"/>
                    </a:cubicBezTo>
                    <a:cubicBezTo>
                      <a:pt x="2011" y="7319"/>
                      <a:pt x="2011" y="7319"/>
                      <a:pt x="2011" y="7319"/>
                    </a:cubicBezTo>
                    <a:cubicBezTo>
                      <a:pt x="1996" y="7309"/>
                      <a:pt x="1996" y="7309"/>
                      <a:pt x="1996" y="7309"/>
                    </a:cubicBezTo>
                    <a:cubicBezTo>
                      <a:pt x="1973" y="7312"/>
                      <a:pt x="1973" y="7312"/>
                      <a:pt x="1973" y="7312"/>
                    </a:cubicBezTo>
                    <a:cubicBezTo>
                      <a:pt x="1929" y="7331"/>
                      <a:pt x="1929" y="7331"/>
                      <a:pt x="1929" y="7331"/>
                    </a:cubicBezTo>
                    <a:cubicBezTo>
                      <a:pt x="1929" y="7331"/>
                      <a:pt x="1945" y="7349"/>
                      <a:pt x="1935" y="7359"/>
                    </a:cubicBezTo>
                    <a:cubicBezTo>
                      <a:pt x="1924" y="7369"/>
                      <a:pt x="1915" y="7364"/>
                      <a:pt x="1915" y="7364"/>
                    </a:cubicBezTo>
                    <a:cubicBezTo>
                      <a:pt x="1915" y="7364"/>
                      <a:pt x="1917" y="7392"/>
                      <a:pt x="1929" y="7392"/>
                    </a:cubicBezTo>
                    <a:cubicBezTo>
                      <a:pt x="1937" y="7405"/>
                      <a:pt x="1931" y="7418"/>
                      <a:pt x="1931" y="7418"/>
                    </a:cubicBezTo>
                    <a:cubicBezTo>
                      <a:pt x="1931" y="7418"/>
                      <a:pt x="1954" y="7435"/>
                      <a:pt x="1945" y="7437"/>
                    </a:cubicBezTo>
                    <a:cubicBezTo>
                      <a:pt x="1937" y="7439"/>
                      <a:pt x="1933" y="7430"/>
                      <a:pt x="1933" y="7430"/>
                    </a:cubicBezTo>
                    <a:cubicBezTo>
                      <a:pt x="1933" y="7430"/>
                      <a:pt x="1921" y="7450"/>
                      <a:pt x="1911" y="7450"/>
                    </a:cubicBezTo>
                    <a:cubicBezTo>
                      <a:pt x="1903" y="7465"/>
                      <a:pt x="1888" y="7481"/>
                      <a:pt x="1888" y="7481"/>
                    </a:cubicBezTo>
                    <a:cubicBezTo>
                      <a:pt x="1851" y="7481"/>
                      <a:pt x="1851" y="7481"/>
                      <a:pt x="1851" y="7481"/>
                    </a:cubicBezTo>
                    <a:cubicBezTo>
                      <a:pt x="1842" y="7467"/>
                      <a:pt x="1842" y="7467"/>
                      <a:pt x="1842" y="7467"/>
                    </a:cubicBezTo>
                    <a:cubicBezTo>
                      <a:pt x="1842" y="7467"/>
                      <a:pt x="1825" y="7458"/>
                      <a:pt x="1811" y="7458"/>
                    </a:cubicBezTo>
                    <a:cubicBezTo>
                      <a:pt x="1771" y="7457"/>
                      <a:pt x="1786" y="7506"/>
                      <a:pt x="1786" y="7506"/>
                    </a:cubicBezTo>
                    <a:cubicBezTo>
                      <a:pt x="1769" y="7555"/>
                      <a:pt x="1769" y="7555"/>
                      <a:pt x="1769" y="7555"/>
                    </a:cubicBezTo>
                    <a:cubicBezTo>
                      <a:pt x="1772" y="7565"/>
                      <a:pt x="1772" y="7565"/>
                      <a:pt x="1772" y="7565"/>
                    </a:cubicBezTo>
                    <a:cubicBezTo>
                      <a:pt x="1767" y="7570"/>
                      <a:pt x="1767" y="7570"/>
                      <a:pt x="1767" y="7570"/>
                    </a:cubicBezTo>
                    <a:cubicBezTo>
                      <a:pt x="1777" y="7601"/>
                      <a:pt x="1777" y="7601"/>
                      <a:pt x="1777" y="7601"/>
                    </a:cubicBezTo>
                    <a:cubicBezTo>
                      <a:pt x="1772" y="7610"/>
                      <a:pt x="1772" y="7610"/>
                      <a:pt x="1772" y="7610"/>
                    </a:cubicBezTo>
                    <a:cubicBezTo>
                      <a:pt x="1771" y="7650"/>
                      <a:pt x="1771" y="7650"/>
                      <a:pt x="1771" y="7650"/>
                    </a:cubicBezTo>
                    <a:cubicBezTo>
                      <a:pt x="1733" y="7679"/>
                      <a:pt x="1733" y="7679"/>
                      <a:pt x="1733" y="7679"/>
                    </a:cubicBezTo>
                    <a:cubicBezTo>
                      <a:pt x="1731" y="7705"/>
                      <a:pt x="1731" y="7705"/>
                      <a:pt x="1731" y="7705"/>
                    </a:cubicBezTo>
                    <a:cubicBezTo>
                      <a:pt x="1731" y="7705"/>
                      <a:pt x="1691" y="7723"/>
                      <a:pt x="1695" y="7737"/>
                    </a:cubicBezTo>
                    <a:cubicBezTo>
                      <a:pt x="1681" y="7739"/>
                      <a:pt x="1681" y="7739"/>
                      <a:pt x="1681" y="7739"/>
                    </a:cubicBezTo>
                    <a:cubicBezTo>
                      <a:pt x="1675" y="7777"/>
                      <a:pt x="1675" y="7777"/>
                      <a:pt x="1675" y="7777"/>
                    </a:cubicBezTo>
                    <a:cubicBezTo>
                      <a:pt x="1665" y="7796"/>
                      <a:pt x="1665" y="7796"/>
                      <a:pt x="1665" y="7796"/>
                    </a:cubicBezTo>
                    <a:cubicBezTo>
                      <a:pt x="1631" y="7794"/>
                      <a:pt x="1631" y="7794"/>
                      <a:pt x="1631" y="7794"/>
                    </a:cubicBezTo>
                    <a:cubicBezTo>
                      <a:pt x="1620" y="7807"/>
                      <a:pt x="1620" y="7807"/>
                      <a:pt x="1620" y="7807"/>
                    </a:cubicBezTo>
                    <a:cubicBezTo>
                      <a:pt x="1617" y="7797"/>
                      <a:pt x="1617" y="7797"/>
                      <a:pt x="1617" y="7797"/>
                    </a:cubicBezTo>
                    <a:cubicBezTo>
                      <a:pt x="1601" y="7797"/>
                      <a:pt x="1601" y="7797"/>
                      <a:pt x="1601" y="7797"/>
                    </a:cubicBezTo>
                    <a:cubicBezTo>
                      <a:pt x="1601" y="7797"/>
                      <a:pt x="1604" y="7806"/>
                      <a:pt x="1604" y="7811"/>
                    </a:cubicBezTo>
                    <a:cubicBezTo>
                      <a:pt x="1604" y="7817"/>
                      <a:pt x="1602" y="7824"/>
                      <a:pt x="1602" y="7824"/>
                    </a:cubicBezTo>
                    <a:cubicBezTo>
                      <a:pt x="1602" y="7824"/>
                      <a:pt x="1610" y="7836"/>
                      <a:pt x="1604" y="7837"/>
                    </a:cubicBezTo>
                    <a:cubicBezTo>
                      <a:pt x="1598" y="7837"/>
                      <a:pt x="1593" y="7815"/>
                      <a:pt x="1593" y="7815"/>
                    </a:cubicBezTo>
                    <a:cubicBezTo>
                      <a:pt x="1575" y="7833"/>
                      <a:pt x="1575" y="7833"/>
                      <a:pt x="1575" y="7833"/>
                    </a:cubicBezTo>
                    <a:cubicBezTo>
                      <a:pt x="1575" y="7833"/>
                      <a:pt x="1560" y="7834"/>
                      <a:pt x="1559" y="7829"/>
                    </a:cubicBezTo>
                    <a:cubicBezTo>
                      <a:pt x="1557" y="7823"/>
                      <a:pt x="1550" y="7835"/>
                      <a:pt x="1550" y="7835"/>
                    </a:cubicBezTo>
                    <a:cubicBezTo>
                      <a:pt x="1557" y="7846"/>
                      <a:pt x="1557" y="7846"/>
                      <a:pt x="1557" y="7846"/>
                    </a:cubicBezTo>
                    <a:cubicBezTo>
                      <a:pt x="1557" y="7846"/>
                      <a:pt x="1559" y="7871"/>
                      <a:pt x="1549" y="7871"/>
                    </a:cubicBezTo>
                    <a:cubicBezTo>
                      <a:pt x="1540" y="7871"/>
                      <a:pt x="1554" y="7877"/>
                      <a:pt x="1554" y="7877"/>
                    </a:cubicBezTo>
                    <a:cubicBezTo>
                      <a:pt x="1554" y="7877"/>
                      <a:pt x="1553" y="7937"/>
                      <a:pt x="1539" y="7935"/>
                    </a:cubicBezTo>
                    <a:cubicBezTo>
                      <a:pt x="1526" y="7934"/>
                      <a:pt x="1522" y="7933"/>
                      <a:pt x="1522" y="7933"/>
                    </a:cubicBezTo>
                    <a:cubicBezTo>
                      <a:pt x="1509" y="7947"/>
                      <a:pt x="1509" y="7947"/>
                      <a:pt x="1509" y="7947"/>
                    </a:cubicBezTo>
                    <a:cubicBezTo>
                      <a:pt x="1506" y="7941"/>
                      <a:pt x="1506" y="7941"/>
                      <a:pt x="1506" y="7941"/>
                    </a:cubicBezTo>
                    <a:cubicBezTo>
                      <a:pt x="1494" y="7959"/>
                      <a:pt x="1494" y="7959"/>
                      <a:pt x="1494" y="7959"/>
                    </a:cubicBezTo>
                    <a:cubicBezTo>
                      <a:pt x="1494" y="7959"/>
                      <a:pt x="1499" y="7971"/>
                      <a:pt x="1500" y="7981"/>
                    </a:cubicBezTo>
                    <a:cubicBezTo>
                      <a:pt x="1501" y="7991"/>
                      <a:pt x="1479" y="7997"/>
                      <a:pt x="1479" y="8007"/>
                    </a:cubicBezTo>
                    <a:cubicBezTo>
                      <a:pt x="1468" y="8013"/>
                      <a:pt x="1457" y="8009"/>
                      <a:pt x="1457" y="8009"/>
                    </a:cubicBezTo>
                    <a:cubicBezTo>
                      <a:pt x="1457" y="8037"/>
                      <a:pt x="1457" y="8037"/>
                      <a:pt x="1457" y="8037"/>
                    </a:cubicBezTo>
                    <a:cubicBezTo>
                      <a:pt x="1457" y="8037"/>
                      <a:pt x="1415" y="8056"/>
                      <a:pt x="1419" y="8073"/>
                    </a:cubicBezTo>
                    <a:cubicBezTo>
                      <a:pt x="1381" y="8075"/>
                      <a:pt x="1381" y="8075"/>
                      <a:pt x="1381" y="8075"/>
                    </a:cubicBezTo>
                    <a:cubicBezTo>
                      <a:pt x="1386" y="8085"/>
                      <a:pt x="1386" y="8085"/>
                      <a:pt x="1386" y="8085"/>
                    </a:cubicBezTo>
                    <a:cubicBezTo>
                      <a:pt x="1386" y="8085"/>
                      <a:pt x="1376" y="8111"/>
                      <a:pt x="1363" y="8109"/>
                    </a:cubicBezTo>
                    <a:cubicBezTo>
                      <a:pt x="1349" y="8107"/>
                      <a:pt x="1346" y="8088"/>
                      <a:pt x="1346" y="8088"/>
                    </a:cubicBezTo>
                    <a:cubicBezTo>
                      <a:pt x="1335" y="8089"/>
                      <a:pt x="1335" y="8089"/>
                      <a:pt x="1335" y="8089"/>
                    </a:cubicBezTo>
                    <a:cubicBezTo>
                      <a:pt x="1335" y="8089"/>
                      <a:pt x="1334" y="8093"/>
                      <a:pt x="1332" y="8093"/>
                    </a:cubicBezTo>
                    <a:cubicBezTo>
                      <a:pt x="1330" y="8093"/>
                      <a:pt x="1307" y="8093"/>
                      <a:pt x="1308" y="8109"/>
                    </a:cubicBezTo>
                    <a:cubicBezTo>
                      <a:pt x="1308" y="8109"/>
                      <a:pt x="1268" y="8119"/>
                      <a:pt x="1279" y="8129"/>
                    </a:cubicBezTo>
                    <a:cubicBezTo>
                      <a:pt x="1263" y="8128"/>
                      <a:pt x="1243" y="8137"/>
                      <a:pt x="1243" y="8157"/>
                    </a:cubicBezTo>
                    <a:cubicBezTo>
                      <a:pt x="1233" y="8168"/>
                      <a:pt x="1237" y="8177"/>
                      <a:pt x="1242" y="8179"/>
                    </a:cubicBezTo>
                    <a:cubicBezTo>
                      <a:pt x="1243" y="8181"/>
                      <a:pt x="1244" y="8180"/>
                      <a:pt x="1243" y="8189"/>
                    </a:cubicBezTo>
                    <a:cubicBezTo>
                      <a:pt x="1243" y="8199"/>
                      <a:pt x="1234" y="8205"/>
                      <a:pt x="1234" y="8210"/>
                    </a:cubicBezTo>
                    <a:cubicBezTo>
                      <a:pt x="1234" y="8215"/>
                      <a:pt x="1252" y="8242"/>
                      <a:pt x="1252" y="8242"/>
                    </a:cubicBezTo>
                    <a:cubicBezTo>
                      <a:pt x="1252" y="8242"/>
                      <a:pt x="1267" y="8231"/>
                      <a:pt x="1279" y="8230"/>
                    </a:cubicBezTo>
                    <a:cubicBezTo>
                      <a:pt x="1292" y="8229"/>
                      <a:pt x="1323" y="8221"/>
                      <a:pt x="1318" y="8208"/>
                    </a:cubicBezTo>
                    <a:cubicBezTo>
                      <a:pt x="1313" y="8195"/>
                      <a:pt x="1310" y="8183"/>
                      <a:pt x="1312" y="8183"/>
                    </a:cubicBezTo>
                    <a:cubicBezTo>
                      <a:pt x="1314" y="8183"/>
                      <a:pt x="1329" y="8171"/>
                      <a:pt x="1329" y="8171"/>
                    </a:cubicBezTo>
                    <a:cubicBezTo>
                      <a:pt x="1329" y="8171"/>
                      <a:pt x="1366" y="8168"/>
                      <a:pt x="1367" y="8191"/>
                    </a:cubicBezTo>
                    <a:cubicBezTo>
                      <a:pt x="1367" y="8189"/>
                      <a:pt x="1385" y="8173"/>
                      <a:pt x="1397" y="8199"/>
                    </a:cubicBezTo>
                    <a:cubicBezTo>
                      <a:pt x="1397" y="8199"/>
                      <a:pt x="1429" y="8197"/>
                      <a:pt x="1438" y="8237"/>
                    </a:cubicBezTo>
                    <a:cubicBezTo>
                      <a:pt x="1444" y="8240"/>
                      <a:pt x="1444" y="8240"/>
                      <a:pt x="1444" y="8240"/>
                    </a:cubicBezTo>
                    <a:cubicBezTo>
                      <a:pt x="1444" y="8273"/>
                      <a:pt x="1444" y="8273"/>
                      <a:pt x="1444" y="8273"/>
                    </a:cubicBezTo>
                    <a:cubicBezTo>
                      <a:pt x="1444" y="8273"/>
                      <a:pt x="1463" y="8308"/>
                      <a:pt x="1472" y="8306"/>
                    </a:cubicBezTo>
                    <a:cubicBezTo>
                      <a:pt x="1481" y="8304"/>
                      <a:pt x="1486" y="8271"/>
                      <a:pt x="1486" y="8271"/>
                    </a:cubicBezTo>
                    <a:cubicBezTo>
                      <a:pt x="1519" y="8271"/>
                      <a:pt x="1519" y="8271"/>
                      <a:pt x="1519" y="8271"/>
                    </a:cubicBezTo>
                    <a:cubicBezTo>
                      <a:pt x="1519" y="8271"/>
                      <a:pt x="1525" y="8257"/>
                      <a:pt x="1524" y="8251"/>
                    </a:cubicBezTo>
                    <a:cubicBezTo>
                      <a:pt x="1523" y="8244"/>
                      <a:pt x="1547" y="8235"/>
                      <a:pt x="1542" y="8227"/>
                    </a:cubicBezTo>
                    <a:cubicBezTo>
                      <a:pt x="1537" y="8218"/>
                      <a:pt x="1533" y="8208"/>
                      <a:pt x="1533" y="8200"/>
                    </a:cubicBezTo>
                    <a:cubicBezTo>
                      <a:pt x="1529" y="8203"/>
                      <a:pt x="1517" y="8197"/>
                      <a:pt x="1517" y="8197"/>
                    </a:cubicBezTo>
                    <a:cubicBezTo>
                      <a:pt x="1532" y="8184"/>
                      <a:pt x="1532" y="8184"/>
                      <a:pt x="1532" y="8184"/>
                    </a:cubicBezTo>
                    <a:cubicBezTo>
                      <a:pt x="1527" y="8174"/>
                      <a:pt x="1527" y="8174"/>
                      <a:pt x="1527" y="8174"/>
                    </a:cubicBezTo>
                    <a:cubicBezTo>
                      <a:pt x="1547" y="8163"/>
                      <a:pt x="1547" y="8163"/>
                      <a:pt x="1547" y="8163"/>
                    </a:cubicBezTo>
                    <a:cubicBezTo>
                      <a:pt x="1547" y="8163"/>
                      <a:pt x="1536" y="8113"/>
                      <a:pt x="1544" y="8111"/>
                    </a:cubicBezTo>
                    <a:cubicBezTo>
                      <a:pt x="1552" y="8110"/>
                      <a:pt x="1552" y="8146"/>
                      <a:pt x="1555" y="8149"/>
                    </a:cubicBezTo>
                    <a:cubicBezTo>
                      <a:pt x="1559" y="8153"/>
                      <a:pt x="1563" y="8165"/>
                      <a:pt x="1563" y="8165"/>
                    </a:cubicBezTo>
                    <a:cubicBezTo>
                      <a:pt x="1584" y="8140"/>
                      <a:pt x="1584" y="8140"/>
                      <a:pt x="1584" y="8140"/>
                    </a:cubicBezTo>
                    <a:cubicBezTo>
                      <a:pt x="1584" y="8140"/>
                      <a:pt x="1586" y="8089"/>
                      <a:pt x="1605" y="8121"/>
                    </a:cubicBezTo>
                    <a:cubicBezTo>
                      <a:pt x="1603" y="8114"/>
                      <a:pt x="1628" y="8093"/>
                      <a:pt x="1628" y="8093"/>
                    </a:cubicBezTo>
                    <a:cubicBezTo>
                      <a:pt x="1653" y="8091"/>
                      <a:pt x="1653" y="8091"/>
                      <a:pt x="1653" y="8091"/>
                    </a:cubicBezTo>
                    <a:cubicBezTo>
                      <a:pt x="1657" y="8097"/>
                      <a:pt x="1657" y="8097"/>
                      <a:pt x="1657" y="8097"/>
                    </a:cubicBezTo>
                    <a:cubicBezTo>
                      <a:pt x="1678" y="8074"/>
                      <a:pt x="1678" y="8074"/>
                      <a:pt x="1678" y="8074"/>
                    </a:cubicBezTo>
                    <a:cubicBezTo>
                      <a:pt x="1667" y="8045"/>
                      <a:pt x="1667" y="8045"/>
                      <a:pt x="1667" y="8045"/>
                    </a:cubicBezTo>
                    <a:cubicBezTo>
                      <a:pt x="1687" y="8034"/>
                      <a:pt x="1687" y="8034"/>
                      <a:pt x="1687" y="8034"/>
                    </a:cubicBezTo>
                    <a:cubicBezTo>
                      <a:pt x="1675" y="8014"/>
                      <a:pt x="1675" y="8014"/>
                      <a:pt x="1675" y="8014"/>
                    </a:cubicBezTo>
                    <a:cubicBezTo>
                      <a:pt x="1712" y="7999"/>
                      <a:pt x="1712" y="7999"/>
                      <a:pt x="1712" y="7999"/>
                    </a:cubicBezTo>
                    <a:cubicBezTo>
                      <a:pt x="1714" y="8023"/>
                      <a:pt x="1714" y="8023"/>
                      <a:pt x="1714" y="8023"/>
                    </a:cubicBezTo>
                    <a:cubicBezTo>
                      <a:pt x="1714" y="8023"/>
                      <a:pt x="1730" y="8015"/>
                      <a:pt x="1739" y="8015"/>
                    </a:cubicBezTo>
                    <a:cubicBezTo>
                      <a:pt x="1740" y="8013"/>
                      <a:pt x="1741" y="8017"/>
                      <a:pt x="1741" y="8020"/>
                    </a:cubicBezTo>
                    <a:cubicBezTo>
                      <a:pt x="1742" y="8017"/>
                      <a:pt x="1752" y="8014"/>
                      <a:pt x="1796" y="8016"/>
                    </a:cubicBezTo>
                    <a:cubicBezTo>
                      <a:pt x="1797" y="8007"/>
                      <a:pt x="1797" y="8007"/>
                      <a:pt x="1797" y="8007"/>
                    </a:cubicBezTo>
                    <a:cubicBezTo>
                      <a:pt x="1818" y="8010"/>
                      <a:pt x="1818" y="8010"/>
                      <a:pt x="1818" y="8010"/>
                    </a:cubicBezTo>
                    <a:cubicBezTo>
                      <a:pt x="1829" y="7989"/>
                      <a:pt x="1829" y="7989"/>
                      <a:pt x="1829" y="7989"/>
                    </a:cubicBezTo>
                    <a:cubicBezTo>
                      <a:pt x="1885" y="7989"/>
                      <a:pt x="1885" y="7989"/>
                      <a:pt x="1885" y="7989"/>
                    </a:cubicBezTo>
                    <a:cubicBezTo>
                      <a:pt x="1921" y="8009"/>
                      <a:pt x="1921" y="8009"/>
                      <a:pt x="1921" y="8009"/>
                    </a:cubicBezTo>
                    <a:cubicBezTo>
                      <a:pt x="1925" y="8033"/>
                      <a:pt x="1925" y="8033"/>
                      <a:pt x="1925" y="8033"/>
                    </a:cubicBezTo>
                    <a:cubicBezTo>
                      <a:pt x="1939" y="8024"/>
                      <a:pt x="1939" y="8024"/>
                      <a:pt x="1939" y="8024"/>
                    </a:cubicBezTo>
                    <a:cubicBezTo>
                      <a:pt x="1939" y="8013"/>
                      <a:pt x="1939" y="8013"/>
                      <a:pt x="1939" y="8013"/>
                    </a:cubicBezTo>
                    <a:cubicBezTo>
                      <a:pt x="1939" y="8013"/>
                      <a:pt x="1949" y="8013"/>
                      <a:pt x="1959" y="7993"/>
                    </a:cubicBezTo>
                    <a:cubicBezTo>
                      <a:pt x="1969" y="7993"/>
                      <a:pt x="1969" y="7993"/>
                      <a:pt x="1969" y="7993"/>
                    </a:cubicBezTo>
                    <a:cubicBezTo>
                      <a:pt x="1973" y="8026"/>
                      <a:pt x="1973" y="8026"/>
                      <a:pt x="1973" y="8026"/>
                    </a:cubicBezTo>
                    <a:cubicBezTo>
                      <a:pt x="1991" y="8026"/>
                      <a:pt x="1991" y="8026"/>
                      <a:pt x="1991" y="8026"/>
                    </a:cubicBezTo>
                    <a:cubicBezTo>
                      <a:pt x="2010" y="8049"/>
                      <a:pt x="2010" y="8049"/>
                      <a:pt x="2010" y="8049"/>
                    </a:cubicBezTo>
                    <a:cubicBezTo>
                      <a:pt x="2021" y="8049"/>
                      <a:pt x="2021" y="8049"/>
                      <a:pt x="2021" y="8049"/>
                    </a:cubicBezTo>
                    <a:cubicBezTo>
                      <a:pt x="2037" y="8035"/>
                      <a:pt x="2037" y="8035"/>
                      <a:pt x="2037" y="8035"/>
                    </a:cubicBezTo>
                    <a:cubicBezTo>
                      <a:pt x="2037" y="8035"/>
                      <a:pt x="2119" y="8068"/>
                      <a:pt x="2092" y="8089"/>
                    </a:cubicBezTo>
                    <a:cubicBezTo>
                      <a:pt x="2092" y="8089"/>
                      <a:pt x="2113" y="8117"/>
                      <a:pt x="2120" y="8117"/>
                    </a:cubicBezTo>
                    <a:cubicBezTo>
                      <a:pt x="2127" y="8117"/>
                      <a:pt x="2133" y="8105"/>
                      <a:pt x="2139" y="8105"/>
                    </a:cubicBezTo>
                    <a:cubicBezTo>
                      <a:pt x="2146" y="8105"/>
                      <a:pt x="2158" y="8126"/>
                      <a:pt x="2158" y="8126"/>
                    </a:cubicBezTo>
                    <a:cubicBezTo>
                      <a:pt x="2158" y="8126"/>
                      <a:pt x="2185" y="8109"/>
                      <a:pt x="2193" y="8109"/>
                    </a:cubicBezTo>
                    <a:cubicBezTo>
                      <a:pt x="2200" y="8109"/>
                      <a:pt x="2173" y="8047"/>
                      <a:pt x="2223" y="8026"/>
                    </a:cubicBezTo>
                    <a:cubicBezTo>
                      <a:pt x="2272" y="8005"/>
                      <a:pt x="2259" y="7993"/>
                      <a:pt x="2260" y="7986"/>
                    </a:cubicBezTo>
                    <a:cubicBezTo>
                      <a:pt x="2261" y="7979"/>
                      <a:pt x="2274" y="7970"/>
                      <a:pt x="2273" y="7965"/>
                    </a:cubicBezTo>
                    <a:cubicBezTo>
                      <a:pt x="2273" y="7959"/>
                      <a:pt x="2240" y="7961"/>
                      <a:pt x="2240" y="7961"/>
                    </a:cubicBezTo>
                    <a:cubicBezTo>
                      <a:pt x="2240" y="7961"/>
                      <a:pt x="2236" y="7897"/>
                      <a:pt x="2252" y="7925"/>
                    </a:cubicBezTo>
                    <a:cubicBezTo>
                      <a:pt x="2269" y="7916"/>
                      <a:pt x="2276" y="7916"/>
                      <a:pt x="2276" y="7916"/>
                    </a:cubicBezTo>
                    <a:cubicBezTo>
                      <a:pt x="2259" y="7898"/>
                      <a:pt x="2259" y="7898"/>
                      <a:pt x="2259" y="7898"/>
                    </a:cubicBezTo>
                    <a:cubicBezTo>
                      <a:pt x="2259" y="7898"/>
                      <a:pt x="2242" y="7875"/>
                      <a:pt x="2297" y="7803"/>
                    </a:cubicBezTo>
                    <a:cubicBezTo>
                      <a:pt x="2283" y="7790"/>
                      <a:pt x="2287" y="7789"/>
                      <a:pt x="2287" y="7789"/>
                    </a:cubicBezTo>
                    <a:cubicBezTo>
                      <a:pt x="2288" y="7762"/>
                      <a:pt x="2288" y="7762"/>
                      <a:pt x="2288" y="7762"/>
                    </a:cubicBezTo>
                    <a:cubicBezTo>
                      <a:pt x="2277" y="7751"/>
                      <a:pt x="2277" y="7751"/>
                      <a:pt x="2277" y="7751"/>
                    </a:cubicBezTo>
                    <a:cubicBezTo>
                      <a:pt x="2282" y="7745"/>
                      <a:pt x="2282" y="7745"/>
                      <a:pt x="2282" y="7745"/>
                    </a:cubicBezTo>
                    <a:cubicBezTo>
                      <a:pt x="2282" y="7745"/>
                      <a:pt x="2295" y="7751"/>
                      <a:pt x="2300" y="7789"/>
                    </a:cubicBezTo>
                    <a:cubicBezTo>
                      <a:pt x="2324" y="7813"/>
                      <a:pt x="2324" y="7806"/>
                      <a:pt x="2324" y="7806"/>
                    </a:cubicBezTo>
                    <a:cubicBezTo>
                      <a:pt x="2333" y="7790"/>
                      <a:pt x="2333" y="7790"/>
                      <a:pt x="2333" y="7790"/>
                    </a:cubicBezTo>
                    <a:cubicBezTo>
                      <a:pt x="2351" y="7786"/>
                      <a:pt x="2351" y="7786"/>
                      <a:pt x="2351" y="7786"/>
                    </a:cubicBezTo>
                    <a:cubicBezTo>
                      <a:pt x="2377" y="7751"/>
                      <a:pt x="2377" y="7751"/>
                      <a:pt x="2377" y="7751"/>
                    </a:cubicBezTo>
                    <a:cubicBezTo>
                      <a:pt x="2449" y="7743"/>
                      <a:pt x="2449" y="7743"/>
                      <a:pt x="2449" y="7743"/>
                    </a:cubicBezTo>
                    <a:cubicBezTo>
                      <a:pt x="2451" y="7729"/>
                      <a:pt x="2451" y="7729"/>
                      <a:pt x="2451" y="7729"/>
                    </a:cubicBezTo>
                    <a:cubicBezTo>
                      <a:pt x="2503" y="7731"/>
                      <a:pt x="2503" y="7731"/>
                      <a:pt x="2503" y="7731"/>
                    </a:cubicBezTo>
                    <a:cubicBezTo>
                      <a:pt x="2527" y="7710"/>
                      <a:pt x="2527" y="7710"/>
                      <a:pt x="2527" y="7710"/>
                    </a:cubicBezTo>
                    <a:cubicBezTo>
                      <a:pt x="2527" y="7710"/>
                      <a:pt x="2610" y="7693"/>
                      <a:pt x="2735" y="7837"/>
                    </a:cubicBezTo>
                    <a:cubicBezTo>
                      <a:pt x="2747" y="7845"/>
                      <a:pt x="2747" y="7845"/>
                      <a:pt x="2747" y="7845"/>
                    </a:cubicBezTo>
                    <a:cubicBezTo>
                      <a:pt x="2748" y="7856"/>
                      <a:pt x="2748" y="7856"/>
                      <a:pt x="2748" y="7856"/>
                    </a:cubicBezTo>
                    <a:cubicBezTo>
                      <a:pt x="2743" y="7857"/>
                      <a:pt x="2743" y="7857"/>
                      <a:pt x="2743" y="7857"/>
                    </a:cubicBezTo>
                    <a:cubicBezTo>
                      <a:pt x="2743" y="7885"/>
                      <a:pt x="2743" y="7885"/>
                      <a:pt x="2743" y="7885"/>
                    </a:cubicBezTo>
                    <a:cubicBezTo>
                      <a:pt x="2765" y="7853"/>
                      <a:pt x="2765" y="7853"/>
                      <a:pt x="2765" y="7853"/>
                    </a:cubicBezTo>
                    <a:cubicBezTo>
                      <a:pt x="2755" y="7835"/>
                      <a:pt x="2755" y="7835"/>
                      <a:pt x="2755" y="7835"/>
                    </a:cubicBezTo>
                    <a:cubicBezTo>
                      <a:pt x="2741" y="7835"/>
                      <a:pt x="2741" y="7835"/>
                      <a:pt x="2741" y="7835"/>
                    </a:cubicBezTo>
                    <a:cubicBezTo>
                      <a:pt x="2741" y="7835"/>
                      <a:pt x="2737" y="7820"/>
                      <a:pt x="2755" y="7794"/>
                    </a:cubicBezTo>
                    <a:cubicBezTo>
                      <a:pt x="2761" y="7779"/>
                      <a:pt x="2761" y="7782"/>
                      <a:pt x="2761" y="7782"/>
                    </a:cubicBezTo>
                    <a:cubicBezTo>
                      <a:pt x="2770" y="7792"/>
                      <a:pt x="2770" y="7792"/>
                      <a:pt x="2770" y="7792"/>
                    </a:cubicBezTo>
                    <a:cubicBezTo>
                      <a:pt x="2776" y="7784"/>
                      <a:pt x="2776" y="7784"/>
                      <a:pt x="2776" y="7784"/>
                    </a:cubicBezTo>
                    <a:cubicBezTo>
                      <a:pt x="2781" y="7793"/>
                      <a:pt x="2781" y="7793"/>
                      <a:pt x="2781" y="7793"/>
                    </a:cubicBezTo>
                    <a:cubicBezTo>
                      <a:pt x="2781" y="7793"/>
                      <a:pt x="2821" y="7803"/>
                      <a:pt x="2869" y="7801"/>
                    </a:cubicBezTo>
                    <a:cubicBezTo>
                      <a:pt x="2871" y="7803"/>
                      <a:pt x="2870" y="7806"/>
                      <a:pt x="2870" y="7806"/>
                    </a:cubicBezTo>
                    <a:cubicBezTo>
                      <a:pt x="2893" y="7807"/>
                      <a:pt x="2893" y="7807"/>
                      <a:pt x="2893" y="7807"/>
                    </a:cubicBezTo>
                    <a:cubicBezTo>
                      <a:pt x="2905" y="7821"/>
                      <a:pt x="2905" y="7821"/>
                      <a:pt x="2905" y="7821"/>
                    </a:cubicBezTo>
                    <a:cubicBezTo>
                      <a:pt x="2923" y="7823"/>
                      <a:pt x="2923" y="7823"/>
                      <a:pt x="2923" y="7823"/>
                    </a:cubicBezTo>
                    <a:cubicBezTo>
                      <a:pt x="2923" y="7823"/>
                      <a:pt x="2925" y="7838"/>
                      <a:pt x="2931" y="7838"/>
                    </a:cubicBezTo>
                    <a:cubicBezTo>
                      <a:pt x="2938" y="7838"/>
                      <a:pt x="2950" y="7827"/>
                      <a:pt x="2950" y="7827"/>
                    </a:cubicBezTo>
                    <a:cubicBezTo>
                      <a:pt x="2979" y="7826"/>
                      <a:pt x="2979" y="7826"/>
                      <a:pt x="2979" y="7826"/>
                    </a:cubicBezTo>
                    <a:cubicBezTo>
                      <a:pt x="2980" y="7799"/>
                      <a:pt x="2980" y="7799"/>
                      <a:pt x="2980" y="7799"/>
                    </a:cubicBezTo>
                    <a:cubicBezTo>
                      <a:pt x="2980" y="7799"/>
                      <a:pt x="2991" y="7793"/>
                      <a:pt x="2991" y="7787"/>
                    </a:cubicBezTo>
                    <a:cubicBezTo>
                      <a:pt x="2991" y="7780"/>
                      <a:pt x="2980" y="7780"/>
                      <a:pt x="2980" y="7780"/>
                    </a:cubicBezTo>
                    <a:cubicBezTo>
                      <a:pt x="2980" y="7780"/>
                      <a:pt x="2975" y="7739"/>
                      <a:pt x="3022" y="7727"/>
                    </a:cubicBezTo>
                    <a:cubicBezTo>
                      <a:pt x="3069" y="7715"/>
                      <a:pt x="3073" y="7735"/>
                      <a:pt x="3073" y="7735"/>
                    </a:cubicBezTo>
                    <a:cubicBezTo>
                      <a:pt x="3073" y="7735"/>
                      <a:pt x="3079" y="7712"/>
                      <a:pt x="3100" y="7712"/>
                    </a:cubicBezTo>
                    <a:cubicBezTo>
                      <a:pt x="3121" y="7712"/>
                      <a:pt x="3165" y="7739"/>
                      <a:pt x="3165" y="7739"/>
                    </a:cubicBezTo>
                    <a:cubicBezTo>
                      <a:pt x="3177" y="7701"/>
                      <a:pt x="3177" y="7701"/>
                      <a:pt x="3177" y="7701"/>
                    </a:cubicBezTo>
                    <a:cubicBezTo>
                      <a:pt x="3210" y="7702"/>
                      <a:pt x="3210" y="7702"/>
                      <a:pt x="3210" y="7702"/>
                    </a:cubicBezTo>
                    <a:cubicBezTo>
                      <a:pt x="3210" y="7691"/>
                      <a:pt x="3210" y="7691"/>
                      <a:pt x="3210" y="7691"/>
                    </a:cubicBezTo>
                    <a:cubicBezTo>
                      <a:pt x="3234" y="7694"/>
                      <a:pt x="3234" y="7694"/>
                      <a:pt x="3234" y="7694"/>
                    </a:cubicBezTo>
                    <a:cubicBezTo>
                      <a:pt x="3236" y="7683"/>
                      <a:pt x="3236" y="7683"/>
                      <a:pt x="3236" y="7683"/>
                    </a:cubicBezTo>
                    <a:cubicBezTo>
                      <a:pt x="3263" y="7679"/>
                      <a:pt x="3263" y="7679"/>
                      <a:pt x="3263" y="7679"/>
                    </a:cubicBezTo>
                    <a:cubicBezTo>
                      <a:pt x="3276" y="7650"/>
                      <a:pt x="3276" y="7650"/>
                      <a:pt x="3276" y="7650"/>
                    </a:cubicBezTo>
                    <a:cubicBezTo>
                      <a:pt x="3276" y="7650"/>
                      <a:pt x="3263" y="7645"/>
                      <a:pt x="3263" y="7629"/>
                    </a:cubicBezTo>
                    <a:cubicBezTo>
                      <a:pt x="3251" y="7626"/>
                      <a:pt x="3251" y="7626"/>
                      <a:pt x="3251" y="7626"/>
                    </a:cubicBezTo>
                    <a:cubicBezTo>
                      <a:pt x="3238" y="7609"/>
                      <a:pt x="3238" y="7609"/>
                      <a:pt x="3238" y="7609"/>
                    </a:cubicBezTo>
                    <a:cubicBezTo>
                      <a:pt x="3240" y="7593"/>
                      <a:pt x="3240" y="7593"/>
                      <a:pt x="3240" y="7593"/>
                    </a:cubicBezTo>
                    <a:cubicBezTo>
                      <a:pt x="3285" y="7645"/>
                      <a:pt x="3285" y="7645"/>
                      <a:pt x="3285" y="7645"/>
                    </a:cubicBezTo>
                    <a:cubicBezTo>
                      <a:pt x="3300" y="7645"/>
                      <a:pt x="3300" y="7645"/>
                      <a:pt x="3300" y="7645"/>
                    </a:cubicBezTo>
                    <a:cubicBezTo>
                      <a:pt x="3334" y="7683"/>
                      <a:pt x="3334" y="7683"/>
                      <a:pt x="3334" y="7683"/>
                    </a:cubicBezTo>
                    <a:cubicBezTo>
                      <a:pt x="3348" y="7682"/>
                      <a:pt x="3348" y="7682"/>
                      <a:pt x="3348" y="7682"/>
                    </a:cubicBezTo>
                    <a:cubicBezTo>
                      <a:pt x="3355" y="7687"/>
                      <a:pt x="3355" y="7687"/>
                      <a:pt x="3355" y="7687"/>
                    </a:cubicBezTo>
                    <a:cubicBezTo>
                      <a:pt x="3366" y="7673"/>
                      <a:pt x="3366" y="7673"/>
                      <a:pt x="3366" y="7673"/>
                    </a:cubicBezTo>
                    <a:cubicBezTo>
                      <a:pt x="3351" y="7644"/>
                      <a:pt x="3351" y="7644"/>
                      <a:pt x="3351" y="7644"/>
                    </a:cubicBezTo>
                    <a:cubicBezTo>
                      <a:pt x="3371" y="7643"/>
                      <a:pt x="3371" y="7643"/>
                      <a:pt x="3371" y="7643"/>
                    </a:cubicBezTo>
                    <a:cubicBezTo>
                      <a:pt x="3371" y="7681"/>
                      <a:pt x="3371" y="7681"/>
                      <a:pt x="3371" y="7681"/>
                    </a:cubicBezTo>
                    <a:cubicBezTo>
                      <a:pt x="3371" y="7681"/>
                      <a:pt x="3379" y="7692"/>
                      <a:pt x="3385" y="7692"/>
                    </a:cubicBezTo>
                    <a:cubicBezTo>
                      <a:pt x="3391" y="7692"/>
                      <a:pt x="3391" y="7685"/>
                      <a:pt x="3391" y="7685"/>
                    </a:cubicBezTo>
                    <a:cubicBezTo>
                      <a:pt x="3434" y="7685"/>
                      <a:pt x="3434" y="7685"/>
                      <a:pt x="3434" y="7685"/>
                    </a:cubicBezTo>
                    <a:cubicBezTo>
                      <a:pt x="3434" y="7685"/>
                      <a:pt x="3439" y="7699"/>
                      <a:pt x="3447" y="7690"/>
                    </a:cubicBezTo>
                    <a:cubicBezTo>
                      <a:pt x="3456" y="7681"/>
                      <a:pt x="3439" y="7679"/>
                      <a:pt x="3439" y="7679"/>
                    </a:cubicBezTo>
                    <a:cubicBezTo>
                      <a:pt x="3439" y="7679"/>
                      <a:pt x="3438" y="7652"/>
                      <a:pt x="3455" y="7667"/>
                    </a:cubicBezTo>
                    <a:cubicBezTo>
                      <a:pt x="3458" y="7669"/>
                      <a:pt x="3469" y="7669"/>
                      <a:pt x="3459" y="7652"/>
                    </a:cubicBezTo>
                    <a:cubicBezTo>
                      <a:pt x="3449" y="7635"/>
                      <a:pt x="3459" y="7640"/>
                      <a:pt x="3459" y="7640"/>
                    </a:cubicBezTo>
                    <a:cubicBezTo>
                      <a:pt x="3459" y="7640"/>
                      <a:pt x="3489" y="7669"/>
                      <a:pt x="3457" y="7681"/>
                    </a:cubicBezTo>
                    <a:cubicBezTo>
                      <a:pt x="3473" y="7701"/>
                      <a:pt x="3479" y="7707"/>
                      <a:pt x="3479" y="7707"/>
                    </a:cubicBezTo>
                    <a:cubicBezTo>
                      <a:pt x="3493" y="7706"/>
                      <a:pt x="3493" y="7706"/>
                      <a:pt x="3493" y="7706"/>
                    </a:cubicBezTo>
                    <a:cubicBezTo>
                      <a:pt x="3513" y="7737"/>
                      <a:pt x="3513" y="7737"/>
                      <a:pt x="3513" y="7737"/>
                    </a:cubicBezTo>
                    <a:cubicBezTo>
                      <a:pt x="3513" y="7737"/>
                      <a:pt x="3520" y="7743"/>
                      <a:pt x="3533" y="7705"/>
                    </a:cubicBezTo>
                    <a:cubicBezTo>
                      <a:pt x="3574" y="7689"/>
                      <a:pt x="3615" y="7675"/>
                      <a:pt x="3615" y="7675"/>
                    </a:cubicBezTo>
                    <a:cubicBezTo>
                      <a:pt x="3693" y="7678"/>
                      <a:pt x="3693" y="7678"/>
                      <a:pt x="3693" y="7678"/>
                    </a:cubicBezTo>
                    <a:cubicBezTo>
                      <a:pt x="3693" y="7678"/>
                      <a:pt x="3735" y="7655"/>
                      <a:pt x="3766" y="7655"/>
                    </a:cubicBezTo>
                    <a:cubicBezTo>
                      <a:pt x="3797" y="7655"/>
                      <a:pt x="3872" y="7680"/>
                      <a:pt x="3887" y="7694"/>
                    </a:cubicBezTo>
                    <a:cubicBezTo>
                      <a:pt x="3906" y="7693"/>
                      <a:pt x="3921" y="7693"/>
                      <a:pt x="3921" y="7693"/>
                    </a:cubicBezTo>
                    <a:cubicBezTo>
                      <a:pt x="3921" y="7693"/>
                      <a:pt x="3935" y="7717"/>
                      <a:pt x="3937" y="7717"/>
                    </a:cubicBezTo>
                    <a:cubicBezTo>
                      <a:pt x="3939" y="7717"/>
                      <a:pt x="3963" y="7717"/>
                      <a:pt x="3963" y="7717"/>
                    </a:cubicBezTo>
                    <a:cubicBezTo>
                      <a:pt x="3992" y="7737"/>
                      <a:pt x="3992" y="7737"/>
                      <a:pt x="3992" y="7737"/>
                    </a:cubicBezTo>
                    <a:cubicBezTo>
                      <a:pt x="4039" y="7695"/>
                      <a:pt x="4039" y="7695"/>
                      <a:pt x="4039" y="7695"/>
                    </a:cubicBezTo>
                    <a:cubicBezTo>
                      <a:pt x="4039" y="7695"/>
                      <a:pt x="4039" y="7661"/>
                      <a:pt x="4104" y="7657"/>
                    </a:cubicBezTo>
                    <a:cubicBezTo>
                      <a:pt x="4169" y="7653"/>
                      <a:pt x="4184" y="7632"/>
                      <a:pt x="4184" y="7632"/>
                    </a:cubicBezTo>
                    <a:cubicBezTo>
                      <a:pt x="4238" y="7585"/>
                      <a:pt x="4238" y="7585"/>
                      <a:pt x="4238" y="7585"/>
                    </a:cubicBezTo>
                    <a:cubicBezTo>
                      <a:pt x="4331" y="7604"/>
                      <a:pt x="4331" y="7604"/>
                      <a:pt x="4331" y="7604"/>
                    </a:cubicBezTo>
                    <a:cubicBezTo>
                      <a:pt x="4334" y="7579"/>
                      <a:pt x="4334" y="7579"/>
                      <a:pt x="4334" y="7579"/>
                    </a:cubicBezTo>
                    <a:cubicBezTo>
                      <a:pt x="4326" y="7577"/>
                      <a:pt x="4326" y="7577"/>
                      <a:pt x="4326" y="7577"/>
                    </a:cubicBezTo>
                    <a:cubicBezTo>
                      <a:pt x="4326" y="7577"/>
                      <a:pt x="4305" y="7475"/>
                      <a:pt x="4429" y="7477"/>
                    </a:cubicBezTo>
                    <a:cubicBezTo>
                      <a:pt x="4451" y="7455"/>
                      <a:pt x="4443" y="7455"/>
                      <a:pt x="4443" y="7455"/>
                    </a:cubicBezTo>
                    <a:cubicBezTo>
                      <a:pt x="4443" y="7455"/>
                      <a:pt x="4484" y="7454"/>
                      <a:pt x="4495" y="7441"/>
                    </a:cubicBezTo>
                    <a:cubicBezTo>
                      <a:pt x="4507" y="7427"/>
                      <a:pt x="4522" y="7424"/>
                      <a:pt x="4529" y="7409"/>
                    </a:cubicBezTo>
                    <a:cubicBezTo>
                      <a:pt x="4527" y="7393"/>
                      <a:pt x="4527" y="7343"/>
                      <a:pt x="4527" y="7343"/>
                    </a:cubicBezTo>
                    <a:cubicBezTo>
                      <a:pt x="4527" y="7343"/>
                      <a:pt x="4520" y="7319"/>
                      <a:pt x="4515" y="7316"/>
                    </a:cubicBezTo>
                    <a:cubicBezTo>
                      <a:pt x="4509" y="7313"/>
                      <a:pt x="4513" y="7292"/>
                      <a:pt x="4513" y="7292"/>
                    </a:cubicBezTo>
                    <a:cubicBezTo>
                      <a:pt x="4510" y="7283"/>
                      <a:pt x="4510" y="7283"/>
                      <a:pt x="4510" y="7283"/>
                    </a:cubicBezTo>
                    <a:cubicBezTo>
                      <a:pt x="4531" y="7279"/>
                      <a:pt x="4531" y="7279"/>
                      <a:pt x="4531" y="7279"/>
                    </a:cubicBezTo>
                    <a:cubicBezTo>
                      <a:pt x="4531" y="7279"/>
                      <a:pt x="4543" y="7260"/>
                      <a:pt x="4547" y="7241"/>
                    </a:cubicBezTo>
                    <a:cubicBezTo>
                      <a:pt x="4551" y="7221"/>
                      <a:pt x="4526" y="7221"/>
                      <a:pt x="4526" y="7221"/>
                    </a:cubicBezTo>
                    <a:cubicBezTo>
                      <a:pt x="4490" y="7233"/>
                      <a:pt x="4490" y="7233"/>
                      <a:pt x="4490" y="7233"/>
                    </a:cubicBezTo>
                    <a:cubicBezTo>
                      <a:pt x="4477" y="7233"/>
                      <a:pt x="4477" y="7233"/>
                      <a:pt x="4477" y="7233"/>
                    </a:cubicBezTo>
                    <a:cubicBezTo>
                      <a:pt x="4471" y="7226"/>
                      <a:pt x="4471" y="7226"/>
                      <a:pt x="4471" y="7226"/>
                    </a:cubicBezTo>
                    <a:cubicBezTo>
                      <a:pt x="4465" y="7231"/>
                      <a:pt x="4465" y="7231"/>
                      <a:pt x="4465" y="7231"/>
                    </a:cubicBezTo>
                    <a:cubicBezTo>
                      <a:pt x="4407" y="7234"/>
                      <a:pt x="4407" y="7234"/>
                      <a:pt x="4407" y="7234"/>
                    </a:cubicBezTo>
                    <a:cubicBezTo>
                      <a:pt x="4407" y="7244"/>
                      <a:pt x="4407" y="7244"/>
                      <a:pt x="4407" y="7244"/>
                    </a:cubicBezTo>
                    <a:cubicBezTo>
                      <a:pt x="4349" y="7239"/>
                      <a:pt x="4349" y="7239"/>
                      <a:pt x="4349" y="7239"/>
                    </a:cubicBezTo>
                    <a:cubicBezTo>
                      <a:pt x="4349" y="7239"/>
                      <a:pt x="4334" y="7260"/>
                      <a:pt x="4324" y="7259"/>
                    </a:cubicBezTo>
                    <a:cubicBezTo>
                      <a:pt x="4314" y="7259"/>
                      <a:pt x="4309" y="7252"/>
                      <a:pt x="4309" y="7252"/>
                    </a:cubicBezTo>
                    <a:cubicBezTo>
                      <a:pt x="4304" y="7257"/>
                      <a:pt x="4304" y="7257"/>
                      <a:pt x="4304" y="7257"/>
                    </a:cubicBezTo>
                    <a:cubicBezTo>
                      <a:pt x="4285" y="7256"/>
                      <a:pt x="4285" y="7256"/>
                      <a:pt x="4285" y="7256"/>
                    </a:cubicBezTo>
                    <a:cubicBezTo>
                      <a:pt x="4285" y="7249"/>
                      <a:pt x="4285" y="7249"/>
                      <a:pt x="4285" y="7249"/>
                    </a:cubicBezTo>
                    <a:cubicBezTo>
                      <a:pt x="4285" y="7249"/>
                      <a:pt x="4313" y="7245"/>
                      <a:pt x="4313" y="7240"/>
                    </a:cubicBezTo>
                    <a:cubicBezTo>
                      <a:pt x="4313" y="7235"/>
                      <a:pt x="4285" y="7195"/>
                      <a:pt x="4285" y="7195"/>
                    </a:cubicBezTo>
                    <a:cubicBezTo>
                      <a:pt x="4253" y="7193"/>
                      <a:pt x="4253" y="7193"/>
                      <a:pt x="4253" y="7193"/>
                    </a:cubicBezTo>
                    <a:cubicBezTo>
                      <a:pt x="4242" y="7181"/>
                      <a:pt x="4242" y="7181"/>
                      <a:pt x="4242" y="7181"/>
                    </a:cubicBezTo>
                    <a:cubicBezTo>
                      <a:pt x="4227" y="7180"/>
                      <a:pt x="4227" y="7180"/>
                      <a:pt x="4227" y="7180"/>
                    </a:cubicBezTo>
                    <a:cubicBezTo>
                      <a:pt x="4227" y="7180"/>
                      <a:pt x="4222" y="7169"/>
                      <a:pt x="4219" y="7175"/>
                    </a:cubicBezTo>
                    <a:cubicBezTo>
                      <a:pt x="4217" y="7181"/>
                      <a:pt x="4216" y="7184"/>
                      <a:pt x="4221" y="7184"/>
                    </a:cubicBezTo>
                    <a:cubicBezTo>
                      <a:pt x="4218" y="7187"/>
                      <a:pt x="4218" y="7195"/>
                      <a:pt x="4218" y="7195"/>
                    </a:cubicBezTo>
                    <a:cubicBezTo>
                      <a:pt x="4209" y="7194"/>
                      <a:pt x="4209" y="7194"/>
                      <a:pt x="4209" y="7194"/>
                    </a:cubicBezTo>
                    <a:cubicBezTo>
                      <a:pt x="4205" y="7184"/>
                      <a:pt x="4205" y="7184"/>
                      <a:pt x="4205" y="7184"/>
                    </a:cubicBezTo>
                    <a:cubicBezTo>
                      <a:pt x="4205" y="7184"/>
                      <a:pt x="4219" y="7176"/>
                      <a:pt x="4210" y="7166"/>
                    </a:cubicBezTo>
                    <a:cubicBezTo>
                      <a:pt x="4201" y="7156"/>
                      <a:pt x="4195" y="7151"/>
                      <a:pt x="4195" y="7151"/>
                    </a:cubicBezTo>
                    <a:cubicBezTo>
                      <a:pt x="4159" y="7149"/>
                      <a:pt x="4159" y="7149"/>
                      <a:pt x="4159" y="7149"/>
                    </a:cubicBezTo>
                    <a:cubicBezTo>
                      <a:pt x="4153" y="7143"/>
                      <a:pt x="4153" y="7143"/>
                      <a:pt x="4153" y="7143"/>
                    </a:cubicBezTo>
                    <a:cubicBezTo>
                      <a:pt x="4146" y="7147"/>
                      <a:pt x="4146" y="7147"/>
                      <a:pt x="4146" y="7147"/>
                    </a:cubicBezTo>
                    <a:cubicBezTo>
                      <a:pt x="4141" y="7143"/>
                      <a:pt x="4141" y="7143"/>
                      <a:pt x="4141" y="7143"/>
                    </a:cubicBezTo>
                    <a:cubicBezTo>
                      <a:pt x="4096" y="7142"/>
                      <a:pt x="4096" y="7142"/>
                      <a:pt x="4096" y="7142"/>
                    </a:cubicBezTo>
                    <a:cubicBezTo>
                      <a:pt x="4096" y="7142"/>
                      <a:pt x="4085" y="7151"/>
                      <a:pt x="4088" y="7170"/>
                    </a:cubicBezTo>
                    <a:cubicBezTo>
                      <a:pt x="4075" y="7169"/>
                      <a:pt x="4075" y="7169"/>
                      <a:pt x="4075" y="7169"/>
                    </a:cubicBezTo>
                    <a:cubicBezTo>
                      <a:pt x="4075" y="7161"/>
                      <a:pt x="4075" y="7161"/>
                      <a:pt x="4075" y="7161"/>
                    </a:cubicBezTo>
                    <a:cubicBezTo>
                      <a:pt x="4081" y="7158"/>
                      <a:pt x="4081" y="7158"/>
                      <a:pt x="4081" y="7158"/>
                    </a:cubicBezTo>
                    <a:cubicBezTo>
                      <a:pt x="4081" y="7158"/>
                      <a:pt x="4071" y="7131"/>
                      <a:pt x="4107" y="7132"/>
                    </a:cubicBezTo>
                    <a:cubicBezTo>
                      <a:pt x="4128" y="7120"/>
                      <a:pt x="4126" y="7116"/>
                      <a:pt x="4126" y="7116"/>
                    </a:cubicBezTo>
                    <a:cubicBezTo>
                      <a:pt x="4136" y="7126"/>
                      <a:pt x="4136" y="7126"/>
                      <a:pt x="4136" y="7126"/>
                    </a:cubicBezTo>
                    <a:cubicBezTo>
                      <a:pt x="4164" y="7127"/>
                      <a:pt x="4164" y="7127"/>
                      <a:pt x="4164" y="7127"/>
                    </a:cubicBezTo>
                    <a:cubicBezTo>
                      <a:pt x="4170" y="7107"/>
                      <a:pt x="4170" y="7107"/>
                      <a:pt x="4170" y="7107"/>
                    </a:cubicBezTo>
                    <a:cubicBezTo>
                      <a:pt x="4192" y="7107"/>
                      <a:pt x="4192" y="7107"/>
                      <a:pt x="4192" y="7107"/>
                    </a:cubicBezTo>
                    <a:cubicBezTo>
                      <a:pt x="4193" y="7113"/>
                      <a:pt x="4193" y="7113"/>
                      <a:pt x="4193" y="7113"/>
                    </a:cubicBezTo>
                    <a:cubicBezTo>
                      <a:pt x="4229" y="7114"/>
                      <a:pt x="4229" y="7114"/>
                      <a:pt x="4229" y="7114"/>
                    </a:cubicBezTo>
                    <a:cubicBezTo>
                      <a:pt x="4234" y="7117"/>
                      <a:pt x="4234" y="7117"/>
                      <a:pt x="4234" y="7117"/>
                    </a:cubicBezTo>
                    <a:cubicBezTo>
                      <a:pt x="4299" y="7071"/>
                      <a:pt x="4299" y="7071"/>
                      <a:pt x="4299" y="7071"/>
                    </a:cubicBezTo>
                    <a:cubicBezTo>
                      <a:pt x="4299" y="7061"/>
                      <a:pt x="4299" y="7061"/>
                      <a:pt x="4299" y="7061"/>
                    </a:cubicBezTo>
                    <a:cubicBezTo>
                      <a:pt x="4312" y="7061"/>
                      <a:pt x="4312" y="7061"/>
                      <a:pt x="4312" y="7061"/>
                    </a:cubicBezTo>
                    <a:cubicBezTo>
                      <a:pt x="4313" y="7042"/>
                      <a:pt x="4313" y="7042"/>
                      <a:pt x="4313" y="7042"/>
                    </a:cubicBezTo>
                    <a:cubicBezTo>
                      <a:pt x="4299" y="7041"/>
                      <a:pt x="4299" y="7041"/>
                      <a:pt x="4299" y="7041"/>
                    </a:cubicBezTo>
                    <a:cubicBezTo>
                      <a:pt x="4299" y="7033"/>
                      <a:pt x="4299" y="7033"/>
                      <a:pt x="4299" y="7033"/>
                    </a:cubicBezTo>
                    <a:cubicBezTo>
                      <a:pt x="4307" y="7032"/>
                      <a:pt x="4307" y="7032"/>
                      <a:pt x="4307" y="7032"/>
                    </a:cubicBezTo>
                    <a:cubicBezTo>
                      <a:pt x="4307" y="6949"/>
                      <a:pt x="4307" y="6949"/>
                      <a:pt x="4307" y="6949"/>
                    </a:cubicBezTo>
                    <a:cubicBezTo>
                      <a:pt x="4307" y="6949"/>
                      <a:pt x="4279" y="6926"/>
                      <a:pt x="4275" y="6963"/>
                    </a:cubicBezTo>
                    <a:cubicBezTo>
                      <a:pt x="4236" y="6961"/>
                      <a:pt x="4235" y="6964"/>
                      <a:pt x="4235" y="6964"/>
                    </a:cubicBezTo>
                    <a:cubicBezTo>
                      <a:pt x="4235" y="6964"/>
                      <a:pt x="4232" y="6944"/>
                      <a:pt x="4261" y="6952"/>
                    </a:cubicBezTo>
                    <a:cubicBezTo>
                      <a:pt x="4279" y="6939"/>
                      <a:pt x="4285" y="6931"/>
                      <a:pt x="4285" y="6931"/>
                    </a:cubicBezTo>
                    <a:cubicBezTo>
                      <a:pt x="4279" y="6925"/>
                      <a:pt x="4279" y="6925"/>
                      <a:pt x="4279" y="6925"/>
                    </a:cubicBezTo>
                    <a:cubicBezTo>
                      <a:pt x="4283" y="6920"/>
                      <a:pt x="4283" y="6920"/>
                      <a:pt x="4283" y="6920"/>
                    </a:cubicBezTo>
                    <a:cubicBezTo>
                      <a:pt x="4283" y="6920"/>
                      <a:pt x="4287" y="6926"/>
                      <a:pt x="4289" y="6926"/>
                    </a:cubicBezTo>
                    <a:cubicBezTo>
                      <a:pt x="4291" y="6926"/>
                      <a:pt x="4306" y="6928"/>
                      <a:pt x="4306" y="6928"/>
                    </a:cubicBezTo>
                    <a:cubicBezTo>
                      <a:pt x="4306" y="6928"/>
                      <a:pt x="4305" y="6919"/>
                      <a:pt x="4307" y="6919"/>
                    </a:cubicBezTo>
                    <a:cubicBezTo>
                      <a:pt x="4309" y="6919"/>
                      <a:pt x="4325" y="6919"/>
                      <a:pt x="4325" y="6919"/>
                    </a:cubicBezTo>
                    <a:cubicBezTo>
                      <a:pt x="4335" y="6899"/>
                      <a:pt x="4335" y="6899"/>
                      <a:pt x="4335" y="6899"/>
                    </a:cubicBezTo>
                    <a:cubicBezTo>
                      <a:pt x="4349" y="6910"/>
                      <a:pt x="4349" y="6910"/>
                      <a:pt x="4349" y="6910"/>
                    </a:cubicBezTo>
                    <a:cubicBezTo>
                      <a:pt x="4341" y="6917"/>
                      <a:pt x="4341" y="6917"/>
                      <a:pt x="4341" y="6917"/>
                    </a:cubicBezTo>
                    <a:cubicBezTo>
                      <a:pt x="4351" y="6927"/>
                      <a:pt x="4351" y="6927"/>
                      <a:pt x="4351" y="6927"/>
                    </a:cubicBezTo>
                    <a:cubicBezTo>
                      <a:pt x="4391" y="6927"/>
                      <a:pt x="4391" y="6927"/>
                      <a:pt x="4391" y="6927"/>
                    </a:cubicBezTo>
                    <a:cubicBezTo>
                      <a:pt x="4391" y="6927"/>
                      <a:pt x="4437" y="6904"/>
                      <a:pt x="4469" y="6848"/>
                    </a:cubicBezTo>
                    <a:cubicBezTo>
                      <a:pt x="4456" y="6835"/>
                      <a:pt x="4453" y="6835"/>
                      <a:pt x="4453" y="6835"/>
                    </a:cubicBezTo>
                    <a:cubicBezTo>
                      <a:pt x="4453" y="6835"/>
                      <a:pt x="4447" y="6843"/>
                      <a:pt x="4442" y="6838"/>
                    </a:cubicBezTo>
                    <a:cubicBezTo>
                      <a:pt x="4437" y="6833"/>
                      <a:pt x="4460" y="6804"/>
                      <a:pt x="4460" y="6804"/>
                    </a:cubicBezTo>
                    <a:cubicBezTo>
                      <a:pt x="4459" y="6789"/>
                      <a:pt x="4459" y="6789"/>
                      <a:pt x="4459" y="6789"/>
                    </a:cubicBezTo>
                    <a:cubicBezTo>
                      <a:pt x="4439" y="6791"/>
                      <a:pt x="4439" y="6791"/>
                      <a:pt x="4439" y="6791"/>
                    </a:cubicBezTo>
                    <a:cubicBezTo>
                      <a:pt x="4438" y="6781"/>
                      <a:pt x="4438" y="6781"/>
                      <a:pt x="4438" y="6781"/>
                    </a:cubicBezTo>
                    <a:cubicBezTo>
                      <a:pt x="4455" y="6779"/>
                      <a:pt x="4455" y="6779"/>
                      <a:pt x="4455" y="6779"/>
                    </a:cubicBezTo>
                    <a:cubicBezTo>
                      <a:pt x="4455" y="6762"/>
                      <a:pt x="4455" y="6762"/>
                      <a:pt x="4455" y="6762"/>
                    </a:cubicBezTo>
                    <a:cubicBezTo>
                      <a:pt x="4462" y="6761"/>
                      <a:pt x="4462" y="6761"/>
                      <a:pt x="4462" y="6761"/>
                    </a:cubicBezTo>
                    <a:cubicBezTo>
                      <a:pt x="4462" y="6761"/>
                      <a:pt x="4460" y="6783"/>
                      <a:pt x="4469" y="6783"/>
                    </a:cubicBezTo>
                    <a:cubicBezTo>
                      <a:pt x="4472" y="6797"/>
                      <a:pt x="4474" y="6805"/>
                      <a:pt x="4474" y="6805"/>
                    </a:cubicBezTo>
                    <a:cubicBezTo>
                      <a:pt x="4489" y="6784"/>
                      <a:pt x="4489" y="6784"/>
                      <a:pt x="4489" y="6784"/>
                    </a:cubicBezTo>
                    <a:cubicBezTo>
                      <a:pt x="4498" y="6784"/>
                      <a:pt x="4498" y="6784"/>
                      <a:pt x="4498" y="6784"/>
                    </a:cubicBezTo>
                    <a:cubicBezTo>
                      <a:pt x="4533" y="6738"/>
                      <a:pt x="4533" y="6738"/>
                      <a:pt x="4533" y="6738"/>
                    </a:cubicBezTo>
                    <a:cubicBezTo>
                      <a:pt x="4533" y="6738"/>
                      <a:pt x="4540" y="6695"/>
                      <a:pt x="4586" y="6695"/>
                    </a:cubicBezTo>
                    <a:cubicBezTo>
                      <a:pt x="4594" y="6687"/>
                      <a:pt x="4603" y="6657"/>
                      <a:pt x="4604" y="6627"/>
                    </a:cubicBezTo>
                    <a:cubicBezTo>
                      <a:pt x="4602" y="6625"/>
                      <a:pt x="4611" y="6620"/>
                      <a:pt x="4611" y="6620"/>
                    </a:cubicBezTo>
                    <a:cubicBezTo>
                      <a:pt x="4611" y="6537"/>
                      <a:pt x="4611" y="6537"/>
                      <a:pt x="4611" y="6537"/>
                    </a:cubicBezTo>
                    <a:cubicBezTo>
                      <a:pt x="4635" y="6507"/>
                      <a:pt x="4635" y="6507"/>
                      <a:pt x="4635" y="6507"/>
                    </a:cubicBezTo>
                    <a:cubicBezTo>
                      <a:pt x="4639" y="6485"/>
                      <a:pt x="4639" y="6485"/>
                      <a:pt x="4639" y="6485"/>
                    </a:cubicBezTo>
                    <a:cubicBezTo>
                      <a:pt x="4653" y="6465"/>
                      <a:pt x="4653" y="6465"/>
                      <a:pt x="4653" y="6465"/>
                    </a:cubicBezTo>
                    <a:cubicBezTo>
                      <a:pt x="4653" y="6453"/>
                      <a:pt x="4653" y="6453"/>
                      <a:pt x="4653" y="6453"/>
                    </a:cubicBezTo>
                    <a:cubicBezTo>
                      <a:pt x="4663" y="6444"/>
                      <a:pt x="4663" y="6444"/>
                      <a:pt x="4663" y="6444"/>
                    </a:cubicBezTo>
                    <a:lnTo>
                      <a:pt x="4657" y="6435"/>
                    </a:lnTo>
                    <a:close/>
                    <a:moveTo>
                      <a:pt x="2708" y="3147"/>
                    </a:moveTo>
                    <a:cubicBezTo>
                      <a:pt x="2720" y="3160"/>
                      <a:pt x="2720" y="3160"/>
                      <a:pt x="2720" y="3160"/>
                    </a:cubicBezTo>
                    <a:cubicBezTo>
                      <a:pt x="2720" y="3160"/>
                      <a:pt x="2704" y="3161"/>
                      <a:pt x="2701" y="3162"/>
                    </a:cubicBezTo>
                    <a:lnTo>
                      <a:pt x="2708" y="3147"/>
                    </a:lnTo>
                    <a:close/>
                    <a:moveTo>
                      <a:pt x="2037" y="2252"/>
                    </a:moveTo>
                    <a:cubicBezTo>
                      <a:pt x="2038" y="2259"/>
                      <a:pt x="2025" y="2257"/>
                      <a:pt x="2025" y="2250"/>
                    </a:cubicBezTo>
                    <a:cubicBezTo>
                      <a:pt x="2025" y="2250"/>
                      <a:pt x="2035" y="2245"/>
                      <a:pt x="2037" y="2252"/>
                    </a:cubicBezTo>
                    <a:close/>
                    <a:moveTo>
                      <a:pt x="1014" y="2681"/>
                    </a:moveTo>
                    <a:cubicBezTo>
                      <a:pt x="1006" y="2687"/>
                      <a:pt x="1000" y="2666"/>
                      <a:pt x="1000" y="2666"/>
                    </a:cubicBezTo>
                    <a:cubicBezTo>
                      <a:pt x="1000" y="2666"/>
                      <a:pt x="1022" y="2676"/>
                      <a:pt x="1014" y="2681"/>
                    </a:cubicBezTo>
                    <a:close/>
                    <a:moveTo>
                      <a:pt x="1249" y="3062"/>
                    </a:moveTo>
                    <a:cubicBezTo>
                      <a:pt x="1245" y="3067"/>
                      <a:pt x="1244" y="3055"/>
                      <a:pt x="1244" y="3055"/>
                    </a:cubicBezTo>
                    <a:cubicBezTo>
                      <a:pt x="1245" y="3050"/>
                      <a:pt x="1252" y="3057"/>
                      <a:pt x="1249" y="3062"/>
                    </a:cubicBezTo>
                    <a:close/>
                    <a:moveTo>
                      <a:pt x="1229" y="3064"/>
                    </a:moveTo>
                    <a:cubicBezTo>
                      <a:pt x="1235" y="3063"/>
                      <a:pt x="1240" y="3069"/>
                      <a:pt x="1233" y="3069"/>
                    </a:cubicBezTo>
                    <a:cubicBezTo>
                      <a:pt x="1225" y="3069"/>
                      <a:pt x="1229" y="3064"/>
                      <a:pt x="1229" y="3064"/>
                    </a:cubicBezTo>
                    <a:close/>
                    <a:moveTo>
                      <a:pt x="1218" y="3080"/>
                    </a:moveTo>
                    <a:cubicBezTo>
                      <a:pt x="1224" y="3080"/>
                      <a:pt x="1229" y="3091"/>
                      <a:pt x="1222" y="3090"/>
                    </a:cubicBezTo>
                    <a:cubicBezTo>
                      <a:pt x="1218" y="3090"/>
                      <a:pt x="1212" y="3080"/>
                      <a:pt x="1218" y="3080"/>
                    </a:cubicBezTo>
                    <a:close/>
                    <a:moveTo>
                      <a:pt x="1211" y="3169"/>
                    </a:moveTo>
                    <a:cubicBezTo>
                      <a:pt x="1205" y="3169"/>
                      <a:pt x="1203" y="3158"/>
                      <a:pt x="1203" y="3158"/>
                    </a:cubicBezTo>
                    <a:cubicBezTo>
                      <a:pt x="1203" y="3158"/>
                      <a:pt x="1187" y="3149"/>
                      <a:pt x="1198" y="3141"/>
                    </a:cubicBezTo>
                    <a:cubicBezTo>
                      <a:pt x="1198" y="3141"/>
                      <a:pt x="1209" y="3140"/>
                      <a:pt x="1205" y="3155"/>
                    </a:cubicBezTo>
                    <a:cubicBezTo>
                      <a:pt x="1209" y="3161"/>
                      <a:pt x="1218" y="3169"/>
                      <a:pt x="1211" y="3169"/>
                    </a:cubicBezTo>
                    <a:close/>
                    <a:moveTo>
                      <a:pt x="1254" y="3132"/>
                    </a:moveTo>
                    <a:cubicBezTo>
                      <a:pt x="1252" y="3139"/>
                      <a:pt x="1247" y="3145"/>
                      <a:pt x="1245" y="3145"/>
                    </a:cubicBezTo>
                    <a:cubicBezTo>
                      <a:pt x="1243" y="3144"/>
                      <a:pt x="1230" y="3157"/>
                      <a:pt x="1230" y="3157"/>
                    </a:cubicBezTo>
                    <a:cubicBezTo>
                      <a:pt x="1230" y="3157"/>
                      <a:pt x="1213" y="3149"/>
                      <a:pt x="1213" y="3144"/>
                    </a:cubicBezTo>
                    <a:cubicBezTo>
                      <a:pt x="1213" y="3139"/>
                      <a:pt x="1220" y="3145"/>
                      <a:pt x="1226" y="3144"/>
                    </a:cubicBezTo>
                    <a:cubicBezTo>
                      <a:pt x="1232" y="3143"/>
                      <a:pt x="1255" y="3126"/>
                      <a:pt x="1255" y="3124"/>
                    </a:cubicBezTo>
                    <a:cubicBezTo>
                      <a:pt x="1255" y="3122"/>
                      <a:pt x="1267" y="3112"/>
                      <a:pt x="1269" y="3123"/>
                    </a:cubicBezTo>
                    <a:cubicBezTo>
                      <a:pt x="1269" y="3129"/>
                      <a:pt x="1256" y="3125"/>
                      <a:pt x="1254" y="3132"/>
                    </a:cubicBezTo>
                    <a:close/>
                    <a:moveTo>
                      <a:pt x="1297" y="3139"/>
                    </a:moveTo>
                    <a:cubicBezTo>
                      <a:pt x="1295" y="3147"/>
                      <a:pt x="1294" y="3132"/>
                      <a:pt x="1289" y="3132"/>
                    </a:cubicBezTo>
                    <a:cubicBezTo>
                      <a:pt x="1285" y="3132"/>
                      <a:pt x="1283" y="3125"/>
                      <a:pt x="1283" y="3125"/>
                    </a:cubicBezTo>
                    <a:cubicBezTo>
                      <a:pt x="1283" y="3119"/>
                      <a:pt x="1291" y="3127"/>
                      <a:pt x="1291" y="3127"/>
                    </a:cubicBezTo>
                    <a:cubicBezTo>
                      <a:pt x="1291" y="3127"/>
                      <a:pt x="1299" y="3132"/>
                      <a:pt x="1297" y="3139"/>
                    </a:cubicBezTo>
                    <a:close/>
                    <a:moveTo>
                      <a:pt x="1394" y="2623"/>
                    </a:moveTo>
                    <a:cubicBezTo>
                      <a:pt x="1403" y="2608"/>
                      <a:pt x="1403" y="2608"/>
                      <a:pt x="1403" y="2608"/>
                    </a:cubicBezTo>
                    <a:cubicBezTo>
                      <a:pt x="1403" y="2608"/>
                      <a:pt x="1404" y="2610"/>
                      <a:pt x="1408" y="2620"/>
                    </a:cubicBezTo>
                    <a:cubicBezTo>
                      <a:pt x="1412" y="2630"/>
                      <a:pt x="1379" y="2650"/>
                      <a:pt x="1371" y="2649"/>
                    </a:cubicBezTo>
                    <a:cubicBezTo>
                      <a:pt x="1366" y="2649"/>
                      <a:pt x="1394" y="2623"/>
                      <a:pt x="1394" y="2623"/>
                    </a:cubicBezTo>
                    <a:close/>
                    <a:moveTo>
                      <a:pt x="1319" y="2533"/>
                    </a:moveTo>
                    <a:cubicBezTo>
                      <a:pt x="1319" y="2533"/>
                      <a:pt x="1301" y="2517"/>
                      <a:pt x="1301" y="2510"/>
                    </a:cubicBezTo>
                    <a:cubicBezTo>
                      <a:pt x="1301" y="2500"/>
                      <a:pt x="1321" y="2522"/>
                      <a:pt x="1321" y="2522"/>
                    </a:cubicBezTo>
                    <a:lnTo>
                      <a:pt x="1319" y="2533"/>
                    </a:lnTo>
                    <a:close/>
                    <a:moveTo>
                      <a:pt x="1325" y="2520"/>
                    </a:moveTo>
                    <a:cubicBezTo>
                      <a:pt x="1325" y="2513"/>
                      <a:pt x="1325" y="2513"/>
                      <a:pt x="1325" y="2513"/>
                    </a:cubicBezTo>
                    <a:cubicBezTo>
                      <a:pt x="1376" y="2514"/>
                      <a:pt x="1376" y="2514"/>
                      <a:pt x="1376" y="2514"/>
                    </a:cubicBezTo>
                    <a:cubicBezTo>
                      <a:pt x="1375" y="2522"/>
                      <a:pt x="1375" y="2522"/>
                      <a:pt x="1375" y="2522"/>
                    </a:cubicBezTo>
                    <a:lnTo>
                      <a:pt x="1325" y="2520"/>
                    </a:lnTo>
                    <a:close/>
                    <a:moveTo>
                      <a:pt x="1351" y="2657"/>
                    </a:moveTo>
                    <a:cubicBezTo>
                      <a:pt x="1344" y="2657"/>
                      <a:pt x="1348" y="2649"/>
                      <a:pt x="1351" y="2649"/>
                    </a:cubicBezTo>
                    <a:cubicBezTo>
                      <a:pt x="1351" y="2649"/>
                      <a:pt x="1357" y="2657"/>
                      <a:pt x="1351" y="2657"/>
                    </a:cubicBezTo>
                    <a:close/>
                    <a:moveTo>
                      <a:pt x="1317" y="2739"/>
                    </a:moveTo>
                    <a:cubicBezTo>
                      <a:pt x="1317" y="2739"/>
                      <a:pt x="1313" y="2730"/>
                      <a:pt x="1321" y="2733"/>
                    </a:cubicBezTo>
                    <a:cubicBezTo>
                      <a:pt x="1329" y="2737"/>
                      <a:pt x="1317" y="2739"/>
                      <a:pt x="1317" y="2739"/>
                    </a:cubicBezTo>
                    <a:close/>
                    <a:moveTo>
                      <a:pt x="1327" y="2725"/>
                    </a:moveTo>
                    <a:cubicBezTo>
                      <a:pt x="1325" y="2715"/>
                      <a:pt x="1299" y="2715"/>
                      <a:pt x="1299" y="2715"/>
                    </a:cubicBezTo>
                    <a:cubicBezTo>
                      <a:pt x="1295" y="2703"/>
                      <a:pt x="1295" y="2703"/>
                      <a:pt x="1295" y="2703"/>
                    </a:cubicBezTo>
                    <a:cubicBezTo>
                      <a:pt x="1328" y="2704"/>
                      <a:pt x="1328" y="2704"/>
                      <a:pt x="1328" y="2704"/>
                    </a:cubicBezTo>
                    <a:cubicBezTo>
                      <a:pt x="1331" y="2712"/>
                      <a:pt x="1331" y="2712"/>
                      <a:pt x="1331" y="2712"/>
                    </a:cubicBezTo>
                    <a:cubicBezTo>
                      <a:pt x="1331" y="2712"/>
                      <a:pt x="1349" y="2716"/>
                      <a:pt x="1354" y="2709"/>
                    </a:cubicBezTo>
                    <a:cubicBezTo>
                      <a:pt x="1359" y="2701"/>
                      <a:pt x="1369" y="2714"/>
                      <a:pt x="1369" y="2714"/>
                    </a:cubicBezTo>
                    <a:cubicBezTo>
                      <a:pt x="1359" y="2715"/>
                      <a:pt x="1359" y="2715"/>
                      <a:pt x="1359" y="2715"/>
                    </a:cubicBezTo>
                    <a:cubicBezTo>
                      <a:pt x="1359" y="2715"/>
                      <a:pt x="1331" y="2744"/>
                      <a:pt x="1327" y="2725"/>
                    </a:cubicBezTo>
                    <a:close/>
                    <a:moveTo>
                      <a:pt x="1335" y="3144"/>
                    </a:moveTo>
                    <a:cubicBezTo>
                      <a:pt x="1332" y="3149"/>
                      <a:pt x="1323" y="3152"/>
                      <a:pt x="1326" y="3137"/>
                    </a:cubicBezTo>
                    <a:cubicBezTo>
                      <a:pt x="1326" y="3137"/>
                      <a:pt x="1337" y="3139"/>
                      <a:pt x="1335" y="3144"/>
                    </a:cubicBezTo>
                    <a:close/>
                    <a:moveTo>
                      <a:pt x="1373" y="2848"/>
                    </a:moveTo>
                    <a:cubicBezTo>
                      <a:pt x="1342" y="2822"/>
                      <a:pt x="1342" y="2822"/>
                      <a:pt x="1342" y="2822"/>
                    </a:cubicBezTo>
                    <a:cubicBezTo>
                      <a:pt x="1342" y="2822"/>
                      <a:pt x="1312" y="2823"/>
                      <a:pt x="1324" y="2808"/>
                    </a:cubicBezTo>
                    <a:cubicBezTo>
                      <a:pt x="1331" y="2804"/>
                      <a:pt x="1366" y="2832"/>
                      <a:pt x="1366" y="2832"/>
                    </a:cubicBezTo>
                    <a:cubicBezTo>
                      <a:pt x="1375" y="2839"/>
                      <a:pt x="1375" y="2839"/>
                      <a:pt x="1375" y="2839"/>
                    </a:cubicBezTo>
                    <a:lnTo>
                      <a:pt x="1373" y="2848"/>
                    </a:lnTo>
                    <a:close/>
                    <a:moveTo>
                      <a:pt x="1419" y="2759"/>
                    </a:moveTo>
                    <a:cubicBezTo>
                      <a:pt x="1412" y="2767"/>
                      <a:pt x="1412" y="2743"/>
                      <a:pt x="1401" y="2743"/>
                    </a:cubicBezTo>
                    <a:cubicBezTo>
                      <a:pt x="1391" y="2743"/>
                      <a:pt x="1388" y="2726"/>
                      <a:pt x="1388" y="2726"/>
                    </a:cubicBezTo>
                    <a:cubicBezTo>
                      <a:pt x="1388" y="2715"/>
                      <a:pt x="1404" y="2737"/>
                      <a:pt x="1411" y="2737"/>
                    </a:cubicBezTo>
                    <a:cubicBezTo>
                      <a:pt x="1417" y="2738"/>
                      <a:pt x="1425" y="2750"/>
                      <a:pt x="1419" y="2759"/>
                    </a:cubicBezTo>
                    <a:close/>
                    <a:moveTo>
                      <a:pt x="1323" y="3481"/>
                    </a:moveTo>
                    <a:cubicBezTo>
                      <a:pt x="1317" y="3481"/>
                      <a:pt x="1319" y="3474"/>
                      <a:pt x="1324" y="3475"/>
                    </a:cubicBezTo>
                    <a:cubicBezTo>
                      <a:pt x="1324" y="3475"/>
                      <a:pt x="1330" y="3481"/>
                      <a:pt x="1323" y="3481"/>
                    </a:cubicBezTo>
                    <a:close/>
                    <a:moveTo>
                      <a:pt x="1328" y="3447"/>
                    </a:moveTo>
                    <a:cubicBezTo>
                      <a:pt x="1325" y="3441"/>
                      <a:pt x="1334" y="3437"/>
                      <a:pt x="1338" y="3436"/>
                    </a:cubicBezTo>
                    <a:cubicBezTo>
                      <a:pt x="1338" y="3436"/>
                      <a:pt x="1331" y="3453"/>
                      <a:pt x="1328" y="3447"/>
                    </a:cubicBezTo>
                    <a:close/>
                    <a:moveTo>
                      <a:pt x="1340" y="3427"/>
                    </a:moveTo>
                    <a:cubicBezTo>
                      <a:pt x="1333" y="3425"/>
                      <a:pt x="1333" y="3425"/>
                      <a:pt x="1335" y="3420"/>
                    </a:cubicBezTo>
                    <a:cubicBezTo>
                      <a:pt x="1336" y="3414"/>
                      <a:pt x="1347" y="3429"/>
                      <a:pt x="1340" y="3427"/>
                    </a:cubicBezTo>
                    <a:close/>
                    <a:moveTo>
                      <a:pt x="1370" y="3508"/>
                    </a:moveTo>
                    <a:cubicBezTo>
                      <a:pt x="1370" y="3508"/>
                      <a:pt x="1377" y="3519"/>
                      <a:pt x="1371" y="3517"/>
                    </a:cubicBezTo>
                    <a:cubicBezTo>
                      <a:pt x="1366" y="3516"/>
                      <a:pt x="1365" y="3508"/>
                      <a:pt x="1370" y="3508"/>
                    </a:cubicBezTo>
                    <a:close/>
                    <a:moveTo>
                      <a:pt x="1400" y="3757"/>
                    </a:moveTo>
                    <a:cubicBezTo>
                      <a:pt x="1401" y="3764"/>
                      <a:pt x="1401" y="3764"/>
                      <a:pt x="1401" y="3764"/>
                    </a:cubicBezTo>
                    <a:cubicBezTo>
                      <a:pt x="1389" y="3776"/>
                      <a:pt x="1389" y="3776"/>
                      <a:pt x="1389" y="3776"/>
                    </a:cubicBezTo>
                    <a:cubicBezTo>
                      <a:pt x="1389" y="3776"/>
                      <a:pt x="1390" y="3785"/>
                      <a:pt x="1390" y="3787"/>
                    </a:cubicBezTo>
                    <a:cubicBezTo>
                      <a:pt x="1390" y="3789"/>
                      <a:pt x="1359" y="3812"/>
                      <a:pt x="1352" y="3810"/>
                    </a:cubicBezTo>
                    <a:cubicBezTo>
                      <a:pt x="1343" y="3807"/>
                      <a:pt x="1383" y="3780"/>
                      <a:pt x="1383" y="3778"/>
                    </a:cubicBezTo>
                    <a:cubicBezTo>
                      <a:pt x="1383" y="3776"/>
                      <a:pt x="1384" y="3769"/>
                      <a:pt x="1384" y="3769"/>
                    </a:cubicBezTo>
                    <a:lnTo>
                      <a:pt x="1400" y="3757"/>
                    </a:lnTo>
                    <a:close/>
                    <a:moveTo>
                      <a:pt x="1439" y="3267"/>
                    </a:moveTo>
                    <a:cubicBezTo>
                      <a:pt x="1434" y="3271"/>
                      <a:pt x="1428" y="3253"/>
                      <a:pt x="1428" y="3253"/>
                    </a:cubicBezTo>
                    <a:cubicBezTo>
                      <a:pt x="1434" y="3253"/>
                      <a:pt x="1443" y="3263"/>
                      <a:pt x="1439" y="3267"/>
                    </a:cubicBezTo>
                    <a:close/>
                    <a:moveTo>
                      <a:pt x="1448" y="3258"/>
                    </a:moveTo>
                    <a:cubicBezTo>
                      <a:pt x="1448" y="3258"/>
                      <a:pt x="1462" y="3235"/>
                      <a:pt x="1473" y="3240"/>
                    </a:cubicBezTo>
                    <a:cubicBezTo>
                      <a:pt x="1483" y="3245"/>
                      <a:pt x="1451" y="3263"/>
                      <a:pt x="1448" y="3258"/>
                    </a:cubicBezTo>
                    <a:close/>
                    <a:moveTo>
                      <a:pt x="1514" y="3675"/>
                    </a:moveTo>
                    <a:cubicBezTo>
                      <a:pt x="1514" y="3675"/>
                      <a:pt x="1521" y="3691"/>
                      <a:pt x="1515" y="3690"/>
                    </a:cubicBezTo>
                    <a:cubicBezTo>
                      <a:pt x="1509" y="3689"/>
                      <a:pt x="1514" y="3675"/>
                      <a:pt x="1514" y="3675"/>
                    </a:cubicBezTo>
                    <a:close/>
                    <a:moveTo>
                      <a:pt x="1511" y="3699"/>
                    </a:moveTo>
                    <a:cubicBezTo>
                      <a:pt x="1511" y="3699"/>
                      <a:pt x="1517" y="3697"/>
                      <a:pt x="1519" y="3703"/>
                    </a:cubicBezTo>
                    <a:cubicBezTo>
                      <a:pt x="1520" y="3709"/>
                      <a:pt x="1511" y="3709"/>
                      <a:pt x="1511" y="3699"/>
                    </a:cubicBezTo>
                    <a:close/>
                    <a:moveTo>
                      <a:pt x="1546" y="3649"/>
                    </a:moveTo>
                    <a:cubicBezTo>
                      <a:pt x="1553" y="3649"/>
                      <a:pt x="1549" y="3655"/>
                      <a:pt x="1549" y="3655"/>
                    </a:cubicBezTo>
                    <a:cubicBezTo>
                      <a:pt x="1543" y="3655"/>
                      <a:pt x="1539" y="3649"/>
                      <a:pt x="1546" y="3649"/>
                    </a:cubicBezTo>
                    <a:close/>
                    <a:moveTo>
                      <a:pt x="1550" y="3673"/>
                    </a:moveTo>
                    <a:cubicBezTo>
                      <a:pt x="1542" y="3673"/>
                      <a:pt x="1543" y="3662"/>
                      <a:pt x="1551" y="3663"/>
                    </a:cubicBezTo>
                    <a:cubicBezTo>
                      <a:pt x="1559" y="3663"/>
                      <a:pt x="1553" y="3673"/>
                      <a:pt x="1550" y="3673"/>
                    </a:cubicBezTo>
                    <a:close/>
                    <a:moveTo>
                      <a:pt x="1538" y="2268"/>
                    </a:moveTo>
                    <a:cubicBezTo>
                      <a:pt x="1550" y="2267"/>
                      <a:pt x="1551" y="2276"/>
                      <a:pt x="1548" y="2281"/>
                    </a:cubicBezTo>
                    <a:cubicBezTo>
                      <a:pt x="1545" y="2285"/>
                      <a:pt x="1543" y="2273"/>
                      <a:pt x="1535" y="2272"/>
                    </a:cubicBezTo>
                    <a:cubicBezTo>
                      <a:pt x="1535" y="2281"/>
                      <a:pt x="1519" y="2259"/>
                      <a:pt x="1519" y="2253"/>
                    </a:cubicBezTo>
                    <a:cubicBezTo>
                      <a:pt x="1519" y="2245"/>
                      <a:pt x="1525" y="2255"/>
                      <a:pt x="1538" y="2268"/>
                    </a:cubicBezTo>
                    <a:close/>
                    <a:moveTo>
                      <a:pt x="1523" y="2226"/>
                    </a:moveTo>
                    <a:cubicBezTo>
                      <a:pt x="1531" y="2226"/>
                      <a:pt x="1525" y="2241"/>
                      <a:pt x="1522" y="2240"/>
                    </a:cubicBezTo>
                    <a:cubicBezTo>
                      <a:pt x="1519" y="2239"/>
                      <a:pt x="1509" y="2227"/>
                      <a:pt x="1523" y="2226"/>
                    </a:cubicBezTo>
                    <a:close/>
                    <a:moveTo>
                      <a:pt x="1499" y="3114"/>
                    </a:moveTo>
                    <a:cubicBezTo>
                      <a:pt x="1494" y="3115"/>
                      <a:pt x="1494" y="3106"/>
                      <a:pt x="1494" y="3106"/>
                    </a:cubicBezTo>
                    <a:cubicBezTo>
                      <a:pt x="1505" y="3091"/>
                      <a:pt x="1505" y="3091"/>
                      <a:pt x="1505" y="3091"/>
                    </a:cubicBezTo>
                    <a:cubicBezTo>
                      <a:pt x="1498" y="3087"/>
                      <a:pt x="1498" y="3087"/>
                      <a:pt x="1498" y="3087"/>
                    </a:cubicBezTo>
                    <a:cubicBezTo>
                      <a:pt x="1505" y="3081"/>
                      <a:pt x="1505" y="3081"/>
                      <a:pt x="1505" y="3081"/>
                    </a:cubicBezTo>
                    <a:cubicBezTo>
                      <a:pt x="1507" y="3087"/>
                      <a:pt x="1507" y="3087"/>
                      <a:pt x="1507" y="3087"/>
                    </a:cubicBezTo>
                    <a:cubicBezTo>
                      <a:pt x="1557" y="3039"/>
                      <a:pt x="1557" y="3039"/>
                      <a:pt x="1557" y="3039"/>
                    </a:cubicBezTo>
                    <a:cubicBezTo>
                      <a:pt x="1559" y="3045"/>
                      <a:pt x="1559" y="3045"/>
                      <a:pt x="1559" y="3045"/>
                    </a:cubicBezTo>
                    <a:cubicBezTo>
                      <a:pt x="1559" y="3045"/>
                      <a:pt x="1503" y="3113"/>
                      <a:pt x="1499" y="3114"/>
                    </a:cubicBezTo>
                    <a:close/>
                    <a:moveTo>
                      <a:pt x="1581" y="2319"/>
                    </a:moveTo>
                    <a:cubicBezTo>
                      <a:pt x="1579" y="2319"/>
                      <a:pt x="1575" y="2319"/>
                      <a:pt x="1575" y="2319"/>
                    </a:cubicBezTo>
                    <a:cubicBezTo>
                      <a:pt x="1575" y="2319"/>
                      <a:pt x="1546" y="2285"/>
                      <a:pt x="1561" y="2286"/>
                    </a:cubicBezTo>
                    <a:cubicBezTo>
                      <a:pt x="1568" y="2286"/>
                      <a:pt x="1583" y="2319"/>
                      <a:pt x="1581" y="2319"/>
                    </a:cubicBezTo>
                    <a:close/>
                    <a:moveTo>
                      <a:pt x="1577" y="1914"/>
                    </a:moveTo>
                    <a:cubicBezTo>
                      <a:pt x="1579" y="1900"/>
                      <a:pt x="1579" y="1900"/>
                      <a:pt x="1579" y="1900"/>
                    </a:cubicBezTo>
                    <a:cubicBezTo>
                      <a:pt x="1588" y="1912"/>
                      <a:pt x="1588" y="1912"/>
                      <a:pt x="1588" y="1912"/>
                    </a:cubicBezTo>
                    <a:lnTo>
                      <a:pt x="1577" y="1914"/>
                    </a:lnTo>
                    <a:close/>
                    <a:moveTo>
                      <a:pt x="1588" y="3474"/>
                    </a:moveTo>
                    <a:cubicBezTo>
                      <a:pt x="1588" y="3474"/>
                      <a:pt x="1601" y="3470"/>
                      <a:pt x="1602" y="3478"/>
                    </a:cubicBezTo>
                    <a:cubicBezTo>
                      <a:pt x="1603" y="3486"/>
                      <a:pt x="1588" y="3480"/>
                      <a:pt x="1588" y="3474"/>
                    </a:cubicBezTo>
                    <a:close/>
                    <a:moveTo>
                      <a:pt x="1609" y="3474"/>
                    </a:moveTo>
                    <a:cubicBezTo>
                      <a:pt x="1605" y="3474"/>
                      <a:pt x="1603" y="3467"/>
                      <a:pt x="1609" y="3467"/>
                    </a:cubicBezTo>
                    <a:cubicBezTo>
                      <a:pt x="1615" y="3467"/>
                      <a:pt x="1609" y="3474"/>
                      <a:pt x="1609" y="3474"/>
                    </a:cubicBezTo>
                    <a:close/>
                    <a:moveTo>
                      <a:pt x="1623" y="3660"/>
                    </a:moveTo>
                    <a:cubicBezTo>
                      <a:pt x="1616" y="3660"/>
                      <a:pt x="1618" y="3653"/>
                      <a:pt x="1622" y="3653"/>
                    </a:cubicBezTo>
                    <a:cubicBezTo>
                      <a:pt x="1622" y="3653"/>
                      <a:pt x="1631" y="3660"/>
                      <a:pt x="1623" y="3660"/>
                    </a:cubicBezTo>
                    <a:close/>
                    <a:moveTo>
                      <a:pt x="1625" y="2032"/>
                    </a:moveTo>
                    <a:cubicBezTo>
                      <a:pt x="1619" y="2037"/>
                      <a:pt x="1619" y="2030"/>
                      <a:pt x="1622" y="2024"/>
                    </a:cubicBezTo>
                    <a:cubicBezTo>
                      <a:pt x="1622" y="2024"/>
                      <a:pt x="1632" y="2027"/>
                      <a:pt x="1625" y="2032"/>
                    </a:cubicBezTo>
                    <a:close/>
                    <a:moveTo>
                      <a:pt x="1659" y="3589"/>
                    </a:moveTo>
                    <a:cubicBezTo>
                      <a:pt x="1659" y="3589"/>
                      <a:pt x="1638" y="3576"/>
                      <a:pt x="1642" y="3561"/>
                    </a:cubicBezTo>
                    <a:cubicBezTo>
                      <a:pt x="1646" y="3547"/>
                      <a:pt x="1648" y="3541"/>
                      <a:pt x="1648" y="3541"/>
                    </a:cubicBezTo>
                    <a:cubicBezTo>
                      <a:pt x="1652" y="3549"/>
                      <a:pt x="1653" y="3553"/>
                      <a:pt x="1653" y="3553"/>
                    </a:cubicBezTo>
                    <a:cubicBezTo>
                      <a:pt x="1653" y="3553"/>
                      <a:pt x="1649" y="3557"/>
                      <a:pt x="1651" y="3568"/>
                    </a:cubicBezTo>
                    <a:cubicBezTo>
                      <a:pt x="1653" y="3579"/>
                      <a:pt x="1667" y="3573"/>
                      <a:pt x="1667" y="3573"/>
                    </a:cubicBezTo>
                    <a:lnTo>
                      <a:pt x="1659" y="3589"/>
                    </a:lnTo>
                    <a:close/>
                    <a:moveTo>
                      <a:pt x="1680" y="3541"/>
                    </a:moveTo>
                    <a:cubicBezTo>
                      <a:pt x="1680" y="3541"/>
                      <a:pt x="1687" y="3521"/>
                      <a:pt x="1695" y="3524"/>
                    </a:cubicBezTo>
                    <a:cubicBezTo>
                      <a:pt x="1704" y="3527"/>
                      <a:pt x="1681" y="3544"/>
                      <a:pt x="1680" y="3541"/>
                    </a:cubicBezTo>
                    <a:close/>
                    <a:moveTo>
                      <a:pt x="1695" y="1819"/>
                    </a:moveTo>
                    <a:cubicBezTo>
                      <a:pt x="1689" y="1821"/>
                      <a:pt x="1693" y="1813"/>
                      <a:pt x="1693" y="1813"/>
                    </a:cubicBezTo>
                    <a:cubicBezTo>
                      <a:pt x="1703" y="1807"/>
                      <a:pt x="1701" y="1817"/>
                      <a:pt x="1695" y="1819"/>
                    </a:cubicBezTo>
                    <a:close/>
                    <a:moveTo>
                      <a:pt x="1786" y="3705"/>
                    </a:moveTo>
                    <a:cubicBezTo>
                      <a:pt x="1786" y="3705"/>
                      <a:pt x="1800" y="3701"/>
                      <a:pt x="1800" y="3709"/>
                    </a:cubicBezTo>
                    <a:cubicBezTo>
                      <a:pt x="1800" y="3718"/>
                      <a:pt x="1787" y="3714"/>
                      <a:pt x="1786" y="3705"/>
                    </a:cubicBezTo>
                    <a:close/>
                    <a:moveTo>
                      <a:pt x="1996" y="2314"/>
                    </a:moveTo>
                    <a:cubicBezTo>
                      <a:pt x="1997" y="2320"/>
                      <a:pt x="1990" y="2313"/>
                      <a:pt x="1990" y="2313"/>
                    </a:cubicBezTo>
                    <a:cubicBezTo>
                      <a:pt x="1990" y="2308"/>
                      <a:pt x="1995" y="2308"/>
                      <a:pt x="1996" y="2314"/>
                    </a:cubicBezTo>
                    <a:close/>
                    <a:moveTo>
                      <a:pt x="1989" y="2299"/>
                    </a:moveTo>
                    <a:cubicBezTo>
                      <a:pt x="1989" y="2299"/>
                      <a:pt x="1989" y="2313"/>
                      <a:pt x="1983" y="2307"/>
                    </a:cubicBezTo>
                    <a:cubicBezTo>
                      <a:pt x="1977" y="2301"/>
                      <a:pt x="1989" y="2299"/>
                      <a:pt x="1989" y="2299"/>
                    </a:cubicBezTo>
                    <a:close/>
                    <a:moveTo>
                      <a:pt x="1982" y="2325"/>
                    </a:moveTo>
                    <a:cubicBezTo>
                      <a:pt x="1973" y="2329"/>
                      <a:pt x="1971" y="2311"/>
                      <a:pt x="1971" y="2311"/>
                    </a:cubicBezTo>
                    <a:cubicBezTo>
                      <a:pt x="1971" y="2311"/>
                      <a:pt x="1991" y="2322"/>
                      <a:pt x="1982" y="2325"/>
                    </a:cubicBezTo>
                    <a:close/>
                    <a:moveTo>
                      <a:pt x="1961" y="2302"/>
                    </a:moveTo>
                    <a:cubicBezTo>
                      <a:pt x="1961" y="2309"/>
                      <a:pt x="1945" y="2301"/>
                      <a:pt x="1945" y="2301"/>
                    </a:cubicBezTo>
                    <a:cubicBezTo>
                      <a:pt x="1945" y="2291"/>
                      <a:pt x="1961" y="2295"/>
                      <a:pt x="1961" y="2302"/>
                    </a:cubicBezTo>
                    <a:close/>
                    <a:moveTo>
                      <a:pt x="1929" y="2305"/>
                    </a:moveTo>
                    <a:cubicBezTo>
                      <a:pt x="1929" y="2305"/>
                      <a:pt x="1941" y="2306"/>
                      <a:pt x="1935" y="2309"/>
                    </a:cubicBezTo>
                    <a:cubicBezTo>
                      <a:pt x="1928" y="2311"/>
                      <a:pt x="1929" y="2305"/>
                      <a:pt x="1929" y="2305"/>
                    </a:cubicBezTo>
                    <a:close/>
                    <a:moveTo>
                      <a:pt x="1918" y="2303"/>
                    </a:moveTo>
                    <a:cubicBezTo>
                      <a:pt x="1913" y="2310"/>
                      <a:pt x="1909" y="2294"/>
                      <a:pt x="1909" y="2294"/>
                    </a:cubicBezTo>
                    <a:cubicBezTo>
                      <a:pt x="1909" y="2294"/>
                      <a:pt x="1923" y="2295"/>
                      <a:pt x="1918" y="2303"/>
                    </a:cubicBezTo>
                    <a:close/>
                    <a:moveTo>
                      <a:pt x="1903" y="2293"/>
                    </a:moveTo>
                    <a:cubicBezTo>
                      <a:pt x="1905" y="2300"/>
                      <a:pt x="1895" y="2295"/>
                      <a:pt x="1895" y="2290"/>
                    </a:cubicBezTo>
                    <a:cubicBezTo>
                      <a:pt x="1895" y="2290"/>
                      <a:pt x="1902" y="2287"/>
                      <a:pt x="1903" y="2293"/>
                    </a:cubicBezTo>
                    <a:close/>
                    <a:moveTo>
                      <a:pt x="1910" y="2575"/>
                    </a:moveTo>
                    <a:cubicBezTo>
                      <a:pt x="1898" y="2573"/>
                      <a:pt x="1898" y="2569"/>
                      <a:pt x="1898" y="2569"/>
                    </a:cubicBezTo>
                    <a:cubicBezTo>
                      <a:pt x="1898" y="2569"/>
                      <a:pt x="1893" y="2581"/>
                      <a:pt x="1882" y="2576"/>
                    </a:cubicBezTo>
                    <a:cubicBezTo>
                      <a:pt x="1871" y="2571"/>
                      <a:pt x="1868" y="2562"/>
                      <a:pt x="1868" y="2562"/>
                    </a:cubicBezTo>
                    <a:cubicBezTo>
                      <a:pt x="1868" y="2562"/>
                      <a:pt x="1879" y="2553"/>
                      <a:pt x="1885" y="2553"/>
                    </a:cubicBezTo>
                    <a:cubicBezTo>
                      <a:pt x="1892" y="2553"/>
                      <a:pt x="1894" y="2557"/>
                      <a:pt x="1894" y="2557"/>
                    </a:cubicBezTo>
                    <a:cubicBezTo>
                      <a:pt x="1933" y="2564"/>
                      <a:pt x="1933" y="2564"/>
                      <a:pt x="1933" y="2564"/>
                    </a:cubicBezTo>
                    <a:cubicBezTo>
                      <a:pt x="1933" y="2564"/>
                      <a:pt x="1922" y="2576"/>
                      <a:pt x="1910" y="2575"/>
                    </a:cubicBezTo>
                    <a:close/>
                    <a:moveTo>
                      <a:pt x="1909" y="2463"/>
                    </a:moveTo>
                    <a:cubicBezTo>
                      <a:pt x="1895" y="2472"/>
                      <a:pt x="1867" y="2513"/>
                      <a:pt x="1865" y="2494"/>
                    </a:cubicBezTo>
                    <a:cubicBezTo>
                      <a:pt x="1865" y="2487"/>
                      <a:pt x="1901" y="2457"/>
                      <a:pt x="1908" y="2455"/>
                    </a:cubicBezTo>
                    <a:cubicBezTo>
                      <a:pt x="1915" y="2454"/>
                      <a:pt x="1922" y="2429"/>
                      <a:pt x="1922" y="2429"/>
                    </a:cubicBezTo>
                    <a:cubicBezTo>
                      <a:pt x="1922" y="2429"/>
                      <a:pt x="1925" y="2434"/>
                      <a:pt x="1927" y="2435"/>
                    </a:cubicBezTo>
                    <a:cubicBezTo>
                      <a:pt x="1929" y="2435"/>
                      <a:pt x="1960" y="2421"/>
                      <a:pt x="1964" y="2425"/>
                    </a:cubicBezTo>
                    <a:cubicBezTo>
                      <a:pt x="1968" y="2429"/>
                      <a:pt x="1954" y="2439"/>
                      <a:pt x="1954" y="2439"/>
                    </a:cubicBezTo>
                    <a:cubicBezTo>
                      <a:pt x="1954" y="2439"/>
                      <a:pt x="1924" y="2455"/>
                      <a:pt x="1909" y="2463"/>
                    </a:cubicBezTo>
                    <a:close/>
                    <a:moveTo>
                      <a:pt x="2145" y="3602"/>
                    </a:moveTo>
                    <a:cubicBezTo>
                      <a:pt x="2140" y="3608"/>
                      <a:pt x="2140" y="3594"/>
                      <a:pt x="2140" y="3594"/>
                    </a:cubicBezTo>
                    <a:cubicBezTo>
                      <a:pt x="2140" y="3594"/>
                      <a:pt x="2150" y="3595"/>
                      <a:pt x="2145" y="3602"/>
                    </a:cubicBezTo>
                    <a:close/>
                    <a:moveTo>
                      <a:pt x="2178" y="3641"/>
                    </a:moveTo>
                    <a:cubicBezTo>
                      <a:pt x="2176" y="3645"/>
                      <a:pt x="2175" y="3649"/>
                      <a:pt x="2168" y="3637"/>
                    </a:cubicBezTo>
                    <a:cubicBezTo>
                      <a:pt x="2167" y="3619"/>
                      <a:pt x="2157" y="3613"/>
                      <a:pt x="2157" y="3613"/>
                    </a:cubicBezTo>
                    <a:cubicBezTo>
                      <a:pt x="2157" y="3613"/>
                      <a:pt x="2155" y="3605"/>
                      <a:pt x="2159" y="3605"/>
                    </a:cubicBezTo>
                    <a:cubicBezTo>
                      <a:pt x="2162" y="3605"/>
                      <a:pt x="2174" y="3628"/>
                      <a:pt x="2174" y="3628"/>
                    </a:cubicBezTo>
                    <a:cubicBezTo>
                      <a:pt x="2174" y="3628"/>
                      <a:pt x="2181" y="3637"/>
                      <a:pt x="2178" y="3641"/>
                    </a:cubicBezTo>
                    <a:close/>
                    <a:moveTo>
                      <a:pt x="1974" y="5998"/>
                    </a:moveTo>
                    <a:cubicBezTo>
                      <a:pt x="1959" y="5990"/>
                      <a:pt x="1982" y="5981"/>
                      <a:pt x="1982" y="5981"/>
                    </a:cubicBezTo>
                    <a:cubicBezTo>
                      <a:pt x="1995" y="5987"/>
                      <a:pt x="1995" y="5987"/>
                      <a:pt x="1995" y="5987"/>
                    </a:cubicBezTo>
                    <a:cubicBezTo>
                      <a:pt x="1995" y="5987"/>
                      <a:pt x="1989" y="6006"/>
                      <a:pt x="1974" y="5998"/>
                    </a:cubicBezTo>
                    <a:close/>
                    <a:moveTo>
                      <a:pt x="1570" y="6926"/>
                    </a:moveTo>
                    <a:cubicBezTo>
                      <a:pt x="1563" y="6932"/>
                      <a:pt x="1563" y="6918"/>
                      <a:pt x="1563" y="6918"/>
                    </a:cubicBezTo>
                    <a:cubicBezTo>
                      <a:pt x="1563" y="6918"/>
                      <a:pt x="1577" y="6920"/>
                      <a:pt x="1570" y="6926"/>
                    </a:cubicBezTo>
                    <a:close/>
                    <a:moveTo>
                      <a:pt x="1594" y="6943"/>
                    </a:moveTo>
                    <a:cubicBezTo>
                      <a:pt x="1580" y="6944"/>
                      <a:pt x="1577" y="6936"/>
                      <a:pt x="1587" y="6934"/>
                    </a:cubicBezTo>
                    <a:cubicBezTo>
                      <a:pt x="1597" y="6932"/>
                      <a:pt x="1594" y="6943"/>
                      <a:pt x="1594" y="6943"/>
                    </a:cubicBezTo>
                    <a:close/>
                    <a:moveTo>
                      <a:pt x="1584" y="6923"/>
                    </a:moveTo>
                    <a:cubicBezTo>
                      <a:pt x="1584" y="6923"/>
                      <a:pt x="1593" y="6915"/>
                      <a:pt x="1598" y="6920"/>
                    </a:cubicBezTo>
                    <a:cubicBezTo>
                      <a:pt x="1603" y="6925"/>
                      <a:pt x="1584" y="6923"/>
                      <a:pt x="1584" y="6923"/>
                    </a:cubicBezTo>
                    <a:close/>
                    <a:moveTo>
                      <a:pt x="2038" y="6124"/>
                    </a:moveTo>
                    <a:cubicBezTo>
                      <a:pt x="2038" y="6124"/>
                      <a:pt x="2031" y="6144"/>
                      <a:pt x="2027" y="6135"/>
                    </a:cubicBezTo>
                    <a:cubicBezTo>
                      <a:pt x="2023" y="6126"/>
                      <a:pt x="2038" y="6124"/>
                      <a:pt x="2038" y="6124"/>
                    </a:cubicBezTo>
                    <a:close/>
                    <a:moveTo>
                      <a:pt x="2019" y="6142"/>
                    </a:moveTo>
                    <a:cubicBezTo>
                      <a:pt x="2019" y="6142"/>
                      <a:pt x="2022" y="6156"/>
                      <a:pt x="2017" y="6149"/>
                    </a:cubicBezTo>
                    <a:cubicBezTo>
                      <a:pt x="2012" y="6142"/>
                      <a:pt x="2019" y="6142"/>
                      <a:pt x="2019" y="6142"/>
                    </a:cubicBezTo>
                    <a:close/>
                    <a:moveTo>
                      <a:pt x="2037" y="6278"/>
                    </a:moveTo>
                    <a:cubicBezTo>
                      <a:pt x="2032" y="6285"/>
                      <a:pt x="2032" y="6285"/>
                      <a:pt x="2032" y="6285"/>
                    </a:cubicBezTo>
                    <a:cubicBezTo>
                      <a:pt x="2020" y="6285"/>
                      <a:pt x="2020" y="6285"/>
                      <a:pt x="2020" y="6285"/>
                    </a:cubicBezTo>
                    <a:cubicBezTo>
                      <a:pt x="2017" y="6274"/>
                      <a:pt x="2017" y="6274"/>
                      <a:pt x="2017" y="6274"/>
                    </a:cubicBezTo>
                    <a:cubicBezTo>
                      <a:pt x="2030" y="6274"/>
                      <a:pt x="2030" y="6274"/>
                      <a:pt x="2030" y="6274"/>
                    </a:cubicBezTo>
                    <a:cubicBezTo>
                      <a:pt x="2030" y="6274"/>
                      <a:pt x="2042" y="6265"/>
                      <a:pt x="2050" y="6274"/>
                    </a:cubicBezTo>
                    <a:cubicBezTo>
                      <a:pt x="2058" y="6283"/>
                      <a:pt x="2037" y="6278"/>
                      <a:pt x="2037" y="6278"/>
                    </a:cubicBezTo>
                    <a:close/>
                    <a:moveTo>
                      <a:pt x="2124" y="5722"/>
                    </a:moveTo>
                    <a:cubicBezTo>
                      <a:pt x="2119" y="5727"/>
                      <a:pt x="2123" y="5712"/>
                      <a:pt x="2123" y="5712"/>
                    </a:cubicBezTo>
                    <a:cubicBezTo>
                      <a:pt x="2123" y="5712"/>
                      <a:pt x="2129" y="5717"/>
                      <a:pt x="2124" y="5722"/>
                    </a:cubicBezTo>
                    <a:close/>
                    <a:moveTo>
                      <a:pt x="1938" y="7940"/>
                    </a:moveTo>
                    <a:cubicBezTo>
                      <a:pt x="1949" y="7938"/>
                      <a:pt x="1936" y="7949"/>
                      <a:pt x="1936" y="7949"/>
                    </a:cubicBezTo>
                    <a:cubicBezTo>
                      <a:pt x="1936" y="7949"/>
                      <a:pt x="1927" y="7942"/>
                      <a:pt x="1938" y="7940"/>
                    </a:cubicBezTo>
                    <a:close/>
                    <a:moveTo>
                      <a:pt x="1933" y="7984"/>
                    </a:moveTo>
                    <a:cubicBezTo>
                      <a:pt x="1933" y="7984"/>
                      <a:pt x="1943" y="7973"/>
                      <a:pt x="1943" y="7985"/>
                    </a:cubicBezTo>
                    <a:cubicBezTo>
                      <a:pt x="1943" y="7997"/>
                      <a:pt x="1933" y="7993"/>
                      <a:pt x="1933" y="7984"/>
                    </a:cubicBezTo>
                    <a:close/>
                    <a:moveTo>
                      <a:pt x="2957" y="7710"/>
                    </a:moveTo>
                    <a:cubicBezTo>
                      <a:pt x="2968" y="7711"/>
                      <a:pt x="2961" y="7723"/>
                      <a:pt x="2961" y="7723"/>
                    </a:cubicBezTo>
                    <a:cubicBezTo>
                      <a:pt x="2961" y="7723"/>
                      <a:pt x="2946" y="7709"/>
                      <a:pt x="2957" y="7710"/>
                    </a:cubicBezTo>
                    <a:close/>
                    <a:moveTo>
                      <a:pt x="2926" y="7745"/>
                    </a:moveTo>
                    <a:cubicBezTo>
                      <a:pt x="2920" y="7745"/>
                      <a:pt x="2927" y="7727"/>
                      <a:pt x="2927" y="7727"/>
                    </a:cubicBezTo>
                    <a:cubicBezTo>
                      <a:pt x="2940" y="7726"/>
                      <a:pt x="2940" y="7726"/>
                      <a:pt x="2940" y="7726"/>
                    </a:cubicBezTo>
                    <a:cubicBezTo>
                      <a:pt x="2940" y="7726"/>
                      <a:pt x="2932" y="7745"/>
                      <a:pt x="2926" y="7745"/>
                    </a:cubicBezTo>
                    <a:close/>
                    <a:moveTo>
                      <a:pt x="2973" y="7762"/>
                    </a:moveTo>
                    <a:cubicBezTo>
                      <a:pt x="2966" y="7766"/>
                      <a:pt x="2969" y="7753"/>
                      <a:pt x="2969" y="7753"/>
                    </a:cubicBezTo>
                    <a:cubicBezTo>
                      <a:pt x="2969" y="7753"/>
                      <a:pt x="2980" y="7758"/>
                      <a:pt x="2973" y="7762"/>
                    </a:cubicBezTo>
                    <a:close/>
                    <a:moveTo>
                      <a:pt x="2962" y="7738"/>
                    </a:moveTo>
                    <a:cubicBezTo>
                      <a:pt x="2957" y="7738"/>
                      <a:pt x="2957" y="7751"/>
                      <a:pt x="2957" y="7751"/>
                    </a:cubicBezTo>
                    <a:cubicBezTo>
                      <a:pt x="2948" y="7736"/>
                      <a:pt x="2948" y="7736"/>
                      <a:pt x="2948" y="7736"/>
                    </a:cubicBezTo>
                    <a:cubicBezTo>
                      <a:pt x="2948" y="7729"/>
                      <a:pt x="2981" y="7737"/>
                      <a:pt x="2981" y="7737"/>
                    </a:cubicBezTo>
                    <a:cubicBezTo>
                      <a:pt x="2981" y="7737"/>
                      <a:pt x="2967" y="7738"/>
                      <a:pt x="2962" y="7738"/>
                    </a:cubicBezTo>
                    <a:close/>
                    <a:moveTo>
                      <a:pt x="3312" y="4714"/>
                    </a:moveTo>
                    <a:cubicBezTo>
                      <a:pt x="3311" y="4717"/>
                      <a:pt x="3302" y="4708"/>
                      <a:pt x="3302" y="4708"/>
                    </a:cubicBezTo>
                    <a:cubicBezTo>
                      <a:pt x="3303" y="4700"/>
                      <a:pt x="3313" y="4711"/>
                      <a:pt x="3312" y="4714"/>
                    </a:cubicBezTo>
                    <a:close/>
                    <a:moveTo>
                      <a:pt x="3426" y="7669"/>
                    </a:moveTo>
                    <a:cubicBezTo>
                      <a:pt x="3426" y="7669"/>
                      <a:pt x="3412" y="7666"/>
                      <a:pt x="3404" y="7666"/>
                    </a:cubicBezTo>
                    <a:cubicBezTo>
                      <a:pt x="3404" y="7666"/>
                      <a:pt x="3395" y="7650"/>
                      <a:pt x="3405" y="7649"/>
                    </a:cubicBezTo>
                    <a:cubicBezTo>
                      <a:pt x="3415" y="7648"/>
                      <a:pt x="3417" y="7631"/>
                      <a:pt x="3417" y="7631"/>
                    </a:cubicBezTo>
                    <a:cubicBezTo>
                      <a:pt x="3428" y="7645"/>
                      <a:pt x="3428" y="7645"/>
                      <a:pt x="3428" y="7645"/>
                    </a:cubicBezTo>
                    <a:lnTo>
                      <a:pt x="3426" y="7669"/>
                    </a:lnTo>
                    <a:close/>
                    <a:moveTo>
                      <a:pt x="3448" y="7645"/>
                    </a:moveTo>
                    <a:cubicBezTo>
                      <a:pt x="3448" y="7645"/>
                      <a:pt x="3438" y="7640"/>
                      <a:pt x="3445" y="7634"/>
                    </a:cubicBezTo>
                    <a:cubicBezTo>
                      <a:pt x="3452" y="7628"/>
                      <a:pt x="3448" y="7645"/>
                      <a:pt x="3448" y="7645"/>
                    </a:cubicBezTo>
                    <a:close/>
                    <a:moveTo>
                      <a:pt x="4049" y="7171"/>
                    </a:moveTo>
                    <a:cubicBezTo>
                      <a:pt x="4049" y="7171"/>
                      <a:pt x="4055" y="7165"/>
                      <a:pt x="4055" y="7171"/>
                    </a:cubicBezTo>
                    <a:cubicBezTo>
                      <a:pt x="4055" y="7177"/>
                      <a:pt x="4049" y="7171"/>
                      <a:pt x="4049" y="7171"/>
                    </a:cubicBezTo>
                    <a:close/>
                    <a:moveTo>
                      <a:pt x="4275" y="7246"/>
                    </a:moveTo>
                    <a:cubicBezTo>
                      <a:pt x="4275" y="7253"/>
                      <a:pt x="4252" y="7245"/>
                      <a:pt x="4252" y="7245"/>
                    </a:cubicBezTo>
                    <a:cubicBezTo>
                      <a:pt x="4252" y="7245"/>
                      <a:pt x="4275" y="7239"/>
                      <a:pt x="4275" y="7246"/>
                    </a:cubicBezTo>
                    <a:close/>
                    <a:moveTo>
                      <a:pt x="4202" y="7227"/>
                    </a:moveTo>
                    <a:cubicBezTo>
                      <a:pt x="4196" y="7227"/>
                      <a:pt x="4198" y="7219"/>
                      <a:pt x="4198" y="7219"/>
                    </a:cubicBezTo>
                    <a:cubicBezTo>
                      <a:pt x="4198" y="7219"/>
                      <a:pt x="4208" y="7227"/>
                      <a:pt x="4202" y="7227"/>
                    </a:cubicBezTo>
                    <a:close/>
                    <a:moveTo>
                      <a:pt x="4193" y="7189"/>
                    </a:moveTo>
                    <a:cubicBezTo>
                      <a:pt x="4203" y="7190"/>
                      <a:pt x="4202" y="7200"/>
                      <a:pt x="4194" y="7203"/>
                    </a:cubicBezTo>
                    <a:cubicBezTo>
                      <a:pt x="4186" y="7206"/>
                      <a:pt x="4193" y="7189"/>
                      <a:pt x="4193" y="7189"/>
                    </a:cubicBezTo>
                    <a:close/>
                    <a:moveTo>
                      <a:pt x="4162" y="7195"/>
                    </a:moveTo>
                    <a:cubicBezTo>
                      <a:pt x="4173" y="7197"/>
                      <a:pt x="4173" y="7197"/>
                      <a:pt x="4173" y="7197"/>
                    </a:cubicBezTo>
                    <a:cubicBezTo>
                      <a:pt x="4168" y="7180"/>
                      <a:pt x="4168" y="7180"/>
                      <a:pt x="4168" y="7180"/>
                    </a:cubicBezTo>
                    <a:cubicBezTo>
                      <a:pt x="4176" y="7188"/>
                      <a:pt x="4176" y="7188"/>
                      <a:pt x="4176" y="7188"/>
                    </a:cubicBezTo>
                    <a:cubicBezTo>
                      <a:pt x="4190" y="7181"/>
                      <a:pt x="4190" y="7181"/>
                      <a:pt x="4190" y="7181"/>
                    </a:cubicBezTo>
                    <a:cubicBezTo>
                      <a:pt x="4190" y="7181"/>
                      <a:pt x="4183" y="7189"/>
                      <a:pt x="4183" y="7199"/>
                    </a:cubicBezTo>
                    <a:cubicBezTo>
                      <a:pt x="4183" y="7209"/>
                      <a:pt x="4189" y="7225"/>
                      <a:pt x="4189" y="7225"/>
                    </a:cubicBezTo>
                    <a:cubicBezTo>
                      <a:pt x="4175" y="7212"/>
                      <a:pt x="4175" y="7212"/>
                      <a:pt x="4175" y="7212"/>
                    </a:cubicBezTo>
                    <a:cubicBezTo>
                      <a:pt x="4158" y="7225"/>
                      <a:pt x="4158" y="7225"/>
                      <a:pt x="4158" y="7225"/>
                    </a:cubicBezTo>
                    <a:cubicBezTo>
                      <a:pt x="4163" y="7218"/>
                      <a:pt x="4162" y="7195"/>
                      <a:pt x="4162" y="7195"/>
                    </a:cubicBezTo>
                    <a:close/>
                    <a:moveTo>
                      <a:pt x="4156" y="7208"/>
                    </a:moveTo>
                    <a:cubicBezTo>
                      <a:pt x="4159" y="7214"/>
                      <a:pt x="4144" y="7218"/>
                      <a:pt x="4144" y="7218"/>
                    </a:cubicBezTo>
                    <a:cubicBezTo>
                      <a:pt x="4144" y="7218"/>
                      <a:pt x="4153" y="7202"/>
                      <a:pt x="4156" y="7208"/>
                    </a:cubicBezTo>
                    <a:close/>
                    <a:moveTo>
                      <a:pt x="4131" y="7203"/>
                    </a:moveTo>
                    <a:cubicBezTo>
                      <a:pt x="4131" y="7203"/>
                      <a:pt x="4142" y="7205"/>
                      <a:pt x="4135" y="7210"/>
                    </a:cubicBezTo>
                    <a:cubicBezTo>
                      <a:pt x="4128" y="7215"/>
                      <a:pt x="4131" y="7203"/>
                      <a:pt x="4131" y="7203"/>
                    </a:cubicBezTo>
                    <a:close/>
                    <a:moveTo>
                      <a:pt x="4068" y="7172"/>
                    </a:moveTo>
                    <a:cubicBezTo>
                      <a:pt x="4059" y="7172"/>
                      <a:pt x="4065" y="7168"/>
                      <a:pt x="4065" y="7168"/>
                    </a:cubicBezTo>
                    <a:cubicBezTo>
                      <a:pt x="4065" y="7168"/>
                      <a:pt x="4077" y="7172"/>
                      <a:pt x="4068" y="7172"/>
                    </a:cubicBezTo>
                    <a:close/>
                    <a:moveTo>
                      <a:pt x="4208" y="6964"/>
                    </a:moveTo>
                    <a:cubicBezTo>
                      <a:pt x="4208" y="6964"/>
                      <a:pt x="4222" y="6953"/>
                      <a:pt x="4225" y="6963"/>
                    </a:cubicBezTo>
                    <a:cubicBezTo>
                      <a:pt x="4228" y="6973"/>
                      <a:pt x="4208" y="6964"/>
                      <a:pt x="4208" y="6964"/>
                    </a:cubicBezTo>
                    <a:close/>
                    <a:moveTo>
                      <a:pt x="4225" y="6951"/>
                    </a:moveTo>
                    <a:cubicBezTo>
                      <a:pt x="4220" y="6955"/>
                      <a:pt x="4225" y="6941"/>
                      <a:pt x="4225" y="6941"/>
                    </a:cubicBezTo>
                    <a:cubicBezTo>
                      <a:pt x="4225" y="6941"/>
                      <a:pt x="4230" y="6947"/>
                      <a:pt x="4225" y="6951"/>
                    </a:cubicBezTo>
                    <a:close/>
                    <a:moveTo>
                      <a:pt x="4323" y="6893"/>
                    </a:moveTo>
                    <a:cubicBezTo>
                      <a:pt x="4319" y="6899"/>
                      <a:pt x="4321" y="6882"/>
                      <a:pt x="4321" y="6882"/>
                    </a:cubicBezTo>
                    <a:cubicBezTo>
                      <a:pt x="4321" y="6882"/>
                      <a:pt x="4327" y="6887"/>
                      <a:pt x="4323" y="6893"/>
                    </a:cubicBezTo>
                    <a:close/>
                    <a:moveTo>
                      <a:pt x="4376" y="6784"/>
                    </a:moveTo>
                    <a:cubicBezTo>
                      <a:pt x="4376" y="6784"/>
                      <a:pt x="4365" y="6797"/>
                      <a:pt x="4365" y="6789"/>
                    </a:cubicBezTo>
                    <a:cubicBezTo>
                      <a:pt x="4365" y="6781"/>
                      <a:pt x="4382" y="6766"/>
                      <a:pt x="4376" y="6784"/>
                    </a:cubicBezTo>
                    <a:close/>
                    <a:moveTo>
                      <a:pt x="4411" y="6790"/>
                    </a:moveTo>
                    <a:cubicBezTo>
                      <a:pt x="4407" y="6792"/>
                      <a:pt x="4404" y="6785"/>
                      <a:pt x="4404" y="6785"/>
                    </a:cubicBezTo>
                    <a:cubicBezTo>
                      <a:pt x="4390" y="6787"/>
                      <a:pt x="4390" y="6787"/>
                      <a:pt x="4390" y="6787"/>
                    </a:cubicBezTo>
                    <a:cubicBezTo>
                      <a:pt x="4390" y="6783"/>
                      <a:pt x="4402" y="6771"/>
                      <a:pt x="4402" y="6771"/>
                    </a:cubicBezTo>
                    <a:cubicBezTo>
                      <a:pt x="4402" y="6771"/>
                      <a:pt x="4415" y="6788"/>
                      <a:pt x="4411" y="6790"/>
                    </a:cubicBezTo>
                    <a:close/>
                    <a:moveTo>
                      <a:pt x="4413" y="6743"/>
                    </a:moveTo>
                    <a:cubicBezTo>
                      <a:pt x="4406" y="6749"/>
                      <a:pt x="4408" y="6732"/>
                      <a:pt x="4408" y="6732"/>
                    </a:cubicBezTo>
                    <a:cubicBezTo>
                      <a:pt x="4408" y="6732"/>
                      <a:pt x="4420" y="6737"/>
                      <a:pt x="4413" y="6743"/>
                    </a:cubicBezTo>
                    <a:close/>
                    <a:moveTo>
                      <a:pt x="4422" y="6841"/>
                    </a:moveTo>
                    <a:cubicBezTo>
                      <a:pt x="4419" y="6840"/>
                      <a:pt x="4425" y="6834"/>
                      <a:pt x="4425" y="6834"/>
                    </a:cubicBezTo>
                    <a:cubicBezTo>
                      <a:pt x="4425" y="6834"/>
                      <a:pt x="4425" y="6842"/>
                      <a:pt x="4422" y="6841"/>
                    </a:cubicBezTo>
                    <a:close/>
                    <a:moveTo>
                      <a:pt x="1442" y="6883"/>
                    </a:moveTo>
                    <a:cubicBezTo>
                      <a:pt x="1435" y="6883"/>
                      <a:pt x="1427" y="6889"/>
                      <a:pt x="1427" y="6889"/>
                    </a:cubicBezTo>
                    <a:cubicBezTo>
                      <a:pt x="1450" y="6890"/>
                      <a:pt x="1450" y="6890"/>
                      <a:pt x="1450" y="6890"/>
                    </a:cubicBezTo>
                    <a:cubicBezTo>
                      <a:pt x="1450" y="6890"/>
                      <a:pt x="1449" y="6883"/>
                      <a:pt x="1442" y="6883"/>
                    </a:cubicBezTo>
                    <a:close/>
                    <a:moveTo>
                      <a:pt x="1452" y="6912"/>
                    </a:moveTo>
                    <a:cubicBezTo>
                      <a:pt x="1441" y="6923"/>
                      <a:pt x="1441" y="6923"/>
                      <a:pt x="1441" y="6923"/>
                    </a:cubicBezTo>
                    <a:cubicBezTo>
                      <a:pt x="1453" y="6924"/>
                      <a:pt x="1453" y="6924"/>
                      <a:pt x="1453" y="6924"/>
                    </a:cubicBezTo>
                    <a:lnTo>
                      <a:pt x="1452" y="6912"/>
                    </a:lnTo>
                    <a:close/>
                    <a:moveTo>
                      <a:pt x="818" y="3227"/>
                    </a:moveTo>
                    <a:cubicBezTo>
                      <a:pt x="817" y="3235"/>
                      <a:pt x="797" y="3229"/>
                      <a:pt x="791" y="3229"/>
                    </a:cubicBezTo>
                    <a:cubicBezTo>
                      <a:pt x="785" y="3229"/>
                      <a:pt x="779" y="3240"/>
                      <a:pt x="771" y="3243"/>
                    </a:cubicBezTo>
                    <a:cubicBezTo>
                      <a:pt x="762" y="3247"/>
                      <a:pt x="769" y="3237"/>
                      <a:pt x="748" y="3233"/>
                    </a:cubicBezTo>
                    <a:cubicBezTo>
                      <a:pt x="727" y="3230"/>
                      <a:pt x="716" y="3258"/>
                      <a:pt x="716" y="3258"/>
                    </a:cubicBezTo>
                    <a:cubicBezTo>
                      <a:pt x="722" y="3259"/>
                      <a:pt x="722" y="3259"/>
                      <a:pt x="722" y="3259"/>
                    </a:cubicBezTo>
                    <a:cubicBezTo>
                      <a:pt x="722" y="3259"/>
                      <a:pt x="720" y="3289"/>
                      <a:pt x="729" y="3289"/>
                    </a:cubicBezTo>
                    <a:cubicBezTo>
                      <a:pt x="737" y="3289"/>
                      <a:pt x="749" y="3306"/>
                      <a:pt x="749" y="3306"/>
                    </a:cubicBezTo>
                    <a:cubicBezTo>
                      <a:pt x="749" y="3306"/>
                      <a:pt x="766" y="3300"/>
                      <a:pt x="764" y="3293"/>
                    </a:cubicBezTo>
                    <a:cubicBezTo>
                      <a:pt x="753" y="3290"/>
                      <a:pt x="773" y="3266"/>
                      <a:pt x="779" y="3266"/>
                    </a:cubicBezTo>
                    <a:cubicBezTo>
                      <a:pt x="785" y="3266"/>
                      <a:pt x="787" y="3273"/>
                      <a:pt x="787" y="3273"/>
                    </a:cubicBezTo>
                    <a:cubicBezTo>
                      <a:pt x="801" y="3268"/>
                      <a:pt x="801" y="3268"/>
                      <a:pt x="801" y="3268"/>
                    </a:cubicBezTo>
                    <a:cubicBezTo>
                      <a:pt x="804" y="3245"/>
                      <a:pt x="804" y="3245"/>
                      <a:pt x="804" y="3245"/>
                    </a:cubicBezTo>
                    <a:cubicBezTo>
                      <a:pt x="811" y="3242"/>
                      <a:pt x="811" y="3242"/>
                      <a:pt x="811" y="3242"/>
                    </a:cubicBezTo>
                    <a:cubicBezTo>
                      <a:pt x="817" y="3248"/>
                      <a:pt x="817" y="3248"/>
                      <a:pt x="817" y="3248"/>
                    </a:cubicBezTo>
                    <a:cubicBezTo>
                      <a:pt x="820" y="3242"/>
                      <a:pt x="820" y="3242"/>
                      <a:pt x="820" y="3242"/>
                    </a:cubicBezTo>
                    <a:cubicBezTo>
                      <a:pt x="820" y="3242"/>
                      <a:pt x="835" y="3242"/>
                      <a:pt x="840" y="3242"/>
                    </a:cubicBezTo>
                    <a:cubicBezTo>
                      <a:pt x="845" y="3242"/>
                      <a:pt x="823" y="3215"/>
                      <a:pt x="823" y="3215"/>
                    </a:cubicBezTo>
                    <a:cubicBezTo>
                      <a:pt x="823" y="3215"/>
                      <a:pt x="819" y="3219"/>
                      <a:pt x="818" y="3227"/>
                    </a:cubicBezTo>
                    <a:close/>
                    <a:moveTo>
                      <a:pt x="959" y="8308"/>
                    </a:moveTo>
                    <a:cubicBezTo>
                      <a:pt x="962" y="8316"/>
                      <a:pt x="941" y="8322"/>
                      <a:pt x="948" y="8336"/>
                    </a:cubicBezTo>
                    <a:cubicBezTo>
                      <a:pt x="955" y="8350"/>
                      <a:pt x="968" y="8331"/>
                      <a:pt x="971" y="8322"/>
                    </a:cubicBezTo>
                    <a:cubicBezTo>
                      <a:pt x="974" y="8313"/>
                      <a:pt x="953" y="8293"/>
                      <a:pt x="959" y="8308"/>
                    </a:cubicBezTo>
                    <a:close/>
                    <a:moveTo>
                      <a:pt x="1391" y="2225"/>
                    </a:moveTo>
                    <a:cubicBezTo>
                      <a:pt x="1402" y="2222"/>
                      <a:pt x="1385" y="2213"/>
                      <a:pt x="1385" y="2213"/>
                    </a:cubicBezTo>
                    <a:cubicBezTo>
                      <a:pt x="1385" y="2213"/>
                      <a:pt x="1381" y="2227"/>
                      <a:pt x="1391" y="2225"/>
                    </a:cubicBezTo>
                    <a:close/>
                    <a:moveTo>
                      <a:pt x="1343" y="4183"/>
                    </a:moveTo>
                    <a:cubicBezTo>
                      <a:pt x="1344" y="4172"/>
                      <a:pt x="1338" y="4170"/>
                      <a:pt x="1332" y="4174"/>
                    </a:cubicBezTo>
                    <a:cubicBezTo>
                      <a:pt x="1332" y="4174"/>
                      <a:pt x="1342" y="4194"/>
                      <a:pt x="1343" y="4183"/>
                    </a:cubicBezTo>
                    <a:close/>
                    <a:moveTo>
                      <a:pt x="963" y="8284"/>
                    </a:moveTo>
                    <a:cubicBezTo>
                      <a:pt x="953" y="8289"/>
                      <a:pt x="965" y="8301"/>
                      <a:pt x="970" y="8301"/>
                    </a:cubicBezTo>
                    <a:cubicBezTo>
                      <a:pt x="975" y="8301"/>
                      <a:pt x="980" y="8284"/>
                      <a:pt x="980" y="8284"/>
                    </a:cubicBezTo>
                    <a:cubicBezTo>
                      <a:pt x="969" y="8287"/>
                      <a:pt x="969" y="8287"/>
                      <a:pt x="969" y="8287"/>
                    </a:cubicBezTo>
                    <a:lnTo>
                      <a:pt x="963" y="8284"/>
                    </a:lnTo>
                    <a:close/>
                    <a:moveTo>
                      <a:pt x="3324" y="7716"/>
                    </a:moveTo>
                    <a:cubicBezTo>
                      <a:pt x="3318" y="7716"/>
                      <a:pt x="3294" y="7690"/>
                      <a:pt x="3281" y="7688"/>
                    </a:cubicBezTo>
                    <a:cubicBezTo>
                      <a:pt x="3268" y="7686"/>
                      <a:pt x="3257" y="7715"/>
                      <a:pt x="3236" y="7723"/>
                    </a:cubicBezTo>
                    <a:cubicBezTo>
                      <a:pt x="3215" y="7731"/>
                      <a:pt x="3202" y="7739"/>
                      <a:pt x="3202" y="7739"/>
                    </a:cubicBezTo>
                    <a:cubicBezTo>
                      <a:pt x="3202" y="7739"/>
                      <a:pt x="3190" y="7737"/>
                      <a:pt x="3179" y="7736"/>
                    </a:cubicBezTo>
                    <a:cubicBezTo>
                      <a:pt x="3168" y="7735"/>
                      <a:pt x="3149" y="7776"/>
                      <a:pt x="3152" y="7776"/>
                    </a:cubicBezTo>
                    <a:cubicBezTo>
                      <a:pt x="3171" y="7778"/>
                      <a:pt x="3175" y="7767"/>
                      <a:pt x="3196" y="7767"/>
                    </a:cubicBezTo>
                    <a:cubicBezTo>
                      <a:pt x="3217" y="7767"/>
                      <a:pt x="3208" y="7790"/>
                      <a:pt x="3221" y="7791"/>
                    </a:cubicBezTo>
                    <a:cubicBezTo>
                      <a:pt x="3234" y="7792"/>
                      <a:pt x="3249" y="7817"/>
                      <a:pt x="3262" y="7819"/>
                    </a:cubicBezTo>
                    <a:cubicBezTo>
                      <a:pt x="3275" y="7821"/>
                      <a:pt x="3274" y="7842"/>
                      <a:pt x="3274" y="7842"/>
                    </a:cubicBezTo>
                    <a:cubicBezTo>
                      <a:pt x="3274" y="7842"/>
                      <a:pt x="3297" y="7845"/>
                      <a:pt x="3302" y="7845"/>
                    </a:cubicBezTo>
                    <a:cubicBezTo>
                      <a:pt x="3307" y="7845"/>
                      <a:pt x="3331" y="7832"/>
                      <a:pt x="3340" y="7829"/>
                    </a:cubicBezTo>
                    <a:cubicBezTo>
                      <a:pt x="3349" y="7826"/>
                      <a:pt x="3345" y="7783"/>
                      <a:pt x="3354" y="7782"/>
                    </a:cubicBezTo>
                    <a:cubicBezTo>
                      <a:pt x="3363" y="7781"/>
                      <a:pt x="3390" y="7760"/>
                      <a:pt x="3390" y="7760"/>
                    </a:cubicBezTo>
                    <a:cubicBezTo>
                      <a:pt x="3355" y="7720"/>
                      <a:pt x="3355" y="7720"/>
                      <a:pt x="3355" y="7720"/>
                    </a:cubicBezTo>
                    <a:cubicBezTo>
                      <a:pt x="3355" y="7720"/>
                      <a:pt x="3330" y="7716"/>
                      <a:pt x="3324" y="7716"/>
                    </a:cubicBezTo>
                    <a:close/>
                    <a:moveTo>
                      <a:pt x="1718" y="6977"/>
                    </a:moveTo>
                    <a:cubicBezTo>
                      <a:pt x="1727" y="6972"/>
                      <a:pt x="1727" y="6972"/>
                      <a:pt x="1727" y="6972"/>
                    </a:cubicBezTo>
                    <a:cubicBezTo>
                      <a:pt x="1713" y="6966"/>
                      <a:pt x="1713" y="6966"/>
                      <a:pt x="1713" y="6966"/>
                    </a:cubicBezTo>
                    <a:cubicBezTo>
                      <a:pt x="1707" y="6973"/>
                      <a:pt x="1718" y="6977"/>
                      <a:pt x="1718" y="6977"/>
                    </a:cubicBezTo>
                    <a:close/>
                    <a:moveTo>
                      <a:pt x="1341" y="3303"/>
                    </a:moveTo>
                    <a:cubicBezTo>
                      <a:pt x="1348" y="3306"/>
                      <a:pt x="1410" y="3230"/>
                      <a:pt x="1410" y="3230"/>
                    </a:cubicBezTo>
                    <a:cubicBezTo>
                      <a:pt x="1392" y="3229"/>
                      <a:pt x="1376" y="3265"/>
                      <a:pt x="1359" y="3269"/>
                    </a:cubicBezTo>
                    <a:cubicBezTo>
                      <a:pt x="1343" y="3273"/>
                      <a:pt x="1335" y="3299"/>
                      <a:pt x="1341" y="3303"/>
                    </a:cubicBezTo>
                    <a:close/>
                    <a:moveTo>
                      <a:pt x="1071" y="2977"/>
                    </a:moveTo>
                    <a:cubicBezTo>
                      <a:pt x="1072" y="2990"/>
                      <a:pt x="1081" y="3001"/>
                      <a:pt x="1091" y="2999"/>
                    </a:cubicBezTo>
                    <a:cubicBezTo>
                      <a:pt x="1102" y="2997"/>
                      <a:pt x="1113" y="2985"/>
                      <a:pt x="1111" y="2983"/>
                    </a:cubicBezTo>
                    <a:cubicBezTo>
                      <a:pt x="1110" y="2981"/>
                      <a:pt x="1108" y="2975"/>
                      <a:pt x="1108" y="2975"/>
                    </a:cubicBezTo>
                    <a:cubicBezTo>
                      <a:pt x="1113" y="2970"/>
                      <a:pt x="1113" y="2970"/>
                      <a:pt x="1113" y="2970"/>
                    </a:cubicBezTo>
                    <a:cubicBezTo>
                      <a:pt x="1112" y="2953"/>
                      <a:pt x="1112" y="2953"/>
                      <a:pt x="1112" y="2953"/>
                    </a:cubicBezTo>
                    <a:cubicBezTo>
                      <a:pt x="1100" y="2946"/>
                      <a:pt x="1100" y="2946"/>
                      <a:pt x="1100" y="2946"/>
                    </a:cubicBezTo>
                    <a:cubicBezTo>
                      <a:pt x="1089" y="2950"/>
                      <a:pt x="1089" y="2950"/>
                      <a:pt x="1089" y="2950"/>
                    </a:cubicBezTo>
                    <a:cubicBezTo>
                      <a:pt x="1092" y="2961"/>
                      <a:pt x="1092" y="2961"/>
                      <a:pt x="1092" y="2961"/>
                    </a:cubicBezTo>
                    <a:cubicBezTo>
                      <a:pt x="1092" y="2961"/>
                      <a:pt x="1070" y="2969"/>
                      <a:pt x="1071" y="2977"/>
                    </a:cubicBezTo>
                    <a:close/>
                    <a:moveTo>
                      <a:pt x="1454" y="2207"/>
                    </a:moveTo>
                    <a:cubicBezTo>
                      <a:pt x="1456" y="2207"/>
                      <a:pt x="1463" y="2207"/>
                      <a:pt x="1463" y="2207"/>
                    </a:cubicBezTo>
                    <a:cubicBezTo>
                      <a:pt x="1455" y="2193"/>
                      <a:pt x="1455" y="2193"/>
                      <a:pt x="1455" y="2193"/>
                    </a:cubicBezTo>
                    <a:lnTo>
                      <a:pt x="1454" y="2207"/>
                    </a:lnTo>
                    <a:close/>
                    <a:moveTo>
                      <a:pt x="2693" y="3550"/>
                    </a:moveTo>
                    <a:cubicBezTo>
                      <a:pt x="2702" y="3544"/>
                      <a:pt x="2683" y="3536"/>
                      <a:pt x="2683" y="3536"/>
                    </a:cubicBezTo>
                    <a:cubicBezTo>
                      <a:pt x="2681" y="3541"/>
                      <a:pt x="2684" y="3556"/>
                      <a:pt x="2693" y="3550"/>
                    </a:cubicBezTo>
                    <a:close/>
                    <a:moveTo>
                      <a:pt x="1614" y="3861"/>
                    </a:moveTo>
                    <a:cubicBezTo>
                      <a:pt x="1627" y="3861"/>
                      <a:pt x="1627" y="3861"/>
                      <a:pt x="1627" y="3861"/>
                    </a:cubicBezTo>
                    <a:cubicBezTo>
                      <a:pt x="1631" y="3836"/>
                      <a:pt x="1631" y="3836"/>
                      <a:pt x="1631" y="3836"/>
                    </a:cubicBezTo>
                    <a:cubicBezTo>
                      <a:pt x="1631" y="3836"/>
                      <a:pt x="1631" y="3836"/>
                      <a:pt x="1640" y="3844"/>
                    </a:cubicBezTo>
                    <a:cubicBezTo>
                      <a:pt x="1665" y="3822"/>
                      <a:pt x="1640" y="3799"/>
                      <a:pt x="1640" y="3799"/>
                    </a:cubicBezTo>
                    <a:cubicBezTo>
                      <a:pt x="1623" y="3800"/>
                      <a:pt x="1632" y="3821"/>
                      <a:pt x="1621" y="3825"/>
                    </a:cubicBezTo>
                    <a:cubicBezTo>
                      <a:pt x="1610" y="3829"/>
                      <a:pt x="1624" y="3851"/>
                      <a:pt x="1624" y="3851"/>
                    </a:cubicBezTo>
                    <a:cubicBezTo>
                      <a:pt x="1614" y="3853"/>
                      <a:pt x="1614" y="3853"/>
                      <a:pt x="1614" y="3853"/>
                    </a:cubicBezTo>
                    <a:lnTo>
                      <a:pt x="1614" y="3861"/>
                    </a:lnTo>
                    <a:close/>
                    <a:moveTo>
                      <a:pt x="1459" y="3864"/>
                    </a:moveTo>
                    <a:cubicBezTo>
                      <a:pt x="1446" y="3868"/>
                      <a:pt x="1425" y="3911"/>
                      <a:pt x="1425" y="3911"/>
                    </a:cubicBezTo>
                    <a:cubicBezTo>
                      <a:pt x="1417" y="3922"/>
                      <a:pt x="1417" y="3922"/>
                      <a:pt x="1417" y="3922"/>
                    </a:cubicBezTo>
                    <a:cubicBezTo>
                      <a:pt x="1418" y="3938"/>
                      <a:pt x="1443" y="3957"/>
                      <a:pt x="1446" y="3972"/>
                    </a:cubicBezTo>
                    <a:cubicBezTo>
                      <a:pt x="1449" y="3987"/>
                      <a:pt x="1438" y="3985"/>
                      <a:pt x="1436" y="3998"/>
                    </a:cubicBezTo>
                    <a:cubicBezTo>
                      <a:pt x="1434" y="4011"/>
                      <a:pt x="1436" y="3998"/>
                      <a:pt x="1451" y="4023"/>
                    </a:cubicBezTo>
                    <a:cubicBezTo>
                      <a:pt x="1455" y="4089"/>
                      <a:pt x="1554" y="4060"/>
                      <a:pt x="1554" y="4060"/>
                    </a:cubicBezTo>
                    <a:cubicBezTo>
                      <a:pt x="1566" y="4049"/>
                      <a:pt x="1566" y="4049"/>
                      <a:pt x="1566" y="4049"/>
                    </a:cubicBezTo>
                    <a:cubicBezTo>
                      <a:pt x="1556" y="4024"/>
                      <a:pt x="1556" y="4024"/>
                      <a:pt x="1556" y="4024"/>
                    </a:cubicBezTo>
                    <a:cubicBezTo>
                      <a:pt x="1560" y="4013"/>
                      <a:pt x="1560" y="4013"/>
                      <a:pt x="1560" y="4013"/>
                    </a:cubicBezTo>
                    <a:cubicBezTo>
                      <a:pt x="1560" y="4013"/>
                      <a:pt x="1546" y="4007"/>
                      <a:pt x="1546" y="3990"/>
                    </a:cubicBezTo>
                    <a:cubicBezTo>
                      <a:pt x="1546" y="3973"/>
                      <a:pt x="1559" y="3988"/>
                      <a:pt x="1562" y="3978"/>
                    </a:cubicBezTo>
                    <a:cubicBezTo>
                      <a:pt x="1565" y="3968"/>
                      <a:pt x="1544" y="3959"/>
                      <a:pt x="1544" y="3959"/>
                    </a:cubicBezTo>
                    <a:cubicBezTo>
                      <a:pt x="1534" y="3952"/>
                      <a:pt x="1534" y="3952"/>
                      <a:pt x="1534" y="3952"/>
                    </a:cubicBezTo>
                    <a:cubicBezTo>
                      <a:pt x="1534" y="3952"/>
                      <a:pt x="1542" y="3943"/>
                      <a:pt x="1543" y="3932"/>
                    </a:cubicBezTo>
                    <a:cubicBezTo>
                      <a:pt x="1544" y="3921"/>
                      <a:pt x="1529" y="3884"/>
                      <a:pt x="1529" y="3884"/>
                    </a:cubicBezTo>
                    <a:cubicBezTo>
                      <a:pt x="1529" y="3884"/>
                      <a:pt x="1488" y="3845"/>
                      <a:pt x="1473" y="3845"/>
                    </a:cubicBezTo>
                    <a:cubicBezTo>
                      <a:pt x="1458" y="3845"/>
                      <a:pt x="1472" y="3860"/>
                      <a:pt x="1459" y="3864"/>
                    </a:cubicBezTo>
                    <a:close/>
                    <a:moveTo>
                      <a:pt x="1677" y="5102"/>
                    </a:moveTo>
                    <a:cubicBezTo>
                      <a:pt x="1665" y="5102"/>
                      <a:pt x="1674" y="5122"/>
                      <a:pt x="1674" y="5122"/>
                    </a:cubicBezTo>
                    <a:cubicBezTo>
                      <a:pt x="1674" y="5122"/>
                      <a:pt x="1688" y="5118"/>
                      <a:pt x="1686" y="5106"/>
                    </a:cubicBezTo>
                    <a:cubicBezTo>
                      <a:pt x="1707" y="5106"/>
                      <a:pt x="1715" y="5085"/>
                      <a:pt x="1725" y="5085"/>
                    </a:cubicBezTo>
                    <a:cubicBezTo>
                      <a:pt x="1735" y="5085"/>
                      <a:pt x="1738" y="5102"/>
                      <a:pt x="1738" y="5102"/>
                    </a:cubicBezTo>
                    <a:cubicBezTo>
                      <a:pt x="1756" y="5096"/>
                      <a:pt x="1756" y="5096"/>
                      <a:pt x="1756" y="5096"/>
                    </a:cubicBezTo>
                    <a:cubicBezTo>
                      <a:pt x="1756" y="5096"/>
                      <a:pt x="1755" y="5108"/>
                      <a:pt x="1763" y="5109"/>
                    </a:cubicBezTo>
                    <a:cubicBezTo>
                      <a:pt x="1771" y="5110"/>
                      <a:pt x="1756" y="5088"/>
                      <a:pt x="1756" y="5088"/>
                    </a:cubicBezTo>
                    <a:cubicBezTo>
                      <a:pt x="1763" y="5093"/>
                      <a:pt x="1763" y="5093"/>
                      <a:pt x="1763" y="5093"/>
                    </a:cubicBezTo>
                    <a:cubicBezTo>
                      <a:pt x="1776" y="5076"/>
                      <a:pt x="1776" y="5076"/>
                      <a:pt x="1776" y="5076"/>
                    </a:cubicBezTo>
                    <a:cubicBezTo>
                      <a:pt x="1797" y="5076"/>
                      <a:pt x="1797" y="5076"/>
                      <a:pt x="1797" y="5076"/>
                    </a:cubicBezTo>
                    <a:cubicBezTo>
                      <a:pt x="1809" y="5055"/>
                      <a:pt x="1809" y="5055"/>
                      <a:pt x="1809" y="5055"/>
                    </a:cubicBezTo>
                    <a:cubicBezTo>
                      <a:pt x="1832" y="5045"/>
                      <a:pt x="1832" y="5045"/>
                      <a:pt x="1832" y="5045"/>
                    </a:cubicBezTo>
                    <a:cubicBezTo>
                      <a:pt x="1832" y="5045"/>
                      <a:pt x="1819" y="5030"/>
                      <a:pt x="1832" y="5030"/>
                    </a:cubicBezTo>
                    <a:cubicBezTo>
                      <a:pt x="1845" y="5030"/>
                      <a:pt x="1865" y="5005"/>
                      <a:pt x="1865" y="5005"/>
                    </a:cubicBezTo>
                    <a:cubicBezTo>
                      <a:pt x="1859" y="4985"/>
                      <a:pt x="1859" y="4985"/>
                      <a:pt x="1859" y="4985"/>
                    </a:cubicBezTo>
                    <a:cubicBezTo>
                      <a:pt x="1867" y="4984"/>
                      <a:pt x="1867" y="4984"/>
                      <a:pt x="1867" y="4984"/>
                    </a:cubicBezTo>
                    <a:cubicBezTo>
                      <a:pt x="1905" y="4925"/>
                      <a:pt x="1905" y="4925"/>
                      <a:pt x="1905" y="4925"/>
                    </a:cubicBezTo>
                    <a:cubicBezTo>
                      <a:pt x="1905" y="4925"/>
                      <a:pt x="1901" y="4918"/>
                      <a:pt x="1876" y="4918"/>
                    </a:cubicBezTo>
                    <a:cubicBezTo>
                      <a:pt x="1851" y="4918"/>
                      <a:pt x="1872" y="4876"/>
                      <a:pt x="1878" y="4870"/>
                    </a:cubicBezTo>
                    <a:cubicBezTo>
                      <a:pt x="1884" y="4864"/>
                      <a:pt x="1878" y="4842"/>
                      <a:pt x="1878" y="4842"/>
                    </a:cubicBezTo>
                    <a:cubicBezTo>
                      <a:pt x="1792" y="4846"/>
                      <a:pt x="1788" y="4905"/>
                      <a:pt x="1769" y="4941"/>
                    </a:cubicBezTo>
                    <a:cubicBezTo>
                      <a:pt x="1750" y="4977"/>
                      <a:pt x="1724" y="4975"/>
                      <a:pt x="1724" y="4975"/>
                    </a:cubicBezTo>
                    <a:cubicBezTo>
                      <a:pt x="1724" y="4975"/>
                      <a:pt x="1716" y="4987"/>
                      <a:pt x="1712" y="4992"/>
                    </a:cubicBezTo>
                    <a:cubicBezTo>
                      <a:pt x="1708" y="4997"/>
                      <a:pt x="1720" y="4996"/>
                      <a:pt x="1720" y="4996"/>
                    </a:cubicBezTo>
                    <a:cubicBezTo>
                      <a:pt x="1703" y="5024"/>
                      <a:pt x="1703" y="5024"/>
                      <a:pt x="1703" y="5024"/>
                    </a:cubicBezTo>
                    <a:cubicBezTo>
                      <a:pt x="1703" y="5024"/>
                      <a:pt x="1712" y="5049"/>
                      <a:pt x="1704" y="5062"/>
                    </a:cubicBezTo>
                    <a:cubicBezTo>
                      <a:pt x="1695" y="5062"/>
                      <a:pt x="1689" y="5102"/>
                      <a:pt x="1677" y="5102"/>
                    </a:cubicBezTo>
                    <a:close/>
                    <a:moveTo>
                      <a:pt x="1535" y="3816"/>
                    </a:moveTo>
                    <a:cubicBezTo>
                      <a:pt x="1536" y="3806"/>
                      <a:pt x="1527" y="3793"/>
                      <a:pt x="1527" y="3793"/>
                    </a:cubicBezTo>
                    <a:cubicBezTo>
                      <a:pt x="1527" y="3793"/>
                      <a:pt x="1524" y="3821"/>
                      <a:pt x="1535" y="3816"/>
                    </a:cubicBezTo>
                    <a:close/>
                    <a:moveTo>
                      <a:pt x="1736" y="7349"/>
                    </a:moveTo>
                    <a:cubicBezTo>
                      <a:pt x="1735" y="7333"/>
                      <a:pt x="1735" y="7333"/>
                      <a:pt x="1735" y="7333"/>
                    </a:cubicBezTo>
                    <a:cubicBezTo>
                      <a:pt x="1735" y="7333"/>
                      <a:pt x="1727" y="7340"/>
                      <a:pt x="1726" y="7318"/>
                    </a:cubicBezTo>
                    <a:cubicBezTo>
                      <a:pt x="1728" y="7349"/>
                      <a:pt x="1728" y="7349"/>
                      <a:pt x="1728" y="7349"/>
                    </a:cubicBezTo>
                    <a:lnTo>
                      <a:pt x="1736" y="7349"/>
                    </a:lnTo>
                    <a:close/>
                    <a:moveTo>
                      <a:pt x="1546" y="4208"/>
                    </a:moveTo>
                    <a:cubicBezTo>
                      <a:pt x="1553" y="4203"/>
                      <a:pt x="1542" y="4197"/>
                      <a:pt x="1542" y="4197"/>
                    </a:cubicBezTo>
                    <a:cubicBezTo>
                      <a:pt x="1542" y="4197"/>
                      <a:pt x="1539" y="4213"/>
                      <a:pt x="1546" y="4208"/>
                    </a:cubicBezTo>
                    <a:close/>
                    <a:moveTo>
                      <a:pt x="1559" y="3990"/>
                    </a:moveTo>
                    <a:cubicBezTo>
                      <a:pt x="1559" y="3990"/>
                      <a:pt x="1569" y="4011"/>
                      <a:pt x="1574" y="4008"/>
                    </a:cubicBezTo>
                    <a:cubicBezTo>
                      <a:pt x="1579" y="4005"/>
                      <a:pt x="1562" y="3982"/>
                      <a:pt x="1559" y="3990"/>
                    </a:cubicBezTo>
                    <a:close/>
                    <a:moveTo>
                      <a:pt x="947" y="8309"/>
                    </a:moveTo>
                    <a:cubicBezTo>
                      <a:pt x="954" y="8297"/>
                      <a:pt x="954" y="8297"/>
                      <a:pt x="954" y="8297"/>
                    </a:cubicBezTo>
                    <a:cubicBezTo>
                      <a:pt x="939" y="8284"/>
                      <a:pt x="939" y="8284"/>
                      <a:pt x="939" y="8284"/>
                    </a:cubicBezTo>
                    <a:cubicBezTo>
                      <a:pt x="939" y="8284"/>
                      <a:pt x="920" y="8306"/>
                      <a:pt x="930" y="8307"/>
                    </a:cubicBezTo>
                    <a:cubicBezTo>
                      <a:pt x="930" y="8307"/>
                      <a:pt x="930" y="8297"/>
                      <a:pt x="934" y="8297"/>
                    </a:cubicBezTo>
                    <a:cubicBezTo>
                      <a:pt x="938" y="8297"/>
                      <a:pt x="947" y="8309"/>
                      <a:pt x="947" y="8309"/>
                    </a:cubicBezTo>
                    <a:close/>
                    <a:moveTo>
                      <a:pt x="1076" y="3587"/>
                    </a:moveTo>
                    <a:cubicBezTo>
                      <a:pt x="1076" y="3587"/>
                      <a:pt x="1090" y="3551"/>
                      <a:pt x="1095" y="3548"/>
                    </a:cubicBezTo>
                    <a:cubicBezTo>
                      <a:pt x="1083" y="3526"/>
                      <a:pt x="1077" y="3559"/>
                      <a:pt x="1077" y="3559"/>
                    </a:cubicBezTo>
                    <a:cubicBezTo>
                      <a:pt x="1071" y="3563"/>
                      <a:pt x="1071" y="3563"/>
                      <a:pt x="1071" y="3563"/>
                    </a:cubicBezTo>
                    <a:cubicBezTo>
                      <a:pt x="1071" y="3563"/>
                      <a:pt x="1071" y="3558"/>
                      <a:pt x="1063" y="3552"/>
                    </a:cubicBezTo>
                    <a:cubicBezTo>
                      <a:pt x="1046" y="3553"/>
                      <a:pt x="1032" y="3622"/>
                      <a:pt x="1032" y="3622"/>
                    </a:cubicBezTo>
                    <a:cubicBezTo>
                      <a:pt x="1032" y="3622"/>
                      <a:pt x="1041" y="3636"/>
                      <a:pt x="1047" y="3636"/>
                    </a:cubicBezTo>
                    <a:cubicBezTo>
                      <a:pt x="1052" y="3636"/>
                      <a:pt x="1050" y="3623"/>
                      <a:pt x="1050" y="3623"/>
                    </a:cubicBezTo>
                    <a:cubicBezTo>
                      <a:pt x="1063" y="3624"/>
                      <a:pt x="1063" y="3624"/>
                      <a:pt x="1063" y="3624"/>
                    </a:cubicBezTo>
                    <a:cubicBezTo>
                      <a:pt x="1060" y="3615"/>
                      <a:pt x="1060" y="3615"/>
                      <a:pt x="1060" y="3615"/>
                    </a:cubicBezTo>
                    <a:cubicBezTo>
                      <a:pt x="1073" y="3604"/>
                      <a:pt x="1073" y="3604"/>
                      <a:pt x="1073" y="3604"/>
                    </a:cubicBezTo>
                    <a:lnTo>
                      <a:pt x="1076" y="3587"/>
                    </a:lnTo>
                    <a:close/>
                    <a:moveTo>
                      <a:pt x="938" y="2655"/>
                    </a:moveTo>
                    <a:cubicBezTo>
                      <a:pt x="942" y="2659"/>
                      <a:pt x="942" y="2659"/>
                      <a:pt x="942" y="2659"/>
                    </a:cubicBezTo>
                    <a:cubicBezTo>
                      <a:pt x="951" y="2647"/>
                      <a:pt x="951" y="2647"/>
                      <a:pt x="951" y="2647"/>
                    </a:cubicBezTo>
                    <a:lnTo>
                      <a:pt x="938" y="2655"/>
                    </a:lnTo>
                    <a:close/>
                    <a:moveTo>
                      <a:pt x="1303" y="3510"/>
                    </a:moveTo>
                    <a:cubicBezTo>
                      <a:pt x="1306" y="3503"/>
                      <a:pt x="1293" y="3471"/>
                      <a:pt x="1293" y="3471"/>
                    </a:cubicBezTo>
                    <a:cubicBezTo>
                      <a:pt x="1294" y="3483"/>
                      <a:pt x="1275" y="3488"/>
                      <a:pt x="1275" y="3488"/>
                    </a:cubicBezTo>
                    <a:cubicBezTo>
                      <a:pt x="1284" y="3498"/>
                      <a:pt x="1284" y="3498"/>
                      <a:pt x="1284" y="3498"/>
                    </a:cubicBezTo>
                    <a:cubicBezTo>
                      <a:pt x="1263" y="3513"/>
                      <a:pt x="1263" y="3513"/>
                      <a:pt x="1263" y="3513"/>
                    </a:cubicBezTo>
                    <a:cubicBezTo>
                      <a:pt x="1270" y="3523"/>
                      <a:pt x="1270" y="3523"/>
                      <a:pt x="1270" y="3523"/>
                    </a:cubicBezTo>
                    <a:cubicBezTo>
                      <a:pt x="1281" y="3523"/>
                      <a:pt x="1281" y="3523"/>
                      <a:pt x="1281" y="3523"/>
                    </a:cubicBezTo>
                    <a:cubicBezTo>
                      <a:pt x="1285" y="3533"/>
                      <a:pt x="1285" y="3533"/>
                      <a:pt x="1285" y="3533"/>
                    </a:cubicBezTo>
                    <a:cubicBezTo>
                      <a:pt x="1274" y="3535"/>
                      <a:pt x="1274" y="3535"/>
                      <a:pt x="1274" y="3535"/>
                    </a:cubicBezTo>
                    <a:cubicBezTo>
                      <a:pt x="1227" y="3574"/>
                      <a:pt x="1227" y="3574"/>
                      <a:pt x="1227" y="3574"/>
                    </a:cubicBezTo>
                    <a:cubicBezTo>
                      <a:pt x="1227" y="3574"/>
                      <a:pt x="1201" y="3598"/>
                      <a:pt x="1181" y="3607"/>
                    </a:cubicBezTo>
                    <a:cubicBezTo>
                      <a:pt x="1160" y="3615"/>
                      <a:pt x="1151" y="3658"/>
                      <a:pt x="1151" y="3658"/>
                    </a:cubicBezTo>
                    <a:cubicBezTo>
                      <a:pt x="1151" y="3658"/>
                      <a:pt x="1170" y="3672"/>
                      <a:pt x="1170" y="3678"/>
                    </a:cubicBezTo>
                    <a:cubicBezTo>
                      <a:pt x="1170" y="3684"/>
                      <a:pt x="1145" y="3670"/>
                      <a:pt x="1145" y="3670"/>
                    </a:cubicBezTo>
                    <a:cubicBezTo>
                      <a:pt x="1125" y="3690"/>
                      <a:pt x="1125" y="3690"/>
                      <a:pt x="1125" y="3690"/>
                    </a:cubicBezTo>
                    <a:cubicBezTo>
                      <a:pt x="1125" y="3699"/>
                      <a:pt x="1125" y="3699"/>
                      <a:pt x="1125" y="3699"/>
                    </a:cubicBezTo>
                    <a:cubicBezTo>
                      <a:pt x="1125" y="3699"/>
                      <a:pt x="1114" y="3708"/>
                      <a:pt x="1110" y="3724"/>
                    </a:cubicBezTo>
                    <a:cubicBezTo>
                      <a:pt x="1106" y="3740"/>
                      <a:pt x="1115" y="3743"/>
                      <a:pt x="1105" y="3744"/>
                    </a:cubicBezTo>
                    <a:cubicBezTo>
                      <a:pt x="1095" y="3745"/>
                      <a:pt x="1094" y="3720"/>
                      <a:pt x="1094" y="3713"/>
                    </a:cubicBezTo>
                    <a:cubicBezTo>
                      <a:pt x="1094" y="3707"/>
                      <a:pt x="1098" y="3685"/>
                      <a:pt x="1097" y="3681"/>
                    </a:cubicBezTo>
                    <a:cubicBezTo>
                      <a:pt x="1097" y="3677"/>
                      <a:pt x="1093" y="3686"/>
                      <a:pt x="1093" y="3686"/>
                    </a:cubicBezTo>
                    <a:cubicBezTo>
                      <a:pt x="1093" y="3686"/>
                      <a:pt x="1082" y="3686"/>
                      <a:pt x="1067" y="3686"/>
                    </a:cubicBezTo>
                    <a:cubicBezTo>
                      <a:pt x="1053" y="3686"/>
                      <a:pt x="1047" y="3713"/>
                      <a:pt x="1036" y="3713"/>
                    </a:cubicBezTo>
                    <a:cubicBezTo>
                      <a:pt x="1025" y="3713"/>
                      <a:pt x="1031" y="3724"/>
                      <a:pt x="1031" y="3724"/>
                    </a:cubicBezTo>
                    <a:cubicBezTo>
                      <a:pt x="1013" y="3725"/>
                      <a:pt x="1013" y="3725"/>
                      <a:pt x="1013" y="3725"/>
                    </a:cubicBezTo>
                    <a:cubicBezTo>
                      <a:pt x="1009" y="3744"/>
                      <a:pt x="1009" y="3744"/>
                      <a:pt x="1009" y="3744"/>
                    </a:cubicBezTo>
                    <a:cubicBezTo>
                      <a:pt x="1009" y="3744"/>
                      <a:pt x="1009" y="3753"/>
                      <a:pt x="1001" y="3761"/>
                    </a:cubicBezTo>
                    <a:cubicBezTo>
                      <a:pt x="993" y="3751"/>
                      <a:pt x="1013" y="3717"/>
                      <a:pt x="1013" y="3717"/>
                    </a:cubicBezTo>
                    <a:cubicBezTo>
                      <a:pt x="1004" y="3710"/>
                      <a:pt x="1004" y="3710"/>
                      <a:pt x="1004" y="3710"/>
                    </a:cubicBezTo>
                    <a:cubicBezTo>
                      <a:pt x="1004" y="3710"/>
                      <a:pt x="991" y="3718"/>
                      <a:pt x="975" y="3738"/>
                    </a:cubicBezTo>
                    <a:cubicBezTo>
                      <a:pt x="946" y="3735"/>
                      <a:pt x="943" y="3759"/>
                      <a:pt x="943" y="3759"/>
                    </a:cubicBezTo>
                    <a:cubicBezTo>
                      <a:pt x="943" y="3759"/>
                      <a:pt x="946" y="3765"/>
                      <a:pt x="947" y="3772"/>
                    </a:cubicBezTo>
                    <a:cubicBezTo>
                      <a:pt x="936" y="3772"/>
                      <a:pt x="938" y="3790"/>
                      <a:pt x="938" y="3790"/>
                    </a:cubicBezTo>
                    <a:cubicBezTo>
                      <a:pt x="948" y="3799"/>
                      <a:pt x="948" y="3799"/>
                      <a:pt x="948" y="3799"/>
                    </a:cubicBezTo>
                    <a:cubicBezTo>
                      <a:pt x="925" y="3837"/>
                      <a:pt x="925" y="3837"/>
                      <a:pt x="925" y="3837"/>
                    </a:cubicBezTo>
                    <a:cubicBezTo>
                      <a:pt x="925" y="3837"/>
                      <a:pt x="927" y="3841"/>
                      <a:pt x="927" y="3844"/>
                    </a:cubicBezTo>
                    <a:cubicBezTo>
                      <a:pt x="927" y="3847"/>
                      <a:pt x="919" y="3847"/>
                      <a:pt x="918" y="3855"/>
                    </a:cubicBezTo>
                    <a:cubicBezTo>
                      <a:pt x="917" y="3862"/>
                      <a:pt x="931" y="3881"/>
                      <a:pt x="931" y="3881"/>
                    </a:cubicBezTo>
                    <a:cubicBezTo>
                      <a:pt x="931" y="3881"/>
                      <a:pt x="935" y="3871"/>
                      <a:pt x="936" y="3866"/>
                    </a:cubicBezTo>
                    <a:cubicBezTo>
                      <a:pt x="974" y="3864"/>
                      <a:pt x="995" y="3793"/>
                      <a:pt x="995" y="3793"/>
                    </a:cubicBezTo>
                    <a:cubicBezTo>
                      <a:pt x="1035" y="3796"/>
                      <a:pt x="1035" y="3796"/>
                      <a:pt x="1035" y="3796"/>
                    </a:cubicBezTo>
                    <a:cubicBezTo>
                      <a:pt x="1035" y="3796"/>
                      <a:pt x="1038" y="3793"/>
                      <a:pt x="1038" y="3809"/>
                    </a:cubicBezTo>
                    <a:cubicBezTo>
                      <a:pt x="1019" y="3813"/>
                      <a:pt x="993" y="3833"/>
                      <a:pt x="1001" y="3843"/>
                    </a:cubicBezTo>
                    <a:cubicBezTo>
                      <a:pt x="1029" y="3844"/>
                      <a:pt x="1033" y="3865"/>
                      <a:pt x="1034" y="3894"/>
                    </a:cubicBezTo>
                    <a:cubicBezTo>
                      <a:pt x="998" y="3895"/>
                      <a:pt x="999" y="3937"/>
                      <a:pt x="999" y="3937"/>
                    </a:cubicBezTo>
                    <a:cubicBezTo>
                      <a:pt x="999" y="3937"/>
                      <a:pt x="1009" y="3943"/>
                      <a:pt x="1026" y="3949"/>
                    </a:cubicBezTo>
                    <a:cubicBezTo>
                      <a:pt x="1043" y="3954"/>
                      <a:pt x="1061" y="3909"/>
                      <a:pt x="1061" y="3909"/>
                    </a:cubicBezTo>
                    <a:cubicBezTo>
                      <a:pt x="1069" y="3916"/>
                      <a:pt x="1069" y="3916"/>
                      <a:pt x="1069" y="3916"/>
                    </a:cubicBezTo>
                    <a:cubicBezTo>
                      <a:pt x="1079" y="3908"/>
                      <a:pt x="1079" y="3908"/>
                      <a:pt x="1079" y="3908"/>
                    </a:cubicBezTo>
                    <a:cubicBezTo>
                      <a:pt x="1085" y="3922"/>
                      <a:pt x="1085" y="3922"/>
                      <a:pt x="1085" y="3922"/>
                    </a:cubicBezTo>
                    <a:cubicBezTo>
                      <a:pt x="1085" y="3922"/>
                      <a:pt x="1089" y="3919"/>
                      <a:pt x="1100" y="3905"/>
                    </a:cubicBezTo>
                    <a:cubicBezTo>
                      <a:pt x="1113" y="3907"/>
                      <a:pt x="1140" y="3873"/>
                      <a:pt x="1141" y="3867"/>
                    </a:cubicBezTo>
                    <a:cubicBezTo>
                      <a:pt x="1141" y="3861"/>
                      <a:pt x="1136" y="3812"/>
                      <a:pt x="1124" y="3800"/>
                    </a:cubicBezTo>
                    <a:cubicBezTo>
                      <a:pt x="1107" y="3800"/>
                      <a:pt x="1105" y="3756"/>
                      <a:pt x="1105" y="3756"/>
                    </a:cubicBezTo>
                    <a:cubicBezTo>
                      <a:pt x="1105" y="3756"/>
                      <a:pt x="1101" y="3742"/>
                      <a:pt x="1112" y="3757"/>
                    </a:cubicBezTo>
                    <a:cubicBezTo>
                      <a:pt x="1130" y="3813"/>
                      <a:pt x="1169" y="3789"/>
                      <a:pt x="1169" y="3789"/>
                    </a:cubicBezTo>
                    <a:cubicBezTo>
                      <a:pt x="1179" y="3775"/>
                      <a:pt x="1179" y="3775"/>
                      <a:pt x="1179" y="3775"/>
                    </a:cubicBezTo>
                    <a:cubicBezTo>
                      <a:pt x="1179" y="3747"/>
                      <a:pt x="1179" y="3747"/>
                      <a:pt x="1179" y="3747"/>
                    </a:cubicBezTo>
                    <a:cubicBezTo>
                      <a:pt x="1189" y="3733"/>
                      <a:pt x="1189" y="3733"/>
                      <a:pt x="1189" y="3733"/>
                    </a:cubicBezTo>
                    <a:cubicBezTo>
                      <a:pt x="1189" y="3733"/>
                      <a:pt x="1191" y="3740"/>
                      <a:pt x="1198" y="3742"/>
                    </a:cubicBezTo>
                    <a:cubicBezTo>
                      <a:pt x="1205" y="3744"/>
                      <a:pt x="1200" y="3718"/>
                      <a:pt x="1200" y="3718"/>
                    </a:cubicBezTo>
                    <a:cubicBezTo>
                      <a:pt x="1209" y="3725"/>
                      <a:pt x="1209" y="3725"/>
                      <a:pt x="1209" y="3725"/>
                    </a:cubicBezTo>
                    <a:cubicBezTo>
                      <a:pt x="1213" y="3719"/>
                      <a:pt x="1213" y="3719"/>
                      <a:pt x="1213" y="3719"/>
                    </a:cubicBezTo>
                    <a:cubicBezTo>
                      <a:pt x="1213" y="3719"/>
                      <a:pt x="1207" y="3711"/>
                      <a:pt x="1208" y="3708"/>
                    </a:cubicBezTo>
                    <a:cubicBezTo>
                      <a:pt x="1209" y="3705"/>
                      <a:pt x="1219" y="3687"/>
                      <a:pt x="1219" y="3687"/>
                    </a:cubicBezTo>
                    <a:cubicBezTo>
                      <a:pt x="1238" y="3655"/>
                      <a:pt x="1238" y="3655"/>
                      <a:pt x="1238" y="3655"/>
                    </a:cubicBezTo>
                    <a:cubicBezTo>
                      <a:pt x="1247" y="3629"/>
                      <a:pt x="1247" y="3629"/>
                      <a:pt x="1247" y="3629"/>
                    </a:cubicBezTo>
                    <a:cubicBezTo>
                      <a:pt x="1257" y="3630"/>
                      <a:pt x="1257" y="3630"/>
                      <a:pt x="1257" y="3630"/>
                    </a:cubicBezTo>
                    <a:cubicBezTo>
                      <a:pt x="1257" y="3630"/>
                      <a:pt x="1295" y="3556"/>
                      <a:pt x="1297" y="3547"/>
                    </a:cubicBezTo>
                    <a:cubicBezTo>
                      <a:pt x="1299" y="3539"/>
                      <a:pt x="1286" y="3533"/>
                      <a:pt x="1286" y="3527"/>
                    </a:cubicBezTo>
                    <a:cubicBezTo>
                      <a:pt x="1286" y="3521"/>
                      <a:pt x="1301" y="3517"/>
                      <a:pt x="1303" y="3510"/>
                    </a:cubicBezTo>
                    <a:close/>
                    <a:moveTo>
                      <a:pt x="1192" y="3667"/>
                    </a:moveTo>
                    <a:cubicBezTo>
                      <a:pt x="1185" y="3663"/>
                      <a:pt x="1195" y="3653"/>
                      <a:pt x="1198" y="3662"/>
                    </a:cubicBezTo>
                    <a:cubicBezTo>
                      <a:pt x="1201" y="3671"/>
                      <a:pt x="1192" y="3667"/>
                      <a:pt x="1192" y="3667"/>
                    </a:cubicBezTo>
                    <a:close/>
                    <a:moveTo>
                      <a:pt x="1268" y="3843"/>
                    </a:moveTo>
                    <a:cubicBezTo>
                      <a:pt x="1268" y="3855"/>
                      <a:pt x="1250" y="3878"/>
                      <a:pt x="1250" y="3878"/>
                    </a:cubicBezTo>
                    <a:cubicBezTo>
                      <a:pt x="1258" y="3885"/>
                      <a:pt x="1258" y="3885"/>
                      <a:pt x="1258" y="3885"/>
                    </a:cubicBezTo>
                    <a:cubicBezTo>
                      <a:pt x="1259" y="3915"/>
                      <a:pt x="1259" y="3915"/>
                      <a:pt x="1259" y="3915"/>
                    </a:cubicBezTo>
                    <a:cubicBezTo>
                      <a:pt x="1266" y="3912"/>
                      <a:pt x="1266" y="3912"/>
                      <a:pt x="1266" y="3912"/>
                    </a:cubicBezTo>
                    <a:cubicBezTo>
                      <a:pt x="1261" y="3896"/>
                      <a:pt x="1261" y="3896"/>
                      <a:pt x="1261" y="3896"/>
                    </a:cubicBezTo>
                    <a:cubicBezTo>
                      <a:pt x="1271" y="3896"/>
                      <a:pt x="1271" y="3896"/>
                      <a:pt x="1271" y="3896"/>
                    </a:cubicBezTo>
                    <a:cubicBezTo>
                      <a:pt x="1283" y="3866"/>
                      <a:pt x="1283" y="3866"/>
                      <a:pt x="1283" y="3866"/>
                    </a:cubicBezTo>
                    <a:cubicBezTo>
                      <a:pt x="1272" y="3861"/>
                      <a:pt x="1272" y="3861"/>
                      <a:pt x="1272" y="3861"/>
                    </a:cubicBezTo>
                    <a:cubicBezTo>
                      <a:pt x="1283" y="3843"/>
                      <a:pt x="1283" y="3843"/>
                      <a:pt x="1283" y="3843"/>
                    </a:cubicBezTo>
                    <a:cubicBezTo>
                      <a:pt x="1283" y="3843"/>
                      <a:pt x="1268" y="3838"/>
                      <a:pt x="1268" y="3843"/>
                    </a:cubicBezTo>
                    <a:close/>
                    <a:moveTo>
                      <a:pt x="864" y="3191"/>
                    </a:moveTo>
                    <a:cubicBezTo>
                      <a:pt x="836" y="3215"/>
                      <a:pt x="836" y="3215"/>
                      <a:pt x="836" y="3215"/>
                    </a:cubicBezTo>
                    <a:cubicBezTo>
                      <a:pt x="851" y="3208"/>
                      <a:pt x="851" y="3208"/>
                      <a:pt x="851" y="3208"/>
                    </a:cubicBezTo>
                    <a:cubicBezTo>
                      <a:pt x="853" y="3213"/>
                      <a:pt x="853" y="3213"/>
                      <a:pt x="853" y="3213"/>
                    </a:cubicBezTo>
                    <a:cubicBezTo>
                      <a:pt x="853" y="3213"/>
                      <a:pt x="856" y="3202"/>
                      <a:pt x="867" y="3203"/>
                    </a:cubicBezTo>
                    <a:cubicBezTo>
                      <a:pt x="873" y="3203"/>
                      <a:pt x="875" y="3206"/>
                      <a:pt x="876" y="3208"/>
                    </a:cubicBezTo>
                    <a:cubicBezTo>
                      <a:pt x="877" y="3207"/>
                      <a:pt x="879" y="3205"/>
                      <a:pt x="884" y="3205"/>
                    </a:cubicBezTo>
                    <a:cubicBezTo>
                      <a:pt x="895" y="3204"/>
                      <a:pt x="906" y="3204"/>
                      <a:pt x="955" y="3152"/>
                    </a:cubicBezTo>
                    <a:cubicBezTo>
                      <a:pt x="963" y="3123"/>
                      <a:pt x="958" y="3122"/>
                      <a:pt x="958" y="3122"/>
                    </a:cubicBezTo>
                    <a:cubicBezTo>
                      <a:pt x="958" y="3122"/>
                      <a:pt x="917" y="3132"/>
                      <a:pt x="915" y="3145"/>
                    </a:cubicBezTo>
                    <a:cubicBezTo>
                      <a:pt x="912" y="3145"/>
                      <a:pt x="910" y="3141"/>
                      <a:pt x="910" y="3141"/>
                    </a:cubicBezTo>
                    <a:cubicBezTo>
                      <a:pt x="910" y="3141"/>
                      <a:pt x="883" y="3156"/>
                      <a:pt x="885" y="3167"/>
                    </a:cubicBezTo>
                    <a:cubicBezTo>
                      <a:pt x="881" y="3170"/>
                      <a:pt x="864" y="3191"/>
                      <a:pt x="864" y="3191"/>
                    </a:cubicBezTo>
                    <a:close/>
                    <a:moveTo>
                      <a:pt x="893" y="2863"/>
                    </a:moveTo>
                    <a:cubicBezTo>
                      <a:pt x="893" y="2863"/>
                      <a:pt x="900" y="2874"/>
                      <a:pt x="906" y="2872"/>
                    </a:cubicBezTo>
                    <a:cubicBezTo>
                      <a:pt x="912" y="2870"/>
                      <a:pt x="912" y="2858"/>
                      <a:pt x="919" y="2858"/>
                    </a:cubicBezTo>
                    <a:cubicBezTo>
                      <a:pt x="925" y="2858"/>
                      <a:pt x="919" y="2865"/>
                      <a:pt x="928" y="2865"/>
                    </a:cubicBezTo>
                    <a:cubicBezTo>
                      <a:pt x="937" y="2865"/>
                      <a:pt x="945" y="2865"/>
                      <a:pt x="945" y="2865"/>
                    </a:cubicBezTo>
                    <a:cubicBezTo>
                      <a:pt x="945" y="2865"/>
                      <a:pt x="941" y="2872"/>
                      <a:pt x="949" y="2872"/>
                    </a:cubicBezTo>
                    <a:cubicBezTo>
                      <a:pt x="956" y="2872"/>
                      <a:pt x="959" y="2872"/>
                      <a:pt x="959" y="2872"/>
                    </a:cubicBezTo>
                    <a:cubicBezTo>
                      <a:pt x="956" y="2861"/>
                      <a:pt x="956" y="2861"/>
                      <a:pt x="956" y="2861"/>
                    </a:cubicBezTo>
                    <a:cubicBezTo>
                      <a:pt x="956" y="2861"/>
                      <a:pt x="956" y="2846"/>
                      <a:pt x="946" y="2845"/>
                    </a:cubicBezTo>
                    <a:cubicBezTo>
                      <a:pt x="936" y="2845"/>
                      <a:pt x="922" y="2849"/>
                      <a:pt x="915" y="2849"/>
                    </a:cubicBezTo>
                    <a:cubicBezTo>
                      <a:pt x="907" y="2849"/>
                      <a:pt x="894" y="2848"/>
                      <a:pt x="893" y="2863"/>
                    </a:cubicBezTo>
                    <a:close/>
                    <a:moveTo>
                      <a:pt x="1247" y="2664"/>
                    </a:moveTo>
                    <a:cubicBezTo>
                      <a:pt x="1235" y="2649"/>
                      <a:pt x="1235" y="2649"/>
                      <a:pt x="1235" y="2649"/>
                    </a:cubicBezTo>
                    <a:cubicBezTo>
                      <a:pt x="1231" y="2656"/>
                      <a:pt x="1231" y="2656"/>
                      <a:pt x="1231" y="2656"/>
                    </a:cubicBezTo>
                    <a:cubicBezTo>
                      <a:pt x="1231" y="2656"/>
                      <a:pt x="1227" y="2667"/>
                      <a:pt x="1239" y="2667"/>
                    </a:cubicBezTo>
                    <a:cubicBezTo>
                      <a:pt x="1251" y="2667"/>
                      <a:pt x="1247" y="2664"/>
                      <a:pt x="1247" y="2664"/>
                    </a:cubicBezTo>
                    <a:close/>
                    <a:moveTo>
                      <a:pt x="877" y="3211"/>
                    </a:moveTo>
                    <a:cubicBezTo>
                      <a:pt x="877" y="3211"/>
                      <a:pt x="877" y="3210"/>
                      <a:pt x="876" y="3208"/>
                    </a:cubicBezTo>
                    <a:cubicBezTo>
                      <a:pt x="876" y="3210"/>
                      <a:pt x="877" y="3211"/>
                      <a:pt x="877" y="3211"/>
                    </a:cubicBezTo>
                    <a:close/>
                    <a:moveTo>
                      <a:pt x="1219" y="2706"/>
                    </a:moveTo>
                    <a:cubicBezTo>
                      <a:pt x="1222" y="2713"/>
                      <a:pt x="1222" y="2713"/>
                      <a:pt x="1222" y="2713"/>
                    </a:cubicBezTo>
                    <a:cubicBezTo>
                      <a:pt x="1234" y="2708"/>
                      <a:pt x="1234" y="2708"/>
                      <a:pt x="1234" y="2708"/>
                    </a:cubicBezTo>
                    <a:cubicBezTo>
                      <a:pt x="1229" y="2696"/>
                      <a:pt x="1229" y="2696"/>
                      <a:pt x="1229" y="2696"/>
                    </a:cubicBezTo>
                    <a:lnTo>
                      <a:pt x="1219" y="2706"/>
                    </a:lnTo>
                    <a:close/>
                    <a:moveTo>
                      <a:pt x="1132" y="2619"/>
                    </a:moveTo>
                    <a:cubicBezTo>
                      <a:pt x="1126" y="2641"/>
                      <a:pt x="1126" y="2641"/>
                      <a:pt x="1126" y="2641"/>
                    </a:cubicBezTo>
                    <a:cubicBezTo>
                      <a:pt x="1126" y="2641"/>
                      <a:pt x="1143" y="2666"/>
                      <a:pt x="1147" y="2667"/>
                    </a:cubicBezTo>
                    <a:cubicBezTo>
                      <a:pt x="1152" y="2667"/>
                      <a:pt x="1170" y="2638"/>
                      <a:pt x="1170" y="2638"/>
                    </a:cubicBezTo>
                    <a:cubicBezTo>
                      <a:pt x="1163" y="2629"/>
                      <a:pt x="1163" y="2629"/>
                      <a:pt x="1163" y="2629"/>
                    </a:cubicBezTo>
                    <a:cubicBezTo>
                      <a:pt x="1154" y="2597"/>
                      <a:pt x="1154" y="2597"/>
                      <a:pt x="1154" y="2597"/>
                    </a:cubicBezTo>
                    <a:cubicBezTo>
                      <a:pt x="1154" y="2597"/>
                      <a:pt x="1149" y="2594"/>
                      <a:pt x="1156" y="2587"/>
                    </a:cubicBezTo>
                    <a:cubicBezTo>
                      <a:pt x="1163" y="2587"/>
                      <a:pt x="1171" y="2574"/>
                      <a:pt x="1172" y="2566"/>
                    </a:cubicBezTo>
                    <a:cubicBezTo>
                      <a:pt x="1181" y="2557"/>
                      <a:pt x="1173" y="2540"/>
                      <a:pt x="1173" y="2540"/>
                    </a:cubicBezTo>
                    <a:cubicBezTo>
                      <a:pt x="1173" y="2540"/>
                      <a:pt x="1169" y="2534"/>
                      <a:pt x="1175" y="2533"/>
                    </a:cubicBezTo>
                    <a:cubicBezTo>
                      <a:pt x="1180" y="2533"/>
                      <a:pt x="1189" y="2491"/>
                      <a:pt x="1189" y="2491"/>
                    </a:cubicBezTo>
                    <a:cubicBezTo>
                      <a:pt x="1180" y="2482"/>
                      <a:pt x="1180" y="2482"/>
                      <a:pt x="1180" y="2482"/>
                    </a:cubicBezTo>
                    <a:cubicBezTo>
                      <a:pt x="1168" y="2482"/>
                      <a:pt x="1168" y="2528"/>
                      <a:pt x="1168" y="2528"/>
                    </a:cubicBezTo>
                    <a:cubicBezTo>
                      <a:pt x="1159" y="2528"/>
                      <a:pt x="1159" y="2528"/>
                      <a:pt x="1159" y="2528"/>
                    </a:cubicBezTo>
                    <a:cubicBezTo>
                      <a:pt x="1159" y="2528"/>
                      <a:pt x="1163" y="2538"/>
                      <a:pt x="1164" y="2547"/>
                    </a:cubicBezTo>
                    <a:cubicBezTo>
                      <a:pt x="1165" y="2557"/>
                      <a:pt x="1160" y="2541"/>
                      <a:pt x="1155" y="2541"/>
                    </a:cubicBezTo>
                    <a:cubicBezTo>
                      <a:pt x="1149" y="2540"/>
                      <a:pt x="1155" y="2557"/>
                      <a:pt x="1155" y="2557"/>
                    </a:cubicBezTo>
                    <a:cubicBezTo>
                      <a:pt x="1155" y="2557"/>
                      <a:pt x="1173" y="2568"/>
                      <a:pt x="1153" y="2564"/>
                    </a:cubicBezTo>
                    <a:cubicBezTo>
                      <a:pt x="1132" y="2560"/>
                      <a:pt x="1128" y="2593"/>
                      <a:pt x="1126" y="2597"/>
                    </a:cubicBezTo>
                    <a:cubicBezTo>
                      <a:pt x="1124" y="2600"/>
                      <a:pt x="1131" y="2603"/>
                      <a:pt x="1131" y="2603"/>
                    </a:cubicBezTo>
                    <a:cubicBezTo>
                      <a:pt x="1124" y="2613"/>
                      <a:pt x="1124" y="2613"/>
                      <a:pt x="1124" y="2613"/>
                    </a:cubicBezTo>
                    <a:lnTo>
                      <a:pt x="1132" y="2619"/>
                    </a:lnTo>
                    <a:close/>
                    <a:moveTo>
                      <a:pt x="924" y="2465"/>
                    </a:moveTo>
                    <a:cubicBezTo>
                      <a:pt x="924" y="2465"/>
                      <a:pt x="936" y="2473"/>
                      <a:pt x="935" y="2467"/>
                    </a:cubicBezTo>
                    <a:cubicBezTo>
                      <a:pt x="933" y="2460"/>
                      <a:pt x="924" y="2465"/>
                      <a:pt x="924" y="2465"/>
                    </a:cubicBezTo>
                    <a:close/>
                    <a:moveTo>
                      <a:pt x="1063" y="3015"/>
                    </a:moveTo>
                    <a:cubicBezTo>
                      <a:pt x="1063" y="3015"/>
                      <a:pt x="1041" y="3011"/>
                      <a:pt x="1039" y="3023"/>
                    </a:cubicBezTo>
                    <a:cubicBezTo>
                      <a:pt x="1042" y="3030"/>
                      <a:pt x="1042" y="3030"/>
                      <a:pt x="1042" y="3030"/>
                    </a:cubicBezTo>
                    <a:cubicBezTo>
                      <a:pt x="1050" y="3023"/>
                      <a:pt x="1050" y="3023"/>
                      <a:pt x="1050" y="3023"/>
                    </a:cubicBezTo>
                    <a:cubicBezTo>
                      <a:pt x="1055" y="3031"/>
                      <a:pt x="1055" y="3031"/>
                      <a:pt x="1055" y="3031"/>
                    </a:cubicBezTo>
                    <a:lnTo>
                      <a:pt x="1063" y="3015"/>
                    </a:lnTo>
                    <a:close/>
                    <a:moveTo>
                      <a:pt x="1246" y="3465"/>
                    </a:moveTo>
                    <a:cubicBezTo>
                      <a:pt x="1246" y="3466"/>
                      <a:pt x="1246" y="3466"/>
                      <a:pt x="1246" y="3466"/>
                    </a:cubicBezTo>
                    <a:cubicBezTo>
                      <a:pt x="1246" y="3466"/>
                      <a:pt x="1246" y="3466"/>
                      <a:pt x="1246" y="3465"/>
                    </a:cubicBezTo>
                    <a:close/>
                    <a:moveTo>
                      <a:pt x="1042" y="3297"/>
                    </a:moveTo>
                    <a:cubicBezTo>
                      <a:pt x="1037" y="3297"/>
                      <a:pt x="1039" y="3306"/>
                      <a:pt x="1039" y="3306"/>
                    </a:cubicBezTo>
                    <a:cubicBezTo>
                      <a:pt x="1039" y="3306"/>
                      <a:pt x="1047" y="3297"/>
                      <a:pt x="1042" y="3297"/>
                    </a:cubicBezTo>
                    <a:close/>
                    <a:moveTo>
                      <a:pt x="1081" y="3313"/>
                    </a:moveTo>
                    <a:cubicBezTo>
                      <a:pt x="1087" y="3314"/>
                      <a:pt x="1087" y="3314"/>
                      <a:pt x="1087" y="3314"/>
                    </a:cubicBezTo>
                    <a:cubicBezTo>
                      <a:pt x="1089" y="3307"/>
                      <a:pt x="1089" y="3307"/>
                      <a:pt x="1089" y="3307"/>
                    </a:cubicBezTo>
                    <a:lnTo>
                      <a:pt x="1081" y="3313"/>
                    </a:lnTo>
                    <a:close/>
                    <a:moveTo>
                      <a:pt x="1019" y="2855"/>
                    </a:moveTo>
                    <a:cubicBezTo>
                      <a:pt x="1009" y="2863"/>
                      <a:pt x="1009" y="2863"/>
                      <a:pt x="1009" y="2863"/>
                    </a:cubicBezTo>
                    <a:cubicBezTo>
                      <a:pt x="992" y="2862"/>
                      <a:pt x="992" y="2862"/>
                      <a:pt x="992" y="2862"/>
                    </a:cubicBezTo>
                    <a:cubicBezTo>
                      <a:pt x="961" y="2896"/>
                      <a:pt x="961" y="2896"/>
                      <a:pt x="961" y="2896"/>
                    </a:cubicBezTo>
                    <a:cubicBezTo>
                      <a:pt x="961" y="2896"/>
                      <a:pt x="993" y="2919"/>
                      <a:pt x="994" y="2938"/>
                    </a:cubicBezTo>
                    <a:cubicBezTo>
                      <a:pt x="1008" y="2941"/>
                      <a:pt x="1013" y="2943"/>
                      <a:pt x="1013" y="2951"/>
                    </a:cubicBezTo>
                    <a:cubicBezTo>
                      <a:pt x="1018" y="2953"/>
                      <a:pt x="1021" y="2951"/>
                      <a:pt x="1021" y="2951"/>
                    </a:cubicBezTo>
                    <a:cubicBezTo>
                      <a:pt x="1022" y="2949"/>
                      <a:pt x="1054" y="2934"/>
                      <a:pt x="1053" y="2929"/>
                    </a:cubicBezTo>
                    <a:cubicBezTo>
                      <a:pt x="1053" y="2923"/>
                      <a:pt x="1055" y="2896"/>
                      <a:pt x="1055" y="2896"/>
                    </a:cubicBezTo>
                    <a:cubicBezTo>
                      <a:pt x="1047" y="2887"/>
                      <a:pt x="1047" y="2887"/>
                      <a:pt x="1047" y="2887"/>
                    </a:cubicBezTo>
                    <a:cubicBezTo>
                      <a:pt x="1055" y="2884"/>
                      <a:pt x="1055" y="2884"/>
                      <a:pt x="1055" y="2884"/>
                    </a:cubicBezTo>
                    <a:lnTo>
                      <a:pt x="1019" y="2855"/>
                    </a:lnTo>
                    <a:close/>
                    <a:moveTo>
                      <a:pt x="963" y="3279"/>
                    </a:moveTo>
                    <a:cubicBezTo>
                      <a:pt x="967" y="3284"/>
                      <a:pt x="973" y="3270"/>
                      <a:pt x="973" y="3270"/>
                    </a:cubicBezTo>
                    <a:cubicBezTo>
                      <a:pt x="970" y="3269"/>
                      <a:pt x="959" y="3275"/>
                      <a:pt x="963" y="3279"/>
                    </a:cubicBezTo>
                    <a:close/>
                    <a:moveTo>
                      <a:pt x="969" y="3407"/>
                    </a:moveTo>
                    <a:cubicBezTo>
                      <a:pt x="969" y="3407"/>
                      <a:pt x="988" y="3387"/>
                      <a:pt x="987" y="3381"/>
                    </a:cubicBezTo>
                    <a:cubicBezTo>
                      <a:pt x="987" y="3374"/>
                      <a:pt x="967" y="3380"/>
                      <a:pt x="967" y="3380"/>
                    </a:cubicBezTo>
                    <a:cubicBezTo>
                      <a:pt x="967" y="3380"/>
                      <a:pt x="969" y="3401"/>
                      <a:pt x="958" y="3401"/>
                    </a:cubicBezTo>
                    <a:lnTo>
                      <a:pt x="969" y="3407"/>
                    </a:lnTo>
                    <a:close/>
                    <a:moveTo>
                      <a:pt x="1311" y="3306"/>
                    </a:moveTo>
                    <a:cubicBezTo>
                      <a:pt x="1311" y="3306"/>
                      <a:pt x="1306" y="3311"/>
                      <a:pt x="1301" y="3312"/>
                    </a:cubicBezTo>
                    <a:cubicBezTo>
                      <a:pt x="1297" y="3313"/>
                      <a:pt x="1283" y="3282"/>
                      <a:pt x="1283" y="3282"/>
                    </a:cubicBezTo>
                    <a:cubicBezTo>
                      <a:pt x="1267" y="3284"/>
                      <a:pt x="1267" y="3284"/>
                      <a:pt x="1267" y="3284"/>
                    </a:cubicBezTo>
                    <a:cubicBezTo>
                      <a:pt x="1267" y="3284"/>
                      <a:pt x="1247" y="3257"/>
                      <a:pt x="1243" y="3254"/>
                    </a:cubicBezTo>
                    <a:cubicBezTo>
                      <a:pt x="1240" y="3251"/>
                      <a:pt x="1232" y="3259"/>
                      <a:pt x="1232" y="3259"/>
                    </a:cubicBezTo>
                    <a:cubicBezTo>
                      <a:pt x="1225" y="3254"/>
                      <a:pt x="1225" y="3254"/>
                      <a:pt x="1225" y="3254"/>
                    </a:cubicBezTo>
                    <a:cubicBezTo>
                      <a:pt x="1225" y="3254"/>
                      <a:pt x="1221" y="3259"/>
                      <a:pt x="1177" y="3246"/>
                    </a:cubicBezTo>
                    <a:cubicBezTo>
                      <a:pt x="1151" y="3178"/>
                      <a:pt x="1110" y="3148"/>
                      <a:pt x="1098" y="3154"/>
                    </a:cubicBezTo>
                    <a:cubicBezTo>
                      <a:pt x="1065" y="3170"/>
                      <a:pt x="1039" y="3189"/>
                      <a:pt x="1037" y="3191"/>
                    </a:cubicBezTo>
                    <a:cubicBezTo>
                      <a:pt x="1035" y="3193"/>
                      <a:pt x="1027" y="3183"/>
                      <a:pt x="1027" y="3183"/>
                    </a:cubicBezTo>
                    <a:cubicBezTo>
                      <a:pt x="1027" y="3183"/>
                      <a:pt x="1015" y="3189"/>
                      <a:pt x="1013" y="3189"/>
                    </a:cubicBezTo>
                    <a:cubicBezTo>
                      <a:pt x="1011" y="3189"/>
                      <a:pt x="1024" y="3221"/>
                      <a:pt x="1024" y="3221"/>
                    </a:cubicBezTo>
                    <a:cubicBezTo>
                      <a:pt x="1024" y="3221"/>
                      <a:pt x="1007" y="3226"/>
                      <a:pt x="1010" y="3236"/>
                    </a:cubicBezTo>
                    <a:cubicBezTo>
                      <a:pt x="1013" y="3246"/>
                      <a:pt x="1035" y="3254"/>
                      <a:pt x="1035" y="3254"/>
                    </a:cubicBezTo>
                    <a:cubicBezTo>
                      <a:pt x="1035" y="3254"/>
                      <a:pt x="1047" y="3247"/>
                      <a:pt x="1055" y="3247"/>
                    </a:cubicBezTo>
                    <a:cubicBezTo>
                      <a:pt x="1062" y="3247"/>
                      <a:pt x="1091" y="3279"/>
                      <a:pt x="1091" y="3279"/>
                    </a:cubicBezTo>
                    <a:cubicBezTo>
                      <a:pt x="1091" y="3279"/>
                      <a:pt x="1077" y="3277"/>
                      <a:pt x="1073" y="3277"/>
                    </a:cubicBezTo>
                    <a:cubicBezTo>
                      <a:pt x="1069" y="3277"/>
                      <a:pt x="1056" y="3267"/>
                      <a:pt x="1056" y="3267"/>
                    </a:cubicBezTo>
                    <a:cubicBezTo>
                      <a:pt x="1018" y="3264"/>
                      <a:pt x="1018" y="3264"/>
                      <a:pt x="1018" y="3264"/>
                    </a:cubicBezTo>
                    <a:cubicBezTo>
                      <a:pt x="1018" y="3264"/>
                      <a:pt x="1023" y="3285"/>
                      <a:pt x="1029" y="3287"/>
                    </a:cubicBezTo>
                    <a:cubicBezTo>
                      <a:pt x="1035" y="3289"/>
                      <a:pt x="1067" y="3299"/>
                      <a:pt x="1069" y="3299"/>
                    </a:cubicBezTo>
                    <a:cubicBezTo>
                      <a:pt x="1072" y="3299"/>
                      <a:pt x="1090" y="3287"/>
                      <a:pt x="1099" y="3289"/>
                    </a:cubicBezTo>
                    <a:cubicBezTo>
                      <a:pt x="1109" y="3292"/>
                      <a:pt x="1123" y="3291"/>
                      <a:pt x="1125" y="3291"/>
                    </a:cubicBezTo>
                    <a:cubicBezTo>
                      <a:pt x="1127" y="3291"/>
                      <a:pt x="1111" y="3283"/>
                      <a:pt x="1123" y="3283"/>
                    </a:cubicBezTo>
                    <a:cubicBezTo>
                      <a:pt x="1135" y="3283"/>
                      <a:pt x="1157" y="3267"/>
                      <a:pt x="1157" y="3267"/>
                    </a:cubicBezTo>
                    <a:cubicBezTo>
                      <a:pt x="1158" y="3283"/>
                      <a:pt x="1158" y="3283"/>
                      <a:pt x="1158" y="3283"/>
                    </a:cubicBezTo>
                    <a:cubicBezTo>
                      <a:pt x="1158" y="3283"/>
                      <a:pt x="1131" y="3303"/>
                      <a:pt x="1131" y="3305"/>
                    </a:cubicBezTo>
                    <a:cubicBezTo>
                      <a:pt x="1131" y="3307"/>
                      <a:pt x="1104" y="3305"/>
                      <a:pt x="1104" y="3305"/>
                    </a:cubicBezTo>
                    <a:cubicBezTo>
                      <a:pt x="1081" y="3334"/>
                      <a:pt x="1081" y="3334"/>
                      <a:pt x="1081" y="3334"/>
                    </a:cubicBezTo>
                    <a:cubicBezTo>
                      <a:pt x="1081" y="3334"/>
                      <a:pt x="1053" y="3363"/>
                      <a:pt x="1074" y="3373"/>
                    </a:cubicBezTo>
                    <a:cubicBezTo>
                      <a:pt x="1095" y="3384"/>
                      <a:pt x="1143" y="3347"/>
                      <a:pt x="1143" y="3347"/>
                    </a:cubicBezTo>
                    <a:cubicBezTo>
                      <a:pt x="1143" y="3347"/>
                      <a:pt x="1150" y="3351"/>
                      <a:pt x="1150" y="3360"/>
                    </a:cubicBezTo>
                    <a:cubicBezTo>
                      <a:pt x="1150" y="3369"/>
                      <a:pt x="1087" y="3391"/>
                      <a:pt x="1068" y="3389"/>
                    </a:cubicBezTo>
                    <a:cubicBezTo>
                      <a:pt x="1049" y="3388"/>
                      <a:pt x="1048" y="3381"/>
                      <a:pt x="1048" y="3381"/>
                    </a:cubicBezTo>
                    <a:cubicBezTo>
                      <a:pt x="1045" y="3400"/>
                      <a:pt x="1045" y="3400"/>
                      <a:pt x="1045" y="3400"/>
                    </a:cubicBezTo>
                    <a:cubicBezTo>
                      <a:pt x="1045" y="3400"/>
                      <a:pt x="1045" y="3400"/>
                      <a:pt x="1037" y="3398"/>
                    </a:cubicBezTo>
                    <a:cubicBezTo>
                      <a:pt x="1029" y="3374"/>
                      <a:pt x="1003" y="3374"/>
                      <a:pt x="1003" y="3374"/>
                    </a:cubicBezTo>
                    <a:cubicBezTo>
                      <a:pt x="986" y="3419"/>
                      <a:pt x="986" y="3419"/>
                      <a:pt x="986" y="3419"/>
                    </a:cubicBezTo>
                    <a:cubicBezTo>
                      <a:pt x="997" y="3415"/>
                      <a:pt x="997" y="3415"/>
                      <a:pt x="997" y="3415"/>
                    </a:cubicBezTo>
                    <a:cubicBezTo>
                      <a:pt x="997" y="3425"/>
                      <a:pt x="997" y="3425"/>
                      <a:pt x="997" y="3425"/>
                    </a:cubicBezTo>
                    <a:cubicBezTo>
                      <a:pt x="1007" y="3424"/>
                      <a:pt x="1007" y="3424"/>
                      <a:pt x="1007" y="3424"/>
                    </a:cubicBezTo>
                    <a:cubicBezTo>
                      <a:pt x="1009" y="3435"/>
                      <a:pt x="1009" y="3435"/>
                      <a:pt x="1009" y="3435"/>
                    </a:cubicBezTo>
                    <a:cubicBezTo>
                      <a:pt x="1037" y="3443"/>
                      <a:pt x="1037" y="3443"/>
                      <a:pt x="1037" y="3443"/>
                    </a:cubicBezTo>
                    <a:cubicBezTo>
                      <a:pt x="1042" y="3427"/>
                      <a:pt x="1042" y="3427"/>
                      <a:pt x="1042" y="3427"/>
                    </a:cubicBezTo>
                    <a:cubicBezTo>
                      <a:pt x="1096" y="3425"/>
                      <a:pt x="1096" y="3425"/>
                      <a:pt x="1096" y="3425"/>
                    </a:cubicBezTo>
                    <a:cubicBezTo>
                      <a:pt x="1125" y="3415"/>
                      <a:pt x="1125" y="3415"/>
                      <a:pt x="1125" y="3415"/>
                    </a:cubicBezTo>
                    <a:cubicBezTo>
                      <a:pt x="1125" y="3415"/>
                      <a:pt x="1127" y="3420"/>
                      <a:pt x="1136" y="3421"/>
                    </a:cubicBezTo>
                    <a:cubicBezTo>
                      <a:pt x="1145" y="3421"/>
                      <a:pt x="1162" y="3403"/>
                      <a:pt x="1162" y="3403"/>
                    </a:cubicBezTo>
                    <a:cubicBezTo>
                      <a:pt x="1185" y="3403"/>
                      <a:pt x="1185" y="3403"/>
                      <a:pt x="1185" y="3403"/>
                    </a:cubicBezTo>
                    <a:cubicBezTo>
                      <a:pt x="1211" y="3377"/>
                      <a:pt x="1211" y="3377"/>
                      <a:pt x="1211" y="3377"/>
                    </a:cubicBezTo>
                    <a:cubicBezTo>
                      <a:pt x="1223" y="3380"/>
                      <a:pt x="1223" y="3380"/>
                      <a:pt x="1223" y="3380"/>
                    </a:cubicBezTo>
                    <a:cubicBezTo>
                      <a:pt x="1205" y="3400"/>
                      <a:pt x="1205" y="3400"/>
                      <a:pt x="1205" y="3400"/>
                    </a:cubicBezTo>
                    <a:cubicBezTo>
                      <a:pt x="1205" y="3400"/>
                      <a:pt x="1199" y="3415"/>
                      <a:pt x="1239" y="3406"/>
                    </a:cubicBezTo>
                    <a:cubicBezTo>
                      <a:pt x="1323" y="3383"/>
                      <a:pt x="1311" y="3306"/>
                      <a:pt x="1311" y="3306"/>
                    </a:cubicBezTo>
                    <a:close/>
                    <a:moveTo>
                      <a:pt x="1268" y="3357"/>
                    </a:moveTo>
                    <a:cubicBezTo>
                      <a:pt x="1268" y="3357"/>
                      <a:pt x="1264" y="3339"/>
                      <a:pt x="1281" y="3347"/>
                    </a:cubicBezTo>
                    <a:cubicBezTo>
                      <a:pt x="1282" y="3354"/>
                      <a:pt x="1269" y="3360"/>
                      <a:pt x="1268" y="3357"/>
                    </a:cubicBezTo>
                    <a:close/>
                    <a:moveTo>
                      <a:pt x="1246" y="3475"/>
                    </a:moveTo>
                    <a:cubicBezTo>
                      <a:pt x="1246" y="3466"/>
                      <a:pt x="1246" y="3466"/>
                      <a:pt x="1246" y="3466"/>
                    </a:cubicBezTo>
                    <a:cubicBezTo>
                      <a:pt x="1245" y="3470"/>
                      <a:pt x="1235" y="3479"/>
                      <a:pt x="1239" y="3485"/>
                    </a:cubicBezTo>
                    <a:cubicBezTo>
                      <a:pt x="1243" y="3492"/>
                      <a:pt x="1246" y="3475"/>
                      <a:pt x="1246" y="3475"/>
                    </a:cubicBezTo>
                    <a:close/>
                    <a:moveTo>
                      <a:pt x="1264" y="3453"/>
                    </a:moveTo>
                    <a:cubicBezTo>
                      <a:pt x="1263" y="3443"/>
                      <a:pt x="1256" y="3469"/>
                      <a:pt x="1256" y="3469"/>
                    </a:cubicBezTo>
                    <a:cubicBezTo>
                      <a:pt x="1256" y="3469"/>
                      <a:pt x="1265" y="3462"/>
                      <a:pt x="1264" y="3453"/>
                    </a:cubicBezTo>
                    <a:close/>
                    <a:moveTo>
                      <a:pt x="1278" y="3469"/>
                    </a:moveTo>
                    <a:cubicBezTo>
                      <a:pt x="1279" y="3476"/>
                      <a:pt x="1279" y="3476"/>
                      <a:pt x="1279" y="3476"/>
                    </a:cubicBezTo>
                    <a:cubicBezTo>
                      <a:pt x="1285" y="3467"/>
                      <a:pt x="1285" y="3467"/>
                      <a:pt x="1285" y="3467"/>
                    </a:cubicBezTo>
                    <a:lnTo>
                      <a:pt x="1278" y="3469"/>
                    </a:lnTo>
                    <a:close/>
                  </a:path>
                </a:pathLst>
              </a:custGeom>
              <a:blipFill dpi="0" rotWithShape="1">
                <a:blip r:embed="rId4"/>
                <a:srcRect/>
                <a:stretch>
                  <a:fillRect/>
                </a:stretch>
              </a:blipFill>
              <a:ln w="6350" cap="flat" cmpd="sng">
                <a:solidFill>
                  <a:schemeClr val="bg1"/>
                </a:solidFill>
                <a:prstDash val="solid"/>
                <a:round/>
                <a:headEnd type="none" w="med" len="med"/>
                <a:tailEnd type="none" w="med" len="med"/>
              </a:ln>
              <a:effectLst>
                <a:outerShdw dist="63500" dir="2212194" algn="ctr" rotWithShape="0">
                  <a:srgbClr val="808080"/>
                </a:outerShdw>
                <a:reflection blurRad="6350" stA="52000" endA="300" endPos="35000" dir="5400000" sy="-100000" algn="bl" rotWithShape="0"/>
              </a:effectLst>
            </p:spPr>
            <p:txBody>
              <a:bodyPr/>
              <a:lstStyle/>
              <a:p>
                <a:endParaRPr lang="en-US"/>
              </a:p>
            </p:txBody>
          </p:sp>
        </p:grpSp>
        <p:pic>
          <p:nvPicPr>
            <p:cNvPr id="121" name="Picture 2"/>
            <p:cNvPicPr>
              <a:picLocks noChangeAspect="1" noChangeArrowheads="1"/>
            </p:cNvPicPr>
            <p:nvPr/>
          </p:nvPicPr>
          <p:blipFill>
            <a:blip r:embed="rId5"/>
            <a:srcRect/>
            <a:stretch>
              <a:fillRect/>
            </a:stretch>
          </p:blipFill>
          <p:spPr bwMode="auto">
            <a:xfrm>
              <a:off x="5901503" y="2608317"/>
              <a:ext cx="3006000" cy="1908694"/>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sp>
          <p:nvSpPr>
            <p:cNvPr id="53" name="Rechteck 52"/>
            <p:cNvSpPr/>
            <p:nvPr/>
          </p:nvSpPr>
          <p:spPr>
            <a:xfrm>
              <a:off x="6431423" y="2076449"/>
              <a:ext cx="521827" cy="169871"/>
            </a:xfrm>
            <a:prstGeom prst="rect">
              <a:avLst/>
            </a:prstGeom>
            <a:solidFill>
              <a:schemeClr val="bg1">
                <a:alpha val="0"/>
              </a:schemeClr>
            </a:solid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sp>
          <p:nvSpPr>
            <p:cNvPr id="54" name="Rechteck 53"/>
            <p:cNvSpPr/>
            <p:nvPr/>
          </p:nvSpPr>
          <p:spPr>
            <a:xfrm>
              <a:off x="6264279" y="1608390"/>
              <a:ext cx="165100" cy="160338"/>
            </a:xfrm>
            <a:prstGeom prst="rect">
              <a:avLst/>
            </a:prstGeom>
            <a:solidFill>
              <a:schemeClr val="bg1">
                <a:alpha val="0"/>
              </a:schemeClr>
            </a:solid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sp>
          <p:nvSpPr>
            <p:cNvPr id="55" name="Rechteck 54"/>
            <p:cNvSpPr/>
            <p:nvPr/>
          </p:nvSpPr>
          <p:spPr>
            <a:xfrm>
              <a:off x="8158878" y="4367676"/>
              <a:ext cx="376909" cy="92193"/>
            </a:xfrm>
            <a:prstGeom prst="rect">
              <a:avLst/>
            </a:prstGeom>
            <a:solidFill>
              <a:schemeClr val="bg1">
                <a:alpha val="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pic>
          <p:nvPicPr>
            <p:cNvPr id="1027" name="Picture 3"/>
            <p:cNvPicPr>
              <a:picLocks noChangeAspect="1" noChangeArrowheads="1"/>
            </p:cNvPicPr>
            <p:nvPr/>
          </p:nvPicPr>
          <p:blipFill>
            <a:blip r:embed="rId6"/>
            <a:srcRect/>
            <a:stretch>
              <a:fillRect/>
            </a:stretch>
          </p:blipFill>
          <p:spPr bwMode="auto">
            <a:xfrm>
              <a:off x="3338730" y="1560513"/>
              <a:ext cx="1487741" cy="2227262"/>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grpSp>
      <p:grpSp>
        <p:nvGrpSpPr>
          <p:cNvPr id="37" name="Gruppieren 137"/>
          <p:cNvGrpSpPr/>
          <p:nvPr/>
        </p:nvGrpSpPr>
        <p:grpSpPr>
          <a:xfrm>
            <a:off x="2916829" y="1629707"/>
            <a:ext cx="347663" cy="338138"/>
            <a:chOff x="203518" y="4378643"/>
            <a:chExt cx="347663" cy="338138"/>
          </a:xfrm>
        </p:grpSpPr>
        <p:pic>
          <p:nvPicPr>
            <p:cNvPr id="38" name="Grafik 37" descr="schatten.png"/>
            <p:cNvPicPr>
              <a:picLocks noChangeAspect="1"/>
            </p:cNvPicPr>
            <p:nvPr/>
          </p:nvPicPr>
          <p:blipFill>
            <a:blip r:embed="rId7" cstate="print">
              <a:lum bright="30000"/>
            </a:blip>
            <a:srcRect l="17603" t="9404" r="15359" b="14528"/>
            <a:stretch>
              <a:fillRect/>
            </a:stretch>
          </p:blipFill>
          <p:spPr>
            <a:xfrm>
              <a:off x="203518" y="4378643"/>
              <a:ext cx="347663" cy="338138"/>
            </a:xfrm>
            <a:prstGeom prst="rect">
              <a:avLst/>
            </a:prstGeom>
          </p:spPr>
        </p:pic>
        <p:sp>
          <p:nvSpPr>
            <p:cNvPr id="39"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grpSp>
        <p:nvGrpSpPr>
          <p:cNvPr id="43" name="Gruppieren 144"/>
          <p:cNvGrpSpPr/>
          <p:nvPr/>
        </p:nvGrpSpPr>
        <p:grpSpPr>
          <a:xfrm>
            <a:off x="5205557" y="1058726"/>
            <a:ext cx="347663" cy="338138"/>
            <a:chOff x="203518" y="5554980"/>
            <a:chExt cx="347663" cy="338138"/>
          </a:xfrm>
        </p:grpSpPr>
        <p:pic>
          <p:nvPicPr>
            <p:cNvPr id="44" name="Grafik 43" descr="schatten.png"/>
            <p:cNvPicPr>
              <a:picLocks noChangeAspect="1"/>
            </p:cNvPicPr>
            <p:nvPr/>
          </p:nvPicPr>
          <p:blipFill>
            <a:blip r:embed="rId7" cstate="print">
              <a:lum bright="30000"/>
            </a:blip>
            <a:srcRect l="17603" t="9404" r="15359" b="14528"/>
            <a:stretch>
              <a:fillRect/>
            </a:stretch>
          </p:blipFill>
          <p:spPr>
            <a:xfrm>
              <a:off x="203518" y="5554980"/>
              <a:ext cx="347663" cy="338138"/>
            </a:xfrm>
            <a:prstGeom prst="rect">
              <a:avLst/>
            </a:prstGeom>
          </p:spPr>
        </p:pic>
        <p:sp>
          <p:nvSpPr>
            <p:cNvPr id="45"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47" name="Gruppieren 111"/>
          <p:cNvGrpSpPr/>
          <p:nvPr/>
        </p:nvGrpSpPr>
        <p:grpSpPr>
          <a:xfrm>
            <a:off x="203518" y="4966018"/>
            <a:ext cx="347663" cy="338138"/>
            <a:chOff x="203518" y="4966018"/>
            <a:chExt cx="347663" cy="338138"/>
          </a:xfrm>
        </p:grpSpPr>
        <p:pic>
          <p:nvPicPr>
            <p:cNvPr id="48" name="Grafik 47" descr="schatten.png"/>
            <p:cNvPicPr>
              <a:picLocks noChangeAspect="1"/>
            </p:cNvPicPr>
            <p:nvPr/>
          </p:nvPicPr>
          <p:blipFill>
            <a:blip r:embed="rId7" cstate="print">
              <a:lum bright="30000"/>
            </a:blip>
            <a:srcRect l="17603" t="9404" r="15359" b="14528"/>
            <a:stretch>
              <a:fillRect/>
            </a:stretch>
          </p:blipFill>
          <p:spPr>
            <a:xfrm>
              <a:off x="203518" y="4966018"/>
              <a:ext cx="347663" cy="338138"/>
            </a:xfrm>
            <a:prstGeom prst="rect">
              <a:avLst/>
            </a:prstGeom>
          </p:spPr>
        </p:pic>
        <p:sp>
          <p:nvSpPr>
            <p:cNvPr id="49"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50" name="Gruppieren 115"/>
          <p:cNvGrpSpPr/>
          <p:nvPr/>
        </p:nvGrpSpPr>
        <p:grpSpPr>
          <a:xfrm>
            <a:off x="203518" y="5530850"/>
            <a:ext cx="347663" cy="338138"/>
            <a:chOff x="203518" y="5554980"/>
            <a:chExt cx="347663" cy="338138"/>
          </a:xfrm>
        </p:grpSpPr>
        <p:pic>
          <p:nvPicPr>
            <p:cNvPr id="51" name="Grafik 50" descr="schatten.png"/>
            <p:cNvPicPr>
              <a:picLocks noChangeAspect="1"/>
            </p:cNvPicPr>
            <p:nvPr/>
          </p:nvPicPr>
          <p:blipFill>
            <a:blip r:embed="rId7" cstate="print">
              <a:lum bright="30000"/>
            </a:blip>
            <a:srcRect l="17603" t="9404" r="15359" b="14528"/>
            <a:stretch>
              <a:fillRect/>
            </a:stretch>
          </p:blipFill>
          <p:spPr>
            <a:xfrm>
              <a:off x="203518" y="5554980"/>
              <a:ext cx="347663" cy="338138"/>
            </a:xfrm>
            <a:prstGeom prst="rect">
              <a:avLst/>
            </a:prstGeom>
          </p:spPr>
        </p:pic>
        <p:sp>
          <p:nvSpPr>
            <p:cNvPr id="52"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sp>
        <p:nvSpPr>
          <p:cNvPr id="82" name="Rectangle 5"/>
          <p:cNvSpPr>
            <a:spLocks noChangeArrowheads="1"/>
          </p:cNvSpPr>
          <p:nvPr/>
        </p:nvSpPr>
        <p:spPr bwMode="gray">
          <a:xfrm>
            <a:off x="639763" y="4966018"/>
            <a:ext cx="8251825" cy="422275"/>
          </a:xfrm>
          <a:prstGeom prst="rect">
            <a:avLst/>
          </a:prstGeom>
          <a:noFill/>
          <a:ln w="12700">
            <a:noFill/>
            <a:miter lim="800000"/>
            <a:headEnd/>
            <a:tailEnd/>
          </a:ln>
        </p:spPr>
        <p:txBody>
          <a:bodyPr lIns="0" tIns="0" rIns="0" bIns="0"/>
          <a:lstStyle/>
          <a:p>
            <a:r>
              <a:rPr lang="en-US" sz="1200" dirty="0" smtClean="0">
                <a:solidFill>
                  <a:srgbClr val="000000"/>
                </a:solidFill>
                <a:latin typeface="Myriad Pro" pitchFamily="34" charset="0"/>
                <a:ea typeface="Arial Unicode MS" pitchFamily="34" charset="-128"/>
                <a:cs typeface="Arial" charset="0"/>
              </a:rPr>
              <a:t>In </a:t>
            </a:r>
            <a:r>
              <a:rPr lang="en-US" sz="1200" dirty="0" err="1" smtClean="0">
                <a:solidFill>
                  <a:srgbClr val="000000"/>
                </a:solidFill>
                <a:latin typeface="Myriad Pro" pitchFamily="34" charset="0"/>
                <a:ea typeface="Arial Unicode MS" pitchFamily="34" charset="-128"/>
                <a:cs typeface="Arial" charset="0"/>
              </a:rPr>
              <a:t>dem</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erscheinend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Menü</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wähl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den </a:t>
            </a:r>
            <a:r>
              <a:rPr lang="en-US" sz="1200" dirty="0" err="1" smtClean="0">
                <a:solidFill>
                  <a:srgbClr val="000000"/>
                </a:solidFill>
                <a:latin typeface="Myriad Pro" pitchFamily="34" charset="0"/>
                <a:ea typeface="Arial Unicode MS" pitchFamily="34" charset="-128"/>
                <a:cs typeface="Arial" charset="0"/>
              </a:rPr>
              <a:t>Punkt</a:t>
            </a:r>
            <a:r>
              <a:rPr lang="en-US" sz="1200" dirty="0" smtClean="0">
                <a:solidFill>
                  <a:srgbClr val="000000"/>
                </a:solidFill>
                <a:latin typeface="Myriad Pro" pitchFamily="34" charset="0"/>
                <a:ea typeface="Arial Unicode MS" pitchFamily="34" charset="-128"/>
                <a:cs typeface="Arial" charset="0"/>
              </a:rPr>
              <a:t> “Grafik </a:t>
            </a:r>
            <a:r>
              <a:rPr lang="en-US" sz="1200" dirty="0" err="1" smtClean="0">
                <a:solidFill>
                  <a:srgbClr val="000000"/>
                </a:solidFill>
                <a:latin typeface="Myriad Pro" pitchFamily="34" charset="0"/>
                <a:ea typeface="Arial Unicode MS" pitchFamily="34" charset="-128"/>
                <a:cs typeface="Arial" charset="0"/>
              </a:rPr>
              <a:t>formatieren</a:t>
            </a:r>
            <a:r>
              <a:rPr lang="en-US" sz="1200" dirty="0" smtClean="0">
                <a:solidFill>
                  <a:srgbClr val="000000"/>
                </a:solidFill>
                <a:latin typeface="Myriad Pro" pitchFamily="34" charset="0"/>
                <a:ea typeface="Arial Unicode MS" pitchFamily="34" charset="-128"/>
                <a:cs typeface="Arial" charset="0"/>
              </a:rPr>
              <a:t>…”</a:t>
            </a:r>
            <a:endParaRPr lang="en-US" dirty="0">
              <a:solidFill>
                <a:srgbClr val="000000"/>
              </a:solidFill>
              <a:ea typeface="Arial Unicode MS" pitchFamily="34" charset="-128"/>
              <a:cs typeface="Arial" charset="0"/>
            </a:endParaRPr>
          </a:p>
        </p:txBody>
      </p:sp>
      <p:sp>
        <p:nvSpPr>
          <p:cNvPr id="83" name="Rectangle 5"/>
          <p:cNvSpPr>
            <a:spLocks noChangeArrowheads="1"/>
          </p:cNvSpPr>
          <p:nvPr/>
        </p:nvSpPr>
        <p:spPr bwMode="gray">
          <a:xfrm>
            <a:off x="639763" y="5530850"/>
            <a:ext cx="8251825" cy="423863"/>
          </a:xfrm>
          <a:prstGeom prst="rect">
            <a:avLst/>
          </a:prstGeom>
          <a:noFill/>
          <a:ln w="12700">
            <a:noFill/>
            <a:miter lim="800000"/>
            <a:headEnd/>
            <a:tailEnd/>
          </a:ln>
        </p:spPr>
        <p:txBody>
          <a:bodyPr lIns="0" tIns="0" rIns="0" bIns="0"/>
          <a:lstStyle/>
          <a:p>
            <a:r>
              <a:rPr lang="en-US" sz="1200" dirty="0" err="1" smtClean="0">
                <a:solidFill>
                  <a:srgbClr val="000000"/>
                </a:solidFill>
                <a:latin typeface="Myriad Pro" pitchFamily="34" charset="0"/>
                <a:ea typeface="Arial Unicode MS" pitchFamily="34" charset="-128"/>
                <a:cs typeface="Arial" charset="0"/>
              </a:rPr>
              <a:t>Klick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nun auf “</a:t>
            </a:r>
            <a:r>
              <a:rPr lang="en-US" sz="1200" dirty="0" err="1" smtClean="0">
                <a:solidFill>
                  <a:srgbClr val="000000"/>
                </a:solidFill>
                <a:latin typeface="Myriad Pro" pitchFamily="34" charset="0"/>
                <a:ea typeface="Arial Unicode MS" pitchFamily="34" charset="-128"/>
                <a:cs typeface="Arial" charset="0"/>
              </a:rPr>
              <a:t>Füllung</a:t>
            </a:r>
            <a:r>
              <a:rPr lang="en-US" sz="1200" dirty="0" smtClean="0">
                <a:solidFill>
                  <a:srgbClr val="000000"/>
                </a:solidFill>
                <a:latin typeface="Myriad Pro" pitchFamily="34" charset="0"/>
                <a:ea typeface="Arial Unicode MS" pitchFamily="34" charset="-128"/>
                <a:cs typeface="Arial" charset="0"/>
              </a:rPr>
              <a:t>” . </a:t>
            </a:r>
            <a:r>
              <a:rPr lang="en-US" sz="1200" dirty="0" err="1" smtClean="0">
                <a:solidFill>
                  <a:srgbClr val="000000"/>
                </a:solidFill>
                <a:latin typeface="Myriad Pro" pitchFamily="34" charset="0"/>
                <a:ea typeface="Arial Unicode MS" pitchFamily="34" charset="-128"/>
                <a:cs typeface="Arial" charset="0"/>
              </a:rPr>
              <a:t>Als</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nächstes</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wähl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unter</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dem</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Punkt</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Bild</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oder</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Texturfüllung</a:t>
            </a:r>
            <a:r>
              <a:rPr lang="en-US" sz="1200" dirty="0" smtClean="0">
                <a:solidFill>
                  <a:srgbClr val="000000"/>
                </a:solidFill>
                <a:latin typeface="Myriad Pro" pitchFamily="34" charset="0"/>
                <a:ea typeface="Arial Unicode MS" pitchFamily="34" charset="-128"/>
                <a:cs typeface="Arial" charset="0"/>
              </a:rPr>
              <a:t>” die </a:t>
            </a:r>
            <a:r>
              <a:rPr lang="en-US" sz="1200" dirty="0" err="1" smtClean="0">
                <a:solidFill>
                  <a:srgbClr val="000000"/>
                </a:solidFill>
                <a:latin typeface="Myriad Pro" pitchFamily="34" charset="0"/>
                <a:ea typeface="Arial Unicode MS" pitchFamily="34" charset="-128"/>
                <a:cs typeface="Arial" charset="0"/>
              </a:rPr>
              <a:t>Funktio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Datei</a:t>
            </a:r>
            <a:r>
              <a:rPr lang="en-US" sz="1200" dirty="0" smtClean="0">
                <a:solidFill>
                  <a:srgbClr val="000000"/>
                </a:solidFill>
                <a:latin typeface="Myriad Pro" pitchFamily="34" charset="0"/>
                <a:ea typeface="Arial Unicode MS" pitchFamily="34" charset="-128"/>
                <a:cs typeface="Arial" charset="0"/>
              </a:rPr>
              <a:t>… “. </a:t>
            </a:r>
            <a:r>
              <a:rPr lang="en-US" sz="1200" dirty="0" err="1" smtClean="0">
                <a:solidFill>
                  <a:srgbClr val="000000"/>
                </a:solidFill>
                <a:latin typeface="Myriad Pro" pitchFamily="34" charset="0"/>
                <a:ea typeface="Arial Unicode MS" pitchFamily="34" charset="-128"/>
                <a:cs typeface="Arial" charset="0"/>
              </a:rPr>
              <a:t>Hier</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könn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ei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Bild</a:t>
            </a:r>
            <a:r>
              <a:rPr lang="en-US" sz="1200" dirty="0" smtClean="0">
                <a:solidFill>
                  <a:srgbClr val="000000"/>
                </a:solidFill>
                <a:latin typeface="Myriad Pro" pitchFamily="34" charset="0"/>
                <a:ea typeface="Arial Unicode MS" pitchFamily="34" charset="-128"/>
                <a:cs typeface="Arial" charset="0"/>
              </a:rPr>
              <a:t> von </a:t>
            </a:r>
            <a:r>
              <a:rPr lang="en-US" sz="1200" dirty="0" err="1" smtClean="0">
                <a:solidFill>
                  <a:srgbClr val="000000"/>
                </a:solidFill>
                <a:latin typeface="Myriad Pro" pitchFamily="34" charset="0"/>
                <a:ea typeface="Arial Unicode MS" pitchFamily="34" charset="-128"/>
                <a:cs typeface="Arial" charset="0"/>
              </a:rPr>
              <a:t>Ihrem</a:t>
            </a:r>
            <a:r>
              <a:rPr lang="en-US" sz="1200" dirty="0" smtClean="0">
                <a:solidFill>
                  <a:srgbClr val="000000"/>
                </a:solidFill>
                <a:latin typeface="Myriad Pro" pitchFamily="34" charset="0"/>
                <a:ea typeface="Arial Unicode MS" pitchFamily="34" charset="-128"/>
                <a:cs typeface="Arial" charset="0"/>
              </a:rPr>
              <a:t> Computer </a:t>
            </a:r>
            <a:r>
              <a:rPr lang="en-US" sz="1200" dirty="0" err="1" smtClean="0">
                <a:solidFill>
                  <a:srgbClr val="000000"/>
                </a:solidFill>
                <a:latin typeface="Myriad Pro" pitchFamily="34" charset="0"/>
                <a:ea typeface="Arial Unicode MS" pitchFamily="34" charset="-128"/>
                <a:cs typeface="Arial" charset="0"/>
              </a:rPr>
              <a:t>auswählen</a:t>
            </a:r>
            <a:r>
              <a:rPr lang="en-US" sz="1200" dirty="0" smtClean="0">
                <a:solidFill>
                  <a:srgbClr val="000000"/>
                </a:solidFill>
                <a:latin typeface="Myriad Pro" pitchFamily="34" charset="0"/>
                <a:ea typeface="Arial Unicode MS" pitchFamily="34" charset="-128"/>
                <a:cs typeface="Arial" charset="0"/>
              </a:rPr>
              <a:t>.</a:t>
            </a:r>
            <a:endParaRPr lang="de-DE" sz="1200" dirty="0" smtClean="0">
              <a:solidFill>
                <a:srgbClr val="000000"/>
              </a:solidFill>
              <a:latin typeface="Myriad Pro" pitchFamily="34" charset="0"/>
              <a:ea typeface="Arial Unicode MS" pitchFamily="34" charset="-128"/>
              <a:cs typeface="Arial" charset="0"/>
            </a:endParaRPr>
          </a:p>
        </p:txBody>
      </p:sp>
      <p:sp>
        <p:nvSpPr>
          <p:cNvPr id="111" name="Rectangle 5"/>
          <p:cNvSpPr>
            <a:spLocks noChangeArrowheads="1"/>
          </p:cNvSpPr>
          <p:nvPr/>
        </p:nvSpPr>
        <p:spPr bwMode="gray">
          <a:xfrm>
            <a:off x="639763" y="4378643"/>
            <a:ext cx="8251825" cy="423863"/>
          </a:xfrm>
          <a:prstGeom prst="rect">
            <a:avLst/>
          </a:prstGeom>
          <a:noFill/>
          <a:ln w="12700">
            <a:noFill/>
            <a:miter lim="800000"/>
            <a:headEnd/>
            <a:tailEnd/>
          </a:ln>
        </p:spPr>
        <p:txBody>
          <a:bodyPr lIns="0" tIns="0" rIns="0" bIns="0"/>
          <a:lstStyle/>
          <a:p>
            <a:r>
              <a:rPr lang="en-US" sz="1200" dirty="0" err="1" smtClean="0">
                <a:latin typeface="Myriad Pro" pitchFamily="34" charset="0"/>
                <a:ea typeface="Arial Unicode MS" pitchFamily="34" charset="-128"/>
                <a:cs typeface="Arial" charset="0"/>
              </a:rPr>
              <a:t>Klicken</a:t>
            </a:r>
            <a:r>
              <a:rPr lang="en-US" sz="1200" dirty="0" smtClean="0">
                <a:latin typeface="Myriad Pro" pitchFamily="34" charset="0"/>
                <a:ea typeface="Arial Unicode MS" pitchFamily="34" charset="-128"/>
                <a:cs typeface="Arial" charset="0"/>
              </a:rPr>
              <a:t> </a:t>
            </a:r>
            <a:r>
              <a:rPr lang="en-US" sz="1200" dirty="0" err="1" smtClean="0">
                <a:latin typeface="Myriad Pro" pitchFamily="34" charset="0"/>
                <a:ea typeface="Arial Unicode MS" pitchFamily="34" charset="-128"/>
                <a:cs typeface="Arial" charset="0"/>
              </a:rPr>
              <a:t>Sie</a:t>
            </a:r>
            <a:r>
              <a:rPr lang="en-US" sz="1200" dirty="0" smtClean="0">
                <a:latin typeface="Myriad Pro" pitchFamily="34" charset="0"/>
                <a:ea typeface="Arial Unicode MS" pitchFamily="34" charset="-128"/>
                <a:cs typeface="Arial" charset="0"/>
              </a:rPr>
              <a:t> </a:t>
            </a:r>
            <a:r>
              <a:rPr lang="en-US" sz="1200" dirty="0" err="1" smtClean="0">
                <a:latin typeface="Myriad Pro" pitchFamily="34" charset="0"/>
                <a:ea typeface="Arial Unicode MS" pitchFamily="34" charset="-128"/>
                <a:cs typeface="Arial" charset="0"/>
              </a:rPr>
              <a:t>mit</a:t>
            </a:r>
            <a:r>
              <a:rPr lang="en-US" sz="1200" dirty="0" smtClean="0">
                <a:latin typeface="Myriad Pro" pitchFamily="34" charset="0"/>
                <a:ea typeface="Arial Unicode MS" pitchFamily="34" charset="-128"/>
                <a:cs typeface="Arial" charset="0"/>
              </a:rPr>
              <a:t> der </a:t>
            </a:r>
            <a:r>
              <a:rPr lang="en-US" sz="1200" dirty="0" err="1" smtClean="0">
                <a:latin typeface="Myriad Pro" pitchFamily="34" charset="0"/>
                <a:ea typeface="Arial Unicode MS" pitchFamily="34" charset="-128"/>
                <a:cs typeface="Arial" charset="0"/>
              </a:rPr>
              <a:t>rechten</a:t>
            </a:r>
            <a:r>
              <a:rPr lang="en-US" sz="1200" dirty="0" smtClean="0">
                <a:latin typeface="Myriad Pro" pitchFamily="34" charset="0"/>
                <a:ea typeface="Arial Unicode MS" pitchFamily="34" charset="-128"/>
                <a:cs typeface="Arial" charset="0"/>
              </a:rPr>
              <a:t> </a:t>
            </a:r>
            <a:r>
              <a:rPr lang="en-US" sz="1200" dirty="0" err="1" smtClean="0">
                <a:latin typeface="Myriad Pro" pitchFamily="34" charset="0"/>
                <a:ea typeface="Arial Unicode MS" pitchFamily="34" charset="-128"/>
                <a:cs typeface="Arial" charset="0"/>
              </a:rPr>
              <a:t>Maustaste</a:t>
            </a:r>
            <a:r>
              <a:rPr lang="en-US" sz="1200" dirty="0" smtClean="0">
                <a:latin typeface="Myriad Pro" pitchFamily="34" charset="0"/>
                <a:ea typeface="Arial Unicode MS" pitchFamily="34" charset="-128"/>
                <a:cs typeface="Arial" charset="0"/>
              </a:rPr>
              <a:t> auf die </a:t>
            </a:r>
            <a:r>
              <a:rPr lang="en-US" sz="1200" dirty="0" err="1" smtClean="0">
                <a:latin typeface="Myriad Pro" pitchFamily="34" charset="0"/>
                <a:ea typeface="Arial Unicode MS" pitchFamily="34" charset="-128"/>
                <a:cs typeface="Arial" charset="0"/>
              </a:rPr>
              <a:t>Karte</a:t>
            </a:r>
            <a:r>
              <a:rPr lang="en-US" sz="1200" dirty="0" smtClean="0">
                <a:latin typeface="Myriad Pro" pitchFamily="34" charset="0"/>
                <a:ea typeface="Arial Unicode MS" pitchFamily="34" charset="-128"/>
                <a:cs typeface="Arial" charset="0"/>
              </a:rPr>
              <a:t>.</a:t>
            </a:r>
          </a:p>
        </p:txBody>
      </p:sp>
      <p:grpSp>
        <p:nvGrpSpPr>
          <p:cNvPr id="112" name="Gruppieren 108"/>
          <p:cNvGrpSpPr/>
          <p:nvPr/>
        </p:nvGrpSpPr>
        <p:grpSpPr>
          <a:xfrm>
            <a:off x="203518" y="4378643"/>
            <a:ext cx="347663" cy="338138"/>
            <a:chOff x="203518" y="4378643"/>
            <a:chExt cx="347663" cy="338138"/>
          </a:xfrm>
        </p:grpSpPr>
        <p:pic>
          <p:nvPicPr>
            <p:cNvPr id="113" name="Grafik 112" descr="schatten.png"/>
            <p:cNvPicPr>
              <a:picLocks noChangeAspect="1"/>
            </p:cNvPicPr>
            <p:nvPr/>
          </p:nvPicPr>
          <p:blipFill>
            <a:blip r:embed="rId7" cstate="print">
              <a:lum bright="30000"/>
            </a:blip>
            <a:srcRect l="17603" t="9404" r="15359" b="14528"/>
            <a:stretch>
              <a:fillRect/>
            </a:stretch>
          </p:blipFill>
          <p:spPr>
            <a:xfrm>
              <a:off x="203518" y="4378643"/>
              <a:ext cx="347663" cy="338138"/>
            </a:xfrm>
            <a:prstGeom prst="rect">
              <a:avLst/>
            </a:prstGeom>
          </p:spPr>
        </p:pic>
        <p:sp>
          <p:nvSpPr>
            <p:cNvPr id="114"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115"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2800" kern="0" dirty="0" smtClean="0">
                <a:solidFill>
                  <a:schemeClr val="tx2"/>
                </a:solidFill>
                <a:latin typeface="Myriad Pro" pitchFamily="34" charset="0"/>
                <a:ea typeface="+mj-ea"/>
                <a:cs typeface="+mj-cs"/>
              </a:rPr>
              <a:t>Bilder in Länderkonturen einfügen</a:t>
            </a:r>
            <a:endParaRPr kumimoji="0" lang="de-DE" sz="2800" b="0" i="0" u="none" strike="noStrike" kern="0" cap="none" spc="0" normalizeH="0" baseline="0" noProof="0" dirty="0" smtClean="0">
              <a:ln>
                <a:noFill/>
              </a:ln>
              <a:solidFill>
                <a:schemeClr val="tx2"/>
              </a:solidFill>
              <a:effectLst/>
              <a:uLnTx/>
              <a:uFillTx/>
              <a:latin typeface="Myriad Pro" pitchFamily="34" charset="0"/>
              <a:ea typeface="+mj-ea"/>
              <a:cs typeface="+mj-cs"/>
            </a:endParaRPr>
          </a:p>
        </p:txBody>
      </p:sp>
      <p:sp>
        <p:nvSpPr>
          <p:cNvPr id="23" name="Rechteck 22"/>
          <p:cNvSpPr/>
          <p:nvPr/>
        </p:nvSpPr>
        <p:spPr>
          <a:xfrm>
            <a:off x="3338731" y="3580575"/>
            <a:ext cx="1488412" cy="207200"/>
          </a:xfrm>
          <a:prstGeom prst="rect">
            <a:avLst/>
          </a:prstGeom>
          <a:solidFill>
            <a:schemeClr val="bg1">
              <a:alpha val="0"/>
            </a:schemeClr>
          </a:solid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nvGrpSpPr>
          <p:cNvPr id="88" name="Group 87"/>
          <p:cNvGrpSpPr/>
          <p:nvPr/>
        </p:nvGrpSpPr>
        <p:grpSpPr>
          <a:xfrm>
            <a:off x="2541850" y="2099530"/>
            <a:ext cx="6196795" cy="2887168"/>
            <a:chOff x="2541850" y="2099530"/>
            <a:chExt cx="6196795" cy="2887168"/>
          </a:xfrm>
        </p:grpSpPr>
        <p:grpSp>
          <p:nvGrpSpPr>
            <p:cNvPr id="10" name="Group 45"/>
            <p:cNvGrpSpPr>
              <a:grpSpLocks/>
            </p:cNvGrpSpPr>
            <p:nvPr/>
          </p:nvGrpSpPr>
          <p:grpSpPr bwMode="auto">
            <a:xfrm rot="20287264">
              <a:off x="2541850" y="3724909"/>
              <a:ext cx="374650" cy="609600"/>
              <a:chOff x="1950" y="1045"/>
              <a:chExt cx="568" cy="928"/>
            </a:xfrm>
          </p:grpSpPr>
          <p:sp>
            <p:nvSpPr>
              <p:cNvPr id="11"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12"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sp>
            <p:nvSpPr>
              <p:cNvPr id="13"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4"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15"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6"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7"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8"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9"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20"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21"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22"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grpSp>
        <p:grpSp>
          <p:nvGrpSpPr>
            <p:cNvPr id="56" name="Group 45"/>
            <p:cNvGrpSpPr>
              <a:grpSpLocks/>
            </p:cNvGrpSpPr>
            <p:nvPr/>
          </p:nvGrpSpPr>
          <p:grpSpPr bwMode="auto">
            <a:xfrm rot="-1312736">
              <a:off x="8363995" y="4377098"/>
              <a:ext cx="374650" cy="609600"/>
              <a:chOff x="1950" y="1045"/>
              <a:chExt cx="568" cy="928"/>
            </a:xfrm>
          </p:grpSpPr>
          <p:sp>
            <p:nvSpPr>
              <p:cNvPr id="57"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58"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59"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60"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61"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62"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63"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64"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65"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66"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67"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68"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69" name="Group 45"/>
            <p:cNvGrpSpPr>
              <a:grpSpLocks/>
            </p:cNvGrpSpPr>
            <p:nvPr/>
          </p:nvGrpSpPr>
          <p:grpSpPr bwMode="auto">
            <a:xfrm rot="-1312736">
              <a:off x="6911469" y="2099530"/>
              <a:ext cx="374650" cy="609600"/>
              <a:chOff x="1950" y="1045"/>
              <a:chExt cx="568" cy="928"/>
            </a:xfrm>
          </p:grpSpPr>
          <p:sp>
            <p:nvSpPr>
              <p:cNvPr id="70"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71"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72"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73"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74"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75"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76"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77"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78"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79"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80"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81"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24" name="Group 45"/>
            <p:cNvGrpSpPr>
              <a:grpSpLocks/>
            </p:cNvGrpSpPr>
            <p:nvPr/>
          </p:nvGrpSpPr>
          <p:grpSpPr bwMode="auto">
            <a:xfrm rot="-1312736">
              <a:off x="4672013" y="3691165"/>
              <a:ext cx="374650" cy="609600"/>
              <a:chOff x="1950" y="1045"/>
              <a:chExt cx="568" cy="928"/>
            </a:xfrm>
          </p:grpSpPr>
          <p:sp>
            <p:nvSpPr>
              <p:cNvPr id="25"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26"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27"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28"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29"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0"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31"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32"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33"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34"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35"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36"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grpSp>
        <p:nvGrpSpPr>
          <p:cNvPr id="89" name="Gruppieren 137"/>
          <p:cNvGrpSpPr/>
          <p:nvPr/>
        </p:nvGrpSpPr>
        <p:grpSpPr>
          <a:xfrm>
            <a:off x="594411" y="1629707"/>
            <a:ext cx="347663" cy="338138"/>
            <a:chOff x="203518" y="4378643"/>
            <a:chExt cx="347663" cy="338138"/>
          </a:xfrm>
        </p:grpSpPr>
        <p:pic>
          <p:nvPicPr>
            <p:cNvPr id="90" name="Grafik 89" descr="schatten.png"/>
            <p:cNvPicPr>
              <a:picLocks noChangeAspect="1"/>
            </p:cNvPicPr>
            <p:nvPr/>
          </p:nvPicPr>
          <p:blipFill>
            <a:blip r:embed="rId7" cstate="print">
              <a:lum bright="30000"/>
            </a:blip>
            <a:srcRect l="17603" t="9404" r="15359" b="14528"/>
            <a:stretch>
              <a:fillRect/>
            </a:stretch>
          </p:blipFill>
          <p:spPr>
            <a:xfrm>
              <a:off x="203518" y="4378643"/>
              <a:ext cx="347663" cy="338138"/>
            </a:xfrm>
            <a:prstGeom prst="rect">
              <a:avLst/>
            </a:prstGeom>
          </p:spPr>
        </p:pic>
        <p:sp>
          <p:nvSpPr>
            <p:cNvPr id="91"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1</a:t>
              </a:r>
              <a:endParaRPr lang="de-DE" sz="1600" b="1" noProof="1">
                <a:solidFill>
                  <a:schemeClr val="bg1"/>
                </a:solidFill>
                <a:latin typeface="Myriad Pro"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300"/>
                                        <p:tgtEl>
                                          <p:spTgt spid="37"/>
                                        </p:tgtEl>
                                      </p:cBhvr>
                                    </p:animEffect>
                                  </p:childTnLst>
                                </p:cTn>
                              </p:par>
                            </p:childTnLst>
                          </p:cTn>
                        </p:par>
                        <p:par>
                          <p:cTn id="8" fill="hold">
                            <p:stCondLst>
                              <p:cond delay="300"/>
                            </p:stCondLst>
                            <p:childTnLst>
                              <p:par>
                                <p:cTn id="9" presetID="10" presetClass="entr" presetSubtype="0" fill="hold" nodeType="afterEffect">
                                  <p:stCondLst>
                                    <p:cond delay="1000"/>
                                  </p:stCondLst>
                                  <p:childTnLst>
                                    <p:set>
                                      <p:cBhvr>
                                        <p:cTn id="10" dur="1" fill="hold">
                                          <p:stCondLst>
                                            <p:cond delay="0"/>
                                          </p:stCondLst>
                                        </p:cTn>
                                        <p:tgtEl>
                                          <p:spTgt spid="112"/>
                                        </p:tgtEl>
                                        <p:attrNameLst>
                                          <p:attrName>style.visibility</p:attrName>
                                        </p:attrNameLst>
                                      </p:cBhvr>
                                      <p:to>
                                        <p:strVal val="visible"/>
                                      </p:to>
                                    </p:set>
                                    <p:animEffect transition="in" filter="fade">
                                      <p:cBhvr>
                                        <p:cTn id="11" dur="300"/>
                                        <p:tgtEl>
                                          <p:spTgt spid="112"/>
                                        </p:tgtEl>
                                      </p:cBhvr>
                                    </p:animEffect>
                                  </p:childTnLst>
                                </p:cTn>
                              </p:par>
                            </p:childTnLst>
                          </p:cTn>
                        </p:par>
                        <p:par>
                          <p:cTn id="12" fill="hold">
                            <p:stCondLst>
                              <p:cond delay="1600"/>
                            </p:stCondLst>
                            <p:childTnLst>
                              <p:par>
                                <p:cTn id="13" presetID="10" presetClass="entr" presetSubtype="0" fill="hold" grpId="0" nodeType="afterEffect">
                                  <p:stCondLst>
                                    <p:cond delay="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300"/>
                                        <p:tgtEl>
                                          <p:spTgt spid="111"/>
                                        </p:tgtEl>
                                      </p:cBhvr>
                                    </p:animEffect>
                                  </p:childTnLst>
                                </p:cTn>
                              </p:par>
                            </p:childTnLst>
                          </p:cTn>
                        </p:par>
                        <p:par>
                          <p:cTn id="16" fill="hold">
                            <p:stCondLst>
                              <p:cond delay="1900"/>
                            </p:stCondLst>
                            <p:childTnLst>
                              <p:par>
                                <p:cTn id="17" presetID="10" presetClass="entr" presetSubtype="0" fill="hold" nodeType="afterEffect">
                                  <p:stCondLst>
                                    <p:cond delay="100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300"/>
                                        <p:tgtEl>
                                          <p:spTgt spid="47"/>
                                        </p:tgtEl>
                                      </p:cBhvr>
                                    </p:animEffect>
                                  </p:childTnLst>
                                </p:cTn>
                              </p:par>
                            </p:childTnLst>
                          </p:cTn>
                        </p:par>
                        <p:par>
                          <p:cTn id="20" fill="hold">
                            <p:stCondLst>
                              <p:cond delay="3200"/>
                            </p:stCondLst>
                            <p:childTnLst>
                              <p:par>
                                <p:cTn id="21" presetID="10" presetClass="entr" presetSubtype="0" fill="hold" grpId="0" nodeType="afterEffect">
                                  <p:stCondLst>
                                    <p:cond delay="0"/>
                                  </p:stCondLst>
                                  <p:childTnLst>
                                    <p:set>
                                      <p:cBhvr>
                                        <p:cTn id="22" dur="1" fill="hold">
                                          <p:stCondLst>
                                            <p:cond delay="0"/>
                                          </p:stCondLst>
                                        </p:cTn>
                                        <p:tgtEl>
                                          <p:spTgt spid="82"/>
                                        </p:tgtEl>
                                        <p:attrNameLst>
                                          <p:attrName>style.visibility</p:attrName>
                                        </p:attrNameLst>
                                      </p:cBhvr>
                                      <p:to>
                                        <p:strVal val="visible"/>
                                      </p:to>
                                    </p:set>
                                    <p:animEffect transition="in" filter="fade">
                                      <p:cBhvr>
                                        <p:cTn id="23" dur="300"/>
                                        <p:tgtEl>
                                          <p:spTgt spid="82"/>
                                        </p:tgtEl>
                                      </p:cBhvr>
                                    </p:animEffect>
                                  </p:childTnLst>
                                </p:cTn>
                              </p:par>
                            </p:childTnLst>
                          </p:cTn>
                        </p:par>
                        <p:par>
                          <p:cTn id="24" fill="hold">
                            <p:stCondLst>
                              <p:cond delay="3500"/>
                            </p:stCondLst>
                            <p:childTnLst>
                              <p:par>
                                <p:cTn id="25" presetID="10" presetClass="entr" presetSubtype="0" fill="hold" grpId="0"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300"/>
                                        <p:tgtEl>
                                          <p:spTgt spid="23"/>
                                        </p:tgtEl>
                                      </p:cBhvr>
                                    </p:animEffect>
                                  </p:childTnLst>
                                </p:cTn>
                              </p:par>
                            </p:childTnLst>
                          </p:cTn>
                        </p:par>
                        <p:par>
                          <p:cTn id="28" fill="hold">
                            <p:stCondLst>
                              <p:cond delay="3800"/>
                            </p:stCondLst>
                            <p:childTnLst>
                              <p:par>
                                <p:cTn id="29" presetID="10" presetClass="entr" presetSubtype="0" fill="hold" nodeType="afterEffect">
                                  <p:stCondLst>
                                    <p:cond delay="200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300"/>
                                        <p:tgtEl>
                                          <p:spTgt spid="43"/>
                                        </p:tgtEl>
                                      </p:cBhvr>
                                    </p:animEffect>
                                  </p:childTnLst>
                                </p:cTn>
                              </p:par>
                            </p:childTnLst>
                          </p:cTn>
                        </p:par>
                        <p:par>
                          <p:cTn id="32" fill="hold">
                            <p:stCondLst>
                              <p:cond delay="6100"/>
                            </p:stCondLst>
                            <p:childTnLst>
                              <p:par>
                                <p:cTn id="33" presetID="10" presetClass="entr" presetSubtype="0" fill="hold" nodeType="afterEffect">
                                  <p:stCondLst>
                                    <p:cond delay="100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300"/>
                                        <p:tgtEl>
                                          <p:spTgt spid="50"/>
                                        </p:tgtEl>
                                      </p:cBhvr>
                                    </p:animEffect>
                                  </p:childTnLst>
                                </p:cTn>
                              </p:par>
                            </p:childTnLst>
                          </p:cTn>
                        </p:par>
                        <p:par>
                          <p:cTn id="36" fill="hold">
                            <p:stCondLst>
                              <p:cond delay="7400"/>
                            </p:stCondLst>
                            <p:childTnLst>
                              <p:par>
                                <p:cTn id="37" presetID="10" presetClass="entr" presetSubtype="0" fill="hold" grpId="0" nodeType="afterEffect">
                                  <p:stCondLst>
                                    <p:cond delay="0"/>
                                  </p:stCondLst>
                                  <p:childTnLst>
                                    <p:set>
                                      <p:cBhvr>
                                        <p:cTn id="38" dur="1" fill="hold">
                                          <p:stCondLst>
                                            <p:cond delay="0"/>
                                          </p:stCondLst>
                                        </p:cTn>
                                        <p:tgtEl>
                                          <p:spTgt spid="83"/>
                                        </p:tgtEl>
                                        <p:attrNameLst>
                                          <p:attrName>style.visibility</p:attrName>
                                        </p:attrNameLst>
                                      </p:cBhvr>
                                      <p:to>
                                        <p:strVal val="visible"/>
                                      </p:to>
                                    </p:set>
                                    <p:animEffect transition="in" filter="fade">
                                      <p:cBhvr>
                                        <p:cTn id="39" dur="300"/>
                                        <p:tgtEl>
                                          <p:spTgt spid="83"/>
                                        </p:tgtEl>
                                      </p:cBhvr>
                                    </p:animEffect>
                                  </p:childTnLst>
                                </p:cTn>
                              </p:par>
                            </p:childTnLst>
                          </p:cTn>
                        </p:par>
                        <p:par>
                          <p:cTn id="40" fill="hold">
                            <p:stCondLst>
                              <p:cond delay="7700"/>
                            </p:stCondLst>
                            <p:childTnLst>
                              <p:par>
                                <p:cTn id="41" presetID="10" presetClass="entr" presetSubtype="0" fill="hold" nodeType="afterEffect">
                                  <p:stCondLst>
                                    <p:cond delay="0"/>
                                  </p:stCondLst>
                                  <p:childTnLst>
                                    <p:set>
                                      <p:cBhvr>
                                        <p:cTn id="42" dur="1" fill="hold">
                                          <p:stCondLst>
                                            <p:cond delay="0"/>
                                          </p:stCondLst>
                                        </p:cTn>
                                        <p:tgtEl>
                                          <p:spTgt spid="89"/>
                                        </p:tgtEl>
                                        <p:attrNameLst>
                                          <p:attrName>style.visibility</p:attrName>
                                        </p:attrNameLst>
                                      </p:cBhvr>
                                      <p:to>
                                        <p:strVal val="visible"/>
                                      </p:to>
                                    </p:set>
                                    <p:animEffect transition="in" filter="fade">
                                      <p:cBhvr>
                                        <p:cTn id="43" dur="3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83" grpId="0"/>
      <p:bldP spid="111" grpId="0"/>
      <p:bldP spid="2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18"/>
          <a:srcRect/>
          <a:stretch>
            <a:fillRect/>
          </a:stretch>
        </p:blipFill>
        <p:spPr bwMode="auto">
          <a:xfrm>
            <a:off x="-12700" y="305435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0" i="0" u="none" strike="noStrike" kern="0" cap="none" spc="0" normalizeH="0" baseline="0" noProof="0" dirty="0" smtClean="0">
                <a:ln>
                  <a:noFill/>
                </a:ln>
                <a:solidFill>
                  <a:schemeClr val="tx2"/>
                </a:solidFill>
                <a:effectLst/>
                <a:uLnTx/>
                <a:uFillTx/>
                <a:latin typeface="Myriad Pro" pitchFamily="34" charset="0"/>
                <a:ea typeface="+mj-ea"/>
                <a:cs typeface="+mj-cs"/>
              </a:rPr>
              <a:t>Pins </a:t>
            </a:r>
            <a:r>
              <a:rPr lang="de-DE" sz="2800" kern="0" dirty="0" smtClean="0">
                <a:solidFill>
                  <a:schemeClr val="tx2"/>
                </a:solidFill>
                <a:latin typeface="Myriad Pro" pitchFamily="34" charset="0"/>
                <a:ea typeface="+mj-ea"/>
                <a:cs typeface="+mj-cs"/>
              </a:rPr>
              <a:t>verwenden</a:t>
            </a:r>
          </a:p>
        </p:txBody>
      </p:sp>
      <p:sp>
        <p:nvSpPr>
          <p:cNvPr id="4" name="Textfeld 3"/>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7</a:t>
            </a:r>
            <a:endParaRPr lang="de-DE" sz="900" dirty="0">
              <a:solidFill>
                <a:schemeClr val="bg1">
                  <a:lumMod val="50000"/>
                </a:schemeClr>
              </a:solidFill>
            </a:endParaRPr>
          </a:p>
        </p:txBody>
      </p:sp>
      <p:grpSp>
        <p:nvGrpSpPr>
          <p:cNvPr id="8" name="Group 19"/>
          <p:cNvGrpSpPr>
            <a:grpSpLocks/>
          </p:cNvGrpSpPr>
          <p:nvPr/>
        </p:nvGrpSpPr>
        <p:grpSpPr bwMode="auto">
          <a:xfrm>
            <a:off x="5586300" y="626982"/>
            <a:ext cx="2678442" cy="3626574"/>
            <a:chOff x="670" y="640"/>
            <a:chExt cx="2195" cy="2972"/>
          </a:xfrm>
          <a:effectLst>
            <a:reflection blurRad="6350" stA="52000" endA="300" endPos="35000" dir="5400000" sy="-100000" algn="bl" rotWithShape="0"/>
          </a:effectLst>
        </p:grpSpPr>
        <p:sp>
          <p:nvSpPr>
            <p:cNvPr id="89"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0"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1"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2"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3"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4"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5"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6"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7"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8"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9"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0"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1"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2"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3"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15" name="Gruppieren 77"/>
          <p:cNvGrpSpPr/>
          <p:nvPr/>
        </p:nvGrpSpPr>
        <p:grpSpPr>
          <a:xfrm>
            <a:off x="5357348" y="735996"/>
            <a:ext cx="347663" cy="338138"/>
            <a:chOff x="203518" y="4966018"/>
            <a:chExt cx="347663" cy="338138"/>
          </a:xfrm>
        </p:grpSpPr>
        <p:pic>
          <p:nvPicPr>
            <p:cNvPr id="141" name="Grafik 140" descr="schatten.png"/>
            <p:cNvPicPr>
              <a:picLocks noChangeAspect="1"/>
            </p:cNvPicPr>
            <p:nvPr/>
          </p:nvPicPr>
          <p:blipFill>
            <a:blip r:embed="rId19" cstate="print">
              <a:lum bright="30000"/>
            </a:blip>
            <a:srcRect l="17603" t="9404" r="15359" b="14528"/>
            <a:stretch>
              <a:fillRect/>
            </a:stretch>
          </p:blipFill>
          <p:spPr>
            <a:xfrm>
              <a:off x="203518" y="4966018"/>
              <a:ext cx="347663" cy="338138"/>
            </a:xfrm>
            <a:prstGeom prst="rect">
              <a:avLst/>
            </a:prstGeom>
          </p:spPr>
        </p:pic>
        <p:sp>
          <p:nvSpPr>
            <p:cNvPr id="142"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3</a:t>
              </a:r>
            </a:p>
          </p:txBody>
        </p:sp>
      </p:grpSp>
      <p:grpSp>
        <p:nvGrpSpPr>
          <p:cNvPr id="69" name="Group 96"/>
          <p:cNvGrpSpPr>
            <a:grpSpLocks noChangeAspect="1"/>
          </p:cNvGrpSpPr>
          <p:nvPr/>
        </p:nvGrpSpPr>
        <p:grpSpPr bwMode="auto">
          <a:xfrm>
            <a:off x="777946" y="1670718"/>
            <a:ext cx="1408113" cy="1460500"/>
            <a:chOff x="4062" y="700"/>
            <a:chExt cx="1522" cy="1578"/>
          </a:xfrm>
        </p:grpSpPr>
        <p:pic>
          <p:nvPicPr>
            <p:cNvPr id="70" name="Picture 97" descr="Europäische-Union"/>
            <p:cNvPicPr>
              <a:picLocks noChangeAspect="1" noChangeArrowheads="1"/>
            </p:cNvPicPr>
            <p:nvPr/>
          </p:nvPicPr>
          <p:blipFill>
            <a:blip r:embed="rId20"/>
            <a:srcRect/>
            <a:stretch>
              <a:fillRect/>
            </a:stretch>
          </p:blipFill>
          <p:spPr bwMode="auto">
            <a:xfrm>
              <a:off x="4062" y="700"/>
              <a:ext cx="987" cy="1578"/>
            </a:xfrm>
            <a:prstGeom prst="rect">
              <a:avLst/>
            </a:prstGeom>
            <a:noFill/>
          </p:spPr>
        </p:pic>
        <p:sp>
          <p:nvSpPr>
            <p:cNvPr id="71" name="Freeform 98"/>
            <p:cNvSpPr>
              <a:spLocks noChangeAspect="1"/>
            </p:cNvSpPr>
            <p:nvPr/>
          </p:nvSpPr>
          <p:spPr bwMode="auto">
            <a:xfrm>
              <a:off x="4219" y="1627"/>
              <a:ext cx="1365" cy="581"/>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119" name="Group 96"/>
          <p:cNvGrpSpPr>
            <a:grpSpLocks noChangeAspect="1"/>
          </p:cNvGrpSpPr>
          <p:nvPr/>
        </p:nvGrpSpPr>
        <p:grpSpPr bwMode="auto">
          <a:xfrm>
            <a:off x="3453965" y="2118360"/>
            <a:ext cx="976528" cy="1012858"/>
            <a:chOff x="4062" y="700"/>
            <a:chExt cx="1522" cy="1578"/>
          </a:xfrm>
        </p:grpSpPr>
        <p:pic>
          <p:nvPicPr>
            <p:cNvPr id="120" name="Picture 97" descr="Europäische-Union"/>
            <p:cNvPicPr>
              <a:picLocks noChangeAspect="1" noChangeArrowheads="1"/>
            </p:cNvPicPr>
            <p:nvPr/>
          </p:nvPicPr>
          <p:blipFill>
            <a:blip r:embed="rId20"/>
            <a:srcRect/>
            <a:stretch>
              <a:fillRect/>
            </a:stretch>
          </p:blipFill>
          <p:spPr bwMode="auto">
            <a:xfrm>
              <a:off x="4062" y="700"/>
              <a:ext cx="987" cy="1578"/>
            </a:xfrm>
            <a:prstGeom prst="rect">
              <a:avLst/>
            </a:prstGeom>
            <a:noFill/>
          </p:spPr>
        </p:pic>
        <p:sp>
          <p:nvSpPr>
            <p:cNvPr id="121" name="Freeform 98"/>
            <p:cNvSpPr>
              <a:spLocks noChangeAspect="1"/>
            </p:cNvSpPr>
            <p:nvPr/>
          </p:nvSpPr>
          <p:spPr bwMode="auto">
            <a:xfrm>
              <a:off x="4219" y="1627"/>
              <a:ext cx="1365" cy="581"/>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161" name="Gruppieren 77"/>
          <p:cNvGrpSpPr/>
          <p:nvPr/>
        </p:nvGrpSpPr>
        <p:grpSpPr>
          <a:xfrm>
            <a:off x="3032688" y="2124900"/>
            <a:ext cx="347663" cy="338138"/>
            <a:chOff x="203518" y="4966018"/>
            <a:chExt cx="347663" cy="338138"/>
          </a:xfrm>
        </p:grpSpPr>
        <p:pic>
          <p:nvPicPr>
            <p:cNvPr id="162" name="Grafik 161" descr="schatten.png"/>
            <p:cNvPicPr>
              <a:picLocks noChangeAspect="1"/>
            </p:cNvPicPr>
            <p:nvPr/>
          </p:nvPicPr>
          <p:blipFill>
            <a:blip r:embed="rId19" cstate="print">
              <a:lum bright="30000"/>
            </a:blip>
            <a:srcRect l="17603" t="9404" r="15359" b="14528"/>
            <a:stretch>
              <a:fillRect/>
            </a:stretch>
          </p:blipFill>
          <p:spPr>
            <a:xfrm>
              <a:off x="203518" y="4966018"/>
              <a:ext cx="347663" cy="338138"/>
            </a:xfrm>
            <a:prstGeom prst="rect">
              <a:avLst/>
            </a:prstGeom>
          </p:spPr>
        </p:pic>
        <p:sp>
          <p:nvSpPr>
            <p:cNvPr id="163"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64" name="Gruppieren 77"/>
          <p:cNvGrpSpPr/>
          <p:nvPr/>
        </p:nvGrpSpPr>
        <p:grpSpPr>
          <a:xfrm>
            <a:off x="434856" y="1678269"/>
            <a:ext cx="347663" cy="338138"/>
            <a:chOff x="203518" y="4966018"/>
            <a:chExt cx="347663" cy="338138"/>
          </a:xfrm>
        </p:grpSpPr>
        <p:pic>
          <p:nvPicPr>
            <p:cNvPr id="165" name="Grafik 164" descr="schatten.png"/>
            <p:cNvPicPr>
              <a:picLocks noChangeAspect="1"/>
            </p:cNvPicPr>
            <p:nvPr/>
          </p:nvPicPr>
          <p:blipFill>
            <a:blip r:embed="rId19" cstate="print">
              <a:lum bright="30000"/>
            </a:blip>
            <a:srcRect l="17603" t="9404" r="15359" b="14528"/>
            <a:stretch>
              <a:fillRect/>
            </a:stretch>
          </p:blipFill>
          <p:spPr>
            <a:xfrm>
              <a:off x="203518" y="4966018"/>
              <a:ext cx="347663" cy="338138"/>
            </a:xfrm>
            <a:prstGeom prst="rect">
              <a:avLst/>
            </a:prstGeom>
          </p:spPr>
        </p:pic>
        <p:sp>
          <p:nvSpPr>
            <p:cNvPr id="166"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1</a:t>
              </a:r>
            </a:p>
          </p:txBody>
        </p:sp>
      </p:grpSp>
      <p:sp>
        <p:nvSpPr>
          <p:cNvPr id="179" name="Rectangle 5"/>
          <p:cNvSpPr>
            <a:spLocks noChangeArrowheads="1"/>
          </p:cNvSpPr>
          <p:nvPr/>
        </p:nvSpPr>
        <p:spPr bwMode="gray">
          <a:xfrm>
            <a:off x="639763" y="4627750"/>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Markieren Sie zunächst mit der linken Maustaste die Pins , die sie verwenden möchten.</a:t>
            </a:r>
            <a:endParaRPr lang="de-DE" sz="1200" dirty="0">
              <a:latin typeface="Myriad Pro" pitchFamily="34" charset="0"/>
              <a:ea typeface="Arial Unicode MS" pitchFamily="34" charset="-128"/>
              <a:cs typeface="Arial" charset="0"/>
            </a:endParaRPr>
          </a:p>
        </p:txBody>
      </p:sp>
      <p:sp>
        <p:nvSpPr>
          <p:cNvPr id="180" name="PPTShape_5"/>
          <p:cNvSpPr>
            <a:spLocks noChangeArrowheads="1"/>
          </p:cNvSpPr>
          <p:nvPr/>
        </p:nvSpPr>
        <p:spPr bwMode="gray">
          <a:xfrm>
            <a:off x="639763" y="5244706"/>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Im 2. Schritt können sie die Pins kleiner und größer skalieren, indem sie mit gedrückter linker Maus- und Umschalt-Taste (</a:t>
            </a:r>
            <a:r>
              <a:rPr lang="de-DE" sz="1200" dirty="0" err="1" smtClean="0">
                <a:solidFill>
                  <a:srgbClr val="000000"/>
                </a:solidFill>
                <a:latin typeface="Myriad Pro" pitchFamily="34" charset="0"/>
                <a:ea typeface="Arial Unicode MS" pitchFamily="34" charset="-128"/>
                <a:cs typeface="Arial" charset="0"/>
              </a:rPr>
              <a:t>Shift</a:t>
            </a:r>
            <a:r>
              <a:rPr lang="de-DE" sz="1200" dirty="0" smtClean="0">
                <a:solidFill>
                  <a:srgbClr val="000000"/>
                </a:solidFill>
                <a:latin typeface="Myriad Pro" pitchFamily="34" charset="0"/>
                <a:ea typeface="Arial Unicode MS" pitchFamily="34" charset="-128"/>
                <a:cs typeface="Arial" charset="0"/>
              </a:rPr>
              <a:t>) die Pins  an einem der erschienenen Eckpunkte  auf die gewünschte Größe verändern. </a:t>
            </a:r>
            <a:endParaRPr lang="de-DE" dirty="0">
              <a:solidFill>
                <a:srgbClr val="000000"/>
              </a:solidFill>
              <a:ea typeface="Arial Unicode MS" pitchFamily="34" charset="-128"/>
              <a:cs typeface="Arial" charset="0"/>
            </a:endParaRPr>
          </a:p>
        </p:txBody>
      </p:sp>
      <p:sp>
        <p:nvSpPr>
          <p:cNvPr id="181" name="PPTShape_6"/>
          <p:cNvSpPr>
            <a:spLocks noChangeArrowheads="1"/>
          </p:cNvSpPr>
          <p:nvPr/>
        </p:nvSpPr>
        <p:spPr bwMode="gray">
          <a:xfrm>
            <a:off x="639763" y="5833668"/>
            <a:ext cx="8251825" cy="423862"/>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Hier können Sie die neuen Pins,  z.B. auf einer Deutschlandkarte platzieren, um Ihre Vertriebsstandorte zu kennzeichnen. </a:t>
            </a:r>
            <a:endParaRPr lang="de-DE" sz="1200" dirty="0">
              <a:solidFill>
                <a:srgbClr val="000000"/>
              </a:solidFill>
              <a:latin typeface="Myriad Pro" pitchFamily="34" charset="0"/>
              <a:ea typeface="Arial Unicode MS" pitchFamily="34" charset="-128"/>
              <a:cs typeface="Arial" charset="0"/>
            </a:endParaRPr>
          </a:p>
        </p:txBody>
      </p:sp>
      <p:grpSp>
        <p:nvGrpSpPr>
          <p:cNvPr id="182" name="Gruppieren 275"/>
          <p:cNvGrpSpPr/>
          <p:nvPr/>
        </p:nvGrpSpPr>
        <p:grpSpPr>
          <a:xfrm>
            <a:off x="203518" y="4627750"/>
            <a:ext cx="347663" cy="338138"/>
            <a:chOff x="203518" y="4378643"/>
            <a:chExt cx="347663" cy="338138"/>
          </a:xfrm>
        </p:grpSpPr>
        <p:pic>
          <p:nvPicPr>
            <p:cNvPr id="183" name="Grafik 182" descr="schatten.png"/>
            <p:cNvPicPr>
              <a:picLocks noChangeAspect="1"/>
            </p:cNvPicPr>
            <p:nvPr/>
          </p:nvPicPr>
          <p:blipFill>
            <a:blip r:embed="rId19" cstate="print">
              <a:lum bright="30000"/>
            </a:blip>
            <a:srcRect l="17603" t="9404" r="15359" b="14528"/>
            <a:stretch>
              <a:fillRect/>
            </a:stretch>
          </p:blipFill>
          <p:spPr>
            <a:xfrm>
              <a:off x="203518" y="4378643"/>
              <a:ext cx="347663" cy="338138"/>
            </a:xfrm>
            <a:prstGeom prst="rect">
              <a:avLst/>
            </a:prstGeom>
          </p:spPr>
        </p:pic>
        <p:sp>
          <p:nvSpPr>
            <p:cNvPr id="184"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85" name="Gruppieren 278"/>
          <p:cNvGrpSpPr/>
          <p:nvPr/>
        </p:nvGrpSpPr>
        <p:grpSpPr>
          <a:xfrm>
            <a:off x="203518" y="5244706"/>
            <a:ext cx="347663" cy="338138"/>
            <a:chOff x="203518" y="4966018"/>
            <a:chExt cx="347663" cy="338138"/>
          </a:xfrm>
        </p:grpSpPr>
        <p:pic>
          <p:nvPicPr>
            <p:cNvPr id="186" name="Grafik 185" descr="schatten.png"/>
            <p:cNvPicPr>
              <a:picLocks noChangeAspect="1"/>
            </p:cNvPicPr>
            <p:nvPr/>
          </p:nvPicPr>
          <p:blipFill>
            <a:blip r:embed="rId19" cstate="print">
              <a:lum bright="30000"/>
            </a:blip>
            <a:srcRect l="17603" t="9404" r="15359" b="14528"/>
            <a:stretch>
              <a:fillRect/>
            </a:stretch>
          </p:blipFill>
          <p:spPr>
            <a:xfrm>
              <a:off x="203518" y="4966018"/>
              <a:ext cx="347663" cy="338138"/>
            </a:xfrm>
            <a:prstGeom prst="rect">
              <a:avLst/>
            </a:prstGeom>
          </p:spPr>
        </p:pic>
        <p:sp>
          <p:nvSpPr>
            <p:cNvPr id="187"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88" name="Gruppieren 281"/>
          <p:cNvGrpSpPr/>
          <p:nvPr/>
        </p:nvGrpSpPr>
        <p:grpSpPr>
          <a:xfrm>
            <a:off x="203518" y="5833668"/>
            <a:ext cx="347663" cy="338138"/>
            <a:chOff x="203518" y="5554980"/>
            <a:chExt cx="347663" cy="338138"/>
          </a:xfrm>
        </p:grpSpPr>
        <p:pic>
          <p:nvPicPr>
            <p:cNvPr id="189" name="Grafik 188" descr="schatten.png"/>
            <p:cNvPicPr>
              <a:picLocks noChangeAspect="1"/>
            </p:cNvPicPr>
            <p:nvPr/>
          </p:nvPicPr>
          <p:blipFill>
            <a:blip r:embed="rId19" cstate="print">
              <a:lum bright="30000"/>
            </a:blip>
            <a:srcRect l="17603" t="9404" r="15359" b="14528"/>
            <a:stretch>
              <a:fillRect/>
            </a:stretch>
          </p:blipFill>
          <p:spPr>
            <a:xfrm>
              <a:off x="203518" y="5554980"/>
              <a:ext cx="347663" cy="338138"/>
            </a:xfrm>
            <a:prstGeom prst="rect">
              <a:avLst/>
            </a:prstGeom>
          </p:spPr>
        </p:pic>
        <p:sp>
          <p:nvSpPr>
            <p:cNvPr id="190"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191" name="Gruppieren 190"/>
          <p:cNvGrpSpPr/>
          <p:nvPr/>
        </p:nvGrpSpPr>
        <p:grpSpPr>
          <a:xfrm>
            <a:off x="3417837" y="1823650"/>
            <a:ext cx="1010206" cy="1351437"/>
            <a:chOff x="3417837" y="1823650"/>
            <a:chExt cx="1010206" cy="1351437"/>
          </a:xfrm>
        </p:grpSpPr>
        <p:sp>
          <p:nvSpPr>
            <p:cNvPr id="167" name="Rechteck 166"/>
            <p:cNvSpPr/>
            <p:nvPr/>
          </p:nvSpPr>
          <p:spPr>
            <a:xfrm>
              <a:off x="3452814" y="2050256"/>
              <a:ext cx="937526" cy="1091405"/>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8" name="Rechteck 167"/>
            <p:cNvSpPr/>
            <p:nvPr/>
          </p:nvSpPr>
          <p:spPr>
            <a:xfrm>
              <a:off x="3417837" y="255988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9" name="Rechteck 168"/>
            <p:cNvSpPr/>
            <p:nvPr/>
          </p:nvSpPr>
          <p:spPr>
            <a:xfrm>
              <a:off x="3892340" y="31138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0" name="Ellipse 169"/>
            <p:cNvSpPr/>
            <p:nvPr/>
          </p:nvSpPr>
          <p:spPr>
            <a:xfrm>
              <a:off x="4339743" y="20058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1" name="Ellipse 170"/>
            <p:cNvSpPr/>
            <p:nvPr/>
          </p:nvSpPr>
          <p:spPr>
            <a:xfrm>
              <a:off x="3417837" y="309948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Rechteck 171"/>
            <p:cNvSpPr/>
            <p:nvPr/>
          </p:nvSpPr>
          <p:spPr>
            <a:xfrm>
              <a:off x="4354143" y="255988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3" name="Ellipse 172"/>
            <p:cNvSpPr/>
            <p:nvPr/>
          </p:nvSpPr>
          <p:spPr>
            <a:xfrm>
              <a:off x="4352443" y="309948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74" name="Gruppieren 139"/>
            <p:cNvGrpSpPr/>
            <p:nvPr/>
          </p:nvGrpSpPr>
          <p:grpSpPr>
            <a:xfrm>
              <a:off x="3878790" y="1823650"/>
              <a:ext cx="75600" cy="257824"/>
              <a:chOff x="5656766" y="771104"/>
              <a:chExt cx="75600" cy="257824"/>
            </a:xfrm>
          </p:grpSpPr>
          <p:sp>
            <p:nvSpPr>
              <p:cNvPr id="176" name="Ellipse 175"/>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177" name="Rechteck 176"/>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78" name="Gerade Verbindung 177"/>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175" name="Ellipse 174"/>
            <p:cNvSpPr/>
            <p:nvPr/>
          </p:nvSpPr>
          <p:spPr>
            <a:xfrm>
              <a:off x="3417837" y="20058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31" name="Gruppieren 230"/>
          <p:cNvGrpSpPr/>
          <p:nvPr/>
        </p:nvGrpSpPr>
        <p:grpSpPr>
          <a:xfrm>
            <a:off x="811161" y="1385500"/>
            <a:ext cx="1435656" cy="1789587"/>
            <a:chOff x="811161" y="1385500"/>
            <a:chExt cx="1435656" cy="1789587"/>
          </a:xfrm>
        </p:grpSpPr>
        <p:sp>
          <p:nvSpPr>
            <p:cNvPr id="219" name="Rechteck 218"/>
            <p:cNvSpPr/>
            <p:nvPr/>
          </p:nvSpPr>
          <p:spPr>
            <a:xfrm>
              <a:off x="846138" y="1612900"/>
              <a:ext cx="1357312" cy="1528761"/>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20" name="Rechteck 219"/>
            <p:cNvSpPr/>
            <p:nvPr/>
          </p:nvSpPr>
          <p:spPr>
            <a:xfrm>
              <a:off x="811161" y="234080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1" name="Rechteck 220"/>
            <p:cNvSpPr/>
            <p:nvPr/>
          </p:nvSpPr>
          <p:spPr>
            <a:xfrm>
              <a:off x="1498389" y="31138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2" name="Ellipse 221"/>
            <p:cNvSpPr/>
            <p:nvPr/>
          </p:nvSpPr>
          <p:spPr>
            <a:xfrm>
              <a:off x="2158517" y="156772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3" name="Ellipse 222"/>
            <p:cNvSpPr/>
            <p:nvPr/>
          </p:nvSpPr>
          <p:spPr>
            <a:xfrm>
              <a:off x="811161" y="309948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4" name="Rechteck 223"/>
            <p:cNvSpPr/>
            <p:nvPr/>
          </p:nvSpPr>
          <p:spPr>
            <a:xfrm>
              <a:off x="2172917" y="234080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5" name="Ellipse 224"/>
            <p:cNvSpPr/>
            <p:nvPr/>
          </p:nvSpPr>
          <p:spPr>
            <a:xfrm>
              <a:off x="2171217" y="309948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26" name="Gruppieren 139"/>
            <p:cNvGrpSpPr/>
            <p:nvPr/>
          </p:nvGrpSpPr>
          <p:grpSpPr>
            <a:xfrm>
              <a:off x="1484839" y="1385500"/>
              <a:ext cx="75600" cy="257824"/>
              <a:chOff x="5656766" y="771104"/>
              <a:chExt cx="75600" cy="257824"/>
            </a:xfrm>
          </p:grpSpPr>
          <p:sp>
            <p:nvSpPr>
              <p:cNvPr id="228" name="Ellipse 227"/>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229" name="Rechteck 228"/>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30" name="Gerade Verbindung 229"/>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227" name="Ellipse 226"/>
            <p:cNvSpPr/>
            <p:nvPr/>
          </p:nvSpPr>
          <p:spPr>
            <a:xfrm>
              <a:off x="811161" y="156772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23" name="Gruppieren 122"/>
          <p:cNvGrpSpPr/>
          <p:nvPr/>
        </p:nvGrpSpPr>
        <p:grpSpPr>
          <a:xfrm>
            <a:off x="1823189" y="930007"/>
            <a:ext cx="6301402" cy="2901264"/>
            <a:chOff x="1823189" y="930007"/>
            <a:chExt cx="6301402" cy="2901264"/>
          </a:xfrm>
        </p:grpSpPr>
        <p:grpSp>
          <p:nvGrpSpPr>
            <p:cNvPr id="107" name="Group 96"/>
            <p:cNvGrpSpPr>
              <a:grpSpLocks noChangeAspect="1"/>
            </p:cNvGrpSpPr>
            <p:nvPr/>
          </p:nvGrpSpPr>
          <p:grpSpPr bwMode="auto">
            <a:xfrm>
              <a:off x="7674925" y="1410787"/>
              <a:ext cx="449666" cy="466395"/>
              <a:chOff x="4062" y="700"/>
              <a:chExt cx="1522" cy="1578"/>
            </a:xfrm>
          </p:grpSpPr>
          <p:pic>
            <p:nvPicPr>
              <p:cNvPr id="108" name="Picture 97" descr="Europäische-Union"/>
              <p:cNvPicPr>
                <a:picLocks noChangeAspect="1" noChangeArrowheads="1"/>
              </p:cNvPicPr>
              <p:nvPr/>
            </p:nvPicPr>
            <p:blipFill>
              <a:blip r:embed="rId20"/>
              <a:srcRect/>
              <a:stretch>
                <a:fillRect/>
              </a:stretch>
            </p:blipFill>
            <p:spPr bwMode="auto">
              <a:xfrm>
                <a:off x="4062" y="700"/>
                <a:ext cx="987" cy="1578"/>
              </a:xfrm>
              <a:prstGeom prst="rect">
                <a:avLst/>
              </a:prstGeom>
              <a:noFill/>
            </p:spPr>
          </p:pic>
          <p:sp>
            <p:nvSpPr>
              <p:cNvPr id="109" name="Freeform 98"/>
              <p:cNvSpPr>
                <a:spLocks noChangeAspect="1"/>
              </p:cNvSpPr>
              <p:nvPr/>
            </p:nvSpPr>
            <p:spPr bwMode="auto">
              <a:xfrm>
                <a:off x="4219" y="1627"/>
                <a:ext cx="1365" cy="581"/>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110" name="Group 71"/>
            <p:cNvGrpSpPr>
              <a:grpSpLocks/>
            </p:cNvGrpSpPr>
            <p:nvPr/>
          </p:nvGrpSpPr>
          <p:grpSpPr bwMode="auto">
            <a:xfrm>
              <a:off x="7420752" y="3266436"/>
              <a:ext cx="450000" cy="467999"/>
              <a:chOff x="1548" y="1653"/>
              <a:chExt cx="890" cy="921"/>
            </a:xfrm>
          </p:grpSpPr>
          <p:pic>
            <p:nvPicPr>
              <p:cNvPr id="111" name="Picture 31" descr="Deutschland"/>
              <p:cNvPicPr>
                <a:picLocks noChangeAspect="1" noChangeArrowheads="1"/>
              </p:cNvPicPr>
              <p:nvPr/>
            </p:nvPicPr>
            <p:blipFill>
              <a:blip r:embed="rId21"/>
              <a:srcRect/>
              <a:stretch>
                <a:fillRect/>
              </a:stretch>
            </p:blipFill>
            <p:spPr bwMode="auto">
              <a:xfrm>
                <a:off x="1548" y="1653"/>
                <a:ext cx="576" cy="921"/>
              </a:xfrm>
              <a:prstGeom prst="rect">
                <a:avLst/>
              </a:prstGeom>
              <a:noFill/>
            </p:spPr>
          </p:pic>
          <p:sp>
            <p:nvSpPr>
              <p:cNvPr id="112" name="Freeform 32"/>
              <p:cNvSpPr>
                <a:spLocks/>
              </p:cNvSpPr>
              <p:nvPr/>
            </p:nvSpPr>
            <p:spPr bwMode="auto">
              <a:xfrm>
                <a:off x="1642" y="2191"/>
                <a:ext cx="796" cy="338"/>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113" name="Group 71"/>
            <p:cNvGrpSpPr>
              <a:grpSpLocks/>
            </p:cNvGrpSpPr>
            <p:nvPr/>
          </p:nvGrpSpPr>
          <p:grpSpPr bwMode="auto">
            <a:xfrm>
              <a:off x="6741485" y="930007"/>
              <a:ext cx="450000" cy="467999"/>
              <a:chOff x="1548" y="1653"/>
              <a:chExt cx="890" cy="921"/>
            </a:xfrm>
          </p:grpSpPr>
          <p:pic>
            <p:nvPicPr>
              <p:cNvPr id="114" name="Picture 31" descr="Deutschland"/>
              <p:cNvPicPr>
                <a:picLocks noChangeAspect="1" noChangeArrowheads="1"/>
              </p:cNvPicPr>
              <p:nvPr/>
            </p:nvPicPr>
            <p:blipFill>
              <a:blip r:embed="rId21"/>
              <a:srcRect/>
              <a:stretch>
                <a:fillRect/>
              </a:stretch>
            </p:blipFill>
            <p:spPr bwMode="auto">
              <a:xfrm>
                <a:off x="1548" y="1653"/>
                <a:ext cx="576" cy="921"/>
              </a:xfrm>
              <a:prstGeom prst="rect">
                <a:avLst/>
              </a:prstGeom>
              <a:noFill/>
            </p:spPr>
          </p:pic>
          <p:sp>
            <p:nvSpPr>
              <p:cNvPr id="115" name="Freeform 32"/>
              <p:cNvSpPr>
                <a:spLocks/>
              </p:cNvSpPr>
              <p:nvPr/>
            </p:nvSpPr>
            <p:spPr bwMode="auto">
              <a:xfrm>
                <a:off x="1642" y="2191"/>
                <a:ext cx="796" cy="338"/>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116" name="Group 71"/>
            <p:cNvGrpSpPr>
              <a:grpSpLocks/>
            </p:cNvGrpSpPr>
            <p:nvPr/>
          </p:nvGrpSpPr>
          <p:grpSpPr bwMode="auto">
            <a:xfrm>
              <a:off x="6181299" y="2491781"/>
              <a:ext cx="450000" cy="467999"/>
              <a:chOff x="1548" y="1653"/>
              <a:chExt cx="890" cy="921"/>
            </a:xfrm>
          </p:grpSpPr>
          <p:pic>
            <p:nvPicPr>
              <p:cNvPr id="117" name="Picture 31" descr="Deutschland"/>
              <p:cNvPicPr>
                <a:picLocks noChangeAspect="1" noChangeArrowheads="1"/>
              </p:cNvPicPr>
              <p:nvPr/>
            </p:nvPicPr>
            <p:blipFill>
              <a:blip r:embed="rId21"/>
              <a:srcRect/>
              <a:stretch>
                <a:fillRect/>
              </a:stretch>
            </p:blipFill>
            <p:spPr bwMode="auto">
              <a:xfrm>
                <a:off x="1548" y="1653"/>
                <a:ext cx="576" cy="921"/>
              </a:xfrm>
              <a:prstGeom prst="rect">
                <a:avLst/>
              </a:prstGeom>
              <a:noFill/>
            </p:spPr>
          </p:pic>
          <p:sp>
            <p:nvSpPr>
              <p:cNvPr id="118" name="Freeform 32"/>
              <p:cNvSpPr>
                <a:spLocks/>
              </p:cNvSpPr>
              <p:nvPr/>
            </p:nvSpPr>
            <p:spPr bwMode="auto">
              <a:xfrm>
                <a:off x="1642" y="2191"/>
                <a:ext cx="796" cy="338"/>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sp>
          <p:nvSpPr>
            <p:cNvPr id="149" name="Rectangle 4"/>
            <p:cNvSpPr>
              <a:spLocks noChangeArrowheads="1"/>
            </p:cNvSpPr>
            <p:nvPr/>
          </p:nvSpPr>
          <p:spPr bwMode="gray">
            <a:xfrm>
              <a:off x="3680673" y="3391535"/>
              <a:ext cx="323854" cy="342900"/>
            </a:xfrm>
            <a:prstGeom prst="rect">
              <a:avLst/>
            </a:prstGeom>
            <a:noFill/>
            <a:ln w="9525">
              <a:noFill/>
              <a:miter lim="800000"/>
              <a:headEnd/>
              <a:tailEnd/>
            </a:ln>
          </p:spPr>
          <p:txBody>
            <a:bodyPr lIns="0" tIns="0" rIns="0" bIns="0" anchor="ctr"/>
            <a:lstStyle/>
            <a:p>
              <a:pPr algn="ctr" defTabSz="801688" eaLnBrk="0" fontAlgn="auto" hangingPunct="0">
                <a:spcBef>
                  <a:spcPts val="0"/>
                </a:spcBef>
                <a:spcAft>
                  <a:spcPts val="0"/>
                </a:spcAft>
                <a:defRPr/>
              </a:pPr>
              <a:r>
                <a:rPr lang="en-GB" sz="3200" kern="0" dirty="0">
                  <a:latin typeface="Myriad Pro" pitchFamily="34" charset="0"/>
                </a:rPr>
                <a:t>+</a:t>
              </a:r>
            </a:p>
          </p:txBody>
        </p:sp>
        <p:pic>
          <p:nvPicPr>
            <p:cNvPr id="150" name="Grafik 149" descr="maus_wischen.png"/>
            <p:cNvPicPr>
              <a:picLocks noChangeAspect="1"/>
            </p:cNvPicPr>
            <p:nvPr/>
          </p:nvPicPr>
          <p:blipFill>
            <a:blip r:embed="rId22" cstate="print"/>
            <a:stretch>
              <a:fillRect/>
            </a:stretch>
          </p:blipFill>
          <p:spPr>
            <a:xfrm>
              <a:off x="4012101" y="3121659"/>
              <a:ext cx="1423987" cy="709612"/>
            </a:xfrm>
            <a:prstGeom prst="rect">
              <a:avLst/>
            </a:prstGeom>
            <a:effectLst>
              <a:outerShdw blurRad="50800" dist="38100" dir="2700000" algn="tl" rotWithShape="0">
                <a:prstClr val="black">
                  <a:alpha val="40000"/>
                </a:prstClr>
              </a:outerShdw>
            </a:effectLst>
          </p:spPr>
        </p:pic>
        <p:grpSp>
          <p:nvGrpSpPr>
            <p:cNvPr id="151" name="Gruppieren 146"/>
            <p:cNvGrpSpPr/>
            <p:nvPr/>
          </p:nvGrpSpPr>
          <p:grpSpPr bwMode="auto">
            <a:xfrm>
              <a:off x="3091064" y="3426039"/>
              <a:ext cx="516974" cy="342900"/>
              <a:chOff x="7027169" y="784235"/>
              <a:chExt cx="517077" cy="343743"/>
            </a:xfrm>
            <a:effectLst>
              <a:outerShdw blurRad="50800" dist="38100" dir="2700000" algn="tl" rotWithShape="0">
                <a:prstClr val="black">
                  <a:alpha val="40000"/>
                </a:prstClr>
              </a:outerShdw>
            </a:effectLst>
          </p:grpSpPr>
          <p:sp>
            <p:nvSpPr>
              <p:cNvPr id="152" name="AutoShape 74"/>
              <p:cNvSpPr>
                <a:spLocks noChangeAspect="1" noChangeArrowheads="1" noTextEdit="1"/>
              </p:cNvSpPr>
              <p:nvPr/>
            </p:nvSpPr>
            <p:spPr bwMode="gray">
              <a:xfrm>
                <a:off x="7027169" y="784235"/>
                <a:ext cx="517077" cy="343743"/>
              </a:xfrm>
              <a:prstGeom prst="rect">
                <a:avLst/>
              </a:prstGeom>
              <a:noFill/>
              <a:ln w="9525">
                <a:noFill/>
                <a:miter lim="800000"/>
                <a:headEnd/>
                <a:tailEnd/>
              </a:ln>
            </p:spPr>
            <p:txBody>
              <a:bodyPr/>
              <a:lstStyle/>
              <a:p>
                <a:pPr>
                  <a:defRPr/>
                </a:pPr>
                <a:endParaRPr lang="de-DE">
                  <a:latin typeface="Myriad Pro" pitchFamily="34" charset="0"/>
                </a:endParaRPr>
              </a:p>
            </p:txBody>
          </p:sp>
          <p:sp>
            <p:nvSpPr>
              <p:cNvPr id="153" name="Freeform 75"/>
              <p:cNvSpPr>
                <a:spLocks/>
              </p:cNvSpPr>
              <p:nvPr/>
            </p:nvSpPr>
            <p:spPr bwMode="gray">
              <a:xfrm>
                <a:off x="7033288" y="787020"/>
                <a:ext cx="500935" cy="337058"/>
              </a:xfrm>
              <a:custGeom>
                <a:avLst/>
                <a:gdLst>
                  <a:gd name="T0" fmla="*/ 158630 w 247"/>
                  <a:gd name="T1" fmla="*/ 17252 h 256"/>
                  <a:gd name="T2" fmla="*/ 144543 w 247"/>
                  <a:gd name="T3" fmla="*/ 18873 h 256"/>
                  <a:gd name="T4" fmla="*/ 14804 w 247"/>
                  <a:gd name="T5" fmla="*/ 18873 h 256"/>
                  <a:gd name="T6" fmla="*/ 0 w 247"/>
                  <a:gd name="T7" fmla="*/ 17252 h 256"/>
                  <a:gd name="T8" fmla="*/ 0 w 247"/>
                  <a:gd name="T9" fmla="*/ 1626 h 256"/>
                  <a:gd name="T10" fmla="*/ 14804 w 247"/>
                  <a:gd name="T11" fmla="*/ 0 h 256"/>
                  <a:gd name="T12" fmla="*/ 144543 w 247"/>
                  <a:gd name="T13" fmla="*/ 0 h 256"/>
                  <a:gd name="T14" fmla="*/ 158630 w 247"/>
                  <a:gd name="T15" fmla="*/ 1626 h 256"/>
                  <a:gd name="T16" fmla="*/ 158630 w 247"/>
                  <a:gd name="T17" fmla="*/ 17252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7"/>
                  <a:gd name="T28" fmla="*/ 0 h 256"/>
                  <a:gd name="T29" fmla="*/ 247 w 24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7" h="256">
                    <a:moveTo>
                      <a:pt x="247" y="234"/>
                    </a:moveTo>
                    <a:cubicBezTo>
                      <a:pt x="247" y="246"/>
                      <a:pt x="237" y="256"/>
                      <a:pt x="225" y="256"/>
                    </a:cubicBezTo>
                    <a:cubicBezTo>
                      <a:pt x="23" y="256"/>
                      <a:pt x="23" y="256"/>
                      <a:pt x="23" y="256"/>
                    </a:cubicBezTo>
                    <a:cubicBezTo>
                      <a:pt x="10" y="256"/>
                      <a:pt x="0" y="246"/>
                      <a:pt x="0" y="234"/>
                    </a:cubicBezTo>
                    <a:cubicBezTo>
                      <a:pt x="0" y="22"/>
                      <a:pt x="0" y="22"/>
                      <a:pt x="0" y="22"/>
                    </a:cubicBezTo>
                    <a:cubicBezTo>
                      <a:pt x="0" y="10"/>
                      <a:pt x="10" y="0"/>
                      <a:pt x="23" y="0"/>
                    </a:cubicBezTo>
                    <a:cubicBezTo>
                      <a:pt x="225" y="0"/>
                      <a:pt x="225" y="0"/>
                      <a:pt x="225" y="0"/>
                    </a:cubicBezTo>
                    <a:cubicBezTo>
                      <a:pt x="237" y="0"/>
                      <a:pt x="247" y="10"/>
                      <a:pt x="247" y="22"/>
                    </a:cubicBezTo>
                    <a:lnTo>
                      <a:pt x="247" y="234"/>
                    </a:lnTo>
                    <a:close/>
                  </a:path>
                </a:pathLst>
              </a:custGeom>
              <a:solidFill>
                <a:srgbClr val="E0E0DE"/>
              </a:solidFill>
              <a:ln w="9525">
                <a:noFill/>
                <a:round/>
                <a:headEnd/>
                <a:tailEnd/>
              </a:ln>
            </p:spPr>
            <p:txBody>
              <a:bodyPr/>
              <a:lstStyle/>
              <a:p>
                <a:pPr>
                  <a:defRPr/>
                </a:pPr>
                <a:endParaRPr lang="de-DE">
                  <a:latin typeface="Myriad Pro" pitchFamily="34" charset="0"/>
                </a:endParaRPr>
              </a:p>
            </p:txBody>
          </p:sp>
          <p:sp>
            <p:nvSpPr>
              <p:cNvPr id="154" name="Freeform 76"/>
              <p:cNvSpPr>
                <a:spLocks/>
              </p:cNvSpPr>
              <p:nvPr/>
            </p:nvSpPr>
            <p:spPr bwMode="gray">
              <a:xfrm>
                <a:off x="7086165" y="804291"/>
                <a:ext cx="291656" cy="255162"/>
              </a:xfrm>
              <a:custGeom>
                <a:avLst/>
                <a:gdLst>
                  <a:gd name="T0" fmla="*/ 130119 w 132"/>
                  <a:gd name="T1" fmla="*/ 5132 h 194"/>
                  <a:gd name="T2" fmla="*/ 111477 w 132"/>
                  <a:gd name="T3" fmla="*/ 0 h 194"/>
                  <a:gd name="T4" fmla="*/ 22584 w 132"/>
                  <a:gd name="T5" fmla="*/ 0 h 194"/>
                  <a:gd name="T6" fmla="*/ 0 w 132"/>
                  <a:gd name="T7" fmla="*/ 1671 h 194"/>
                  <a:gd name="T8" fmla="*/ 0 w 132"/>
                  <a:gd name="T9" fmla="*/ 12607 h 194"/>
                  <a:gd name="T10" fmla="*/ 18642 w 132"/>
                  <a:gd name="T11" fmla="*/ 14224 h 194"/>
                  <a:gd name="T12" fmla="*/ 130119 w 132"/>
                  <a:gd name="T13" fmla="*/ 5132 h 194"/>
                  <a:gd name="T14" fmla="*/ 0 60000 65536"/>
                  <a:gd name="T15" fmla="*/ 0 60000 65536"/>
                  <a:gd name="T16" fmla="*/ 0 60000 65536"/>
                  <a:gd name="T17" fmla="*/ 0 60000 65536"/>
                  <a:gd name="T18" fmla="*/ 0 60000 65536"/>
                  <a:gd name="T19" fmla="*/ 0 60000 65536"/>
                  <a:gd name="T20" fmla="*/ 0 60000 65536"/>
                  <a:gd name="T21" fmla="*/ 0 w 132"/>
                  <a:gd name="T22" fmla="*/ 0 h 194"/>
                  <a:gd name="T23" fmla="*/ 132 w 132"/>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194">
                    <a:moveTo>
                      <a:pt x="132" y="70"/>
                    </a:moveTo>
                    <a:cubicBezTo>
                      <a:pt x="132" y="44"/>
                      <a:pt x="125" y="20"/>
                      <a:pt x="113" y="0"/>
                    </a:cubicBezTo>
                    <a:cubicBezTo>
                      <a:pt x="23" y="0"/>
                      <a:pt x="23" y="0"/>
                      <a:pt x="23" y="0"/>
                    </a:cubicBezTo>
                    <a:cubicBezTo>
                      <a:pt x="10" y="0"/>
                      <a:pt x="0" y="11"/>
                      <a:pt x="0" y="23"/>
                    </a:cubicBezTo>
                    <a:cubicBezTo>
                      <a:pt x="0" y="172"/>
                      <a:pt x="0" y="172"/>
                      <a:pt x="0" y="172"/>
                    </a:cubicBezTo>
                    <a:cubicBezTo>
                      <a:pt x="0" y="183"/>
                      <a:pt x="8" y="192"/>
                      <a:pt x="19" y="194"/>
                    </a:cubicBezTo>
                    <a:cubicBezTo>
                      <a:pt x="81" y="193"/>
                      <a:pt x="132" y="138"/>
                      <a:pt x="132" y="70"/>
                    </a:cubicBezTo>
                    <a:close/>
                  </a:path>
                </a:pathLst>
              </a:custGeom>
              <a:solidFill>
                <a:srgbClr val="DEDEDC"/>
              </a:solidFill>
              <a:ln w="9525">
                <a:noFill/>
                <a:round/>
                <a:headEnd/>
                <a:tailEnd/>
              </a:ln>
            </p:spPr>
            <p:txBody>
              <a:bodyPr/>
              <a:lstStyle/>
              <a:p>
                <a:pPr>
                  <a:defRPr/>
                </a:pPr>
                <a:endParaRPr lang="de-DE">
                  <a:latin typeface="Myriad Pro" pitchFamily="34" charset="0"/>
                </a:endParaRPr>
              </a:p>
            </p:txBody>
          </p:sp>
          <p:sp>
            <p:nvSpPr>
              <p:cNvPr id="155" name="Freeform 77"/>
              <p:cNvSpPr>
                <a:spLocks/>
              </p:cNvSpPr>
              <p:nvPr/>
            </p:nvSpPr>
            <p:spPr bwMode="gray">
              <a:xfrm>
                <a:off x="7172994" y="806519"/>
                <a:ext cx="342306" cy="255718"/>
              </a:xfrm>
              <a:custGeom>
                <a:avLst/>
                <a:gdLst>
                  <a:gd name="T0" fmla="*/ 128856 w 155"/>
                  <a:gd name="T1" fmla="*/ 0 h 194"/>
                  <a:gd name="T2" fmla="*/ 43356 w 155"/>
                  <a:gd name="T3" fmla="*/ 0 h 194"/>
                  <a:gd name="T4" fmla="*/ 81517 w 155"/>
                  <a:gd name="T5" fmla="*/ 4730 h 194"/>
                  <a:gd name="T6" fmla="*/ 0 w 155"/>
                  <a:gd name="T7" fmla="*/ 14380 h 194"/>
                  <a:gd name="T8" fmla="*/ 128856 w 155"/>
                  <a:gd name="T9" fmla="*/ 14380 h 194"/>
                  <a:gd name="T10" fmla="*/ 152409 w 155"/>
                  <a:gd name="T11" fmla="*/ 12691 h 194"/>
                  <a:gd name="T12" fmla="*/ 152409 w 155"/>
                  <a:gd name="T13" fmla="*/ 1630 h 194"/>
                  <a:gd name="T14" fmla="*/ 128856 w 155"/>
                  <a:gd name="T15" fmla="*/ 0 h 194"/>
                  <a:gd name="T16" fmla="*/ 0 60000 65536"/>
                  <a:gd name="T17" fmla="*/ 0 60000 65536"/>
                  <a:gd name="T18" fmla="*/ 0 60000 65536"/>
                  <a:gd name="T19" fmla="*/ 0 60000 65536"/>
                  <a:gd name="T20" fmla="*/ 0 60000 65536"/>
                  <a:gd name="T21" fmla="*/ 0 60000 65536"/>
                  <a:gd name="T22" fmla="*/ 0 60000 65536"/>
                  <a:gd name="T23" fmla="*/ 0 60000 65536"/>
                  <a:gd name="T24" fmla="*/ 0 w 155"/>
                  <a:gd name="T25" fmla="*/ 0 h 194"/>
                  <a:gd name="T26" fmla="*/ 155 w 155"/>
                  <a:gd name="T27" fmla="*/ 194 h 19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5" h="194">
                    <a:moveTo>
                      <a:pt x="131" y="0"/>
                    </a:moveTo>
                    <a:cubicBezTo>
                      <a:pt x="44" y="0"/>
                      <a:pt x="44" y="0"/>
                      <a:pt x="44" y="0"/>
                    </a:cubicBezTo>
                    <a:cubicBezTo>
                      <a:pt x="44" y="0"/>
                      <a:pt x="80" y="19"/>
                      <a:pt x="83" y="64"/>
                    </a:cubicBezTo>
                    <a:cubicBezTo>
                      <a:pt x="87" y="108"/>
                      <a:pt x="57" y="178"/>
                      <a:pt x="0" y="194"/>
                    </a:cubicBezTo>
                    <a:cubicBezTo>
                      <a:pt x="131" y="194"/>
                      <a:pt x="131" y="194"/>
                      <a:pt x="131" y="194"/>
                    </a:cubicBezTo>
                    <a:cubicBezTo>
                      <a:pt x="144" y="194"/>
                      <a:pt x="155" y="183"/>
                      <a:pt x="155" y="171"/>
                    </a:cubicBezTo>
                    <a:cubicBezTo>
                      <a:pt x="155" y="22"/>
                      <a:pt x="155" y="22"/>
                      <a:pt x="155" y="22"/>
                    </a:cubicBezTo>
                    <a:cubicBezTo>
                      <a:pt x="155" y="10"/>
                      <a:pt x="144" y="0"/>
                      <a:pt x="131" y="0"/>
                    </a:cubicBezTo>
                    <a:close/>
                  </a:path>
                </a:pathLst>
              </a:custGeom>
              <a:solidFill>
                <a:srgbClr val="E7E6E5"/>
              </a:solidFill>
              <a:ln w="9525">
                <a:noFill/>
                <a:round/>
                <a:headEnd/>
                <a:tailEnd/>
              </a:ln>
            </p:spPr>
            <p:txBody>
              <a:bodyPr/>
              <a:lstStyle/>
              <a:p>
                <a:pPr>
                  <a:defRPr/>
                </a:pPr>
                <a:endParaRPr lang="de-DE">
                  <a:latin typeface="Myriad Pro" pitchFamily="34" charset="0"/>
                </a:endParaRPr>
              </a:p>
            </p:txBody>
          </p:sp>
          <p:sp>
            <p:nvSpPr>
              <p:cNvPr id="156" name="Freeform 78"/>
              <p:cNvSpPr>
                <a:spLocks/>
              </p:cNvSpPr>
              <p:nvPr/>
            </p:nvSpPr>
            <p:spPr bwMode="gray">
              <a:xfrm>
                <a:off x="7037177" y="789805"/>
                <a:ext cx="497039" cy="334272"/>
              </a:xfrm>
              <a:custGeom>
                <a:avLst/>
                <a:gdLst>
                  <a:gd name="T0" fmla="*/ 152488 w 245"/>
                  <a:gd name="T1" fmla="*/ 222 h 254"/>
                  <a:gd name="T2" fmla="*/ 152488 w 245"/>
                  <a:gd name="T3" fmla="*/ 222 h 254"/>
                  <a:gd name="T4" fmla="*/ 139603 w 245"/>
                  <a:gd name="T5" fmla="*/ 1188 h 254"/>
                  <a:gd name="T6" fmla="*/ 144014 w 245"/>
                  <a:gd name="T7" fmla="*/ 2717 h 254"/>
                  <a:gd name="T8" fmla="*/ 143481 w 245"/>
                  <a:gd name="T9" fmla="*/ 4046 h 254"/>
                  <a:gd name="T10" fmla="*/ 143481 w 245"/>
                  <a:gd name="T11" fmla="*/ 13443 h 254"/>
                  <a:gd name="T12" fmla="*/ 143481 w 245"/>
                  <a:gd name="T13" fmla="*/ 13828 h 254"/>
                  <a:gd name="T14" fmla="*/ 129387 w 245"/>
                  <a:gd name="T15" fmla="*/ 15161 h 254"/>
                  <a:gd name="T16" fmla="*/ 30172 w 245"/>
                  <a:gd name="T17" fmla="*/ 15161 h 254"/>
                  <a:gd name="T18" fmla="*/ 28962 w 245"/>
                  <a:gd name="T19" fmla="*/ 15066 h 254"/>
                  <a:gd name="T20" fmla="*/ 0 w 245"/>
                  <a:gd name="T21" fmla="*/ 17650 h 254"/>
                  <a:gd name="T22" fmla="*/ 13603 w 245"/>
                  <a:gd name="T23" fmla="*/ 18676 h 254"/>
                  <a:gd name="T24" fmla="*/ 143481 w 245"/>
                  <a:gd name="T25" fmla="*/ 18676 h 254"/>
                  <a:gd name="T26" fmla="*/ 157616 w 245"/>
                  <a:gd name="T27" fmla="*/ 17057 h 254"/>
                  <a:gd name="T28" fmla="*/ 157616 w 245"/>
                  <a:gd name="T29" fmla="*/ 1462 h 254"/>
                  <a:gd name="T30" fmla="*/ 152488 w 245"/>
                  <a:gd name="T31" fmla="*/ 222 h 25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5"/>
                  <a:gd name="T49" fmla="*/ 0 h 254"/>
                  <a:gd name="T50" fmla="*/ 245 w 245"/>
                  <a:gd name="T51" fmla="*/ 254 h 25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5" h="254">
                    <a:moveTo>
                      <a:pt x="237" y="3"/>
                    </a:moveTo>
                    <a:cubicBezTo>
                      <a:pt x="237" y="3"/>
                      <a:pt x="237" y="3"/>
                      <a:pt x="237" y="3"/>
                    </a:cubicBezTo>
                    <a:cubicBezTo>
                      <a:pt x="220" y="0"/>
                      <a:pt x="217" y="8"/>
                      <a:pt x="217" y="16"/>
                    </a:cubicBezTo>
                    <a:cubicBezTo>
                      <a:pt x="222" y="22"/>
                      <a:pt x="224" y="29"/>
                      <a:pt x="224" y="37"/>
                    </a:cubicBezTo>
                    <a:cubicBezTo>
                      <a:pt x="224" y="42"/>
                      <a:pt x="225" y="50"/>
                      <a:pt x="223" y="55"/>
                    </a:cubicBezTo>
                    <a:cubicBezTo>
                      <a:pt x="223" y="183"/>
                      <a:pt x="223" y="183"/>
                      <a:pt x="223" y="183"/>
                    </a:cubicBezTo>
                    <a:cubicBezTo>
                      <a:pt x="223" y="185"/>
                      <a:pt x="223" y="186"/>
                      <a:pt x="223" y="188"/>
                    </a:cubicBezTo>
                    <a:cubicBezTo>
                      <a:pt x="220" y="198"/>
                      <a:pt x="211" y="206"/>
                      <a:pt x="201" y="206"/>
                    </a:cubicBezTo>
                    <a:cubicBezTo>
                      <a:pt x="47" y="206"/>
                      <a:pt x="47" y="206"/>
                      <a:pt x="47" y="206"/>
                    </a:cubicBezTo>
                    <a:cubicBezTo>
                      <a:pt x="46" y="206"/>
                      <a:pt x="46" y="205"/>
                      <a:pt x="45" y="205"/>
                    </a:cubicBezTo>
                    <a:cubicBezTo>
                      <a:pt x="21" y="205"/>
                      <a:pt x="5" y="211"/>
                      <a:pt x="0" y="240"/>
                    </a:cubicBezTo>
                    <a:cubicBezTo>
                      <a:pt x="3" y="248"/>
                      <a:pt x="11" y="254"/>
                      <a:pt x="21" y="254"/>
                    </a:cubicBezTo>
                    <a:cubicBezTo>
                      <a:pt x="223" y="254"/>
                      <a:pt x="223" y="254"/>
                      <a:pt x="223" y="254"/>
                    </a:cubicBezTo>
                    <a:cubicBezTo>
                      <a:pt x="235" y="254"/>
                      <a:pt x="245" y="244"/>
                      <a:pt x="245" y="232"/>
                    </a:cubicBezTo>
                    <a:cubicBezTo>
                      <a:pt x="245" y="20"/>
                      <a:pt x="245" y="20"/>
                      <a:pt x="245" y="20"/>
                    </a:cubicBezTo>
                    <a:cubicBezTo>
                      <a:pt x="245" y="13"/>
                      <a:pt x="242" y="7"/>
                      <a:pt x="237" y="3"/>
                    </a:cubicBezTo>
                    <a:close/>
                  </a:path>
                </a:pathLst>
              </a:custGeom>
              <a:solidFill>
                <a:srgbClr val="CDCEC0"/>
              </a:solidFill>
              <a:ln w="9525">
                <a:noFill/>
                <a:round/>
                <a:headEnd/>
                <a:tailEnd/>
              </a:ln>
            </p:spPr>
            <p:txBody>
              <a:bodyPr/>
              <a:lstStyle/>
              <a:p>
                <a:pPr>
                  <a:defRPr/>
                </a:pPr>
                <a:endParaRPr lang="de-DE">
                  <a:latin typeface="Myriad Pro" pitchFamily="34" charset="0"/>
                </a:endParaRPr>
              </a:p>
            </p:txBody>
          </p:sp>
          <p:sp>
            <p:nvSpPr>
              <p:cNvPr id="157" name="Freeform 79"/>
              <p:cNvSpPr>
                <a:spLocks/>
              </p:cNvSpPr>
              <p:nvPr/>
            </p:nvSpPr>
            <p:spPr bwMode="gray">
              <a:xfrm>
                <a:off x="7083932" y="804291"/>
                <a:ext cx="401305" cy="256276"/>
              </a:xfrm>
              <a:custGeom>
                <a:avLst/>
                <a:gdLst>
                  <a:gd name="T0" fmla="*/ 126750 w 198"/>
                  <a:gd name="T1" fmla="*/ 12576 h 195"/>
                  <a:gd name="T2" fmla="*/ 112021 w 198"/>
                  <a:gd name="T3" fmla="*/ 14241 h 195"/>
                  <a:gd name="T4" fmla="*/ 14773 w 198"/>
                  <a:gd name="T5" fmla="*/ 14241 h 195"/>
                  <a:gd name="T6" fmla="*/ 0 w 198"/>
                  <a:gd name="T7" fmla="*/ 12576 h 195"/>
                  <a:gd name="T8" fmla="*/ 0 w 198"/>
                  <a:gd name="T9" fmla="*/ 1670 h 195"/>
                  <a:gd name="T10" fmla="*/ 14773 w 198"/>
                  <a:gd name="T11" fmla="*/ 0 h 195"/>
                  <a:gd name="T12" fmla="*/ 112021 w 198"/>
                  <a:gd name="T13" fmla="*/ 0 h 195"/>
                  <a:gd name="T14" fmla="*/ 126750 w 198"/>
                  <a:gd name="T15" fmla="*/ 1670 h 195"/>
                  <a:gd name="T16" fmla="*/ 126750 w 198"/>
                  <a:gd name="T17" fmla="*/ 12576 h 1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8"/>
                  <a:gd name="T28" fmla="*/ 0 h 195"/>
                  <a:gd name="T29" fmla="*/ 198 w 198"/>
                  <a:gd name="T30" fmla="*/ 195 h 1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8" h="195">
                    <a:moveTo>
                      <a:pt x="198" y="172"/>
                    </a:moveTo>
                    <a:cubicBezTo>
                      <a:pt x="198" y="184"/>
                      <a:pt x="188" y="195"/>
                      <a:pt x="175" y="195"/>
                    </a:cubicBezTo>
                    <a:cubicBezTo>
                      <a:pt x="23" y="195"/>
                      <a:pt x="23" y="195"/>
                      <a:pt x="23" y="195"/>
                    </a:cubicBezTo>
                    <a:cubicBezTo>
                      <a:pt x="10" y="195"/>
                      <a:pt x="0" y="184"/>
                      <a:pt x="0" y="172"/>
                    </a:cubicBezTo>
                    <a:cubicBezTo>
                      <a:pt x="0" y="23"/>
                      <a:pt x="0" y="23"/>
                      <a:pt x="0" y="23"/>
                    </a:cubicBezTo>
                    <a:cubicBezTo>
                      <a:pt x="0" y="11"/>
                      <a:pt x="10" y="0"/>
                      <a:pt x="23" y="0"/>
                    </a:cubicBezTo>
                    <a:cubicBezTo>
                      <a:pt x="175" y="0"/>
                      <a:pt x="175" y="0"/>
                      <a:pt x="175" y="0"/>
                    </a:cubicBezTo>
                    <a:cubicBezTo>
                      <a:pt x="188" y="0"/>
                      <a:pt x="198" y="11"/>
                      <a:pt x="198" y="23"/>
                    </a:cubicBezTo>
                    <a:lnTo>
                      <a:pt x="198" y="172"/>
                    </a:lnTo>
                    <a:close/>
                  </a:path>
                </a:pathLst>
              </a:custGeom>
              <a:noFill/>
              <a:ln w="14288">
                <a:solidFill>
                  <a:srgbClr val="FFFFFF"/>
                </a:solidFill>
                <a:miter lim="800000"/>
                <a:headEnd/>
                <a:tailEnd/>
              </a:ln>
            </p:spPr>
            <p:txBody>
              <a:bodyPr/>
              <a:lstStyle/>
              <a:p>
                <a:pPr>
                  <a:defRPr/>
                </a:pPr>
                <a:endParaRPr lang="de-DE">
                  <a:latin typeface="Myriad Pro" pitchFamily="34" charset="0"/>
                </a:endParaRPr>
              </a:p>
            </p:txBody>
          </p:sp>
          <p:sp>
            <p:nvSpPr>
              <p:cNvPr id="158" name="Freeform 80"/>
              <p:cNvSpPr>
                <a:spLocks/>
              </p:cNvSpPr>
              <p:nvPr/>
            </p:nvSpPr>
            <p:spPr bwMode="gray">
              <a:xfrm>
                <a:off x="7046079" y="788135"/>
                <a:ext cx="469209" cy="335944"/>
              </a:xfrm>
              <a:custGeom>
                <a:avLst/>
                <a:gdLst>
                  <a:gd name="T0" fmla="*/ 110744 w 249"/>
                  <a:gd name="T1" fmla="*/ 17161 h 255"/>
                  <a:gd name="T2" fmla="*/ 100510 w 249"/>
                  <a:gd name="T3" fmla="*/ 18856 h 255"/>
                  <a:gd name="T4" fmla="*/ 10248 w 249"/>
                  <a:gd name="T5" fmla="*/ 18856 h 255"/>
                  <a:gd name="T6" fmla="*/ 0 w 249"/>
                  <a:gd name="T7" fmla="*/ 17161 h 255"/>
                  <a:gd name="T8" fmla="*/ 0 w 249"/>
                  <a:gd name="T9" fmla="*/ 1695 h 255"/>
                  <a:gd name="T10" fmla="*/ 10248 w 249"/>
                  <a:gd name="T11" fmla="*/ 0 h 255"/>
                  <a:gd name="T12" fmla="*/ 100510 w 249"/>
                  <a:gd name="T13" fmla="*/ 0 h 255"/>
                  <a:gd name="T14" fmla="*/ 110744 w 249"/>
                  <a:gd name="T15" fmla="*/ 1695 h 255"/>
                  <a:gd name="T16" fmla="*/ 110744 w 249"/>
                  <a:gd name="T17" fmla="*/ 17161 h 2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9"/>
                  <a:gd name="T28" fmla="*/ 0 h 255"/>
                  <a:gd name="T29" fmla="*/ 249 w 249"/>
                  <a:gd name="T30" fmla="*/ 255 h 2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9" h="255">
                    <a:moveTo>
                      <a:pt x="249" y="232"/>
                    </a:moveTo>
                    <a:cubicBezTo>
                      <a:pt x="249" y="245"/>
                      <a:pt x="238" y="255"/>
                      <a:pt x="226" y="255"/>
                    </a:cubicBezTo>
                    <a:cubicBezTo>
                      <a:pt x="23" y="255"/>
                      <a:pt x="23" y="255"/>
                      <a:pt x="23" y="255"/>
                    </a:cubicBezTo>
                    <a:cubicBezTo>
                      <a:pt x="11" y="255"/>
                      <a:pt x="0" y="245"/>
                      <a:pt x="0" y="232"/>
                    </a:cubicBezTo>
                    <a:cubicBezTo>
                      <a:pt x="0" y="23"/>
                      <a:pt x="0" y="23"/>
                      <a:pt x="0" y="23"/>
                    </a:cubicBezTo>
                    <a:cubicBezTo>
                      <a:pt x="0" y="10"/>
                      <a:pt x="11" y="0"/>
                      <a:pt x="23" y="0"/>
                    </a:cubicBezTo>
                    <a:cubicBezTo>
                      <a:pt x="226" y="0"/>
                      <a:pt x="226" y="0"/>
                      <a:pt x="226" y="0"/>
                    </a:cubicBezTo>
                    <a:cubicBezTo>
                      <a:pt x="238" y="0"/>
                      <a:pt x="249" y="10"/>
                      <a:pt x="249" y="23"/>
                    </a:cubicBezTo>
                    <a:lnTo>
                      <a:pt x="249" y="232"/>
                    </a:lnTo>
                    <a:close/>
                  </a:path>
                </a:pathLst>
              </a:custGeom>
              <a:noFill/>
              <a:ln w="14288">
                <a:solidFill>
                  <a:srgbClr val="C6C7C8"/>
                </a:solidFill>
                <a:miter lim="800000"/>
                <a:headEnd/>
                <a:tailEnd/>
              </a:ln>
            </p:spPr>
            <p:txBody>
              <a:bodyPr/>
              <a:lstStyle/>
              <a:p>
                <a:pPr>
                  <a:defRPr/>
                </a:pPr>
                <a:endParaRPr lang="de-DE">
                  <a:latin typeface="Myriad Pro" pitchFamily="34" charset="0"/>
                </a:endParaRPr>
              </a:p>
            </p:txBody>
          </p:sp>
          <p:sp>
            <p:nvSpPr>
              <p:cNvPr id="159" name="Pfeil nach oben 158"/>
              <p:cNvSpPr/>
              <p:nvPr/>
            </p:nvSpPr>
            <p:spPr>
              <a:xfrm>
                <a:off x="7134483" y="875522"/>
                <a:ext cx="162000" cy="108000"/>
              </a:xfrm>
              <a:prstGeom prst="upArrow">
                <a:avLst>
                  <a:gd name="adj1" fmla="val 56614"/>
                  <a:gd name="adj2" fmla="val 56614"/>
                </a:avLst>
              </a:prstGeom>
              <a:noFill/>
              <a:ln w="9906">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grpSp>
          <p:nvGrpSpPr>
            <p:cNvPr id="204" name="Group 45"/>
            <p:cNvGrpSpPr>
              <a:grpSpLocks/>
            </p:cNvGrpSpPr>
            <p:nvPr/>
          </p:nvGrpSpPr>
          <p:grpSpPr bwMode="auto">
            <a:xfrm rot="20287264">
              <a:off x="1823189" y="2926345"/>
              <a:ext cx="327150" cy="532315"/>
              <a:chOff x="1950" y="1045"/>
              <a:chExt cx="568" cy="928"/>
            </a:xfrm>
          </p:grpSpPr>
          <p:sp>
            <p:nvSpPr>
              <p:cNvPr id="205"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206"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207"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208"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209"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210"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211"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212"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213"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214"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215"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216"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7" name="Picture 2"/>
          <p:cNvPicPr>
            <a:picLocks noChangeAspect="1" noChangeArrowheads="1"/>
          </p:cNvPicPr>
          <p:nvPr/>
        </p:nvPicPr>
        <p:blipFill>
          <a:blip r:embed="rId4"/>
          <a:srcRect/>
          <a:stretch>
            <a:fillRect/>
          </a:stretch>
        </p:blipFill>
        <p:spPr bwMode="auto">
          <a:xfrm>
            <a:off x="4579438" y="2224207"/>
            <a:ext cx="1313841" cy="291583"/>
          </a:xfrm>
          <a:prstGeom prst="rect">
            <a:avLst/>
          </a:prstGeom>
          <a:noFill/>
          <a:effectLst>
            <a:outerShdw blurRad="50800" dist="38100" dir="2700000" algn="tl" rotWithShape="0">
              <a:prstClr val="black">
                <a:alpha val="40000"/>
              </a:prstClr>
            </a:outerShdw>
          </a:effectLst>
        </p:spPr>
      </p:pic>
      <p:pic>
        <p:nvPicPr>
          <p:cNvPr id="28" name="Picture 2"/>
          <p:cNvPicPr>
            <a:picLocks noChangeAspect="1" noChangeArrowheads="1"/>
          </p:cNvPicPr>
          <p:nvPr/>
        </p:nvPicPr>
        <p:blipFill>
          <a:blip r:embed="rId5"/>
          <a:srcRect/>
          <a:stretch>
            <a:fillRect/>
          </a:stretch>
        </p:blipFill>
        <p:spPr bwMode="auto">
          <a:xfrm>
            <a:off x="-12700" y="3054350"/>
            <a:ext cx="9156700" cy="3359150"/>
          </a:xfrm>
          <a:prstGeom prst="rect">
            <a:avLst/>
          </a:prstGeom>
          <a:noFill/>
          <a:ln w="9525">
            <a:noFill/>
            <a:miter lim="800000"/>
            <a:headEnd/>
            <a:tailEnd/>
          </a:ln>
          <a:effectLst/>
        </p:spPr>
      </p:pic>
      <p:grpSp>
        <p:nvGrpSpPr>
          <p:cNvPr id="80" name="Gruppieren 79"/>
          <p:cNvGrpSpPr/>
          <p:nvPr/>
        </p:nvGrpSpPr>
        <p:grpSpPr>
          <a:xfrm>
            <a:off x="253048" y="842575"/>
            <a:ext cx="2631996" cy="2658267"/>
            <a:chOff x="253048" y="842575"/>
            <a:chExt cx="2631996" cy="2658267"/>
          </a:xfrm>
        </p:grpSpPr>
        <p:sp>
          <p:nvSpPr>
            <p:cNvPr id="66" name="Rechteck 65"/>
            <p:cNvSpPr/>
            <p:nvPr/>
          </p:nvSpPr>
          <p:spPr>
            <a:xfrm>
              <a:off x="288024" y="1069975"/>
              <a:ext cx="2561855" cy="239236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7" name="Rechteck 66"/>
            <p:cNvSpPr/>
            <p:nvPr/>
          </p:nvSpPr>
          <p:spPr>
            <a:xfrm>
              <a:off x="253048" y="223222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p:cNvSpPr/>
            <p:nvPr/>
          </p:nvSpPr>
          <p:spPr>
            <a:xfrm>
              <a:off x="1538446" y="343964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Ellipse 68"/>
            <p:cNvSpPr/>
            <p:nvPr/>
          </p:nvSpPr>
          <p:spPr>
            <a:xfrm>
              <a:off x="2796744" y="10247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Ellipse 69"/>
            <p:cNvSpPr/>
            <p:nvPr/>
          </p:nvSpPr>
          <p:spPr>
            <a:xfrm>
              <a:off x="253048" y="342524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70"/>
            <p:cNvSpPr/>
            <p:nvPr/>
          </p:nvSpPr>
          <p:spPr>
            <a:xfrm>
              <a:off x="2811144" y="223222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Ellipse 71"/>
            <p:cNvSpPr/>
            <p:nvPr/>
          </p:nvSpPr>
          <p:spPr>
            <a:xfrm>
              <a:off x="2809444" y="342524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73" name="Gruppieren 139"/>
            <p:cNvGrpSpPr/>
            <p:nvPr/>
          </p:nvGrpSpPr>
          <p:grpSpPr>
            <a:xfrm>
              <a:off x="1524896" y="842575"/>
              <a:ext cx="75600" cy="257824"/>
              <a:chOff x="5656766" y="771104"/>
              <a:chExt cx="75600" cy="257824"/>
            </a:xfrm>
          </p:grpSpPr>
          <p:sp>
            <p:nvSpPr>
              <p:cNvPr id="75" name="Ellipse 74"/>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76" name="Rechteck 75"/>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7" name="Gerade Verbindung 76"/>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74" name="Ellipse 73"/>
            <p:cNvSpPr/>
            <p:nvPr/>
          </p:nvSpPr>
          <p:spPr>
            <a:xfrm>
              <a:off x="253048" y="10247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9" name="Gruppieren 28"/>
          <p:cNvGrpSpPr/>
          <p:nvPr/>
        </p:nvGrpSpPr>
        <p:grpSpPr>
          <a:xfrm>
            <a:off x="5976998" y="1057274"/>
            <a:ext cx="2828274" cy="2366963"/>
            <a:chOff x="3970338" y="549275"/>
            <a:chExt cx="4905375" cy="4105275"/>
          </a:xfrm>
        </p:grpSpPr>
        <p:grpSp>
          <p:nvGrpSpPr>
            <p:cNvPr id="3" name="Group 41"/>
            <p:cNvGrpSpPr>
              <a:grpSpLocks/>
            </p:cNvGrpSpPr>
            <p:nvPr/>
          </p:nvGrpSpPr>
          <p:grpSpPr bwMode="auto">
            <a:xfrm>
              <a:off x="3970338" y="549275"/>
              <a:ext cx="4562475" cy="4105275"/>
              <a:chOff x="2817" y="850"/>
              <a:chExt cx="2758" cy="2481"/>
            </a:xfrm>
          </p:grpSpPr>
          <p:sp>
            <p:nvSpPr>
              <p:cNvPr id="18447" name="Freeform 15" descr="© INSCALE GmbH, 05.05.2010&#10;http://www.presentationload.com/"/>
              <p:cNvSpPr>
                <a:spLocks noEditPoints="1"/>
              </p:cNvSpPr>
              <p:nvPr/>
            </p:nvSpPr>
            <p:spPr bwMode="auto">
              <a:xfrm>
                <a:off x="2817" y="851"/>
                <a:ext cx="2757" cy="2480"/>
              </a:xfrm>
              <a:custGeom>
                <a:avLst/>
                <a:gdLst/>
                <a:ahLst/>
                <a:cxnLst>
                  <a:cxn ang="0">
                    <a:pos x="3211" y="1361"/>
                  </a:cxn>
                  <a:cxn ang="0">
                    <a:pos x="2928" y="1708"/>
                  </a:cxn>
                  <a:cxn ang="0">
                    <a:pos x="4797" y="462"/>
                  </a:cxn>
                  <a:cxn ang="0">
                    <a:pos x="6419" y="502"/>
                  </a:cxn>
                  <a:cxn ang="0">
                    <a:pos x="6497" y="1249"/>
                  </a:cxn>
                  <a:cxn ang="0">
                    <a:pos x="6504" y="1834"/>
                  </a:cxn>
                  <a:cxn ang="0">
                    <a:pos x="8143" y="415"/>
                  </a:cxn>
                  <a:cxn ang="0">
                    <a:pos x="8431" y="661"/>
                  </a:cxn>
                  <a:cxn ang="0">
                    <a:pos x="8469" y="197"/>
                  </a:cxn>
                  <a:cxn ang="0">
                    <a:pos x="8445" y="938"/>
                  </a:cxn>
                  <a:cxn ang="0">
                    <a:pos x="9354" y="1533"/>
                  </a:cxn>
                  <a:cxn ang="0">
                    <a:pos x="8544" y="1240"/>
                  </a:cxn>
                  <a:cxn ang="0">
                    <a:pos x="8876" y="1542"/>
                  </a:cxn>
                  <a:cxn ang="0">
                    <a:pos x="10771" y="2732"/>
                  </a:cxn>
                  <a:cxn ang="0">
                    <a:pos x="9040" y="1867"/>
                  </a:cxn>
                  <a:cxn ang="0">
                    <a:pos x="9263" y="2683"/>
                  </a:cxn>
                  <a:cxn ang="0">
                    <a:pos x="9818" y="3409"/>
                  </a:cxn>
                  <a:cxn ang="0">
                    <a:pos x="10506" y="3870"/>
                  </a:cxn>
                  <a:cxn ang="0">
                    <a:pos x="10979" y="4138"/>
                  </a:cxn>
                  <a:cxn ang="0">
                    <a:pos x="10694" y="5222"/>
                  </a:cxn>
                  <a:cxn ang="0">
                    <a:pos x="7883" y="9148"/>
                  </a:cxn>
                  <a:cxn ang="0">
                    <a:pos x="8893" y="9363"/>
                  </a:cxn>
                  <a:cxn ang="0">
                    <a:pos x="8068" y="9462"/>
                  </a:cxn>
                  <a:cxn ang="0">
                    <a:pos x="8600" y="10174"/>
                  </a:cxn>
                  <a:cxn ang="0">
                    <a:pos x="8733" y="10184"/>
                  </a:cxn>
                  <a:cxn ang="0">
                    <a:pos x="6354" y="7768"/>
                  </a:cxn>
                  <a:cxn ang="0">
                    <a:pos x="10666" y="5112"/>
                  </a:cxn>
                  <a:cxn ang="0">
                    <a:pos x="10167" y="4217"/>
                  </a:cxn>
                  <a:cxn ang="0">
                    <a:pos x="9555" y="3315"/>
                  </a:cxn>
                  <a:cxn ang="0">
                    <a:pos x="9071" y="2376"/>
                  </a:cxn>
                  <a:cxn ang="0">
                    <a:pos x="8534" y="1603"/>
                  </a:cxn>
                  <a:cxn ang="0">
                    <a:pos x="8246" y="432"/>
                  </a:cxn>
                  <a:cxn ang="0">
                    <a:pos x="7876" y="1722"/>
                  </a:cxn>
                  <a:cxn ang="0">
                    <a:pos x="6298" y="1802"/>
                  </a:cxn>
                  <a:cxn ang="0">
                    <a:pos x="6497" y="783"/>
                  </a:cxn>
                  <a:cxn ang="0">
                    <a:pos x="5694" y="729"/>
                  </a:cxn>
                  <a:cxn ang="0">
                    <a:pos x="5019" y="509"/>
                  </a:cxn>
                  <a:cxn ang="0">
                    <a:pos x="4745" y="823"/>
                  </a:cxn>
                  <a:cxn ang="0">
                    <a:pos x="4382" y="1582"/>
                  </a:cxn>
                  <a:cxn ang="0">
                    <a:pos x="3822" y="1507"/>
                  </a:cxn>
                  <a:cxn ang="0">
                    <a:pos x="3094" y="1744"/>
                  </a:cxn>
                  <a:cxn ang="0">
                    <a:pos x="2686" y="2142"/>
                  </a:cxn>
                  <a:cxn ang="0">
                    <a:pos x="2251" y="2612"/>
                  </a:cxn>
                  <a:cxn ang="0">
                    <a:pos x="1007" y="3632"/>
                  </a:cxn>
                  <a:cxn ang="0">
                    <a:pos x="108" y="4095"/>
                  </a:cxn>
                  <a:cxn ang="0">
                    <a:pos x="281" y="5412"/>
                  </a:cxn>
                  <a:cxn ang="0">
                    <a:pos x="897" y="7513"/>
                  </a:cxn>
                  <a:cxn ang="0">
                    <a:pos x="2508" y="7351"/>
                  </a:cxn>
                  <a:cxn ang="0">
                    <a:pos x="4344" y="6590"/>
                  </a:cxn>
                  <a:cxn ang="0">
                    <a:pos x="5820" y="7103"/>
                  </a:cxn>
                  <a:cxn ang="0">
                    <a:pos x="6612" y="7026"/>
                  </a:cxn>
                  <a:cxn ang="0">
                    <a:pos x="6689" y="7691"/>
                  </a:cxn>
                  <a:cxn ang="0">
                    <a:pos x="7876" y="8752"/>
                  </a:cxn>
                  <a:cxn ang="0">
                    <a:pos x="9021" y="8600"/>
                  </a:cxn>
                  <a:cxn ang="0">
                    <a:pos x="10141" y="7229"/>
                  </a:cxn>
                  <a:cxn ang="0">
                    <a:pos x="6068" y="6597"/>
                  </a:cxn>
                  <a:cxn ang="0">
                    <a:pos x="6171" y="6611"/>
                  </a:cxn>
                  <a:cxn ang="0">
                    <a:pos x="6450" y="5876"/>
                  </a:cxn>
                  <a:cxn ang="0">
                    <a:pos x="6607" y="6260"/>
                  </a:cxn>
                  <a:cxn ang="0">
                    <a:pos x="426" y="6222"/>
                  </a:cxn>
                  <a:cxn ang="0">
                    <a:pos x="464" y="3695"/>
                  </a:cxn>
                </a:cxnLst>
                <a:rect l="0" t="0" r="r" b="b"/>
                <a:pathLst>
                  <a:path w="11488" h="10334">
                    <a:moveTo>
                      <a:pt x="2363" y="895"/>
                    </a:moveTo>
                    <a:cubicBezTo>
                      <a:pt x="2312" y="926"/>
                      <a:pt x="2312" y="926"/>
                      <a:pt x="2312" y="926"/>
                    </a:cubicBezTo>
                    <a:cubicBezTo>
                      <a:pt x="2361" y="938"/>
                      <a:pt x="2361" y="938"/>
                      <a:pt x="2361" y="938"/>
                    </a:cubicBezTo>
                    <a:lnTo>
                      <a:pt x="2363" y="895"/>
                    </a:lnTo>
                    <a:close/>
                    <a:moveTo>
                      <a:pt x="2524" y="1008"/>
                    </a:moveTo>
                    <a:cubicBezTo>
                      <a:pt x="2541" y="994"/>
                      <a:pt x="2496" y="982"/>
                      <a:pt x="2496" y="982"/>
                    </a:cubicBezTo>
                    <a:cubicBezTo>
                      <a:pt x="2487" y="999"/>
                      <a:pt x="2511" y="1019"/>
                      <a:pt x="2524" y="1008"/>
                    </a:cubicBezTo>
                    <a:close/>
                    <a:moveTo>
                      <a:pt x="3279" y="1268"/>
                    </a:moveTo>
                    <a:cubicBezTo>
                      <a:pt x="3279" y="1247"/>
                      <a:pt x="3263" y="1221"/>
                      <a:pt x="3236" y="1247"/>
                    </a:cubicBezTo>
                    <a:cubicBezTo>
                      <a:pt x="3236" y="1247"/>
                      <a:pt x="3279" y="1291"/>
                      <a:pt x="3279" y="1268"/>
                    </a:cubicBezTo>
                    <a:close/>
                    <a:moveTo>
                      <a:pt x="3281" y="1406"/>
                    </a:moveTo>
                    <a:cubicBezTo>
                      <a:pt x="3325" y="1406"/>
                      <a:pt x="3325" y="1406"/>
                      <a:pt x="3325" y="1406"/>
                    </a:cubicBezTo>
                    <a:cubicBezTo>
                      <a:pt x="3330" y="1368"/>
                      <a:pt x="3330" y="1368"/>
                      <a:pt x="3330" y="1368"/>
                    </a:cubicBezTo>
                    <a:cubicBezTo>
                      <a:pt x="3288" y="1352"/>
                      <a:pt x="3288" y="1352"/>
                      <a:pt x="3288" y="1352"/>
                    </a:cubicBezTo>
                    <a:cubicBezTo>
                      <a:pt x="3260" y="1387"/>
                      <a:pt x="3260" y="1387"/>
                      <a:pt x="3260" y="1387"/>
                    </a:cubicBezTo>
                    <a:lnTo>
                      <a:pt x="3281" y="1406"/>
                    </a:lnTo>
                    <a:close/>
                    <a:moveTo>
                      <a:pt x="3211" y="1361"/>
                    </a:moveTo>
                    <a:cubicBezTo>
                      <a:pt x="3211" y="1333"/>
                      <a:pt x="3211" y="1333"/>
                      <a:pt x="3211" y="1333"/>
                    </a:cubicBezTo>
                    <a:cubicBezTo>
                      <a:pt x="3171" y="1361"/>
                      <a:pt x="3171" y="1361"/>
                      <a:pt x="3171" y="1361"/>
                    </a:cubicBezTo>
                    <a:cubicBezTo>
                      <a:pt x="3223" y="1390"/>
                      <a:pt x="3223" y="1390"/>
                      <a:pt x="3223" y="1390"/>
                    </a:cubicBezTo>
                    <a:lnTo>
                      <a:pt x="3211" y="1361"/>
                    </a:lnTo>
                    <a:close/>
                    <a:moveTo>
                      <a:pt x="2974" y="1558"/>
                    </a:moveTo>
                    <a:cubicBezTo>
                      <a:pt x="3000" y="1558"/>
                      <a:pt x="3002" y="1505"/>
                      <a:pt x="2956" y="1514"/>
                    </a:cubicBezTo>
                    <a:cubicBezTo>
                      <a:pt x="2956" y="1514"/>
                      <a:pt x="2949" y="1558"/>
                      <a:pt x="2974" y="1558"/>
                    </a:cubicBezTo>
                    <a:close/>
                    <a:moveTo>
                      <a:pt x="2447" y="1910"/>
                    </a:moveTo>
                    <a:cubicBezTo>
                      <a:pt x="2457" y="1910"/>
                      <a:pt x="2483" y="1938"/>
                      <a:pt x="2483" y="1938"/>
                    </a:cubicBezTo>
                    <a:cubicBezTo>
                      <a:pt x="2496" y="1891"/>
                      <a:pt x="2496" y="1891"/>
                      <a:pt x="2496" y="1891"/>
                    </a:cubicBezTo>
                    <a:cubicBezTo>
                      <a:pt x="2468" y="1891"/>
                      <a:pt x="2468" y="1891"/>
                      <a:pt x="2468" y="1891"/>
                    </a:cubicBezTo>
                    <a:cubicBezTo>
                      <a:pt x="2445" y="1872"/>
                      <a:pt x="2445" y="1872"/>
                      <a:pt x="2445" y="1872"/>
                    </a:cubicBezTo>
                    <a:cubicBezTo>
                      <a:pt x="2445" y="1872"/>
                      <a:pt x="2438" y="1910"/>
                      <a:pt x="2447" y="1910"/>
                    </a:cubicBezTo>
                    <a:close/>
                    <a:moveTo>
                      <a:pt x="2607" y="1889"/>
                    </a:moveTo>
                    <a:cubicBezTo>
                      <a:pt x="2607" y="1872"/>
                      <a:pt x="2588" y="1870"/>
                      <a:pt x="2572" y="1870"/>
                    </a:cubicBezTo>
                    <a:cubicBezTo>
                      <a:pt x="2557" y="1870"/>
                      <a:pt x="2607" y="1905"/>
                      <a:pt x="2607" y="1889"/>
                    </a:cubicBezTo>
                    <a:close/>
                    <a:moveTo>
                      <a:pt x="2824" y="1806"/>
                    </a:moveTo>
                    <a:cubicBezTo>
                      <a:pt x="2824" y="1806"/>
                      <a:pt x="2815" y="1823"/>
                      <a:pt x="2846" y="1823"/>
                    </a:cubicBezTo>
                    <a:cubicBezTo>
                      <a:pt x="2879" y="1823"/>
                      <a:pt x="2892" y="1804"/>
                      <a:pt x="2892" y="1804"/>
                    </a:cubicBezTo>
                    <a:cubicBezTo>
                      <a:pt x="2836" y="1778"/>
                      <a:pt x="2836" y="1778"/>
                      <a:pt x="2836" y="1778"/>
                    </a:cubicBezTo>
                    <a:cubicBezTo>
                      <a:pt x="2799" y="1806"/>
                      <a:pt x="2799" y="1806"/>
                      <a:pt x="2799" y="1806"/>
                    </a:cubicBezTo>
                    <a:cubicBezTo>
                      <a:pt x="2775" y="1806"/>
                      <a:pt x="2775" y="1806"/>
                      <a:pt x="2775" y="1806"/>
                    </a:cubicBezTo>
                    <a:cubicBezTo>
                      <a:pt x="2803" y="1834"/>
                      <a:pt x="2803" y="1834"/>
                      <a:pt x="2803" y="1834"/>
                    </a:cubicBezTo>
                    <a:lnTo>
                      <a:pt x="2824" y="1806"/>
                    </a:lnTo>
                    <a:close/>
                    <a:moveTo>
                      <a:pt x="2928" y="1708"/>
                    </a:moveTo>
                    <a:cubicBezTo>
                      <a:pt x="2937" y="1706"/>
                      <a:pt x="2916" y="1664"/>
                      <a:pt x="2902" y="1680"/>
                    </a:cubicBezTo>
                    <a:cubicBezTo>
                      <a:pt x="2902" y="1680"/>
                      <a:pt x="2918" y="1711"/>
                      <a:pt x="2928" y="1708"/>
                    </a:cubicBezTo>
                    <a:close/>
                    <a:moveTo>
                      <a:pt x="2963" y="1713"/>
                    </a:moveTo>
                    <a:cubicBezTo>
                      <a:pt x="2993" y="1708"/>
                      <a:pt x="2958" y="1683"/>
                      <a:pt x="2953" y="1699"/>
                    </a:cubicBezTo>
                    <a:cubicBezTo>
                      <a:pt x="2953" y="1699"/>
                      <a:pt x="2930" y="1720"/>
                      <a:pt x="2963" y="1713"/>
                    </a:cubicBezTo>
                    <a:close/>
                    <a:moveTo>
                      <a:pt x="4438" y="663"/>
                    </a:moveTo>
                    <a:cubicBezTo>
                      <a:pt x="4497" y="673"/>
                      <a:pt x="4513" y="659"/>
                      <a:pt x="4532" y="659"/>
                    </a:cubicBezTo>
                    <a:cubicBezTo>
                      <a:pt x="4550" y="659"/>
                      <a:pt x="4614" y="682"/>
                      <a:pt x="4614" y="668"/>
                    </a:cubicBezTo>
                    <a:cubicBezTo>
                      <a:pt x="4614" y="652"/>
                      <a:pt x="4590" y="626"/>
                      <a:pt x="4570" y="612"/>
                    </a:cubicBezTo>
                    <a:cubicBezTo>
                      <a:pt x="4548" y="595"/>
                      <a:pt x="4522" y="528"/>
                      <a:pt x="4522" y="528"/>
                    </a:cubicBezTo>
                    <a:cubicBezTo>
                      <a:pt x="4473" y="558"/>
                      <a:pt x="4473" y="558"/>
                      <a:pt x="4473" y="558"/>
                    </a:cubicBezTo>
                    <a:cubicBezTo>
                      <a:pt x="4497" y="617"/>
                      <a:pt x="4497" y="617"/>
                      <a:pt x="4497" y="617"/>
                    </a:cubicBezTo>
                    <a:cubicBezTo>
                      <a:pt x="4497" y="617"/>
                      <a:pt x="4380" y="654"/>
                      <a:pt x="4438" y="663"/>
                    </a:cubicBezTo>
                    <a:close/>
                    <a:moveTo>
                      <a:pt x="4626" y="640"/>
                    </a:moveTo>
                    <a:cubicBezTo>
                      <a:pt x="4738" y="706"/>
                      <a:pt x="4738" y="706"/>
                      <a:pt x="4738" y="706"/>
                    </a:cubicBezTo>
                    <a:cubicBezTo>
                      <a:pt x="4846" y="598"/>
                      <a:pt x="4846" y="598"/>
                      <a:pt x="4846" y="598"/>
                    </a:cubicBezTo>
                    <a:cubicBezTo>
                      <a:pt x="4871" y="579"/>
                      <a:pt x="4871" y="579"/>
                      <a:pt x="4871" y="579"/>
                    </a:cubicBezTo>
                    <a:cubicBezTo>
                      <a:pt x="4871" y="551"/>
                      <a:pt x="4871" y="551"/>
                      <a:pt x="4871" y="551"/>
                    </a:cubicBezTo>
                    <a:cubicBezTo>
                      <a:pt x="4893" y="537"/>
                      <a:pt x="4893" y="537"/>
                      <a:pt x="4893" y="537"/>
                    </a:cubicBezTo>
                    <a:cubicBezTo>
                      <a:pt x="4893" y="537"/>
                      <a:pt x="4878" y="523"/>
                      <a:pt x="4855" y="500"/>
                    </a:cubicBezTo>
                    <a:cubicBezTo>
                      <a:pt x="4834" y="473"/>
                      <a:pt x="4797" y="462"/>
                      <a:pt x="4797" y="462"/>
                    </a:cubicBezTo>
                    <a:cubicBezTo>
                      <a:pt x="4804" y="532"/>
                      <a:pt x="4804" y="532"/>
                      <a:pt x="4804" y="532"/>
                    </a:cubicBezTo>
                    <a:cubicBezTo>
                      <a:pt x="4804" y="532"/>
                      <a:pt x="4780" y="481"/>
                      <a:pt x="4766" y="500"/>
                    </a:cubicBezTo>
                    <a:cubicBezTo>
                      <a:pt x="4749" y="518"/>
                      <a:pt x="4743" y="542"/>
                      <a:pt x="4743" y="542"/>
                    </a:cubicBezTo>
                    <a:cubicBezTo>
                      <a:pt x="4743" y="542"/>
                      <a:pt x="4731" y="504"/>
                      <a:pt x="4710" y="502"/>
                    </a:cubicBezTo>
                    <a:cubicBezTo>
                      <a:pt x="4687" y="500"/>
                      <a:pt x="4632" y="546"/>
                      <a:pt x="4632" y="546"/>
                    </a:cubicBezTo>
                    <a:cubicBezTo>
                      <a:pt x="4543" y="483"/>
                      <a:pt x="4543" y="483"/>
                      <a:pt x="4543" y="483"/>
                    </a:cubicBezTo>
                    <a:cubicBezTo>
                      <a:pt x="4543" y="483"/>
                      <a:pt x="4543" y="539"/>
                      <a:pt x="4562" y="565"/>
                    </a:cubicBezTo>
                    <a:cubicBezTo>
                      <a:pt x="4581" y="589"/>
                      <a:pt x="4626" y="640"/>
                      <a:pt x="4626" y="640"/>
                    </a:cubicBezTo>
                    <a:close/>
                    <a:moveTo>
                      <a:pt x="6139" y="701"/>
                    </a:moveTo>
                    <a:cubicBezTo>
                      <a:pt x="6173" y="727"/>
                      <a:pt x="6173" y="727"/>
                      <a:pt x="6173" y="727"/>
                    </a:cubicBezTo>
                    <a:cubicBezTo>
                      <a:pt x="6209" y="717"/>
                      <a:pt x="6209" y="717"/>
                      <a:pt x="6209" y="717"/>
                    </a:cubicBezTo>
                    <a:cubicBezTo>
                      <a:pt x="6185" y="692"/>
                      <a:pt x="6185" y="692"/>
                      <a:pt x="6185" y="692"/>
                    </a:cubicBezTo>
                    <a:cubicBezTo>
                      <a:pt x="6185" y="692"/>
                      <a:pt x="6270" y="612"/>
                      <a:pt x="6251" y="612"/>
                    </a:cubicBezTo>
                    <a:cubicBezTo>
                      <a:pt x="6232" y="612"/>
                      <a:pt x="6192" y="673"/>
                      <a:pt x="6164" y="680"/>
                    </a:cubicBezTo>
                    <a:cubicBezTo>
                      <a:pt x="6136" y="687"/>
                      <a:pt x="6106" y="710"/>
                      <a:pt x="6106" y="710"/>
                    </a:cubicBezTo>
                    <a:cubicBezTo>
                      <a:pt x="6124" y="724"/>
                      <a:pt x="6124" y="724"/>
                      <a:pt x="6124" y="724"/>
                    </a:cubicBezTo>
                    <a:lnTo>
                      <a:pt x="6139" y="701"/>
                    </a:lnTo>
                    <a:close/>
                    <a:moveTo>
                      <a:pt x="6290" y="621"/>
                    </a:moveTo>
                    <a:cubicBezTo>
                      <a:pt x="6290" y="621"/>
                      <a:pt x="6391" y="579"/>
                      <a:pt x="6431" y="528"/>
                    </a:cubicBezTo>
                    <a:cubicBezTo>
                      <a:pt x="6473" y="473"/>
                      <a:pt x="6476" y="417"/>
                      <a:pt x="6476" y="417"/>
                    </a:cubicBezTo>
                    <a:cubicBezTo>
                      <a:pt x="6476" y="417"/>
                      <a:pt x="6448" y="473"/>
                      <a:pt x="6419" y="502"/>
                    </a:cubicBezTo>
                    <a:cubicBezTo>
                      <a:pt x="6391" y="530"/>
                      <a:pt x="6258" y="602"/>
                      <a:pt x="6290" y="621"/>
                    </a:cubicBezTo>
                    <a:close/>
                    <a:moveTo>
                      <a:pt x="6389" y="661"/>
                    </a:moveTo>
                    <a:cubicBezTo>
                      <a:pt x="6399" y="673"/>
                      <a:pt x="6448" y="649"/>
                      <a:pt x="6431" y="640"/>
                    </a:cubicBezTo>
                    <a:cubicBezTo>
                      <a:pt x="6417" y="631"/>
                      <a:pt x="6370" y="642"/>
                      <a:pt x="6389" y="661"/>
                    </a:cubicBezTo>
                    <a:close/>
                    <a:moveTo>
                      <a:pt x="6314" y="1254"/>
                    </a:moveTo>
                    <a:cubicBezTo>
                      <a:pt x="6286" y="1226"/>
                      <a:pt x="6286" y="1226"/>
                      <a:pt x="6286" y="1226"/>
                    </a:cubicBezTo>
                    <a:cubicBezTo>
                      <a:pt x="6260" y="1238"/>
                      <a:pt x="6260" y="1238"/>
                      <a:pt x="6260" y="1238"/>
                    </a:cubicBezTo>
                    <a:cubicBezTo>
                      <a:pt x="6289" y="1268"/>
                      <a:pt x="6289" y="1268"/>
                      <a:pt x="6289" y="1268"/>
                    </a:cubicBezTo>
                    <a:lnTo>
                      <a:pt x="6314" y="1254"/>
                    </a:lnTo>
                    <a:close/>
                    <a:moveTo>
                      <a:pt x="6272" y="1146"/>
                    </a:moveTo>
                    <a:cubicBezTo>
                      <a:pt x="6249" y="1125"/>
                      <a:pt x="6241" y="1134"/>
                      <a:pt x="6241" y="1134"/>
                    </a:cubicBezTo>
                    <a:cubicBezTo>
                      <a:pt x="6241" y="1134"/>
                      <a:pt x="6286" y="1169"/>
                      <a:pt x="6277" y="1181"/>
                    </a:cubicBezTo>
                    <a:cubicBezTo>
                      <a:pt x="6281" y="1177"/>
                      <a:pt x="6293" y="1165"/>
                      <a:pt x="6272" y="1146"/>
                    </a:cubicBezTo>
                    <a:close/>
                    <a:moveTo>
                      <a:pt x="6351" y="1397"/>
                    </a:moveTo>
                    <a:cubicBezTo>
                      <a:pt x="6370" y="1401"/>
                      <a:pt x="6399" y="1416"/>
                      <a:pt x="6399" y="1416"/>
                    </a:cubicBezTo>
                    <a:cubicBezTo>
                      <a:pt x="6459" y="1416"/>
                      <a:pt x="6459" y="1416"/>
                      <a:pt x="6459" y="1416"/>
                    </a:cubicBezTo>
                    <a:cubicBezTo>
                      <a:pt x="6459" y="1416"/>
                      <a:pt x="6492" y="1427"/>
                      <a:pt x="6495" y="1406"/>
                    </a:cubicBezTo>
                    <a:cubicBezTo>
                      <a:pt x="6497" y="1385"/>
                      <a:pt x="6492" y="1361"/>
                      <a:pt x="6492" y="1361"/>
                    </a:cubicBezTo>
                    <a:cubicBezTo>
                      <a:pt x="6457" y="1390"/>
                      <a:pt x="6457" y="1390"/>
                      <a:pt x="6457" y="1390"/>
                    </a:cubicBezTo>
                    <a:cubicBezTo>
                      <a:pt x="6419" y="1357"/>
                      <a:pt x="6419" y="1357"/>
                      <a:pt x="6419" y="1357"/>
                    </a:cubicBezTo>
                    <a:cubicBezTo>
                      <a:pt x="6497" y="1249"/>
                      <a:pt x="6497" y="1249"/>
                      <a:pt x="6497" y="1249"/>
                    </a:cubicBezTo>
                    <a:cubicBezTo>
                      <a:pt x="6440" y="1282"/>
                      <a:pt x="6440" y="1282"/>
                      <a:pt x="6440" y="1282"/>
                    </a:cubicBezTo>
                    <a:cubicBezTo>
                      <a:pt x="6422" y="1230"/>
                      <a:pt x="6422" y="1230"/>
                      <a:pt x="6422" y="1230"/>
                    </a:cubicBezTo>
                    <a:cubicBezTo>
                      <a:pt x="6373" y="1238"/>
                      <a:pt x="6373" y="1238"/>
                      <a:pt x="6373" y="1238"/>
                    </a:cubicBezTo>
                    <a:cubicBezTo>
                      <a:pt x="6370" y="1275"/>
                      <a:pt x="6370" y="1275"/>
                      <a:pt x="6370" y="1275"/>
                    </a:cubicBezTo>
                    <a:cubicBezTo>
                      <a:pt x="6345" y="1275"/>
                      <a:pt x="6345" y="1275"/>
                      <a:pt x="6345" y="1275"/>
                    </a:cubicBezTo>
                    <a:cubicBezTo>
                      <a:pt x="6345" y="1275"/>
                      <a:pt x="6361" y="1359"/>
                      <a:pt x="6338" y="1378"/>
                    </a:cubicBezTo>
                    <a:cubicBezTo>
                      <a:pt x="6317" y="1397"/>
                      <a:pt x="6314" y="1408"/>
                      <a:pt x="6314" y="1408"/>
                    </a:cubicBezTo>
                    <a:cubicBezTo>
                      <a:pt x="6314" y="1408"/>
                      <a:pt x="6333" y="1390"/>
                      <a:pt x="6351" y="1397"/>
                    </a:cubicBezTo>
                    <a:close/>
                    <a:moveTo>
                      <a:pt x="6120" y="1605"/>
                    </a:moveTo>
                    <a:cubicBezTo>
                      <a:pt x="6143" y="1605"/>
                      <a:pt x="6167" y="1607"/>
                      <a:pt x="6148" y="1584"/>
                    </a:cubicBezTo>
                    <a:cubicBezTo>
                      <a:pt x="6129" y="1558"/>
                      <a:pt x="6120" y="1605"/>
                      <a:pt x="6120" y="1605"/>
                    </a:cubicBezTo>
                    <a:close/>
                    <a:moveTo>
                      <a:pt x="6431" y="1839"/>
                    </a:moveTo>
                    <a:cubicBezTo>
                      <a:pt x="6431" y="1839"/>
                      <a:pt x="6476" y="1806"/>
                      <a:pt x="6478" y="1793"/>
                    </a:cubicBezTo>
                    <a:cubicBezTo>
                      <a:pt x="6483" y="1776"/>
                      <a:pt x="6438" y="1793"/>
                      <a:pt x="6438" y="1793"/>
                    </a:cubicBezTo>
                    <a:cubicBezTo>
                      <a:pt x="6399" y="1821"/>
                      <a:pt x="6399" y="1821"/>
                      <a:pt x="6399" y="1821"/>
                    </a:cubicBezTo>
                    <a:cubicBezTo>
                      <a:pt x="6389" y="1774"/>
                      <a:pt x="6389" y="1774"/>
                      <a:pt x="6389" y="1774"/>
                    </a:cubicBezTo>
                    <a:cubicBezTo>
                      <a:pt x="6361" y="1811"/>
                      <a:pt x="6361" y="1811"/>
                      <a:pt x="6361" y="1811"/>
                    </a:cubicBezTo>
                    <a:cubicBezTo>
                      <a:pt x="6389" y="1870"/>
                      <a:pt x="6431" y="1839"/>
                      <a:pt x="6431" y="1839"/>
                    </a:cubicBezTo>
                    <a:close/>
                    <a:moveTo>
                      <a:pt x="6523" y="1802"/>
                    </a:moveTo>
                    <a:cubicBezTo>
                      <a:pt x="6501" y="1795"/>
                      <a:pt x="6492" y="1821"/>
                      <a:pt x="6476" y="1839"/>
                    </a:cubicBezTo>
                    <a:cubicBezTo>
                      <a:pt x="6476" y="1839"/>
                      <a:pt x="6495" y="1839"/>
                      <a:pt x="6504" y="1834"/>
                    </a:cubicBezTo>
                    <a:cubicBezTo>
                      <a:pt x="6513" y="1833"/>
                      <a:pt x="6544" y="1806"/>
                      <a:pt x="6523" y="1802"/>
                    </a:cubicBezTo>
                    <a:close/>
                    <a:moveTo>
                      <a:pt x="6525" y="1900"/>
                    </a:moveTo>
                    <a:cubicBezTo>
                      <a:pt x="6544" y="1907"/>
                      <a:pt x="6534" y="1863"/>
                      <a:pt x="6534" y="1863"/>
                    </a:cubicBezTo>
                    <a:cubicBezTo>
                      <a:pt x="6492" y="1863"/>
                      <a:pt x="6506" y="1895"/>
                      <a:pt x="6525" y="1900"/>
                    </a:cubicBezTo>
                    <a:close/>
                    <a:moveTo>
                      <a:pt x="7180" y="2184"/>
                    </a:moveTo>
                    <a:cubicBezTo>
                      <a:pt x="7216" y="2128"/>
                      <a:pt x="7216" y="2128"/>
                      <a:pt x="7216" y="2128"/>
                    </a:cubicBezTo>
                    <a:cubicBezTo>
                      <a:pt x="7286" y="2123"/>
                      <a:pt x="7286" y="2123"/>
                      <a:pt x="7286" y="2123"/>
                    </a:cubicBezTo>
                    <a:cubicBezTo>
                      <a:pt x="7286" y="2123"/>
                      <a:pt x="7269" y="2081"/>
                      <a:pt x="7253" y="2081"/>
                    </a:cubicBezTo>
                    <a:cubicBezTo>
                      <a:pt x="7239" y="2081"/>
                      <a:pt x="7216" y="2097"/>
                      <a:pt x="7216" y="2097"/>
                    </a:cubicBezTo>
                    <a:cubicBezTo>
                      <a:pt x="7216" y="2097"/>
                      <a:pt x="7180" y="2071"/>
                      <a:pt x="7146" y="2104"/>
                    </a:cubicBezTo>
                    <a:cubicBezTo>
                      <a:pt x="7111" y="2134"/>
                      <a:pt x="7106" y="2219"/>
                      <a:pt x="7106" y="2219"/>
                    </a:cubicBezTo>
                    <a:cubicBezTo>
                      <a:pt x="7124" y="2184"/>
                      <a:pt x="7124" y="2184"/>
                      <a:pt x="7124" y="2184"/>
                    </a:cubicBezTo>
                    <a:lnTo>
                      <a:pt x="7180" y="2184"/>
                    </a:lnTo>
                    <a:close/>
                    <a:moveTo>
                      <a:pt x="7174" y="2291"/>
                    </a:moveTo>
                    <a:cubicBezTo>
                      <a:pt x="7174" y="2291"/>
                      <a:pt x="7176" y="2303"/>
                      <a:pt x="7202" y="2303"/>
                    </a:cubicBezTo>
                    <a:cubicBezTo>
                      <a:pt x="7225" y="2303"/>
                      <a:pt x="7239" y="2291"/>
                      <a:pt x="7239" y="2291"/>
                    </a:cubicBezTo>
                    <a:cubicBezTo>
                      <a:pt x="7213" y="2263"/>
                      <a:pt x="7213" y="2263"/>
                      <a:pt x="7213" y="2263"/>
                    </a:cubicBezTo>
                    <a:lnTo>
                      <a:pt x="7174" y="2291"/>
                    </a:lnTo>
                    <a:close/>
                    <a:moveTo>
                      <a:pt x="8110" y="380"/>
                    </a:moveTo>
                    <a:cubicBezTo>
                      <a:pt x="8099" y="380"/>
                      <a:pt x="8092" y="406"/>
                      <a:pt x="8092" y="406"/>
                    </a:cubicBezTo>
                    <a:cubicBezTo>
                      <a:pt x="8092" y="406"/>
                      <a:pt x="8139" y="424"/>
                      <a:pt x="8143" y="415"/>
                    </a:cubicBezTo>
                    <a:cubicBezTo>
                      <a:pt x="8146" y="406"/>
                      <a:pt x="8157" y="387"/>
                      <a:pt x="8143" y="375"/>
                    </a:cubicBezTo>
                    <a:cubicBezTo>
                      <a:pt x="8127" y="361"/>
                      <a:pt x="8129" y="338"/>
                      <a:pt x="8129" y="322"/>
                    </a:cubicBezTo>
                    <a:cubicBezTo>
                      <a:pt x="8129" y="305"/>
                      <a:pt x="8134" y="303"/>
                      <a:pt x="8139" y="277"/>
                    </a:cubicBezTo>
                    <a:cubicBezTo>
                      <a:pt x="8146" y="254"/>
                      <a:pt x="8139" y="225"/>
                      <a:pt x="8125" y="244"/>
                    </a:cubicBezTo>
                    <a:cubicBezTo>
                      <a:pt x="8108" y="263"/>
                      <a:pt x="8125" y="300"/>
                      <a:pt x="8106" y="310"/>
                    </a:cubicBezTo>
                    <a:cubicBezTo>
                      <a:pt x="8087" y="319"/>
                      <a:pt x="8092" y="340"/>
                      <a:pt x="8101" y="347"/>
                    </a:cubicBezTo>
                    <a:cubicBezTo>
                      <a:pt x="8110" y="352"/>
                      <a:pt x="8125" y="380"/>
                      <a:pt x="8110" y="380"/>
                    </a:cubicBezTo>
                    <a:close/>
                    <a:moveTo>
                      <a:pt x="8155" y="169"/>
                    </a:moveTo>
                    <a:cubicBezTo>
                      <a:pt x="8176" y="144"/>
                      <a:pt x="8216" y="101"/>
                      <a:pt x="8197" y="104"/>
                    </a:cubicBezTo>
                    <a:cubicBezTo>
                      <a:pt x="8179" y="106"/>
                      <a:pt x="8179" y="125"/>
                      <a:pt x="8153" y="136"/>
                    </a:cubicBezTo>
                    <a:cubicBezTo>
                      <a:pt x="8125" y="150"/>
                      <a:pt x="8115" y="200"/>
                      <a:pt x="8115" y="200"/>
                    </a:cubicBezTo>
                    <a:cubicBezTo>
                      <a:pt x="8115" y="200"/>
                      <a:pt x="8134" y="193"/>
                      <a:pt x="8155" y="169"/>
                    </a:cubicBezTo>
                    <a:close/>
                    <a:moveTo>
                      <a:pt x="8804" y="371"/>
                    </a:moveTo>
                    <a:cubicBezTo>
                      <a:pt x="8818" y="371"/>
                      <a:pt x="8820" y="328"/>
                      <a:pt x="8820" y="310"/>
                    </a:cubicBezTo>
                    <a:cubicBezTo>
                      <a:pt x="8820" y="291"/>
                      <a:pt x="8843" y="263"/>
                      <a:pt x="8834" y="254"/>
                    </a:cubicBezTo>
                    <a:cubicBezTo>
                      <a:pt x="8825" y="244"/>
                      <a:pt x="8797" y="272"/>
                      <a:pt x="8794" y="284"/>
                    </a:cubicBezTo>
                    <a:cubicBezTo>
                      <a:pt x="8790" y="295"/>
                      <a:pt x="8787" y="371"/>
                      <a:pt x="8804" y="371"/>
                    </a:cubicBezTo>
                    <a:close/>
                    <a:moveTo>
                      <a:pt x="8883" y="230"/>
                    </a:moveTo>
                    <a:cubicBezTo>
                      <a:pt x="8876" y="218"/>
                      <a:pt x="8874" y="274"/>
                      <a:pt x="8874" y="274"/>
                    </a:cubicBezTo>
                    <a:cubicBezTo>
                      <a:pt x="8874" y="274"/>
                      <a:pt x="8890" y="244"/>
                      <a:pt x="8883" y="230"/>
                    </a:cubicBezTo>
                    <a:close/>
                    <a:moveTo>
                      <a:pt x="8431" y="661"/>
                    </a:moveTo>
                    <a:cubicBezTo>
                      <a:pt x="8455" y="673"/>
                      <a:pt x="8483" y="673"/>
                      <a:pt x="8483" y="673"/>
                    </a:cubicBezTo>
                    <a:cubicBezTo>
                      <a:pt x="8438" y="614"/>
                      <a:pt x="8438" y="614"/>
                      <a:pt x="8438" y="614"/>
                    </a:cubicBezTo>
                    <a:cubicBezTo>
                      <a:pt x="8438" y="614"/>
                      <a:pt x="8410" y="649"/>
                      <a:pt x="8431" y="661"/>
                    </a:cubicBezTo>
                    <a:close/>
                    <a:moveTo>
                      <a:pt x="8459" y="816"/>
                    </a:moveTo>
                    <a:cubicBezTo>
                      <a:pt x="8459" y="816"/>
                      <a:pt x="8459" y="792"/>
                      <a:pt x="8457" y="760"/>
                    </a:cubicBezTo>
                    <a:cubicBezTo>
                      <a:pt x="8455" y="729"/>
                      <a:pt x="8394" y="764"/>
                      <a:pt x="8394" y="764"/>
                    </a:cubicBezTo>
                    <a:cubicBezTo>
                      <a:pt x="8426" y="778"/>
                      <a:pt x="8426" y="778"/>
                      <a:pt x="8426" y="778"/>
                    </a:cubicBezTo>
                    <a:lnTo>
                      <a:pt x="8459" y="816"/>
                    </a:lnTo>
                    <a:close/>
                    <a:moveTo>
                      <a:pt x="8197" y="28"/>
                    </a:moveTo>
                    <a:cubicBezTo>
                      <a:pt x="8183" y="0"/>
                      <a:pt x="8146" y="12"/>
                      <a:pt x="8146" y="28"/>
                    </a:cubicBezTo>
                    <a:cubicBezTo>
                      <a:pt x="8146" y="28"/>
                      <a:pt x="8214" y="56"/>
                      <a:pt x="8197" y="28"/>
                    </a:cubicBezTo>
                    <a:close/>
                    <a:moveTo>
                      <a:pt x="8518" y="244"/>
                    </a:moveTo>
                    <a:cubicBezTo>
                      <a:pt x="8527" y="244"/>
                      <a:pt x="8574" y="225"/>
                      <a:pt x="8574" y="225"/>
                    </a:cubicBezTo>
                    <a:cubicBezTo>
                      <a:pt x="8609" y="265"/>
                      <a:pt x="8609" y="265"/>
                      <a:pt x="8609" y="265"/>
                    </a:cubicBezTo>
                    <a:cubicBezTo>
                      <a:pt x="8609" y="265"/>
                      <a:pt x="8619" y="239"/>
                      <a:pt x="8644" y="211"/>
                    </a:cubicBezTo>
                    <a:cubicBezTo>
                      <a:pt x="8668" y="183"/>
                      <a:pt x="8703" y="132"/>
                      <a:pt x="8693" y="134"/>
                    </a:cubicBezTo>
                    <a:cubicBezTo>
                      <a:pt x="8684" y="136"/>
                      <a:pt x="8644" y="178"/>
                      <a:pt x="8644" y="178"/>
                    </a:cubicBezTo>
                    <a:cubicBezTo>
                      <a:pt x="8628" y="132"/>
                      <a:pt x="8628" y="132"/>
                      <a:pt x="8628" y="132"/>
                    </a:cubicBezTo>
                    <a:cubicBezTo>
                      <a:pt x="8628" y="132"/>
                      <a:pt x="8628" y="165"/>
                      <a:pt x="8619" y="172"/>
                    </a:cubicBezTo>
                    <a:cubicBezTo>
                      <a:pt x="8609" y="178"/>
                      <a:pt x="8579" y="197"/>
                      <a:pt x="8579" y="197"/>
                    </a:cubicBezTo>
                    <a:cubicBezTo>
                      <a:pt x="8469" y="197"/>
                      <a:pt x="8469" y="197"/>
                      <a:pt x="8469" y="197"/>
                    </a:cubicBezTo>
                    <a:cubicBezTo>
                      <a:pt x="8469" y="197"/>
                      <a:pt x="8509" y="244"/>
                      <a:pt x="8518" y="244"/>
                    </a:cubicBezTo>
                    <a:close/>
                    <a:moveTo>
                      <a:pt x="8663" y="47"/>
                    </a:moveTo>
                    <a:cubicBezTo>
                      <a:pt x="8665" y="12"/>
                      <a:pt x="8635" y="73"/>
                      <a:pt x="8631" y="87"/>
                    </a:cubicBezTo>
                    <a:cubicBezTo>
                      <a:pt x="8631" y="87"/>
                      <a:pt x="8659" y="83"/>
                      <a:pt x="8663" y="47"/>
                    </a:cubicBezTo>
                    <a:close/>
                    <a:moveTo>
                      <a:pt x="8741" y="117"/>
                    </a:moveTo>
                    <a:cubicBezTo>
                      <a:pt x="8757" y="116"/>
                      <a:pt x="8731" y="92"/>
                      <a:pt x="8731" y="92"/>
                    </a:cubicBezTo>
                    <a:cubicBezTo>
                      <a:pt x="8731" y="92"/>
                      <a:pt x="8724" y="122"/>
                      <a:pt x="8741" y="117"/>
                    </a:cubicBezTo>
                    <a:close/>
                    <a:moveTo>
                      <a:pt x="8644" y="387"/>
                    </a:moveTo>
                    <a:cubicBezTo>
                      <a:pt x="8649" y="408"/>
                      <a:pt x="8663" y="366"/>
                      <a:pt x="8663" y="331"/>
                    </a:cubicBezTo>
                    <a:cubicBezTo>
                      <a:pt x="8663" y="295"/>
                      <a:pt x="8703" y="202"/>
                      <a:pt x="8724" y="190"/>
                    </a:cubicBezTo>
                    <a:cubicBezTo>
                      <a:pt x="8748" y="178"/>
                      <a:pt x="8759" y="153"/>
                      <a:pt x="8759" y="153"/>
                    </a:cubicBezTo>
                    <a:cubicBezTo>
                      <a:pt x="8724" y="141"/>
                      <a:pt x="8684" y="221"/>
                      <a:pt x="8663" y="246"/>
                    </a:cubicBezTo>
                    <a:cubicBezTo>
                      <a:pt x="8640" y="272"/>
                      <a:pt x="8637" y="366"/>
                      <a:pt x="8644" y="387"/>
                    </a:cubicBezTo>
                    <a:close/>
                    <a:moveTo>
                      <a:pt x="8474" y="1099"/>
                    </a:moveTo>
                    <a:cubicBezTo>
                      <a:pt x="8506" y="1078"/>
                      <a:pt x="8506" y="1078"/>
                      <a:pt x="8506" y="1078"/>
                    </a:cubicBezTo>
                    <a:cubicBezTo>
                      <a:pt x="8506" y="1078"/>
                      <a:pt x="8537" y="1059"/>
                      <a:pt x="8506" y="1019"/>
                    </a:cubicBezTo>
                    <a:cubicBezTo>
                      <a:pt x="8476" y="980"/>
                      <a:pt x="8422" y="951"/>
                      <a:pt x="8420" y="966"/>
                    </a:cubicBezTo>
                    <a:cubicBezTo>
                      <a:pt x="8420" y="966"/>
                      <a:pt x="8478" y="1010"/>
                      <a:pt x="8478" y="1019"/>
                    </a:cubicBezTo>
                    <a:cubicBezTo>
                      <a:pt x="8478" y="1029"/>
                      <a:pt x="8487" y="1040"/>
                      <a:pt x="8483" y="1059"/>
                    </a:cubicBezTo>
                    <a:cubicBezTo>
                      <a:pt x="8476" y="1078"/>
                      <a:pt x="8474" y="1099"/>
                      <a:pt x="8474" y="1099"/>
                    </a:cubicBezTo>
                    <a:close/>
                    <a:moveTo>
                      <a:pt x="8445" y="938"/>
                    </a:moveTo>
                    <a:cubicBezTo>
                      <a:pt x="8457" y="928"/>
                      <a:pt x="8389" y="895"/>
                      <a:pt x="8389" y="895"/>
                    </a:cubicBezTo>
                    <a:cubicBezTo>
                      <a:pt x="8389" y="895"/>
                      <a:pt x="8431" y="947"/>
                      <a:pt x="8445" y="938"/>
                    </a:cubicBezTo>
                    <a:close/>
                    <a:moveTo>
                      <a:pt x="8673" y="738"/>
                    </a:moveTo>
                    <a:cubicBezTo>
                      <a:pt x="8656" y="715"/>
                      <a:pt x="8621" y="736"/>
                      <a:pt x="8621" y="736"/>
                    </a:cubicBezTo>
                    <a:cubicBezTo>
                      <a:pt x="8637" y="755"/>
                      <a:pt x="8637" y="755"/>
                      <a:pt x="8637" y="755"/>
                    </a:cubicBezTo>
                    <a:cubicBezTo>
                      <a:pt x="8644" y="788"/>
                      <a:pt x="8644" y="788"/>
                      <a:pt x="8644" y="788"/>
                    </a:cubicBezTo>
                    <a:cubicBezTo>
                      <a:pt x="8644" y="788"/>
                      <a:pt x="8687" y="764"/>
                      <a:pt x="8673" y="738"/>
                    </a:cubicBezTo>
                    <a:close/>
                    <a:moveTo>
                      <a:pt x="8656" y="589"/>
                    </a:moveTo>
                    <a:cubicBezTo>
                      <a:pt x="8640" y="598"/>
                      <a:pt x="8607" y="692"/>
                      <a:pt x="8607" y="692"/>
                    </a:cubicBezTo>
                    <a:cubicBezTo>
                      <a:pt x="8684" y="652"/>
                      <a:pt x="8684" y="652"/>
                      <a:pt x="8684" y="652"/>
                    </a:cubicBezTo>
                    <a:cubicBezTo>
                      <a:pt x="8640" y="640"/>
                      <a:pt x="8640" y="640"/>
                      <a:pt x="8640" y="640"/>
                    </a:cubicBezTo>
                    <a:cubicBezTo>
                      <a:pt x="8640" y="640"/>
                      <a:pt x="8687" y="621"/>
                      <a:pt x="8684" y="595"/>
                    </a:cubicBezTo>
                    <a:cubicBezTo>
                      <a:pt x="8682" y="570"/>
                      <a:pt x="8663" y="509"/>
                      <a:pt x="8665" y="500"/>
                    </a:cubicBezTo>
                    <a:cubicBezTo>
                      <a:pt x="8668" y="490"/>
                      <a:pt x="8673" y="455"/>
                      <a:pt x="8663" y="445"/>
                    </a:cubicBezTo>
                    <a:cubicBezTo>
                      <a:pt x="8654" y="436"/>
                      <a:pt x="8637" y="445"/>
                      <a:pt x="8637" y="483"/>
                    </a:cubicBezTo>
                    <a:cubicBezTo>
                      <a:pt x="8637" y="521"/>
                      <a:pt x="8673" y="579"/>
                      <a:pt x="8656" y="589"/>
                    </a:cubicBezTo>
                    <a:close/>
                    <a:moveTo>
                      <a:pt x="9394" y="1509"/>
                    </a:moveTo>
                    <a:cubicBezTo>
                      <a:pt x="9345" y="1446"/>
                      <a:pt x="9345" y="1446"/>
                      <a:pt x="9345" y="1446"/>
                    </a:cubicBezTo>
                    <a:cubicBezTo>
                      <a:pt x="9345" y="1481"/>
                      <a:pt x="9345" y="1481"/>
                      <a:pt x="9345" y="1481"/>
                    </a:cubicBezTo>
                    <a:cubicBezTo>
                      <a:pt x="9298" y="1486"/>
                      <a:pt x="9298" y="1486"/>
                      <a:pt x="9298" y="1486"/>
                    </a:cubicBezTo>
                    <a:cubicBezTo>
                      <a:pt x="9354" y="1533"/>
                      <a:pt x="9354" y="1533"/>
                      <a:pt x="9354" y="1533"/>
                    </a:cubicBezTo>
                    <a:lnTo>
                      <a:pt x="9394" y="1509"/>
                    </a:lnTo>
                    <a:close/>
                    <a:moveTo>
                      <a:pt x="8584" y="738"/>
                    </a:moveTo>
                    <a:cubicBezTo>
                      <a:pt x="8553" y="797"/>
                      <a:pt x="8553" y="797"/>
                      <a:pt x="8553" y="797"/>
                    </a:cubicBezTo>
                    <a:cubicBezTo>
                      <a:pt x="8584" y="769"/>
                      <a:pt x="8584" y="769"/>
                      <a:pt x="8584" y="769"/>
                    </a:cubicBezTo>
                    <a:lnTo>
                      <a:pt x="8584" y="738"/>
                    </a:lnTo>
                    <a:close/>
                    <a:moveTo>
                      <a:pt x="8602" y="1256"/>
                    </a:moveTo>
                    <a:cubicBezTo>
                      <a:pt x="8607" y="1174"/>
                      <a:pt x="8607" y="1174"/>
                      <a:pt x="8607" y="1174"/>
                    </a:cubicBezTo>
                    <a:cubicBezTo>
                      <a:pt x="8607" y="1174"/>
                      <a:pt x="8572" y="1123"/>
                      <a:pt x="8560" y="1094"/>
                    </a:cubicBezTo>
                    <a:cubicBezTo>
                      <a:pt x="8546" y="1066"/>
                      <a:pt x="8560" y="1017"/>
                      <a:pt x="8560" y="1008"/>
                    </a:cubicBezTo>
                    <a:cubicBezTo>
                      <a:pt x="8560" y="999"/>
                      <a:pt x="8544" y="963"/>
                      <a:pt x="8544" y="963"/>
                    </a:cubicBezTo>
                    <a:cubicBezTo>
                      <a:pt x="8591" y="905"/>
                      <a:pt x="8591" y="905"/>
                      <a:pt x="8591" y="905"/>
                    </a:cubicBezTo>
                    <a:cubicBezTo>
                      <a:pt x="8591" y="905"/>
                      <a:pt x="8588" y="890"/>
                      <a:pt x="8570" y="890"/>
                    </a:cubicBezTo>
                    <a:cubicBezTo>
                      <a:pt x="8551" y="890"/>
                      <a:pt x="8565" y="849"/>
                      <a:pt x="8565" y="849"/>
                    </a:cubicBezTo>
                    <a:cubicBezTo>
                      <a:pt x="8544" y="816"/>
                      <a:pt x="8553" y="905"/>
                      <a:pt x="8553" y="905"/>
                    </a:cubicBezTo>
                    <a:cubicBezTo>
                      <a:pt x="8513" y="956"/>
                      <a:pt x="8513" y="956"/>
                      <a:pt x="8513" y="956"/>
                    </a:cubicBezTo>
                    <a:cubicBezTo>
                      <a:pt x="8513" y="956"/>
                      <a:pt x="8527" y="980"/>
                      <a:pt x="8542" y="1008"/>
                    </a:cubicBezTo>
                    <a:cubicBezTo>
                      <a:pt x="8553" y="1036"/>
                      <a:pt x="8534" y="1071"/>
                      <a:pt x="8534" y="1094"/>
                    </a:cubicBezTo>
                    <a:cubicBezTo>
                      <a:pt x="8534" y="1116"/>
                      <a:pt x="8553" y="1127"/>
                      <a:pt x="8570" y="1183"/>
                    </a:cubicBezTo>
                    <a:cubicBezTo>
                      <a:pt x="8584" y="1240"/>
                      <a:pt x="8602" y="1256"/>
                      <a:pt x="8602" y="1256"/>
                    </a:cubicBezTo>
                    <a:close/>
                    <a:moveTo>
                      <a:pt x="8532" y="1284"/>
                    </a:moveTo>
                    <a:cubicBezTo>
                      <a:pt x="8544" y="1240"/>
                      <a:pt x="8544" y="1240"/>
                      <a:pt x="8544" y="1240"/>
                    </a:cubicBezTo>
                    <a:cubicBezTo>
                      <a:pt x="8509" y="1193"/>
                      <a:pt x="8515" y="1305"/>
                      <a:pt x="8515" y="1305"/>
                    </a:cubicBezTo>
                    <a:lnTo>
                      <a:pt x="8532" y="1284"/>
                    </a:lnTo>
                    <a:close/>
                    <a:moveTo>
                      <a:pt x="8593" y="1472"/>
                    </a:moveTo>
                    <a:cubicBezTo>
                      <a:pt x="8649" y="1448"/>
                      <a:pt x="8649" y="1448"/>
                      <a:pt x="8649" y="1448"/>
                    </a:cubicBezTo>
                    <a:cubicBezTo>
                      <a:pt x="8616" y="1429"/>
                      <a:pt x="8616" y="1429"/>
                      <a:pt x="8616" y="1429"/>
                    </a:cubicBezTo>
                    <a:lnTo>
                      <a:pt x="8593" y="1472"/>
                    </a:lnTo>
                    <a:close/>
                    <a:moveTo>
                      <a:pt x="8663" y="1378"/>
                    </a:moveTo>
                    <a:cubicBezTo>
                      <a:pt x="8677" y="1361"/>
                      <a:pt x="8612" y="1258"/>
                      <a:pt x="8600" y="1291"/>
                    </a:cubicBezTo>
                    <a:cubicBezTo>
                      <a:pt x="8600" y="1291"/>
                      <a:pt x="8647" y="1392"/>
                      <a:pt x="8663" y="1378"/>
                    </a:cubicBezTo>
                    <a:close/>
                    <a:moveTo>
                      <a:pt x="8665" y="1418"/>
                    </a:moveTo>
                    <a:cubicBezTo>
                      <a:pt x="8665" y="1418"/>
                      <a:pt x="8762" y="1465"/>
                      <a:pt x="8785" y="1448"/>
                    </a:cubicBezTo>
                    <a:cubicBezTo>
                      <a:pt x="8806" y="1434"/>
                      <a:pt x="8806" y="1420"/>
                      <a:pt x="8790" y="1420"/>
                    </a:cubicBezTo>
                    <a:cubicBezTo>
                      <a:pt x="8776" y="1420"/>
                      <a:pt x="8665" y="1397"/>
                      <a:pt x="8665" y="1418"/>
                    </a:cubicBezTo>
                    <a:close/>
                    <a:moveTo>
                      <a:pt x="8818" y="1455"/>
                    </a:moveTo>
                    <a:cubicBezTo>
                      <a:pt x="8818" y="1455"/>
                      <a:pt x="8787" y="1483"/>
                      <a:pt x="8794" y="1493"/>
                    </a:cubicBezTo>
                    <a:cubicBezTo>
                      <a:pt x="8799" y="1502"/>
                      <a:pt x="8818" y="1533"/>
                      <a:pt x="8818" y="1533"/>
                    </a:cubicBezTo>
                    <a:cubicBezTo>
                      <a:pt x="8818" y="1533"/>
                      <a:pt x="8759" y="1530"/>
                      <a:pt x="8762" y="1539"/>
                    </a:cubicBezTo>
                    <a:cubicBezTo>
                      <a:pt x="8766" y="1549"/>
                      <a:pt x="8799" y="1556"/>
                      <a:pt x="8825" y="1551"/>
                    </a:cubicBezTo>
                    <a:cubicBezTo>
                      <a:pt x="8848" y="1549"/>
                      <a:pt x="8871" y="1537"/>
                      <a:pt x="8846" y="1509"/>
                    </a:cubicBezTo>
                    <a:cubicBezTo>
                      <a:pt x="8820" y="1481"/>
                      <a:pt x="8865" y="1446"/>
                      <a:pt x="8818" y="1455"/>
                    </a:cubicBezTo>
                    <a:close/>
                    <a:moveTo>
                      <a:pt x="8876" y="1542"/>
                    </a:moveTo>
                    <a:cubicBezTo>
                      <a:pt x="8919" y="1594"/>
                      <a:pt x="8919" y="1594"/>
                      <a:pt x="8919" y="1594"/>
                    </a:cubicBezTo>
                    <a:cubicBezTo>
                      <a:pt x="8979" y="1612"/>
                      <a:pt x="8979" y="1612"/>
                      <a:pt x="8979" y="1612"/>
                    </a:cubicBezTo>
                    <a:cubicBezTo>
                      <a:pt x="8979" y="1612"/>
                      <a:pt x="9003" y="1645"/>
                      <a:pt x="9017" y="1643"/>
                    </a:cubicBezTo>
                    <a:cubicBezTo>
                      <a:pt x="9033" y="1640"/>
                      <a:pt x="8989" y="1575"/>
                      <a:pt x="8968" y="1570"/>
                    </a:cubicBezTo>
                    <a:cubicBezTo>
                      <a:pt x="8947" y="1567"/>
                      <a:pt x="8883" y="1528"/>
                      <a:pt x="8883" y="1528"/>
                    </a:cubicBezTo>
                    <a:lnTo>
                      <a:pt x="8876" y="1542"/>
                    </a:lnTo>
                    <a:close/>
                    <a:moveTo>
                      <a:pt x="8984" y="1671"/>
                    </a:moveTo>
                    <a:cubicBezTo>
                      <a:pt x="8984" y="1671"/>
                      <a:pt x="8965" y="1683"/>
                      <a:pt x="8977" y="1692"/>
                    </a:cubicBezTo>
                    <a:cubicBezTo>
                      <a:pt x="8989" y="1701"/>
                      <a:pt x="9008" y="1722"/>
                      <a:pt x="9008" y="1722"/>
                    </a:cubicBezTo>
                    <a:lnTo>
                      <a:pt x="8984" y="1671"/>
                    </a:lnTo>
                    <a:close/>
                    <a:moveTo>
                      <a:pt x="9631" y="2334"/>
                    </a:moveTo>
                    <a:cubicBezTo>
                      <a:pt x="9691" y="2306"/>
                      <a:pt x="9691" y="2306"/>
                      <a:pt x="9691" y="2306"/>
                    </a:cubicBezTo>
                    <a:cubicBezTo>
                      <a:pt x="9691" y="2306"/>
                      <a:pt x="9644" y="2256"/>
                      <a:pt x="9621" y="2266"/>
                    </a:cubicBezTo>
                    <a:cubicBezTo>
                      <a:pt x="9640" y="2303"/>
                      <a:pt x="9640" y="2303"/>
                      <a:pt x="9640" y="2303"/>
                    </a:cubicBezTo>
                    <a:lnTo>
                      <a:pt x="9631" y="2334"/>
                    </a:lnTo>
                    <a:close/>
                    <a:moveTo>
                      <a:pt x="10675" y="2765"/>
                    </a:moveTo>
                    <a:cubicBezTo>
                      <a:pt x="10677" y="2741"/>
                      <a:pt x="10703" y="2720"/>
                      <a:pt x="10703" y="2720"/>
                    </a:cubicBezTo>
                    <a:cubicBezTo>
                      <a:pt x="10612" y="2765"/>
                      <a:pt x="10612" y="2765"/>
                      <a:pt x="10612" y="2765"/>
                    </a:cubicBezTo>
                    <a:cubicBezTo>
                      <a:pt x="10612" y="2765"/>
                      <a:pt x="10673" y="2786"/>
                      <a:pt x="10675" y="2765"/>
                    </a:cubicBezTo>
                    <a:close/>
                    <a:moveTo>
                      <a:pt x="10808" y="2711"/>
                    </a:moveTo>
                    <a:cubicBezTo>
                      <a:pt x="10792" y="2694"/>
                      <a:pt x="10771" y="2732"/>
                      <a:pt x="10771" y="2732"/>
                    </a:cubicBezTo>
                    <a:cubicBezTo>
                      <a:pt x="10780" y="2732"/>
                      <a:pt x="10825" y="2727"/>
                      <a:pt x="10808" y="2711"/>
                    </a:cubicBezTo>
                    <a:close/>
                    <a:moveTo>
                      <a:pt x="10825" y="2652"/>
                    </a:moveTo>
                    <a:cubicBezTo>
                      <a:pt x="10792" y="2645"/>
                      <a:pt x="10792" y="2640"/>
                      <a:pt x="10827" y="2683"/>
                    </a:cubicBezTo>
                    <a:cubicBezTo>
                      <a:pt x="10827" y="2683"/>
                      <a:pt x="10855" y="2659"/>
                      <a:pt x="10825" y="2652"/>
                    </a:cubicBezTo>
                    <a:close/>
                    <a:moveTo>
                      <a:pt x="10792" y="3268"/>
                    </a:moveTo>
                    <a:cubicBezTo>
                      <a:pt x="10755" y="3287"/>
                      <a:pt x="10755" y="3287"/>
                      <a:pt x="10755" y="3287"/>
                    </a:cubicBezTo>
                    <a:cubicBezTo>
                      <a:pt x="10764" y="3324"/>
                      <a:pt x="10764" y="3324"/>
                      <a:pt x="10764" y="3324"/>
                    </a:cubicBezTo>
                    <a:cubicBezTo>
                      <a:pt x="10806" y="3283"/>
                      <a:pt x="10806" y="3283"/>
                      <a:pt x="10806" y="3283"/>
                    </a:cubicBezTo>
                    <a:cubicBezTo>
                      <a:pt x="10839" y="3254"/>
                      <a:pt x="10839" y="3254"/>
                      <a:pt x="10839" y="3254"/>
                    </a:cubicBezTo>
                    <a:cubicBezTo>
                      <a:pt x="10799" y="3250"/>
                      <a:pt x="10799" y="3250"/>
                      <a:pt x="10799" y="3250"/>
                    </a:cubicBezTo>
                    <a:lnTo>
                      <a:pt x="10792" y="3268"/>
                    </a:lnTo>
                    <a:close/>
                    <a:moveTo>
                      <a:pt x="9040" y="1867"/>
                    </a:moveTo>
                    <a:cubicBezTo>
                      <a:pt x="9026" y="1900"/>
                      <a:pt x="9017" y="1926"/>
                      <a:pt x="9017" y="1926"/>
                    </a:cubicBezTo>
                    <a:cubicBezTo>
                      <a:pt x="9017" y="1926"/>
                      <a:pt x="9040" y="1907"/>
                      <a:pt x="9040" y="1943"/>
                    </a:cubicBezTo>
                    <a:cubicBezTo>
                      <a:pt x="9040" y="1975"/>
                      <a:pt x="9033" y="2039"/>
                      <a:pt x="9033" y="2039"/>
                    </a:cubicBezTo>
                    <a:cubicBezTo>
                      <a:pt x="9033" y="2039"/>
                      <a:pt x="9078" y="2043"/>
                      <a:pt x="9073" y="1992"/>
                    </a:cubicBezTo>
                    <a:cubicBezTo>
                      <a:pt x="9071" y="1938"/>
                      <a:pt x="9054" y="1905"/>
                      <a:pt x="9054" y="1905"/>
                    </a:cubicBezTo>
                    <a:cubicBezTo>
                      <a:pt x="9054" y="1905"/>
                      <a:pt x="9073" y="1811"/>
                      <a:pt x="9068" y="1776"/>
                    </a:cubicBezTo>
                    <a:cubicBezTo>
                      <a:pt x="9061" y="1741"/>
                      <a:pt x="9078" y="1673"/>
                      <a:pt x="9059" y="1673"/>
                    </a:cubicBezTo>
                    <a:cubicBezTo>
                      <a:pt x="9040" y="1673"/>
                      <a:pt x="9031" y="1683"/>
                      <a:pt x="9031" y="1683"/>
                    </a:cubicBezTo>
                    <a:cubicBezTo>
                      <a:pt x="9031" y="1683"/>
                      <a:pt x="9052" y="1833"/>
                      <a:pt x="9040" y="1867"/>
                    </a:cubicBezTo>
                    <a:close/>
                    <a:moveTo>
                      <a:pt x="9005" y="2020"/>
                    </a:moveTo>
                    <a:cubicBezTo>
                      <a:pt x="9012" y="1992"/>
                      <a:pt x="8956" y="1989"/>
                      <a:pt x="8956" y="1989"/>
                    </a:cubicBezTo>
                    <a:cubicBezTo>
                      <a:pt x="8956" y="1989"/>
                      <a:pt x="8998" y="2048"/>
                      <a:pt x="9005" y="2020"/>
                    </a:cubicBezTo>
                    <a:close/>
                    <a:moveTo>
                      <a:pt x="9068" y="2060"/>
                    </a:moveTo>
                    <a:cubicBezTo>
                      <a:pt x="9054" y="2052"/>
                      <a:pt x="9026" y="2069"/>
                      <a:pt x="9026" y="2069"/>
                    </a:cubicBezTo>
                    <a:cubicBezTo>
                      <a:pt x="9052" y="2085"/>
                      <a:pt x="9052" y="2085"/>
                      <a:pt x="9052" y="2085"/>
                    </a:cubicBezTo>
                    <a:cubicBezTo>
                      <a:pt x="9036" y="2109"/>
                      <a:pt x="9036" y="2109"/>
                      <a:pt x="9036" y="2109"/>
                    </a:cubicBezTo>
                    <a:cubicBezTo>
                      <a:pt x="9052" y="2132"/>
                      <a:pt x="9052" y="2132"/>
                      <a:pt x="9052" y="2132"/>
                    </a:cubicBezTo>
                    <a:cubicBezTo>
                      <a:pt x="9033" y="2144"/>
                      <a:pt x="9033" y="2144"/>
                      <a:pt x="9033" y="2144"/>
                    </a:cubicBezTo>
                    <a:cubicBezTo>
                      <a:pt x="9033" y="2144"/>
                      <a:pt x="9097" y="2156"/>
                      <a:pt x="9082" y="2125"/>
                    </a:cubicBezTo>
                    <a:cubicBezTo>
                      <a:pt x="9071" y="2095"/>
                      <a:pt x="9080" y="2067"/>
                      <a:pt x="9068" y="2060"/>
                    </a:cubicBezTo>
                    <a:close/>
                    <a:moveTo>
                      <a:pt x="9809" y="2659"/>
                    </a:moveTo>
                    <a:cubicBezTo>
                      <a:pt x="9790" y="2634"/>
                      <a:pt x="9733" y="2713"/>
                      <a:pt x="9733" y="2713"/>
                    </a:cubicBezTo>
                    <a:cubicBezTo>
                      <a:pt x="9750" y="2718"/>
                      <a:pt x="9764" y="2723"/>
                      <a:pt x="9764" y="2723"/>
                    </a:cubicBezTo>
                    <a:cubicBezTo>
                      <a:pt x="9764" y="2723"/>
                      <a:pt x="9827" y="2683"/>
                      <a:pt x="9809" y="2659"/>
                    </a:cubicBezTo>
                    <a:close/>
                    <a:moveTo>
                      <a:pt x="9195" y="2634"/>
                    </a:moveTo>
                    <a:cubicBezTo>
                      <a:pt x="9207" y="2605"/>
                      <a:pt x="9207" y="2605"/>
                      <a:pt x="9207" y="2605"/>
                    </a:cubicBezTo>
                    <a:cubicBezTo>
                      <a:pt x="9216" y="2566"/>
                      <a:pt x="9216" y="2566"/>
                      <a:pt x="9216" y="2566"/>
                    </a:cubicBezTo>
                    <a:cubicBezTo>
                      <a:pt x="9202" y="2559"/>
                      <a:pt x="9150" y="2608"/>
                      <a:pt x="9157" y="2634"/>
                    </a:cubicBezTo>
                    <a:cubicBezTo>
                      <a:pt x="9165" y="2659"/>
                      <a:pt x="9195" y="2634"/>
                      <a:pt x="9195" y="2634"/>
                    </a:cubicBezTo>
                    <a:close/>
                    <a:moveTo>
                      <a:pt x="9263" y="2683"/>
                    </a:moveTo>
                    <a:cubicBezTo>
                      <a:pt x="9286" y="2659"/>
                      <a:pt x="9223" y="2666"/>
                      <a:pt x="9223" y="2666"/>
                    </a:cubicBezTo>
                    <a:cubicBezTo>
                      <a:pt x="9223" y="2666"/>
                      <a:pt x="9242" y="2708"/>
                      <a:pt x="9263" y="2683"/>
                    </a:cubicBezTo>
                    <a:close/>
                    <a:moveTo>
                      <a:pt x="9621" y="3170"/>
                    </a:moveTo>
                    <a:cubicBezTo>
                      <a:pt x="9626" y="3144"/>
                      <a:pt x="9666" y="3114"/>
                      <a:pt x="9666" y="3114"/>
                    </a:cubicBezTo>
                    <a:cubicBezTo>
                      <a:pt x="9703" y="3090"/>
                      <a:pt x="9703" y="3090"/>
                      <a:pt x="9703" y="3090"/>
                    </a:cubicBezTo>
                    <a:cubicBezTo>
                      <a:pt x="9668" y="3076"/>
                      <a:pt x="9668" y="3076"/>
                      <a:pt x="9668" y="3076"/>
                    </a:cubicBezTo>
                    <a:cubicBezTo>
                      <a:pt x="9649" y="3057"/>
                      <a:pt x="9649" y="3057"/>
                      <a:pt x="9649" y="3057"/>
                    </a:cubicBezTo>
                    <a:cubicBezTo>
                      <a:pt x="9635" y="3100"/>
                      <a:pt x="9635" y="3100"/>
                      <a:pt x="9635" y="3100"/>
                    </a:cubicBezTo>
                    <a:cubicBezTo>
                      <a:pt x="9635" y="3100"/>
                      <a:pt x="9560" y="3146"/>
                      <a:pt x="9574" y="3182"/>
                    </a:cubicBezTo>
                    <a:cubicBezTo>
                      <a:pt x="9574" y="3182"/>
                      <a:pt x="9619" y="3194"/>
                      <a:pt x="9621" y="3170"/>
                    </a:cubicBezTo>
                    <a:close/>
                    <a:moveTo>
                      <a:pt x="9741" y="3200"/>
                    </a:moveTo>
                    <a:cubicBezTo>
                      <a:pt x="9787" y="3194"/>
                      <a:pt x="9787" y="3194"/>
                      <a:pt x="9787" y="3194"/>
                    </a:cubicBezTo>
                    <a:cubicBezTo>
                      <a:pt x="9787" y="3194"/>
                      <a:pt x="9780" y="3219"/>
                      <a:pt x="9811" y="3219"/>
                    </a:cubicBezTo>
                    <a:cubicBezTo>
                      <a:pt x="9844" y="3219"/>
                      <a:pt x="9876" y="3219"/>
                      <a:pt x="9876" y="3219"/>
                    </a:cubicBezTo>
                    <a:cubicBezTo>
                      <a:pt x="9820" y="3194"/>
                      <a:pt x="9820" y="3194"/>
                      <a:pt x="9820" y="3194"/>
                    </a:cubicBezTo>
                    <a:cubicBezTo>
                      <a:pt x="9752" y="3163"/>
                      <a:pt x="9752" y="3163"/>
                      <a:pt x="9752" y="3163"/>
                    </a:cubicBezTo>
                    <a:cubicBezTo>
                      <a:pt x="9752" y="3163"/>
                      <a:pt x="9752" y="3137"/>
                      <a:pt x="9741" y="3125"/>
                    </a:cubicBezTo>
                    <a:cubicBezTo>
                      <a:pt x="9729" y="3114"/>
                      <a:pt x="9731" y="3172"/>
                      <a:pt x="9731" y="3172"/>
                    </a:cubicBezTo>
                    <a:lnTo>
                      <a:pt x="9741" y="3200"/>
                    </a:lnTo>
                    <a:close/>
                    <a:moveTo>
                      <a:pt x="9853" y="3528"/>
                    </a:moveTo>
                    <a:cubicBezTo>
                      <a:pt x="9830" y="3486"/>
                      <a:pt x="9818" y="3409"/>
                      <a:pt x="9818" y="3409"/>
                    </a:cubicBezTo>
                    <a:cubicBezTo>
                      <a:pt x="9780" y="3428"/>
                      <a:pt x="9780" y="3428"/>
                      <a:pt x="9780" y="3428"/>
                    </a:cubicBezTo>
                    <a:cubicBezTo>
                      <a:pt x="9809" y="3493"/>
                      <a:pt x="9809" y="3493"/>
                      <a:pt x="9809" y="3493"/>
                    </a:cubicBezTo>
                    <a:cubicBezTo>
                      <a:pt x="9809" y="3538"/>
                      <a:pt x="9809" y="3538"/>
                      <a:pt x="9809" y="3538"/>
                    </a:cubicBezTo>
                    <a:cubicBezTo>
                      <a:pt x="9809" y="3538"/>
                      <a:pt x="9874" y="3568"/>
                      <a:pt x="9853" y="3528"/>
                    </a:cubicBezTo>
                    <a:close/>
                    <a:moveTo>
                      <a:pt x="9858" y="3350"/>
                    </a:moveTo>
                    <a:cubicBezTo>
                      <a:pt x="9869" y="3357"/>
                      <a:pt x="9890" y="3308"/>
                      <a:pt x="9890" y="3308"/>
                    </a:cubicBezTo>
                    <a:cubicBezTo>
                      <a:pt x="9881" y="3275"/>
                      <a:pt x="9881" y="3275"/>
                      <a:pt x="9881" y="3275"/>
                    </a:cubicBezTo>
                    <a:cubicBezTo>
                      <a:pt x="9881" y="3275"/>
                      <a:pt x="9830" y="3327"/>
                      <a:pt x="9858" y="3350"/>
                    </a:cubicBezTo>
                    <a:close/>
                    <a:moveTo>
                      <a:pt x="10033" y="3355"/>
                    </a:moveTo>
                    <a:cubicBezTo>
                      <a:pt x="10050" y="3334"/>
                      <a:pt x="10007" y="3275"/>
                      <a:pt x="10007" y="3275"/>
                    </a:cubicBezTo>
                    <a:cubicBezTo>
                      <a:pt x="10007" y="3275"/>
                      <a:pt x="10003" y="3306"/>
                      <a:pt x="9996" y="3315"/>
                    </a:cubicBezTo>
                    <a:cubicBezTo>
                      <a:pt x="9989" y="3324"/>
                      <a:pt x="9928" y="3294"/>
                      <a:pt x="9914" y="3327"/>
                    </a:cubicBezTo>
                    <a:cubicBezTo>
                      <a:pt x="9949" y="3350"/>
                      <a:pt x="9949" y="3350"/>
                      <a:pt x="9949" y="3350"/>
                    </a:cubicBezTo>
                    <a:cubicBezTo>
                      <a:pt x="9949" y="3350"/>
                      <a:pt x="10017" y="3378"/>
                      <a:pt x="10033" y="3355"/>
                    </a:cubicBezTo>
                    <a:close/>
                    <a:moveTo>
                      <a:pt x="10136" y="3955"/>
                    </a:moveTo>
                    <a:cubicBezTo>
                      <a:pt x="10157" y="3948"/>
                      <a:pt x="10073" y="3908"/>
                      <a:pt x="10073" y="3908"/>
                    </a:cubicBezTo>
                    <a:cubicBezTo>
                      <a:pt x="10080" y="3957"/>
                      <a:pt x="10113" y="3960"/>
                      <a:pt x="10136" y="3955"/>
                    </a:cubicBezTo>
                    <a:close/>
                    <a:moveTo>
                      <a:pt x="10534" y="3899"/>
                    </a:moveTo>
                    <a:cubicBezTo>
                      <a:pt x="10537" y="3849"/>
                      <a:pt x="10537" y="3849"/>
                      <a:pt x="10537" y="3849"/>
                    </a:cubicBezTo>
                    <a:cubicBezTo>
                      <a:pt x="10537" y="3849"/>
                      <a:pt x="10457" y="3826"/>
                      <a:pt x="10420" y="3920"/>
                    </a:cubicBezTo>
                    <a:cubicBezTo>
                      <a:pt x="10506" y="3870"/>
                      <a:pt x="10506" y="3870"/>
                      <a:pt x="10506" y="3870"/>
                    </a:cubicBezTo>
                    <a:lnTo>
                      <a:pt x="10534" y="3899"/>
                    </a:lnTo>
                    <a:close/>
                    <a:moveTo>
                      <a:pt x="10626" y="3920"/>
                    </a:moveTo>
                    <a:cubicBezTo>
                      <a:pt x="10635" y="3899"/>
                      <a:pt x="10619" y="3868"/>
                      <a:pt x="10619" y="3868"/>
                    </a:cubicBezTo>
                    <a:cubicBezTo>
                      <a:pt x="10562" y="3915"/>
                      <a:pt x="10562" y="3915"/>
                      <a:pt x="10562" y="3915"/>
                    </a:cubicBezTo>
                    <a:cubicBezTo>
                      <a:pt x="10562" y="3915"/>
                      <a:pt x="10617" y="3943"/>
                      <a:pt x="10626" y="3920"/>
                    </a:cubicBezTo>
                    <a:close/>
                    <a:moveTo>
                      <a:pt x="10788" y="4156"/>
                    </a:moveTo>
                    <a:cubicBezTo>
                      <a:pt x="10734" y="3995"/>
                      <a:pt x="10734" y="3995"/>
                      <a:pt x="10734" y="3995"/>
                    </a:cubicBezTo>
                    <a:cubicBezTo>
                      <a:pt x="10719" y="3992"/>
                      <a:pt x="10719" y="3992"/>
                      <a:pt x="10719" y="3992"/>
                    </a:cubicBezTo>
                    <a:cubicBezTo>
                      <a:pt x="10764" y="4161"/>
                      <a:pt x="10764" y="4161"/>
                      <a:pt x="10764" y="4161"/>
                    </a:cubicBezTo>
                    <a:lnTo>
                      <a:pt x="10788" y="4156"/>
                    </a:lnTo>
                    <a:close/>
                    <a:moveTo>
                      <a:pt x="10731" y="3861"/>
                    </a:moveTo>
                    <a:cubicBezTo>
                      <a:pt x="10731" y="3861"/>
                      <a:pt x="10759" y="3873"/>
                      <a:pt x="10759" y="3891"/>
                    </a:cubicBezTo>
                    <a:cubicBezTo>
                      <a:pt x="10759" y="3910"/>
                      <a:pt x="10764" y="3938"/>
                      <a:pt x="10764" y="3938"/>
                    </a:cubicBezTo>
                    <a:cubicBezTo>
                      <a:pt x="10764" y="3938"/>
                      <a:pt x="10788" y="3915"/>
                      <a:pt x="10788" y="3901"/>
                    </a:cubicBezTo>
                    <a:cubicBezTo>
                      <a:pt x="10788" y="3889"/>
                      <a:pt x="10820" y="3870"/>
                      <a:pt x="10801" y="3835"/>
                    </a:cubicBezTo>
                    <a:cubicBezTo>
                      <a:pt x="10783" y="3802"/>
                      <a:pt x="10731" y="3861"/>
                      <a:pt x="10731" y="3861"/>
                    </a:cubicBezTo>
                    <a:close/>
                    <a:moveTo>
                      <a:pt x="10979" y="4138"/>
                    </a:moveTo>
                    <a:cubicBezTo>
                      <a:pt x="10996" y="4154"/>
                      <a:pt x="10996" y="4154"/>
                      <a:pt x="10996" y="4154"/>
                    </a:cubicBezTo>
                    <a:cubicBezTo>
                      <a:pt x="11066" y="4079"/>
                      <a:pt x="11066" y="4079"/>
                      <a:pt x="11066" y="4079"/>
                    </a:cubicBezTo>
                    <a:cubicBezTo>
                      <a:pt x="11043" y="4072"/>
                      <a:pt x="11043" y="4072"/>
                      <a:pt x="11043" y="4072"/>
                    </a:cubicBezTo>
                    <a:lnTo>
                      <a:pt x="10979" y="4138"/>
                    </a:lnTo>
                    <a:close/>
                    <a:moveTo>
                      <a:pt x="11439" y="4276"/>
                    </a:moveTo>
                    <a:cubicBezTo>
                      <a:pt x="11429" y="4276"/>
                      <a:pt x="11394" y="4294"/>
                      <a:pt x="11394" y="4294"/>
                    </a:cubicBezTo>
                    <a:cubicBezTo>
                      <a:pt x="11394" y="4294"/>
                      <a:pt x="11378" y="4308"/>
                      <a:pt x="11429" y="4308"/>
                    </a:cubicBezTo>
                    <a:cubicBezTo>
                      <a:pt x="11478" y="4308"/>
                      <a:pt x="11488" y="4268"/>
                      <a:pt x="11488" y="4268"/>
                    </a:cubicBezTo>
                    <a:cubicBezTo>
                      <a:pt x="11488" y="4268"/>
                      <a:pt x="11448" y="4276"/>
                      <a:pt x="11439" y="4276"/>
                    </a:cubicBezTo>
                    <a:close/>
                    <a:moveTo>
                      <a:pt x="10762" y="4182"/>
                    </a:moveTo>
                    <a:cubicBezTo>
                      <a:pt x="10755" y="4170"/>
                      <a:pt x="10691" y="4166"/>
                      <a:pt x="10715" y="4231"/>
                    </a:cubicBezTo>
                    <a:cubicBezTo>
                      <a:pt x="10727" y="4264"/>
                      <a:pt x="10769" y="4194"/>
                      <a:pt x="10762" y="4182"/>
                    </a:cubicBezTo>
                    <a:close/>
                    <a:moveTo>
                      <a:pt x="10272" y="3500"/>
                    </a:moveTo>
                    <a:cubicBezTo>
                      <a:pt x="10310" y="3531"/>
                      <a:pt x="10310" y="3531"/>
                      <a:pt x="10310" y="3531"/>
                    </a:cubicBezTo>
                    <a:cubicBezTo>
                      <a:pt x="10310" y="3531"/>
                      <a:pt x="10289" y="3430"/>
                      <a:pt x="10272" y="3500"/>
                    </a:cubicBezTo>
                    <a:close/>
                    <a:moveTo>
                      <a:pt x="10780" y="4955"/>
                    </a:moveTo>
                    <a:cubicBezTo>
                      <a:pt x="10769" y="4932"/>
                      <a:pt x="10736" y="4960"/>
                      <a:pt x="10736" y="4969"/>
                    </a:cubicBezTo>
                    <a:cubicBezTo>
                      <a:pt x="10736" y="4978"/>
                      <a:pt x="10750" y="5016"/>
                      <a:pt x="10743" y="5051"/>
                    </a:cubicBezTo>
                    <a:cubicBezTo>
                      <a:pt x="10736" y="5086"/>
                      <a:pt x="10696" y="5053"/>
                      <a:pt x="10696" y="5079"/>
                    </a:cubicBezTo>
                    <a:cubicBezTo>
                      <a:pt x="10696" y="5105"/>
                      <a:pt x="10745" y="5107"/>
                      <a:pt x="10745" y="5107"/>
                    </a:cubicBezTo>
                    <a:cubicBezTo>
                      <a:pt x="10801" y="5034"/>
                      <a:pt x="10801" y="5034"/>
                      <a:pt x="10801" y="5034"/>
                    </a:cubicBezTo>
                    <a:cubicBezTo>
                      <a:pt x="10773" y="4988"/>
                      <a:pt x="10773" y="4988"/>
                      <a:pt x="10773" y="4988"/>
                    </a:cubicBezTo>
                    <a:lnTo>
                      <a:pt x="10780" y="4955"/>
                    </a:lnTo>
                    <a:close/>
                    <a:moveTo>
                      <a:pt x="10668" y="5199"/>
                    </a:moveTo>
                    <a:cubicBezTo>
                      <a:pt x="10666" y="5220"/>
                      <a:pt x="10694" y="5222"/>
                      <a:pt x="10694" y="5222"/>
                    </a:cubicBezTo>
                    <a:cubicBezTo>
                      <a:pt x="10731" y="5145"/>
                      <a:pt x="10731" y="5145"/>
                      <a:pt x="10731" y="5145"/>
                    </a:cubicBezTo>
                    <a:cubicBezTo>
                      <a:pt x="10731" y="5145"/>
                      <a:pt x="10722" y="5126"/>
                      <a:pt x="10703" y="5107"/>
                    </a:cubicBezTo>
                    <a:cubicBezTo>
                      <a:pt x="10684" y="5089"/>
                      <a:pt x="10673" y="5175"/>
                      <a:pt x="10668" y="5199"/>
                    </a:cubicBezTo>
                    <a:close/>
                    <a:moveTo>
                      <a:pt x="10675" y="5747"/>
                    </a:moveTo>
                    <a:cubicBezTo>
                      <a:pt x="10666" y="5766"/>
                      <a:pt x="10703" y="5796"/>
                      <a:pt x="10703" y="5796"/>
                    </a:cubicBezTo>
                    <a:cubicBezTo>
                      <a:pt x="10727" y="5761"/>
                      <a:pt x="10727" y="5761"/>
                      <a:pt x="10727" y="5761"/>
                    </a:cubicBezTo>
                    <a:cubicBezTo>
                      <a:pt x="10722" y="5730"/>
                      <a:pt x="10722" y="5730"/>
                      <a:pt x="10722" y="5730"/>
                    </a:cubicBezTo>
                    <a:cubicBezTo>
                      <a:pt x="10712" y="5653"/>
                      <a:pt x="10684" y="5728"/>
                      <a:pt x="10675" y="5747"/>
                    </a:cubicBezTo>
                    <a:close/>
                    <a:moveTo>
                      <a:pt x="8483" y="8881"/>
                    </a:moveTo>
                    <a:cubicBezTo>
                      <a:pt x="8509" y="8881"/>
                      <a:pt x="8523" y="8867"/>
                      <a:pt x="8523" y="8867"/>
                    </a:cubicBezTo>
                    <a:cubicBezTo>
                      <a:pt x="8483" y="8846"/>
                      <a:pt x="8483" y="8846"/>
                      <a:pt x="8483" y="8846"/>
                    </a:cubicBezTo>
                    <a:cubicBezTo>
                      <a:pt x="8483" y="8846"/>
                      <a:pt x="8455" y="8881"/>
                      <a:pt x="8483" y="8881"/>
                    </a:cubicBezTo>
                    <a:close/>
                    <a:moveTo>
                      <a:pt x="8483" y="8914"/>
                    </a:moveTo>
                    <a:cubicBezTo>
                      <a:pt x="8483" y="8914"/>
                      <a:pt x="8487" y="8956"/>
                      <a:pt x="8504" y="8958"/>
                    </a:cubicBezTo>
                    <a:cubicBezTo>
                      <a:pt x="8518" y="8961"/>
                      <a:pt x="8527" y="8923"/>
                      <a:pt x="8534" y="8905"/>
                    </a:cubicBezTo>
                    <a:cubicBezTo>
                      <a:pt x="8542" y="8886"/>
                      <a:pt x="8495" y="8886"/>
                      <a:pt x="8483" y="8914"/>
                    </a:cubicBezTo>
                    <a:close/>
                    <a:moveTo>
                      <a:pt x="7951" y="9057"/>
                    </a:moveTo>
                    <a:cubicBezTo>
                      <a:pt x="7923" y="9017"/>
                      <a:pt x="7923" y="9017"/>
                      <a:pt x="7923" y="9017"/>
                    </a:cubicBezTo>
                    <a:cubicBezTo>
                      <a:pt x="7923" y="9017"/>
                      <a:pt x="7900" y="9050"/>
                      <a:pt x="7892" y="9064"/>
                    </a:cubicBezTo>
                    <a:cubicBezTo>
                      <a:pt x="7886" y="9080"/>
                      <a:pt x="7892" y="9101"/>
                      <a:pt x="7892" y="9111"/>
                    </a:cubicBezTo>
                    <a:cubicBezTo>
                      <a:pt x="7892" y="9120"/>
                      <a:pt x="7883" y="9148"/>
                      <a:pt x="7883" y="9148"/>
                    </a:cubicBezTo>
                    <a:cubicBezTo>
                      <a:pt x="7912" y="9212"/>
                      <a:pt x="7912" y="9212"/>
                      <a:pt x="7912" y="9212"/>
                    </a:cubicBezTo>
                    <a:cubicBezTo>
                      <a:pt x="7961" y="9155"/>
                      <a:pt x="7961" y="9155"/>
                      <a:pt x="7961" y="9155"/>
                    </a:cubicBezTo>
                    <a:cubicBezTo>
                      <a:pt x="7956" y="9132"/>
                      <a:pt x="7956" y="9132"/>
                      <a:pt x="7956" y="9132"/>
                    </a:cubicBezTo>
                    <a:lnTo>
                      <a:pt x="7951" y="9057"/>
                    </a:lnTo>
                    <a:close/>
                    <a:moveTo>
                      <a:pt x="8932" y="9263"/>
                    </a:moveTo>
                    <a:cubicBezTo>
                      <a:pt x="8895" y="9233"/>
                      <a:pt x="8902" y="9268"/>
                      <a:pt x="8883" y="9230"/>
                    </a:cubicBezTo>
                    <a:cubicBezTo>
                      <a:pt x="8865" y="9193"/>
                      <a:pt x="8853" y="9174"/>
                      <a:pt x="8853" y="9174"/>
                    </a:cubicBezTo>
                    <a:cubicBezTo>
                      <a:pt x="8815" y="9216"/>
                      <a:pt x="8815" y="9216"/>
                      <a:pt x="8815" y="9216"/>
                    </a:cubicBezTo>
                    <a:cubicBezTo>
                      <a:pt x="8827" y="9242"/>
                      <a:pt x="8827" y="9242"/>
                      <a:pt x="8827" y="9242"/>
                    </a:cubicBezTo>
                    <a:cubicBezTo>
                      <a:pt x="8825" y="9282"/>
                      <a:pt x="8825" y="9282"/>
                      <a:pt x="8825" y="9282"/>
                    </a:cubicBezTo>
                    <a:cubicBezTo>
                      <a:pt x="8825" y="9282"/>
                      <a:pt x="8848" y="9329"/>
                      <a:pt x="8855" y="9338"/>
                    </a:cubicBezTo>
                    <a:cubicBezTo>
                      <a:pt x="8862" y="9347"/>
                      <a:pt x="8919" y="9333"/>
                      <a:pt x="8919" y="9333"/>
                    </a:cubicBezTo>
                    <a:cubicBezTo>
                      <a:pt x="8904" y="9305"/>
                      <a:pt x="8904" y="9305"/>
                      <a:pt x="8904" y="9305"/>
                    </a:cubicBezTo>
                    <a:cubicBezTo>
                      <a:pt x="8904" y="9305"/>
                      <a:pt x="8970" y="9296"/>
                      <a:pt x="8932" y="9263"/>
                    </a:cubicBezTo>
                    <a:close/>
                    <a:moveTo>
                      <a:pt x="8893" y="9363"/>
                    </a:moveTo>
                    <a:cubicBezTo>
                      <a:pt x="8862" y="9363"/>
                      <a:pt x="8834" y="9378"/>
                      <a:pt x="8834" y="9378"/>
                    </a:cubicBezTo>
                    <a:cubicBezTo>
                      <a:pt x="8862" y="9396"/>
                      <a:pt x="8862" y="9396"/>
                      <a:pt x="8862" y="9396"/>
                    </a:cubicBezTo>
                    <a:cubicBezTo>
                      <a:pt x="8881" y="9441"/>
                      <a:pt x="8881" y="9441"/>
                      <a:pt x="8881" y="9441"/>
                    </a:cubicBezTo>
                    <a:cubicBezTo>
                      <a:pt x="8881" y="9441"/>
                      <a:pt x="8871" y="9406"/>
                      <a:pt x="8902" y="9411"/>
                    </a:cubicBezTo>
                    <a:cubicBezTo>
                      <a:pt x="8932" y="9413"/>
                      <a:pt x="8977" y="9439"/>
                      <a:pt x="8956" y="9403"/>
                    </a:cubicBezTo>
                    <a:cubicBezTo>
                      <a:pt x="8932" y="9371"/>
                      <a:pt x="8923" y="9363"/>
                      <a:pt x="8893" y="9363"/>
                    </a:cubicBezTo>
                    <a:close/>
                    <a:moveTo>
                      <a:pt x="8097" y="9333"/>
                    </a:moveTo>
                    <a:cubicBezTo>
                      <a:pt x="8097" y="9333"/>
                      <a:pt x="8127" y="9314"/>
                      <a:pt x="8139" y="9314"/>
                    </a:cubicBezTo>
                    <a:cubicBezTo>
                      <a:pt x="8129" y="9291"/>
                      <a:pt x="8129" y="9291"/>
                      <a:pt x="8129" y="9291"/>
                    </a:cubicBezTo>
                    <a:cubicBezTo>
                      <a:pt x="8129" y="9291"/>
                      <a:pt x="8082" y="9301"/>
                      <a:pt x="8070" y="9307"/>
                    </a:cubicBezTo>
                    <a:cubicBezTo>
                      <a:pt x="8059" y="9314"/>
                      <a:pt x="8061" y="9345"/>
                      <a:pt x="8078" y="9371"/>
                    </a:cubicBezTo>
                    <a:cubicBezTo>
                      <a:pt x="8092" y="9394"/>
                      <a:pt x="8097" y="9333"/>
                      <a:pt x="8097" y="9333"/>
                    </a:cubicBezTo>
                    <a:close/>
                    <a:moveTo>
                      <a:pt x="8780" y="9525"/>
                    </a:moveTo>
                    <a:cubicBezTo>
                      <a:pt x="8780" y="9525"/>
                      <a:pt x="8757" y="9507"/>
                      <a:pt x="8738" y="9504"/>
                    </a:cubicBezTo>
                    <a:cubicBezTo>
                      <a:pt x="8720" y="9500"/>
                      <a:pt x="8691" y="9553"/>
                      <a:pt x="8691" y="9553"/>
                    </a:cubicBezTo>
                    <a:cubicBezTo>
                      <a:pt x="8691" y="9553"/>
                      <a:pt x="8656" y="9532"/>
                      <a:pt x="8644" y="9532"/>
                    </a:cubicBezTo>
                    <a:cubicBezTo>
                      <a:pt x="8631" y="9532"/>
                      <a:pt x="8631" y="9556"/>
                      <a:pt x="8631" y="9556"/>
                    </a:cubicBezTo>
                    <a:cubicBezTo>
                      <a:pt x="8631" y="9556"/>
                      <a:pt x="8600" y="9542"/>
                      <a:pt x="8581" y="9544"/>
                    </a:cubicBezTo>
                    <a:cubicBezTo>
                      <a:pt x="8563" y="9546"/>
                      <a:pt x="8560" y="9581"/>
                      <a:pt x="8560" y="9581"/>
                    </a:cubicBezTo>
                    <a:cubicBezTo>
                      <a:pt x="8534" y="9556"/>
                      <a:pt x="8534" y="9556"/>
                      <a:pt x="8534" y="9556"/>
                    </a:cubicBezTo>
                    <a:cubicBezTo>
                      <a:pt x="8429" y="9584"/>
                      <a:pt x="8429" y="9584"/>
                      <a:pt x="8429" y="9584"/>
                    </a:cubicBezTo>
                    <a:cubicBezTo>
                      <a:pt x="8242" y="9472"/>
                      <a:pt x="8242" y="9472"/>
                      <a:pt x="8242" y="9472"/>
                    </a:cubicBezTo>
                    <a:cubicBezTo>
                      <a:pt x="8211" y="9422"/>
                      <a:pt x="8211" y="9422"/>
                      <a:pt x="8211" y="9422"/>
                    </a:cubicBezTo>
                    <a:cubicBezTo>
                      <a:pt x="8211" y="9422"/>
                      <a:pt x="8192" y="9439"/>
                      <a:pt x="8174" y="9439"/>
                    </a:cubicBezTo>
                    <a:cubicBezTo>
                      <a:pt x="8155" y="9439"/>
                      <a:pt x="8134" y="9396"/>
                      <a:pt x="8134" y="9385"/>
                    </a:cubicBezTo>
                    <a:cubicBezTo>
                      <a:pt x="8134" y="9373"/>
                      <a:pt x="8068" y="9385"/>
                      <a:pt x="8068" y="9385"/>
                    </a:cubicBezTo>
                    <a:cubicBezTo>
                      <a:pt x="8068" y="9385"/>
                      <a:pt x="8059" y="9443"/>
                      <a:pt x="8068" y="9462"/>
                    </a:cubicBezTo>
                    <a:cubicBezTo>
                      <a:pt x="8078" y="9481"/>
                      <a:pt x="8050" y="9481"/>
                      <a:pt x="8042" y="9509"/>
                    </a:cubicBezTo>
                    <a:cubicBezTo>
                      <a:pt x="8036" y="9537"/>
                      <a:pt x="8073" y="9584"/>
                      <a:pt x="8087" y="9654"/>
                    </a:cubicBezTo>
                    <a:cubicBezTo>
                      <a:pt x="8099" y="9722"/>
                      <a:pt x="8120" y="9750"/>
                      <a:pt x="8153" y="9788"/>
                    </a:cubicBezTo>
                    <a:cubicBezTo>
                      <a:pt x="8183" y="9825"/>
                      <a:pt x="8169" y="9828"/>
                      <a:pt x="8169" y="9828"/>
                    </a:cubicBezTo>
                    <a:cubicBezTo>
                      <a:pt x="8169" y="9828"/>
                      <a:pt x="8216" y="9905"/>
                      <a:pt x="8220" y="9919"/>
                    </a:cubicBezTo>
                    <a:cubicBezTo>
                      <a:pt x="8223" y="9930"/>
                      <a:pt x="8195" y="9945"/>
                      <a:pt x="8195" y="9945"/>
                    </a:cubicBezTo>
                    <a:cubicBezTo>
                      <a:pt x="8153" y="9865"/>
                      <a:pt x="8153" y="9865"/>
                      <a:pt x="8153" y="9865"/>
                    </a:cubicBezTo>
                    <a:cubicBezTo>
                      <a:pt x="8153" y="9865"/>
                      <a:pt x="8148" y="9945"/>
                      <a:pt x="8148" y="9980"/>
                    </a:cubicBezTo>
                    <a:cubicBezTo>
                      <a:pt x="8148" y="10015"/>
                      <a:pt x="8253" y="10195"/>
                      <a:pt x="8253" y="10195"/>
                    </a:cubicBezTo>
                    <a:cubicBezTo>
                      <a:pt x="8272" y="10169"/>
                      <a:pt x="8272" y="10169"/>
                      <a:pt x="8272" y="10169"/>
                    </a:cubicBezTo>
                    <a:cubicBezTo>
                      <a:pt x="8328" y="10223"/>
                      <a:pt x="8328" y="10223"/>
                      <a:pt x="8328" y="10223"/>
                    </a:cubicBezTo>
                    <a:cubicBezTo>
                      <a:pt x="8288" y="10233"/>
                      <a:pt x="8288" y="10233"/>
                      <a:pt x="8288" y="10233"/>
                    </a:cubicBezTo>
                    <a:cubicBezTo>
                      <a:pt x="8288" y="10277"/>
                      <a:pt x="8288" y="10277"/>
                      <a:pt x="8288" y="10277"/>
                    </a:cubicBezTo>
                    <a:cubicBezTo>
                      <a:pt x="8354" y="10289"/>
                      <a:pt x="8354" y="10289"/>
                      <a:pt x="8354" y="10289"/>
                    </a:cubicBezTo>
                    <a:cubicBezTo>
                      <a:pt x="8392" y="10298"/>
                      <a:pt x="8392" y="10298"/>
                      <a:pt x="8392" y="10298"/>
                    </a:cubicBezTo>
                    <a:cubicBezTo>
                      <a:pt x="8403" y="10273"/>
                      <a:pt x="8403" y="10273"/>
                      <a:pt x="8403" y="10273"/>
                    </a:cubicBezTo>
                    <a:cubicBezTo>
                      <a:pt x="8457" y="10334"/>
                      <a:pt x="8457" y="10334"/>
                      <a:pt x="8457" y="10334"/>
                    </a:cubicBezTo>
                    <a:cubicBezTo>
                      <a:pt x="8523" y="10245"/>
                      <a:pt x="8523" y="10245"/>
                      <a:pt x="8523" y="10245"/>
                    </a:cubicBezTo>
                    <a:cubicBezTo>
                      <a:pt x="8523" y="10188"/>
                      <a:pt x="8523" y="10188"/>
                      <a:pt x="8523" y="10188"/>
                    </a:cubicBezTo>
                    <a:cubicBezTo>
                      <a:pt x="8546" y="10223"/>
                      <a:pt x="8546" y="10223"/>
                      <a:pt x="8546" y="10223"/>
                    </a:cubicBezTo>
                    <a:cubicBezTo>
                      <a:pt x="8600" y="10174"/>
                      <a:pt x="8600" y="10174"/>
                      <a:pt x="8600" y="10174"/>
                    </a:cubicBezTo>
                    <a:cubicBezTo>
                      <a:pt x="8628" y="10092"/>
                      <a:pt x="8628" y="10092"/>
                      <a:pt x="8628" y="10092"/>
                    </a:cubicBezTo>
                    <a:cubicBezTo>
                      <a:pt x="8673" y="10139"/>
                      <a:pt x="8673" y="10139"/>
                      <a:pt x="8673" y="10139"/>
                    </a:cubicBezTo>
                    <a:cubicBezTo>
                      <a:pt x="8673" y="10139"/>
                      <a:pt x="8722" y="10132"/>
                      <a:pt x="8722" y="10111"/>
                    </a:cubicBezTo>
                    <a:cubicBezTo>
                      <a:pt x="8722" y="10090"/>
                      <a:pt x="8759" y="10076"/>
                      <a:pt x="8778" y="10067"/>
                    </a:cubicBezTo>
                    <a:cubicBezTo>
                      <a:pt x="8797" y="10057"/>
                      <a:pt x="8766" y="10055"/>
                      <a:pt x="8757" y="10055"/>
                    </a:cubicBezTo>
                    <a:cubicBezTo>
                      <a:pt x="8748" y="10055"/>
                      <a:pt x="8743" y="9959"/>
                      <a:pt x="8762" y="9945"/>
                    </a:cubicBezTo>
                    <a:cubicBezTo>
                      <a:pt x="8780" y="9930"/>
                      <a:pt x="8787" y="9886"/>
                      <a:pt x="8830" y="9905"/>
                    </a:cubicBezTo>
                    <a:cubicBezTo>
                      <a:pt x="8867" y="9921"/>
                      <a:pt x="8843" y="9956"/>
                      <a:pt x="8834" y="9968"/>
                    </a:cubicBezTo>
                    <a:cubicBezTo>
                      <a:pt x="8839" y="9961"/>
                      <a:pt x="8855" y="9942"/>
                      <a:pt x="8867" y="9933"/>
                    </a:cubicBezTo>
                    <a:cubicBezTo>
                      <a:pt x="8883" y="9923"/>
                      <a:pt x="8865" y="9811"/>
                      <a:pt x="8865" y="9802"/>
                    </a:cubicBezTo>
                    <a:cubicBezTo>
                      <a:pt x="8865" y="9792"/>
                      <a:pt x="8867" y="9678"/>
                      <a:pt x="8858" y="9645"/>
                    </a:cubicBezTo>
                    <a:cubicBezTo>
                      <a:pt x="8848" y="9610"/>
                      <a:pt x="8919" y="9553"/>
                      <a:pt x="8919" y="9553"/>
                    </a:cubicBezTo>
                    <a:cubicBezTo>
                      <a:pt x="8848" y="9478"/>
                      <a:pt x="8848" y="9478"/>
                      <a:pt x="8848" y="9478"/>
                    </a:cubicBezTo>
                    <a:lnTo>
                      <a:pt x="8780" y="9525"/>
                    </a:lnTo>
                    <a:close/>
                    <a:moveTo>
                      <a:pt x="8574" y="10233"/>
                    </a:moveTo>
                    <a:cubicBezTo>
                      <a:pt x="8574" y="10233"/>
                      <a:pt x="8518" y="10282"/>
                      <a:pt x="8537" y="10291"/>
                    </a:cubicBezTo>
                    <a:cubicBezTo>
                      <a:pt x="8555" y="10301"/>
                      <a:pt x="8588" y="10301"/>
                      <a:pt x="8588" y="10301"/>
                    </a:cubicBezTo>
                    <a:cubicBezTo>
                      <a:pt x="8588" y="10301"/>
                      <a:pt x="8574" y="10235"/>
                      <a:pt x="8602" y="10223"/>
                    </a:cubicBezTo>
                    <a:cubicBezTo>
                      <a:pt x="8631" y="10212"/>
                      <a:pt x="8626" y="10174"/>
                      <a:pt x="8626" y="10174"/>
                    </a:cubicBezTo>
                    <a:lnTo>
                      <a:pt x="8574" y="10233"/>
                    </a:lnTo>
                    <a:close/>
                    <a:moveTo>
                      <a:pt x="8733" y="10184"/>
                    </a:moveTo>
                    <a:cubicBezTo>
                      <a:pt x="8691" y="10169"/>
                      <a:pt x="8675" y="10193"/>
                      <a:pt x="8675" y="10193"/>
                    </a:cubicBezTo>
                    <a:cubicBezTo>
                      <a:pt x="8691" y="10233"/>
                      <a:pt x="8696" y="10235"/>
                      <a:pt x="8724" y="10235"/>
                    </a:cubicBezTo>
                    <a:cubicBezTo>
                      <a:pt x="8752" y="10235"/>
                      <a:pt x="8778" y="10195"/>
                      <a:pt x="8733" y="10184"/>
                    </a:cubicBezTo>
                    <a:close/>
                    <a:moveTo>
                      <a:pt x="8748" y="10151"/>
                    </a:moveTo>
                    <a:cubicBezTo>
                      <a:pt x="8757" y="10137"/>
                      <a:pt x="8722" y="10130"/>
                      <a:pt x="8722" y="10130"/>
                    </a:cubicBezTo>
                    <a:cubicBezTo>
                      <a:pt x="8687" y="10148"/>
                      <a:pt x="8687" y="10148"/>
                      <a:pt x="8687" y="10148"/>
                    </a:cubicBezTo>
                    <a:cubicBezTo>
                      <a:pt x="8687" y="10148"/>
                      <a:pt x="8731" y="10177"/>
                      <a:pt x="8748" y="10151"/>
                    </a:cubicBezTo>
                    <a:close/>
                    <a:moveTo>
                      <a:pt x="5878" y="7436"/>
                    </a:moveTo>
                    <a:cubicBezTo>
                      <a:pt x="5902" y="7431"/>
                      <a:pt x="5902" y="7431"/>
                      <a:pt x="5902" y="7431"/>
                    </a:cubicBezTo>
                    <a:cubicBezTo>
                      <a:pt x="5928" y="7457"/>
                      <a:pt x="5928" y="7457"/>
                      <a:pt x="5928" y="7457"/>
                    </a:cubicBezTo>
                    <a:cubicBezTo>
                      <a:pt x="5946" y="7436"/>
                      <a:pt x="5946" y="7436"/>
                      <a:pt x="5946" y="7436"/>
                    </a:cubicBezTo>
                    <a:cubicBezTo>
                      <a:pt x="5897" y="7398"/>
                      <a:pt x="5897" y="7398"/>
                      <a:pt x="5897" y="7398"/>
                    </a:cubicBezTo>
                    <a:lnTo>
                      <a:pt x="5878" y="7436"/>
                    </a:lnTo>
                    <a:close/>
                    <a:moveTo>
                      <a:pt x="6569" y="7792"/>
                    </a:moveTo>
                    <a:cubicBezTo>
                      <a:pt x="6544" y="7818"/>
                      <a:pt x="6544" y="7818"/>
                      <a:pt x="6544" y="7818"/>
                    </a:cubicBezTo>
                    <a:cubicBezTo>
                      <a:pt x="6579" y="7843"/>
                      <a:pt x="6579" y="7843"/>
                      <a:pt x="6579" y="7843"/>
                    </a:cubicBezTo>
                    <a:cubicBezTo>
                      <a:pt x="6609" y="7834"/>
                      <a:pt x="6609" y="7834"/>
                      <a:pt x="6609" y="7834"/>
                    </a:cubicBezTo>
                    <a:cubicBezTo>
                      <a:pt x="6609" y="7834"/>
                      <a:pt x="6600" y="7792"/>
                      <a:pt x="6569" y="7792"/>
                    </a:cubicBezTo>
                    <a:close/>
                    <a:moveTo>
                      <a:pt x="6495" y="7792"/>
                    </a:moveTo>
                    <a:cubicBezTo>
                      <a:pt x="6485" y="7759"/>
                      <a:pt x="6485" y="7759"/>
                      <a:pt x="6485" y="7759"/>
                    </a:cubicBezTo>
                    <a:cubicBezTo>
                      <a:pt x="6410" y="7710"/>
                      <a:pt x="6408" y="7750"/>
                      <a:pt x="6354" y="7768"/>
                    </a:cubicBezTo>
                    <a:cubicBezTo>
                      <a:pt x="6300" y="7787"/>
                      <a:pt x="6223" y="7799"/>
                      <a:pt x="6223" y="7799"/>
                    </a:cubicBezTo>
                    <a:cubicBezTo>
                      <a:pt x="6221" y="7848"/>
                      <a:pt x="6221" y="7848"/>
                      <a:pt x="6221" y="7848"/>
                    </a:cubicBezTo>
                    <a:cubicBezTo>
                      <a:pt x="6253" y="7864"/>
                      <a:pt x="6253" y="7864"/>
                      <a:pt x="6253" y="7864"/>
                    </a:cubicBezTo>
                    <a:cubicBezTo>
                      <a:pt x="6253" y="7864"/>
                      <a:pt x="6307" y="7890"/>
                      <a:pt x="6338" y="7890"/>
                    </a:cubicBezTo>
                    <a:cubicBezTo>
                      <a:pt x="6370" y="7890"/>
                      <a:pt x="6375" y="7864"/>
                      <a:pt x="6394" y="7862"/>
                    </a:cubicBezTo>
                    <a:cubicBezTo>
                      <a:pt x="6412" y="7857"/>
                      <a:pt x="6429" y="7895"/>
                      <a:pt x="6457" y="7900"/>
                    </a:cubicBezTo>
                    <a:cubicBezTo>
                      <a:pt x="6485" y="7902"/>
                      <a:pt x="6485" y="7848"/>
                      <a:pt x="6485" y="7848"/>
                    </a:cubicBezTo>
                    <a:cubicBezTo>
                      <a:pt x="6529" y="7843"/>
                      <a:pt x="6529" y="7843"/>
                      <a:pt x="6529" y="7843"/>
                    </a:cubicBezTo>
                    <a:cubicBezTo>
                      <a:pt x="6529" y="7843"/>
                      <a:pt x="6523" y="7815"/>
                      <a:pt x="6523" y="7806"/>
                    </a:cubicBezTo>
                    <a:cubicBezTo>
                      <a:pt x="6523" y="7796"/>
                      <a:pt x="6495" y="7792"/>
                      <a:pt x="6495" y="7792"/>
                    </a:cubicBezTo>
                    <a:close/>
                    <a:moveTo>
                      <a:pt x="10684" y="5829"/>
                    </a:moveTo>
                    <a:cubicBezTo>
                      <a:pt x="10691" y="5812"/>
                      <a:pt x="10614" y="5684"/>
                      <a:pt x="10614" y="5684"/>
                    </a:cubicBezTo>
                    <a:cubicBezTo>
                      <a:pt x="10659" y="5641"/>
                      <a:pt x="10659" y="5641"/>
                      <a:pt x="10659" y="5641"/>
                    </a:cubicBezTo>
                    <a:cubicBezTo>
                      <a:pt x="10659" y="5641"/>
                      <a:pt x="10638" y="5590"/>
                      <a:pt x="10654" y="5562"/>
                    </a:cubicBezTo>
                    <a:cubicBezTo>
                      <a:pt x="10670" y="5534"/>
                      <a:pt x="10670" y="5534"/>
                      <a:pt x="10670" y="5534"/>
                    </a:cubicBezTo>
                    <a:cubicBezTo>
                      <a:pt x="10670" y="5534"/>
                      <a:pt x="10633" y="5499"/>
                      <a:pt x="10645" y="5479"/>
                    </a:cubicBezTo>
                    <a:cubicBezTo>
                      <a:pt x="10659" y="5461"/>
                      <a:pt x="10659" y="5389"/>
                      <a:pt x="10659" y="5384"/>
                    </a:cubicBezTo>
                    <a:cubicBezTo>
                      <a:pt x="10659" y="5379"/>
                      <a:pt x="10708" y="5311"/>
                      <a:pt x="10708" y="5311"/>
                    </a:cubicBezTo>
                    <a:cubicBezTo>
                      <a:pt x="10708" y="5311"/>
                      <a:pt x="10680" y="5271"/>
                      <a:pt x="10670" y="5255"/>
                    </a:cubicBezTo>
                    <a:cubicBezTo>
                      <a:pt x="10661" y="5241"/>
                      <a:pt x="10602" y="5239"/>
                      <a:pt x="10638" y="5201"/>
                    </a:cubicBezTo>
                    <a:cubicBezTo>
                      <a:pt x="10673" y="5163"/>
                      <a:pt x="10684" y="5138"/>
                      <a:pt x="10666" y="5112"/>
                    </a:cubicBezTo>
                    <a:cubicBezTo>
                      <a:pt x="10647" y="5084"/>
                      <a:pt x="10614" y="5082"/>
                      <a:pt x="10591" y="5049"/>
                    </a:cubicBezTo>
                    <a:cubicBezTo>
                      <a:pt x="10567" y="5013"/>
                      <a:pt x="10565" y="4934"/>
                      <a:pt x="10565" y="4934"/>
                    </a:cubicBezTo>
                    <a:cubicBezTo>
                      <a:pt x="10565" y="4934"/>
                      <a:pt x="10488" y="4913"/>
                      <a:pt x="10473" y="4852"/>
                    </a:cubicBezTo>
                    <a:cubicBezTo>
                      <a:pt x="10460" y="4794"/>
                      <a:pt x="10457" y="4754"/>
                      <a:pt x="10452" y="4746"/>
                    </a:cubicBezTo>
                    <a:cubicBezTo>
                      <a:pt x="10448" y="4742"/>
                      <a:pt x="10387" y="4665"/>
                      <a:pt x="10387" y="4665"/>
                    </a:cubicBezTo>
                    <a:cubicBezTo>
                      <a:pt x="10326" y="4688"/>
                      <a:pt x="10326" y="4688"/>
                      <a:pt x="10326" y="4688"/>
                    </a:cubicBezTo>
                    <a:cubicBezTo>
                      <a:pt x="10295" y="4625"/>
                      <a:pt x="10295" y="4625"/>
                      <a:pt x="10295" y="4625"/>
                    </a:cubicBezTo>
                    <a:cubicBezTo>
                      <a:pt x="10295" y="4625"/>
                      <a:pt x="10319" y="4604"/>
                      <a:pt x="10317" y="4596"/>
                    </a:cubicBezTo>
                    <a:cubicBezTo>
                      <a:pt x="10314" y="4587"/>
                      <a:pt x="10282" y="4512"/>
                      <a:pt x="10282" y="4512"/>
                    </a:cubicBezTo>
                    <a:cubicBezTo>
                      <a:pt x="10282" y="4512"/>
                      <a:pt x="10295" y="4604"/>
                      <a:pt x="10277" y="4585"/>
                    </a:cubicBezTo>
                    <a:cubicBezTo>
                      <a:pt x="10258" y="4568"/>
                      <a:pt x="10237" y="4517"/>
                      <a:pt x="10237" y="4517"/>
                    </a:cubicBezTo>
                    <a:cubicBezTo>
                      <a:pt x="10237" y="4517"/>
                      <a:pt x="10197" y="4512"/>
                      <a:pt x="10193" y="4505"/>
                    </a:cubicBezTo>
                    <a:cubicBezTo>
                      <a:pt x="10185" y="4501"/>
                      <a:pt x="10188" y="4456"/>
                      <a:pt x="10193" y="4433"/>
                    </a:cubicBezTo>
                    <a:cubicBezTo>
                      <a:pt x="10197" y="4409"/>
                      <a:pt x="10221" y="4402"/>
                      <a:pt x="10216" y="4369"/>
                    </a:cubicBezTo>
                    <a:cubicBezTo>
                      <a:pt x="10211" y="4334"/>
                      <a:pt x="10202" y="4313"/>
                      <a:pt x="10204" y="4299"/>
                    </a:cubicBezTo>
                    <a:cubicBezTo>
                      <a:pt x="10209" y="4287"/>
                      <a:pt x="10239" y="4264"/>
                      <a:pt x="10228" y="4248"/>
                    </a:cubicBezTo>
                    <a:cubicBezTo>
                      <a:pt x="10214" y="4231"/>
                      <a:pt x="10235" y="4196"/>
                      <a:pt x="10211" y="4173"/>
                    </a:cubicBezTo>
                    <a:cubicBezTo>
                      <a:pt x="10188" y="4147"/>
                      <a:pt x="10136" y="4093"/>
                      <a:pt x="10134" y="4093"/>
                    </a:cubicBezTo>
                    <a:cubicBezTo>
                      <a:pt x="10129" y="4093"/>
                      <a:pt x="10139" y="4121"/>
                      <a:pt x="10139" y="4121"/>
                    </a:cubicBezTo>
                    <a:cubicBezTo>
                      <a:pt x="10139" y="4121"/>
                      <a:pt x="10195" y="4177"/>
                      <a:pt x="10195" y="4191"/>
                    </a:cubicBezTo>
                    <a:cubicBezTo>
                      <a:pt x="10193" y="4208"/>
                      <a:pt x="10183" y="4224"/>
                      <a:pt x="10167" y="4217"/>
                    </a:cubicBezTo>
                    <a:cubicBezTo>
                      <a:pt x="10150" y="4208"/>
                      <a:pt x="10068" y="4154"/>
                      <a:pt x="10061" y="4140"/>
                    </a:cubicBezTo>
                    <a:cubicBezTo>
                      <a:pt x="10054" y="4128"/>
                      <a:pt x="10022" y="4049"/>
                      <a:pt x="10003" y="4046"/>
                    </a:cubicBezTo>
                    <a:cubicBezTo>
                      <a:pt x="9987" y="4041"/>
                      <a:pt x="9979" y="4079"/>
                      <a:pt x="9979" y="4079"/>
                    </a:cubicBezTo>
                    <a:cubicBezTo>
                      <a:pt x="9979" y="4079"/>
                      <a:pt x="10022" y="4198"/>
                      <a:pt x="10007" y="4194"/>
                    </a:cubicBezTo>
                    <a:cubicBezTo>
                      <a:pt x="9991" y="4189"/>
                      <a:pt x="9951" y="4130"/>
                      <a:pt x="9951" y="4130"/>
                    </a:cubicBezTo>
                    <a:cubicBezTo>
                      <a:pt x="9951" y="4130"/>
                      <a:pt x="9918" y="4203"/>
                      <a:pt x="9909" y="4189"/>
                    </a:cubicBezTo>
                    <a:cubicBezTo>
                      <a:pt x="9898" y="4173"/>
                      <a:pt x="9876" y="4170"/>
                      <a:pt x="9883" y="4142"/>
                    </a:cubicBezTo>
                    <a:cubicBezTo>
                      <a:pt x="9890" y="4114"/>
                      <a:pt x="9902" y="4084"/>
                      <a:pt x="9898" y="4072"/>
                    </a:cubicBezTo>
                    <a:cubicBezTo>
                      <a:pt x="9893" y="4058"/>
                      <a:pt x="9909" y="4023"/>
                      <a:pt x="9900" y="4009"/>
                    </a:cubicBezTo>
                    <a:cubicBezTo>
                      <a:pt x="9888" y="3995"/>
                      <a:pt x="9874" y="3999"/>
                      <a:pt x="9876" y="3967"/>
                    </a:cubicBezTo>
                    <a:cubicBezTo>
                      <a:pt x="9876" y="3931"/>
                      <a:pt x="9898" y="3891"/>
                      <a:pt x="9890" y="3875"/>
                    </a:cubicBezTo>
                    <a:cubicBezTo>
                      <a:pt x="9886" y="3856"/>
                      <a:pt x="9848" y="3833"/>
                      <a:pt x="9844" y="3802"/>
                    </a:cubicBezTo>
                    <a:cubicBezTo>
                      <a:pt x="9839" y="3772"/>
                      <a:pt x="9827" y="3697"/>
                      <a:pt x="9816" y="3683"/>
                    </a:cubicBezTo>
                    <a:cubicBezTo>
                      <a:pt x="9804" y="3669"/>
                      <a:pt x="9729" y="3580"/>
                      <a:pt x="9722" y="3563"/>
                    </a:cubicBezTo>
                    <a:cubicBezTo>
                      <a:pt x="9717" y="3545"/>
                      <a:pt x="9717" y="3510"/>
                      <a:pt x="9745" y="3512"/>
                    </a:cubicBezTo>
                    <a:cubicBezTo>
                      <a:pt x="9773" y="3514"/>
                      <a:pt x="9785" y="3538"/>
                      <a:pt x="9785" y="3538"/>
                    </a:cubicBezTo>
                    <a:cubicBezTo>
                      <a:pt x="9785" y="3538"/>
                      <a:pt x="9769" y="3474"/>
                      <a:pt x="9750" y="3453"/>
                    </a:cubicBezTo>
                    <a:cubicBezTo>
                      <a:pt x="9731" y="3433"/>
                      <a:pt x="9682" y="3378"/>
                      <a:pt x="9682" y="3378"/>
                    </a:cubicBezTo>
                    <a:cubicBezTo>
                      <a:pt x="9682" y="3378"/>
                      <a:pt x="9684" y="3437"/>
                      <a:pt x="9659" y="3433"/>
                    </a:cubicBezTo>
                    <a:cubicBezTo>
                      <a:pt x="9635" y="3428"/>
                      <a:pt x="9635" y="3378"/>
                      <a:pt x="9621" y="3364"/>
                    </a:cubicBezTo>
                    <a:cubicBezTo>
                      <a:pt x="9605" y="3350"/>
                      <a:pt x="9555" y="3315"/>
                      <a:pt x="9555" y="3315"/>
                    </a:cubicBezTo>
                    <a:cubicBezTo>
                      <a:pt x="9555" y="3315"/>
                      <a:pt x="9509" y="3339"/>
                      <a:pt x="9509" y="3332"/>
                    </a:cubicBezTo>
                    <a:cubicBezTo>
                      <a:pt x="9509" y="3322"/>
                      <a:pt x="9513" y="3264"/>
                      <a:pt x="9509" y="3264"/>
                    </a:cubicBezTo>
                    <a:cubicBezTo>
                      <a:pt x="9502" y="3261"/>
                      <a:pt x="9453" y="3299"/>
                      <a:pt x="9453" y="3299"/>
                    </a:cubicBezTo>
                    <a:cubicBezTo>
                      <a:pt x="9453" y="3299"/>
                      <a:pt x="9445" y="3207"/>
                      <a:pt x="9436" y="3194"/>
                    </a:cubicBezTo>
                    <a:cubicBezTo>
                      <a:pt x="9429" y="3182"/>
                      <a:pt x="9408" y="3142"/>
                      <a:pt x="9408" y="3142"/>
                    </a:cubicBezTo>
                    <a:cubicBezTo>
                      <a:pt x="9408" y="3142"/>
                      <a:pt x="9371" y="3186"/>
                      <a:pt x="9366" y="3182"/>
                    </a:cubicBezTo>
                    <a:cubicBezTo>
                      <a:pt x="9359" y="3179"/>
                      <a:pt x="9296" y="3137"/>
                      <a:pt x="9296" y="3137"/>
                    </a:cubicBezTo>
                    <a:cubicBezTo>
                      <a:pt x="9312" y="3095"/>
                      <a:pt x="9312" y="3095"/>
                      <a:pt x="9312" y="3095"/>
                    </a:cubicBezTo>
                    <a:cubicBezTo>
                      <a:pt x="9312" y="3095"/>
                      <a:pt x="9270" y="3137"/>
                      <a:pt x="9260" y="3125"/>
                    </a:cubicBezTo>
                    <a:cubicBezTo>
                      <a:pt x="9249" y="3114"/>
                      <a:pt x="9199" y="3067"/>
                      <a:pt x="9169" y="3041"/>
                    </a:cubicBezTo>
                    <a:cubicBezTo>
                      <a:pt x="9141" y="3016"/>
                      <a:pt x="9092" y="2959"/>
                      <a:pt x="9092" y="2955"/>
                    </a:cubicBezTo>
                    <a:cubicBezTo>
                      <a:pt x="9092" y="2950"/>
                      <a:pt x="9129" y="2907"/>
                      <a:pt x="9129" y="2907"/>
                    </a:cubicBezTo>
                    <a:cubicBezTo>
                      <a:pt x="9129" y="2907"/>
                      <a:pt x="9148" y="2847"/>
                      <a:pt x="9134" y="2830"/>
                    </a:cubicBezTo>
                    <a:cubicBezTo>
                      <a:pt x="9122" y="2812"/>
                      <a:pt x="9115" y="2783"/>
                      <a:pt x="9110" y="2783"/>
                    </a:cubicBezTo>
                    <a:cubicBezTo>
                      <a:pt x="9108" y="2783"/>
                      <a:pt x="9071" y="2793"/>
                      <a:pt x="9071" y="2793"/>
                    </a:cubicBezTo>
                    <a:cubicBezTo>
                      <a:pt x="9071" y="2793"/>
                      <a:pt x="9049" y="2720"/>
                      <a:pt x="9052" y="2713"/>
                    </a:cubicBezTo>
                    <a:cubicBezTo>
                      <a:pt x="9057" y="2706"/>
                      <a:pt x="9099" y="2692"/>
                      <a:pt x="9099" y="2645"/>
                    </a:cubicBezTo>
                    <a:cubicBezTo>
                      <a:pt x="9099" y="2599"/>
                      <a:pt x="9085" y="2521"/>
                      <a:pt x="9085" y="2516"/>
                    </a:cubicBezTo>
                    <a:cubicBezTo>
                      <a:pt x="9085" y="2514"/>
                      <a:pt x="9068" y="2507"/>
                      <a:pt x="9064" y="2479"/>
                    </a:cubicBezTo>
                    <a:cubicBezTo>
                      <a:pt x="9059" y="2449"/>
                      <a:pt x="9043" y="2411"/>
                      <a:pt x="9043" y="2409"/>
                    </a:cubicBezTo>
                    <a:cubicBezTo>
                      <a:pt x="9043" y="2404"/>
                      <a:pt x="9071" y="2376"/>
                      <a:pt x="9071" y="2376"/>
                    </a:cubicBezTo>
                    <a:cubicBezTo>
                      <a:pt x="9071" y="2376"/>
                      <a:pt x="9021" y="2397"/>
                      <a:pt x="9021" y="2390"/>
                    </a:cubicBezTo>
                    <a:cubicBezTo>
                      <a:pt x="9021" y="2383"/>
                      <a:pt x="8987" y="2329"/>
                      <a:pt x="8979" y="2306"/>
                    </a:cubicBezTo>
                    <a:cubicBezTo>
                      <a:pt x="8970" y="2284"/>
                      <a:pt x="8942" y="2251"/>
                      <a:pt x="8932" y="2219"/>
                    </a:cubicBezTo>
                    <a:cubicBezTo>
                      <a:pt x="8923" y="2189"/>
                      <a:pt x="8947" y="2160"/>
                      <a:pt x="8947" y="2160"/>
                    </a:cubicBezTo>
                    <a:cubicBezTo>
                      <a:pt x="8932" y="2132"/>
                      <a:pt x="8932" y="2132"/>
                      <a:pt x="8932" y="2132"/>
                    </a:cubicBezTo>
                    <a:cubicBezTo>
                      <a:pt x="8932" y="2132"/>
                      <a:pt x="8956" y="2137"/>
                      <a:pt x="8951" y="2109"/>
                    </a:cubicBezTo>
                    <a:cubicBezTo>
                      <a:pt x="8944" y="2078"/>
                      <a:pt x="8942" y="2067"/>
                      <a:pt x="8932" y="2055"/>
                    </a:cubicBezTo>
                    <a:cubicBezTo>
                      <a:pt x="8926" y="2043"/>
                      <a:pt x="8923" y="1968"/>
                      <a:pt x="8919" y="1931"/>
                    </a:cubicBezTo>
                    <a:cubicBezTo>
                      <a:pt x="8911" y="1894"/>
                      <a:pt x="8932" y="1865"/>
                      <a:pt x="8932" y="1865"/>
                    </a:cubicBezTo>
                    <a:cubicBezTo>
                      <a:pt x="8911" y="1834"/>
                      <a:pt x="8911" y="1834"/>
                      <a:pt x="8911" y="1834"/>
                    </a:cubicBezTo>
                    <a:cubicBezTo>
                      <a:pt x="8940" y="1783"/>
                      <a:pt x="8940" y="1783"/>
                      <a:pt x="8940" y="1783"/>
                    </a:cubicBezTo>
                    <a:cubicBezTo>
                      <a:pt x="8940" y="1783"/>
                      <a:pt x="8904" y="1732"/>
                      <a:pt x="8881" y="1722"/>
                    </a:cubicBezTo>
                    <a:cubicBezTo>
                      <a:pt x="8860" y="1713"/>
                      <a:pt x="8834" y="1699"/>
                      <a:pt x="8834" y="1699"/>
                    </a:cubicBezTo>
                    <a:cubicBezTo>
                      <a:pt x="8832" y="1668"/>
                      <a:pt x="8832" y="1668"/>
                      <a:pt x="8832" y="1668"/>
                    </a:cubicBezTo>
                    <a:cubicBezTo>
                      <a:pt x="8759" y="1619"/>
                      <a:pt x="8759" y="1619"/>
                      <a:pt x="8759" y="1619"/>
                    </a:cubicBezTo>
                    <a:cubicBezTo>
                      <a:pt x="8759" y="1619"/>
                      <a:pt x="8748" y="1542"/>
                      <a:pt x="8736" y="1533"/>
                    </a:cubicBezTo>
                    <a:cubicBezTo>
                      <a:pt x="8726" y="1526"/>
                      <a:pt x="8712" y="1516"/>
                      <a:pt x="8712" y="1516"/>
                    </a:cubicBezTo>
                    <a:cubicBezTo>
                      <a:pt x="8712" y="1516"/>
                      <a:pt x="8670" y="1563"/>
                      <a:pt x="8668" y="1563"/>
                    </a:cubicBezTo>
                    <a:cubicBezTo>
                      <a:pt x="8663" y="1563"/>
                      <a:pt x="8633" y="1537"/>
                      <a:pt x="8633" y="1537"/>
                    </a:cubicBezTo>
                    <a:cubicBezTo>
                      <a:pt x="8633" y="1537"/>
                      <a:pt x="8616" y="1575"/>
                      <a:pt x="8593" y="1586"/>
                    </a:cubicBezTo>
                    <a:cubicBezTo>
                      <a:pt x="8570" y="1598"/>
                      <a:pt x="8546" y="1617"/>
                      <a:pt x="8534" y="1603"/>
                    </a:cubicBezTo>
                    <a:cubicBezTo>
                      <a:pt x="8520" y="1589"/>
                      <a:pt x="8481" y="1549"/>
                      <a:pt x="8485" y="1530"/>
                    </a:cubicBezTo>
                    <a:cubicBezTo>
                      <a:pt x="8492" y="1509"/>
                      <a:pt x="8485" y="1448"/>
                      <a:pt x="8481" y="1444"/>
                    </a:cubicBezTo>
                    <a:cubicBezTo>
                      <a:pt x="8474" y="1437"/>
                      <a:pt x="8450" y="1394"/>
                      <a:pt x="8450" y="1366"/>
                    </a:cubicBezTo>
                    <a:cubicBezTo>
                      <a:pt x="8450" y="1340"/>
                      <a:pt x="8495" y="1312"/>
                      <a:pt x="8495" y="1296"/>
                    </a:cubicBezTo>
                    <a:cubicBezTo>
                      <a:pt x="8492" y="1282"/>
                      <a:pt x="8464" y="1242"/>
                      <a:pt x="8464" y="1242"/>
                    </a:cubicBezTo>
                    <a:cubicBezTo>
                      <a:pt x="8464" y="1242"/>
                      <a:pt x="8478" y="1155"/>
                      <a:pt x="8466" y="1125"/>
                    </a:cubicBezTo>
                    <a:cubicBezTo>
                      <a:pt x="8453" y="1097"/>
                      <a:pt x="8415" y="1088"/>
                      <a:pt x="8417" y="1080"/>
                    </a:cubicBezTo>
                    <a:cubicBezTo>
                      <a:pt x="8417" y="1071"/>
                      <a:pt x="8448" y="1045"/>
                      <a:pt x="8441" y="1019"/>
                    </a:cubicBezTo>
                    <a:cubicBezTo>
                      <a:pt x="8434" y="991"/>
                      <a:pt x="8398" y="989"/>
                      <a:pt x="8398" y="989"/>
                    </a:cubicBezTo>
                    <a:cubicBezTo>
                      <a:pt x="8389" y="945"/>
                      <a:pt x="8389" y="945"/>
                      <a:pt x="8389" y="945"/>
                    </a:cubicBezTo>
                    <a:cubicBezTo>
                      <a:pt x="8389" y="945"/>
                      <a:pt x="8342" y="933"/>
                      <a:pt x="8337" y="902"/>
                    </a:cubicBezTo>
                    <a:cubicBezTo>
                      <a:pt x="8333" y="874"/>
                      <a:pt x="8375" y="856"/>
                      <a:pt x="8382" y="834"/>
                    </a:cubicBezTo>
                    <a:cubicBezTo>
                      <a:pt x="8387" y="813"/>
                      <a:pt x="8398" y="813"/>
                      <a:pt x="8398" y="813"/>
                    </a:cubicBezTo>
                    <a:cubicBezTo>
                      <a:pt x="8326" y="799"/>
                      <a:pt x="8326" y="799"/>
                      <a:pt x="8326" y="799"/>
                    </a:cubicBezTo>
                    <a:cubicBezTo>
                      <a:pt x="8326" y="799"/>
                      <a:pt x="8293" y="785"/>
                      <a:pt x="8293" y="769"/>
                    </a:cubicBezTo>
                    <a:cubicBezTo>
                      <a:pt x="8293" y="752"/>
                      <a:pt x="8291" y="656"/>
                      <a:pt x="8291" y="656"/>
                    </a:cubicBezTo>
                    <a:cubicBezTo>
                      <a:pt x="8291" y="656"/>
                      <a:pt x="8314" y="642"/>
                      <a:pt x="8312" y="635"/>
                    </a:cubicBezTo>
                    <a:cubicBezTo>
                      <a:pt x="8307" y="628"/>
                      <a:pt x="8281" y="593"/>
                      <a:pt x="8281" y="593"/>
                    </a:cubicBezTo>
                    <a:cubicBezTo>
                      <a:pt x="8286" y="518"/>
                      <a:pt x="8286" y="518"/>
                      <a:pt x="8286" y="518"/>
                    </a:cubicBezTo>
                    <a:cubicBezTo>
                      <a:pt x="8286" y="518"/>
                      <a:pt x="8235" y="476"/>
                      <a:pt x="8218" y="481"/>
                    </a:cubicBezTo>
                    <a:cubicBezTo>
                      <a:pt x="8202" y="483"/>
                      <a:pt x="8265" y="448"/>
                      <a:pt x="8246" y="432"/>
                    </a:cubicBezTo>
                    <a:cubicBezTo>
                      <a:pt x="8228" y="415"/>
                      <a:pt x="8207" y="404"/>
                      <a:pt x="8192" y="415"/>
                    </a:cubicBezTo>
                    <a:cubicBezTo>
                      <a:pt x="8179" y="427"/>
                      <a:pt x="8159" y="476"/>
                      <a:pt x="8155" y="478"/>
                    </a:cubicBezTo>
                    <a:cubicBezTo>
                      <a:pt x="8150" y="481"/>
                      <a:pt x="8094" y="485"/>
                      <a:pt x="8094" y="485"/>
                    </a:cubicBezTo>
                    <a:cubicBezTo>
                      <a:pt x="8094" y="485"/>
                      <a:pt x="8148" y="546"/>
                      <a:pt x="8082" y="631"/>
                    </a:cubicBezTo>
                    <a:cubicBezTo>
                      <a:pt x="8017" y="715"/>
                      <a:pt x="8001" y="790"/>
                      <a:pt x="8001" y="790"/>
                    </a:cubicBezTo>
                    <a:cubicBezTo>
                      <a:pt x="8001" y="825"/>
                      <a:pt x="8001" y="825"/>
                      <a:pt x="8001" y="825"/>
                    </a:cubicBezTo>
                    <a:cubicBezTo>
                      <a:pt x="7970" y="823"/>
                      <a:pt x="7970" y="823"/>
                      <a:pt x="7970" y="823"/>
                    </a:cubicBezTo>
                    <a:cubicBezTo>
                      <a:pt x="7907" y="963"/>
                      <a:pt x="7907" y="963"/>
                      <a:pt x="7907" y="963"/>
                    </a:cubicBezTo>
                    <a:cubicBezTo>
                      <a:pt x="7907" y="963"/>
                      <a:pt x="7930" y="945"/>
                      <a:pt x="7942" y="956"/>
                    </a:cubicBezTo>
                    <a:cubicBezTo>
                      <a:pt x="7956" y="970"/>
                      <a:pt x="7975" y="999"/>
                      <a:pt x="7975" y="999"/>
                    </a:cubicBezTo>
                    <a:cubicBezTo>
                      <a:pt x="7975" y="999"/>
                      <a:pt x="8031" y="961"/>
                      <a:pt x="8036" y="977"/>
                    </a:cubicBezTo>
                    <a:cubicBezTo>
                      <a:pt x="8040" y="991"/>
                      <a:pt x="8001" y="1029"/>
                      <a:pt x="8001" y="1029"/>
                    </a:cubicBezTo>
                    <a:cubicBezTo>
                      <a:pt x="7989" y="1071"/>
                      <a:pt x="7989" y="1071"/>
                      <a:pt x="7989" y="1071"/>
                    </a:cubicBezTo>
                    <a:cubicBezTo>
                      <a:pt x="7989" y="1071"/>
                      <a:pt x="7979" y="1012"/>
                      <a:pt x="7968" y="1012"/>
                    </a:cubicBezTo>
                    <a:cubicBezTo>
                      <a:pt x="7956" y="1012"/>
                      <a:pt x="7907" y="1076"/>
                      <a:pt x="7897" y="1078"/>
                    </a:cubicBezTo>
                    <a:cubicBezTo>
                      <a:pt x="7890" y="1078"/>
                      <a:pt x="7897" y="1151"/>
                      <a:pt x="7902" y="1153"/>
                    </a:cubicBezTo>
                    <a:cubicBezTo>
                      <a:pt x="7909" y="1155"/>
                      <a:pt x="7916" y="1190"/>
                      <a:pt x="7909" y="1193"/>
                    </a:cubicBezTo>
                    <a:cubicBezTo>
                      <a:pt x="7902" y="1198"/>
                      <a:pt x="7818" y="1319"/>
                      <a:pt x="7836" y="1355"/>
                    </a:cubicBezTo>
                    <a:cubicBezTo>
                      <a:pt x="7855" y="1387"/>
                      <a:pt x="7881" y="1422"/>
                      <a:pt x="7876" y="1441"/>
                    </a:cubicBezTo>
                    <a:cubicBezTo>
                      <a:pt x="7869" y="1460"/>
                      <a:pt x="7841" y="1570"/>
                      <a:pt x="7839" y="1603"/>
                    </a:cubicBezTo>
                    <a:cubicBezTo>
                      <a:pt x="7836" y="1635"/>
                      <a:pt x="7876" y="1722"/>
                      <a:pt x="7876" y="1722"/>
                    </a:cubicBezTo>
                    <a:cubicBezTo>
                      <a:pt x="7876" y="1722"/>
                      <a:pt x="7808" y="1800"/>
                      <a:pt x="7797" y="1877"/>
                    </a:cubicBezTo>
                    <a:cubicBezTo>
                      <a:pt x="7785" y="1954"/>
                      <a:pt x="7780" y="2032"/>
                      <a:pt x="7780" y="2032"/>
                    </a:cubicBezTo>
                    <a:cubicBezTo>
                      <a:pt x="7780" y="2032"/>
                      <a:pt x="7747" y="2113"/>
                      <a:pt x="7731" y="2149"/>
                    </a:cubicBezTo>
                    <a:cubicBezTo>
                      <a:pt x="7717" y="2182"/>
                      <a:pt x="7675" y="2261"/>
                      <a:pt x="7647" y="2273"/>
                    </a:cubicBezTo>
                    <a:cubicBezTo>
                      <a:pt x="7616" y="2282"/>
                      <a:pt x="7605" y="2399"/>
                      <a:pt x="7605" y="2399"/>
                    </a:cubicBezTo>
                    <a:cubicBezTo>
                      <a:pt x="7605" y="2399"/>
                      <a:pt x="7504" y="2472"/>
                      <a:pt x="7478" y="2477"/>
                    </a:cubicBezTo>
                    <a:cubicBezTo>
                      <a:pt x="7452" y="2479"/>
                      <a:pt x="7368" y="2495"/>
                      <a:pt x="7358" y="2490"/>
                    </a:cubicBezTo>
                    <a:cubicBezTo>
                      <a:pt x="7352" y="2486"/>
                      <a:pt x="7291" y="2449"/>
                      <a:pt x="7277" y="2441"/>
                    </a:cubicBezTo>
                    <a:cubicBezTo>
                      <a:pt x="7263" y="2434"/>
                      <a:pt x="7230" y="2430"/>
                      <a:pt x="7230" y="2425"/>
                    </a:cubicBezTo>
                    <a:cubicBezTo>
                      <a:pt x="7228" y="2420"/>
                      <a:pt x="7207" y="2371"/>
                      <a:pt x="7188" y="2369"/>
                    </a:cubicBezTo>
                    <a:cubicBezTo>
                      <a:pt x="7167" y="2367"/>
                      <a:pt x="7122" y="2360"/>
                      <a:pt x="7115" y="2338"/>
                    </a:cubicBezTo>
                    <a:cubicBezTo>
                      <a:pt x="7108" y="2317"/>
                      <a:pt x="7160" y="2294"/>
                      <a:pt x="7090" y="2247"/>
                    </a:cubicBezTo>
                    <a:cubicBezTo>
                      <a:pt x="7019" y="2202"/>
                      <a:pt x="7014" y="2219"/>
                      <a:pt x="7012" y="2217"/>
                    </a:cubicBezTo>
                    <a:cubicBezTo>
                      <a:pt x="7007" y="2214"/>
                      <a:pt x="6970" y="2179"/>
                      <a:pt x="6970" y="2179"/>
                    </a:cubicBezTo>
                    <a:cubicBezTo>
                      <a:pt x="6970" y="2179"/>
                      <a:pt x="6893" y="2195"/>
                      <a:pt x="6834" y="2151"/>
                    </a:cubicBezTo>
                    <a:cubicBezTo>
                      <a:pt x="6773" y="2104"/>
                      <a:pt x="6743" y="2032"/>
                      <a:pt x="6712" y="2017"/>
                    </a:cubicBezTo>
                    <a:cubicBezTo>
                      <a:pt x="6682" y="2003"/>
                      <a:pt x="6628" y="1992"/>
                      <a:pt x="6628" y="1992"/>
                    </a:cubicBezTo>
                    <a:cubicBezTo>
                      <a:pt x="6628" y="1992"/>
                      <a:pt x="6520" y="1922"/>
                      <a:pt x="6516" y="1917"/>
                    </a:cubicBezTo>
                    <a:cubicBezTo>
                      <a:pt x="6511" y="1912"/>
                      <a:pt x="6457" y="1931"/>
                      <a:pt x="6434" y="1922"/>
                    </a:cubicBezTo>
                    <a:cubicBezTo>
                      <a:pt x="6408" y="1912"/>
                      <a:pt x="6412" y="1879"/>
                      <a:pt x="6412" y="1879"/>
                    </a:cubicBezTo>
                    <a:cubicBezTo>
                      <a:pt x="6298" y="1802"/>
                      <a:pt x="6298" y="1802"/>
                      <a:pt x="6298" y="1802"/>
                    </a:cubicBezTo>
                    <a:cubicBezTo>
                      <a:pt x="6277" y="1753"/>
                      <a:pt x="6277" y="1753"/>
                      <a:pt x="6277" y="1753"/>
                    </a:cubicBezTo>
                    <a:cubicBezTo>
                      <a:pt x="6277" y="1753"/>
                      <a:pt x="6112" y="1647"/>
                      <a:pt x="6108" y="1645"/>
                    </a:cubicBezTo>
                    <a:cubicBezTo>
                      <a:pt x="6106" y="1643"/>
                      <a:pt x="6033" y="1575"/>
                      <a:pt x="6043" y="1558"/>
                    </a:cubicBezTo>
                    <a:cubicBezTo>
                      <a:pt x="6052" y="1542"/>
                      <a:pt x="6089" y="1521"/>
                      <a:pt x="6089" y="1521"/>
                    </a:cubicBezTo>
                    <a:cubicBezTo>
                      <a:pt x="6089" y="1521"/>
                      <a:pt x="6075" y="1497"/>
                      <a:pt x="6092" y="1483"/>
                    </a:cubicBezTo>
                    <a:cubicBezTo>
                      <a:pt x="6108" y="1472"/>
                      <a:pt x="6164" y="1401"/>
                      <a:pt x="6183" y="1392"/>
                    </a:cubicBezTo>
                    <a:cubicBezTo>
                      <a:pt x="6201" y="1383"/>
                      <a:pt x="6230" y="1294"/>
                      <a:pt x="6228" y="1266"/>
                    </a:cubicBezTo>
                    <a:cubicBezTo>
                      <a:pt x="6225" y="1238"/>
                      <a:pt x="6173" y="1233"/>
                      <a:pt x="6181" y="1200"/>
                    </a:cubicBezTo>
                    <a:cubicBezTo>
                      <a:pt x="6188" y="1169"/>
                      <a:pt x="6209" y="1158"/>
                      <a:pt x="6209" y="1151"/>
                    </a:cubicBezTo>
                    <a:cubicBezTo>
                      <a:pt x="6209" y="1146"/>
                      <a:pt x="6181" y="1101"/>
                      <a:pt x="6213" y="1104"/>
                    </a:cubicBezTo>
                    <a:cubicBezTo>
                      <a:pt x="6249" y="1104"/>
                      <a:pt x="6251" y="1097"/>
                      <a:pt x="6251" y="1097"/>
                    </a:cubicBezTo>
                    <a:cubicBezTo>
                      <a:pt x="6290" y="1080"/>
                      <a:pt x="6290" y="1080"/>
                      <a:pt x="6290" y="1080"/>
                    </a:cubicBezTo>
                    <a:cubicBezTo>
                      <a:pt x="6293" y="1094"/>
                      <a:pt x="6293" y="1094"/>
                      <a:pt x="6293" y="1094"/>
                    </a:cubicBezTo>
                    <a:cubicBezTo>
                      <a:pt x="6323" y="1059"/>
                      <a:pt x="6323" y="1059"/>
                      <a:pt x="6323" y="1059"/>
                    </a:cubicBezTo>
                    <a:cubicBezTo>
                      <a:pt x="6323" y="1059"/>
                      <a:pt x="6342" y="1106"/>
                      <a:pt x="6345" y="1101"/>
                    </a:cubicBezTo>
                    <a:cubicBezTo>
                      <a:pt x="6347" y="1099"/>
                      <a:pt x="6399" y="1059"/>
                      <a:pt x="6399" y="1048"/>
                    </a:cubicBezTo>
                    <a:cubicBezTo>
                      <a:pt x="6399" y="1038"/>
                      <a:pt x="6415" y="1019"/>
                      <a:pt x="6415" y="1019"/>
                    </a:cubicBezTo>
                    <a:cubicBezTo>
                      <a:pt x="6379" y="982"/>
                      <a:pt x="6379" y="982"/>
                      <a:pt x="6379" y="982"/>
                    </a:cubicBezTo>
                    <a:cubicBezTo>
                      <a:pt x="6468" y="874"/>
                      <a:pt x="6468" y="874"/>
                      <a:pt x="6468" y="874"/>
                    </a:cubicBezTo>
                    <a:cubicBezTo>
                      <a:pt x="6468" y="874"/>
                      <a:pt x="6534" y="839"/>
                      <a:pt x="6532" y="834"/>
                    </a:cubicBezTo>
                    <a:cubicBezTo>
                      <a:pt x="6527" y="832"/>
                      <a:pt x="6497" y="783"/>
                      <a:pt x="6497" y="783"/>
                    </a:cubicBezTo>
                    <a:cubicBezTo>
                      <a:pt x="6431" y="813"/>
                      <a:pt x="6431" y="813"/>
                      <a:pt x="6431" y="813"/>
                    </a:cubicBezTo>
                    <a:cubicBezTo>
                      <a:pt x="6431" y="813"/>
                      <a:pt x="6422" y="727"/>
                      <a:pt x="6410" y="715"/>
                    </a:cubicBezTo>
                    <a:cubicBezTo>
                      <a:pt x="6399" y="703"/>
                      <a:pt x="6373" y="699"/>
                      <a:pt x="6356" y="710"/>
                    </a:cubicBezTo>
                    <a:cubicBezTo>
                      <a:pt x="6340" y="720"/>
                      <a:pt x="6295" y="767"/>
                      <a:pt x="6295" y="767"/>
                    </a:cubicBezTo>
                    <a:cubicBezTo>
                      <a:pt x="6345" y="797"/>
                      <a:pt x="6345" y="797"/>
                      <a:pt x="6345" y="797"/>
                    </a:cubicBezTo>
                    <a:cubicBezTo>
                      <a:pt x="6345" y="797"/>
                      <a:pt x="6330" y="858"/>
                      <a:pt x="6310" y="858"/>
                    </a:cubicBezTo>
                    <a:cubicBezTo>
                      <a:pt x="6290" y="858"/>
                      <a:pt x="6251" y="867"/>
                      <a:pt x="6244" y="860"/>
                    </a:cubicBezTo>
                    <a:cubicBezTo>
                      <a:pt x="6239" y="853"/>
                      <a:pt x="6223" y="823"/>
                      <a:pt x="6223" y="823"/>
                    </a:cubicBezTo>
                    <a:cubicBezTo>
                      <a:pt x="6244" y="806"/>
                      <a:pt x="6244" y="806"/>
                      <a:pt x="6244" y="806"/>
                    </a:cubicBezTo>
                    <a:cubicBezTo>
                      <a:pt x="6213" y="764"/>
                      <a:pt x="6213" y="764"/>
                      <a:pt x="6213" y="764"/>
                    </a:cubicBezTo>
                    <a:cubicBezTo>
                      <a:pt x="6213" y="764"/>
                      <a:pt x="6169" y="813"/>
                      <a:pt x="6155" y="809"/>
                    </a:cubicBezTo>
                    <a:cubicBezTo>
                      <a:pt x="6141" y="806"/>
                      <a:pt x="6132" y="752"/>
                      <a:pt x="6129" y="752"/>
                    </a:cubicBezTo>
                    <a:cubicBezTo>
                      <a:pt x="6124" y="752"/>
                      <a:pt x="6061" y="717"/>
                      <a:pt x="6040" y="741"/>
                    </a:cubicBezTo>
                    <a:cubicBezTo>
                      <a:pt x="6022" y="764"/>
                      <a:pt x="6022" y="806"/>
                      <a:pt x="6022" y="806"/>
                    </a:cubicBezTo>
                    <a:cubicBezTo>
                      <a:pt x="5944" y="804"/>
                      <a:pt x="5944" y="804"/>
                      <a:pt x="5944" y="804"/>
                    </a:cubicBezTo>
                    <a:cubicBezTo>
                      <a:pt x="5897" y="745"/>
                      <a:pt x="5897" y="745"/>
                      <a:pt x="5897" y="745"/>
                    </a:cubicBezTo>
                    <a:cubicBezTo>
                      <a:pt x="5853" y="701"/>
                      <a:pt x="5853" y="701"/>
                      <a:pt x="5853" y="701"/>
                    </a:cubicBezTo>
                    <a:cubicBezTo>
                      <a:pt x="5853" y="701"/>
                      <a:pt x="5811" y="736"/>
                      <a:pt x="5806" y="736"/>
                    </a:cubicBezTo>
                    <a:cubicBezTo>
                      <a:pt x="5799" y="736"/>
                      <a:pt x="5776" y="743"/>
                      <a:pt x="5764" y="736"/>
                    </a:cubicBezTo>
                    <a:cubicBezTo>
                      <a:pt x="5755" y="727"/>
                      <a:pt x="5724" y="706"/>
                      <a:pt x="5722" y="706"/>
                    </a:cubicBezTo>
                    <a:cubicBezTo>
                      <a:pt x="5717" y="708"/>
                      <a:pt x="5696" y="734"/>
                      <a:pt x="5694" y="729"/>
                    </a:cubicBezTo>
                    <a:cubicBezTo>
                      <a:pt x="5694" y="724"/>
                      <a:pt x="5682" y="680"/>
                      <a:pt x="5670" y="675"/>
                    </a:cubicBezTo>
                    <a:cubicBezTo>
                      <a:pt x="5656" y="668"/>
                      <a:pt x="5623" y="687"/>
                      <a:pt x="5618" y="687"/>
                    </a:cubicBezTo>
                    <a:cubicBezTo>
                      <a:pt x="5616" y="684"/>
                      <a:pt x="5581" y="673"/>
                      <a:pt x="5586" y="666"/>
                    </a:cubicBezTo>
                    <a:cubicBezTo>
                      <a:pt x="5588" y="659"/>
                      <a:pt x="5651" y="656"/>
                      <a:pt x="5621" y="640"/>
                    </a:cubicBezTo>
                    <a:cubicBezTo>
                      <a:pt x="5590" y="623"/>
                      <a:pt x="5518" y="661"/>
                      <a:pt x="5518" y="661"/>
                    </a:cubicBezTo>
                    <a:cubicBezTo>
                      <a:pt x="5518" y="661"/>
                      <a:pt x="5455" y="635"/>
                      <a:pt x="5445" y="626"/>
                    </a:cubicBezTo>
                    <a:cubicBezTo>
                      <a:pt x="5436" y="617"/>
                      <a:pt x="5396" y="642"/>
                      <a:pt x="5377" y="621"/>
                    </a:cubicBezTo>
                    <a:cubicBezTo>
                      <a:pt x="5361" y="598"/>
                      <a:pt x="5347" y="542"/>
                      <a:pt x="5328" y="528"/>
                    </a:cubicBezTo>
                    <a:cubicBezTo>
                      <a:pt x="5312" y="516"/>
                      <a:pt x="5298" y="506"/>
                      <a:pt x="5298" y="506"/>
                    </a:cubicBezTo>
                    <a:cubicBezTo>
                      <a:pt x="5298" y="506"/>
                      <a:pt x="5249" y="572"/>
                      <a:pt x="5239" y="563"/>
                    </a:cubicBezTo>
                    <a:cubicBezTo>
                      <a:pt x="5230" y="553"/>
                      <a:pt x="5199" y="521"/>
                      <a:pt x="5197" y="511"/>
                    </a:cubicBezTo>
                    <a:cubicBezTo>
                      <a:pt x="5192" y="502"/>
                      <a:pt x="5230" y="481"/>
                      <a:pt x="5223" y="460"/>
                    </a:cubicBezTo>
                    <a:cubicBezTo>
                      <a:pt x="5218" y="441"/>
                      <a:pt x="5202" y="408"/>
                      <a:pt x="5202" y="408"/>
                    </a:cubicBezTo>
                    <a:cubicBezTo>
                      <a:pt x="5183" y="434"/>
                      <a:pt x="5183" y="434"/>
                      <a:pt x="5183" y="434"/>
                    </a:cubicBezTo>
                    <a:cubicBezTo>
                      <a:pt x="5183" y="434"/>
                      <a:pt x="5173" y="495"/>
                      <a:pt x="5160" y="483"/>
                    </a:cubicBezTo>
                    <a:cubicBezTo>
                      <a:pt x="5145" y="471"/>
                      <a:pt x="5124" y="441"/>
                      <a:pt x="5117" y="445"/>
                    </a:cubicBezTo>
                    <a:cubicBezTo>
                      <a:pt x="5113" y="448"/>
                      <a:pt x="5110" y="469"/>
                      <a:pt x="5105" y="464"/>
                    </a:cubicBezTo>
                    <a:cubicBezTo>
                      <a:pt x="5103" y="460"/>
                      <a:pt x="5073" y="445"/>
                      <a:pt x="5068" y="445"/>
                    </a:cubicBezTo>
                    <a:cubicBezTo>
                      <a:pt x="5064" y="445"/>
                      <a:pt x="5059" y="476"/>
                      <a:pt x="5056" y="476"/>
                    </a:cubicBezTo>
                    <a:cubicBezTo>
                      <a:pt x="5052" y="476"/>
                      <a:pt x="5038" y="450"/>
                      <a:pt x="5026" y="457"/>
                    </a:cubicBezTo>
                    <a:cubicBezTo>
                      <a:pt x="5014" y="467"/>
                      <a:pt x="4991" y="490"/>
                      <a:pt x="5019" y="509"/>
                    </a:cubicBezTo>
                    <a:cubicBezTo>
                      <a:pt x="5049" y="525"/>
                      <a:pt x="5052" y="537"/>
                      <a:pt x="5080" y="500"/>
                    </a:cubicBezTo>
                    <a:cubicBezTo>
                      <a:pt x="5127" y="574"/>
                      <a:pt x="5127" y="574"/>
                      <a:pt x="5127" y="574"/>
                    </a:cubicBezTo>
                    <a:cubicBezTo>
                      <a:pt x="5127" y="574"/>
                      <a:pt x="5141" y="528"/>
                      <a:pt x="5162" y="539"/>
                    </a:cubicBezTo>
                    <a:cubicBezTo>
                      <a:pt x="5183" y="551"/>
                      <a:pt x="5230" y="612"/>
                      <a:pt x="5230" y="612"/>
                    </a:cubicBezTo>
                    <a:cubicBezTo>
                      <a:pt x="5199" y="626"/>
                      <a:pt x="5199" y="626"/>
                      <a:pt x="5199" y="626"/>
                    </a:cubicBezTo>
                    <a:cubicBezTo>
                      <a:pt x="5227" y="678"/>
                      <a:pt x="5227" y="678"/>
                      <a:pt x="5227" y="678"/>
                    </a:cubicBezTo>
                    <a:cubicBezTo>
                      <a:pt x="5227" y="678"/>
                      <a:pt x="5194" y="720"/>
                      <a:pt x="5227" y="745"/>
                    </a:cubicBezTo>
                    <a:cubicBezTo>
                      <a:pt x="5260" y="771"/>
                      <a:pt x="5176" y="757"/>
                      <a:pt x="5176" y="757"/>
                    </a:cubicBezTo>
                    <a:cubicBezTo>
                      <a:pt x="5132" y="738"/>
                      <a:pt x="5132" y="738"/>
                      <a:pt x="5132" y="738"/>
                    </a:cubicBezTo>
                    <a:cubicBezTo>
                      <a:pt x="5162" y="795"/>
                      <a:pt x="5162" y="795"/>
                      <a:pt x="5162" y="795"/>
                    </a:cubicBezTo>
                    <a:cubicBezTo>
                      <a:pt x="5150" y="823"/>
                      <a:pt x="5150" y="823"/>
                      <a:pt x="5150" y="823"/>
                    </a:cubicBezTo>
                    <a:cubicBezTo>
                      <a:pt x="5150" y="823"/>
                      <a:pt x="5117" y="771"/>
                      <a:pt x="5108" y="767"/>
                    </a:cubicBezTo>
                    <a:cubicBezTo>
                      <a:pt x="5099" y="762"/>
                      <a:pt x="5073" y="809"/>
                      <a:pt x="5054" y="809"/>
                    </a:cubicBezTo>
                    <a:cubicBezTo>
                      <a:pt x="5033" y="809"/>
                      <a:pt x="5014" y="804"/>
                      <a:pt x="5014" y="804"/>
                    </a:cubicBezTo>
                    <a:cubicBezTo>
                      <a:pt x="4995" y="783"/>
                      <a:pt x="4995" y="783"/>
                      <a:pt x="4995" y="783"/>
                    </a:cubicBezTo>
                    <a:cubicBezTo>
                      <a:pt x="4970" y="804"/>
                      <a:pt x="4970" y="804"/>
                      <a:pt x="4970" y="804"/>
                    </a:cubicBezTo>
                    <a:cubicBezTo>
                      <a:pt x="4846" y="797"/>
                      <a:pt x="4846" y="797"/>
                      <a:pt x="4846" y="797"/>
                    </a:cubicBezTo>
                    <a:cubicBezTo>
                      <a:pt x="4820" y="731"/>
                      <a:pt x="4820" y="731"/>
                      <a:pt x="4820" y="731"/>
                    </a:cubicBezTo>
                    <a:cubicBezTo>
                      <a:pt x="4804" y="795"/>
                      <a:pt x="4804" y="795"/>
                      <a:pt x="4804" y="795"/>
                    </a:cubicBezTo>
                    <a:cubicBezTo>
                      <a:pt x="4804" y="795"/>
                      <a:pt x="4794" y="762"/>
                      <a:pt x="4768" y="760"/>
                    </a:cubicBezTo>
                    <a:cubicBezTo>
                      <a:pt x="4745" y="757"/>
                      <a:pt x="4749" y="821"/>
                      <a:pt x="4745" y="823"/>
                    </a:cubicBezTo>
                    <a:cubicBezTo>
                      <a:pt x="4743" y="825"/>
                      <a:pt x="4708" y="881"/>
                      <a:pt x="4708" y="881"/>
                    </a:cubicBezTo>
                    <a:cubicBezTo>
                      <a:pt x="4715" y="916"/>
                      <a:pt x="4715" y="916"/>
                      <a:pt x="4715" y="916"/>
                    </a:cubicBezTo>
                    <a:cubicBezTo>
                      <a:pt x="4715" y="916"/>
                      <a:pt x="4660" y="862"/>
                      <a:pt x="4659" y="860"/>
                    </a:cubicBezTo>
                    <a:cubicBezTo>
                      <a:pt x="4659" y="856"/>
                      <a:pt x="4637" y="827"/>
                      <a:pt x="4635" y="827"/>
                    </a:cubicBezTo>
                    <a:cubicBezTo>
                      <a:pt x="4630" y="830"/>
                      <a:pt x="4619" y="890"/>
                      <a:pt x="4614" y="898"/>
                    </a:cubicBezTo>
                    <a:cubicBezTo>
                      <a:pt x="4611" y="905"/>
                      <a:pt x="4637" y="949"/>
                      <a:pt x="4637" y="949"/>
                    </a:cubicBezTo>
                    <a:cubicBezTo>
                      <a:pt x="4637" y="949"/>
                      <a:pt x="4588" y="910"/>
                      <a:pt x="4576" y="916"/>
                    </a:cubicBezTo>
                    <a:cubicBezTo>
                      <a:pt x="4567" y="926"/>
                      <a:pt x="4546" y="938"/>
                      <a:pt x="4543" y="940"/>
                    </a:cubicBezTo>
                    <a:cubicBezTo>
                      <a:pt x="4543" y="945"/>
                      <a:pt x="4539" y="1010"/>
                      <a:pt x="4539" y="1010"/>
                    </a:cubicBezTo>
                    <a:cubicBezTo>
                      <a:pt x="4485" y="1010"/>
                      <a:pt x="4485" y="1010"/>
                      <a:pt x="4485" y="1010"/>
                    </a:cubicBezTo>
                    <a:cubicBezTo>
                      <a:pt x="4482" y="1092"/>
                      <a:pt x="4482" y="1092"/>
                      <a:pt x="4482" y="1092"/>
                    </a:cubicBezTo>
                    <a:cubicBezTo>
                      <a:pt x="4482" y="1092"/>
                      <a:pt x="4543" y="1125"/>
                      <a:pt x="4539" y="1125"/>
                    </a:cubicBezTo>
                    <a:cubicBezTo>
                      <a:pt x="4534" y="1125"/>
                      <a:pt x="4448" y="1193"/>
                      <a:pt x="4448" y="1193"/>
                    </a:cubicBezTo>
                    <a:cubicBezTo>
                      <a:pt x="4412" y="1158"/>
                      <a:pt x="4412" y="1158"/>
                      <a:pt x="4412" y="1158"/>
                    </a:cubicBezTo>
                    <a:cubicBezTo>
                      <a:pt x="4412" y="1158"/>
                      <a:pt x="4380" y="1202"/>
                      <a:pt x="4382" y="1240"/>
                    </a:cubicBezTo>
                    <a:cubicBezTo>
                      <a:pt x="4382" y="1277"/>
                      <a:pt x="4365" y="1336"/>
                      <a:pt x="4365" y="1336"/>
                    </a:cubicBezTo>
                    <a:cubicBezTo>
                      <a:pt x="4365" y="1336"/>
                      <a:pt x="4220" y="1437"/>
                      <a:pt x="4263" y="1467"/>
                    </a:cubicBezTo>
                    <a:cubicBezTo>
                      <a:pt x="4304" y="1497"/>
                      <a:pt x="4344" y="1521"/>
                      <a:pt x="4344" y="1521"/>
                    </a:cubicBezTo>
                    <a:cubicBezTo>
                      <a:pt x="4344" y="1521"/>
                      <a:pt x="4375" y="1509"/>
                      <a:pt x="4384" y="1502"/>
                    </a:cubicBezTo>
                    <a:cubicBezTo>
                      <a:pt x="4372" y="1511"/>
                      <a:pt x="4333" y="1549"/>
                      <a:pt x="4349" y="1558"/>
                    </a:cubicBezTo>
                    <a:cubicBezTo>
                      <a:pt x="4365" y="1567"/>
                      <a:pt x="4372" y="1582"/>
                      <a:pt x="4382" y="1582"/>
                    </a:cubicBezTo>
                    <a:cubicBezTo>
                      <a:pt x="4389" y="1582"/>
                      <a:pt x="4441" y="1563"/>
                      <a:pt x="4441" y="1563"/>
                    </a:cubicBezTo>
                    <a:cubicBezTo>
                      <a:pt x="4441" y="1563"/>
                      <a:pt x="4420" y="1622"/>
                      <a:pt x="4335" y="1596"/>
                    </a:cubicBezTo>
                    <a:cubicBezTo>
                      <a:pt x="4375" y="1701"/>
                      <a:pt x="4375" y="1701"/>
                      <a:pt x="4375" y="1701"/>
                    </a:cubicBezTo>
                    <a:cubicBezTo>
                      <a:pt x="4375" y="1701"/>
                      <a:pt x="4276" y="1596"/>
                      <a:pt x="4260" y="1596"/>
                    </a:cubicBezTo>
                    <a:cubicBezTo>
                      <a:pt x="4244" y="1598"/>
                      <a:pt x="4242" y="1692"/>
                      <a:pt x="4242" y="1692"/>
                    </a:cubicBezTo>
                    <a:cubicBezTo>
                      <a:pt x="4215" y="1711"/>
                      <a:pt x="4215" y="1711"/>
                      <a:pt x="4215" y="1711"/>
                    </a:cubicBezTo>
                    <a:cubicBezTo>
                      <a:pt x="4215" y="1711"/>
                      <a:pt x="4220" y="1638"/>
                      <a:pt x="4190" y="1624"/>
                    </a:cubicBezTo>
                    <a:cubicBezTo>
                      <a:pt x="4159" y="1610"/>
                      <a:pt x="4176" y="1598"/>
                      <a:pt x="4126" y="1598"/>
                    </a:cubicBezTo>
                    <a:cubicBezTo>
                      <a:pt x="4080" y="1598"/>
                      <a:pt x="4040" y="1579"/>
                      <a:pt x="4033" y="1577"/>
                    </a:cubicBezTo>
                    <a:cubicBezTo>
                      <a:pt x="4028" y="1575"/>
                      <a:pt x="3981" y="1619"/>
                      <a:pt x="3981" y="1619"/>
                    </a:cubicBezTo>
                    <a:cubicBezTo>
                      <a:pt x="4005" y="1664"/>
                      <a:pt x="4005" y="1664"/>
                      <a:pt x="4005" y="1664"/>
                    </a:cubicBezTo>
                    <a:cubicBezTo>
                      <a:pt x="4005" y="1664"/>
                      <a:pt x="3998" y="1675"/>
                      <a:pt x="3996" y="1675"/>
                    </a:cubicBezTo>
                    <a:cubicBezTo>
                      <a:pt x="3991" y="1675"/>
                      <a:pt x="3953" y="1650"/>
                      <a:pt x="3953" y="1650"/>
                    </a:cubicBezTo>
                    <a:cubicBezTo>
                      <a:pt x="3953" y="1650"/>
                      <a:pt x="3911" y="1671"/>
                      <a:pt x="3920" y="1692"/>
                    </a:cubicBezTo>
                    <a:cubicBezTo>
                      <a:pt x="3930" y="1711"/>
                      <a:pt x="3972" y="1755"/>
                      <a:pt x="3960" y="1760"/>
                    </a:cubicBezTo>
                    <a:cubicBezTo>
                      <a:pt x="3948" y="1767"/>
                      <a:pt x="3902" y="1790"/>
                      <a:pt x="3902" y="1790"/>
                    </a:cubicBezTo>
                    <a:cubicBezTo>
                      <a:pt x="3902" y="1790"/>
                      <a:pt x="3859" y="1750"/>
                      <a:pt x="3869" y="1729"/>
                    </a:cubicBezTo>
                    <a:cubicBezTo>
                      <a:pt x="3878" y="1711"/>
                      <a:pt x="3897" y="1715"/>
                      <a:pt x="3895" y="1685"/>
                    </a:cubicBezTo>
                    <a:cubicBezTo>
                      <a:pt x="3892" y="1655"/>
                      <a:pt x="3878" y="1656"/>
                      <a:pt x="3890" y="1635"/>
                    </a:cubicBezTo>
                    <a:cubicBezTo>
                      <a:pt x="3902" y="1615"/>
                      <a:pt x="3932" y="1582"/>
                      <a:pt x="3930" y="1577"/>
                    </a:cubicBezTo>
                    <a:cubicBezTo>
                      <a:pt x="3928" y="1570"/>
                      <a:pt x="3843" y="1537"/>
                      <a:pt x="3822" y="1507"/>
                    </a:cubicBezTo>
                    <a:cubicBezTo>
                      <a:pt x="3801" y="1476"/>
                      <a:pt x="3712" y="1359"/>
                      <a:pt x="3684" y="1347"/>
                    </a:cubicBezTo>
                    <a:cubicBezTo>
                      <a:pt x="3658" y="1336"/>
                      <a:pt x="3602" y="1357"/>
                      <a:pt x="3602" y="1357"/>
                    </a:cubicBezTo>
                    <a:cubicBezTo>
                      <a:pt x="3548" y="1296"/>
                      <a:pt x="3548" y="1296"/>
                      <a:pt x="3548" y="1296"/>
                    </a:cubicBezTo>
                    <a:cubicBezTo>
                      <a:pt x="3487" y="1315"/>
                      <a:pt x="3487" y="1315"/>
                      <a:pt x="3487" y="1315"/>
                    </a:cubicBezTo>
                    <a:cubicBezTo>
                      <a:pt x="3513" y="1373"/>
                      <a:pt x="3513" y="1373"/>
                      <a:pt x="3513" y="1373"/>
                    </a:cubicBezTo>
                    <a:cubicBezTo>
                      <a:pt x="3436" y="1448"/>
                      <a:pt x="3436" y="1448"/>
                      <a:pt x="3436" y="1448"/>
                    </a:cubicBezTo>
                    <a:cubicBezTo>
                      <a:pt x="3436" y="1448"/>
                      <a:pt x="3394" y="1399"/>
                      <a:pt x="3398" y="1378"/>
                    </a:cubicBezTo>
                    <a:cubicBezTo>
                      <a:pt x="3386" y="1394"/>
                      <a:pt x="3358" y="1432"/>
                      <a:pt x="3358" y="1444"/>
                    </a:cubicBezTo>
                    <a:cubicBezTo>
                      <a:pt x="3358" y="1460"/>
                      <a:pt x="3319" y="1434"/>
                      <a:pt x="3319" y="1434"/>
                    </a:cubicBezTo>
                    <a:cubicBezTo>
                      <a:pt x="3255" y="1495"/>
                      <a:pt x="3255" y="1495"/>
                      <a:pt x="3255" y="1495"/>
                    </a:cubicBezTo>
                    <a:cubicBezTo>
                      <a:pt x="3284" y="1530"/>
                      <a:pt x="3284" y="1530"/>
                      <a:pt x="3284" y="1530"/>
                    </a:cubicBezTo>
                    <a:cubicBezTo>
                      <a:pt x="3251" y="1563"/>
                      <a:pt x="3251" y="1563"/>
                      <a:pt x="3251" y="1563"/>
                    </a:cubicBezTo>
                    <a:cubicBezTo>
                      <a:pt x="3187" y="1488"/>
                      <a:pt x="3187" y="1488"/>
                      <a:pt x="3187" y="1488"/>
                    </a:cubicBezTo>
                    <a:cubicBezTo>
                      <a:pt x="3176" y="1584"/>
                      <a:pt x="3176" y="1584"/>
                      <a:pt x="3176" y="1584"/>
                    </a:cubicBezTo>
                    <a:cubicBezTo>
                      <a:pt x="3176" y="1584"/>
                      <a:pt x="3143" y="1549"/>
                      <a:pt x="3138" y="1549"/>
                    </a:cubicBezTo>
                    <a:cubicBezTo>
                      <a:pt x="3136" y="1549"/>
                      <a:pt x="3110" y="1589"/>
                      <a:pt x="3110" y="1589"/>
                    </a:cubicBezTo>
                    <a:cubicBezTo>
                      <a:pt x="3077" y="1575"/>
                      <a:pt x="3077" y="1575"/>
                      <a:pt x="3077" y="1575"/>
                    </a:cubicBezTo>
                    <a:cubicBezTo>
                      <a:pt x="3035" y="1633"/>
                      <a:pt x="3035" y="1633"/>
                      <a:pt x="3035" y="1633"/>
                    </a:cubicBezTo>
                    <a:cubicBezTo>
                      <a:pt x="3035" y="1633"/>
                      <a:pt x="3049" y="1678"/>
                      <a:pt x="3070" y="1689"/>
                    </a:cubicBezTo>
                    <a:cubicBezTo>
                      <a:pt x="3089" y="1699"/>
                      <a:pt x="3103" y="1717"/>
                      <a:pt x="3103" y="1717"/>
                    </a:cubicBezTo>
                    <a:cubicBezTo>
                      <a:pt x="3094" y="1744"/>
                      <a:pt x="3094" y="1744"/>
                      <a:pt x="3094" y="1744"/>
                    </a:cubicBezTo>
                    <a:cubicBezTo>
                      <a:pt x="3094" y="1744"/>
                      <a:pt x="3063" y="1755"/>
                      <a:pt x="3042" y="1741"/>
                    </a:cubicBezTo>
                    <a:cubicBezTo>
                      <a:pt x="3024" y="1725"/>
                      <a:pt x="3005" y="1708"/>
                      <a:pt x="3000" y="1708"/>
                    </a:cubicBezTo>
                    <a:cubicBezTo>
                      <a:pt x="2996" y="1708"/>
                      <a:pt x="2988" y="1762"/>
                      <a:pt x="2988" y="1762"/>
                    </a:cubicBezTo>
                    <a:cubicBezTo>
                      <a:pt x="3028" y="1809"/>
                      <a:pt x="3028" y="1809"/>
                      <a:pt x="3028" y="1809"/>
                    </a:cubicBezTo>
                    <a:cubicBezTo>
                      <a:pt x="3049" y="1861"/>
                      <a:pt x="3049" y="1861"/>
                      <a:pt x="3049" y="1861"/>
                    </a:cubicBezTo>
                    <a:cubicBezTo>
                      <a:pt x="3009" y="1846"/>
                      <a:pt x="3009" y="1846"/>
                      <a:pt x="3009" y="1846"/>
                    </a:cubicBezTo>
                    <a:cubicBezTo>
                      <a:pt x="2953" y="1781"/>
                      <a:pt x="2953" y="1781"/>
                      <a:pt x="2953" y="1781"/>
                    </a:cubicBezTo>
                    <a:cubicBezTo>
                      <a:pt x="2953" y="1781"/>
                      <a:pt x="2916" y="1821"/>
                      <a:pt x="2897" y="1842"/>
                    </a:cubicBezTo>
                    <a:cubicBezTo>
                      <a:pt x="2876" y="1865"/>
                      <a:pt x="2846" y="1846"/>
                      <a:pt x="2839" y="1874"/>
                    </a:cubicBezTo>
                    <a:cubicBezTo>
                      <a:pt x="2829" y="1903"/>
                      <a:pt x="2834" y="2001"/>
                      <a:pt x="2860" y="1999"/>
                    </a:cubicBezTo>
                    <a:cubicBezTo>
                      <a:pt x="2883" y="1999"/>
                      <a:pt x="2916" y="1956"/>
                      <a:pt x="2916" y="1956"/>
                    </a:cubicBezTo>
                    <a:cubicBezTo>
                      <a:pt x="2916" y="1956"/>
                      <a:pt x="2909" y="2015"/>
                      <a:pt x="2888" y="2039"/>
                    </a:cubicBezTo>
                    <a:cubicBezTo>
                      <a:pt x="2867" y="2062"/>
                      <a:pt x="2841" y="2045"/>
                      <a:pt x="2839" y="2071"/>
                    </a:cubicBezTo>
                    <a:cubicBezTo>
                      <a:pt x="2839" y="2095"/>
                      <a:pt x="2841" y="2113"/>
                      <a:pt x="2848" y="2113"/>
                    </a:cubicBezTo>
                    <a:cubicBezTo>
                      <a:pt x="2852" y="2113"/>
                      <a:pt x="2885" y="2104"/>
                      <a:pt x="2913" y="2111"/>
                    </a:cubicBezTo>
                    <a:cubicBezTo>
                      <a:pt x="2941" y="2118"/>
                      <a:pt x="2996" y="2142"/>
                      <a:pt x="2996" y="2142"/>
                    </a:cubicBezTo>
                    <a:cubicBezTo>
                      <a:pt x="2996" y="2142"/>
                      <a:pt x="2843" y="2156"/>
                      <a:pt x="2818" y="2151"/>
                    </a:cubicBezTo>
                    <a:cubicBezTo>
                      <a:pt x="2794" y="2144"/>
                      <a:pt x="2813" y="2106"/>
                      <a:pt x="2775" y="2106"/>
                    </a:cubicBezTo>
                    <a:cubicBezTo>
                      <a:pt x="2738" y="2109"/>
                      <a:pt x="2726" y="2109"/>
                      <a:pt x="2719" y="2113"/>
                    </a:cubicBezTo>
                    <a:cubicBezTo>
                      <a:pt x="2710" y="2116"/>
                      <a:pt x="2729" y="2142"/>
                      <a:pt x="2729" y="2142"/>
                    </a:cubicBezTo>
                    <a:cubicBezTo>
                      <a:pt x="2686" y="2142"/>
                      <a:pt x="2686" y="2142"/>
                      <a:pt x="2686" y="2142"/>
                    </a:cubicBezTo>
                    <a:cubicBezTo>
                      <a:pt x="2686" y="2142"/>
                      <a:pt x="2661" y="2076"/>
                      <a:pt x="2651" y="2076"/>
                    </a:cubicBezTo>
                    <a:cubicBezTo>
                      <a:pt x="2640" y="2076"/>
                      <a:pt x="2602" y="2085"/>
                      <a:pt x="2607" y="2104"/>
                    </a:cubicBezTo>
                    <a:cubicBezTo>
                      <a:pt x="2612" y="2125"/>
                      <a:pt x="2658" y="2142"/>
                      <a:pt x="2646" y="2149"/>
                    </a:cubicBezTo>
                    <a:cubicBezTo>
                      <a:pt x="2637" y="2156"/>
                      <a:pt x="2609" y="2207"/>
                      <a:pt x="2612" y="2214"/>
                    </a:cubicBezTo>
                    <a:cubicBezTo>
                      <a:pt x="2612" y="2221"/>
                      <a:pt x="2656" y="2299"/>
                      <a:pt x="2679" y="2296"/>
                    </a:cubicBezTo>
                    <a:cubicBezTo>
                      <a:pt x="2701" y="2296"/>
                      <a:pt x="2724" y="2278"/>
                      <a:pt x="2724" y="2278"/>
                    </a:cubicBezTo>
                    <a:cubicBezTo>
                      <a:pt x="2702" y="2320"/>
                      <a:pt x="2702" y="2320"/>
                      <a:pt x="2702" y="2320"/>
                    </a:cubicBezTo>
                    <a:cubicBezTo>
                      <a:pt x="2731" y="2392"/>
                      <a:pt x="2731" y="2392"/>
                      <a:pt x="2731" y="2392"/>
                    </a:cubicBezTo>
                    <a:cubicBezTo>
                      <a:pt x="2635" y="2334"/>
                      <a:pt x="2635" y="2334"/>
                      <a:pt x="2635" y="2334"/>
                    </a:cubicBezTo>
                    <a:cubicBezTo>
                      <a:pt x="2635" y="2334"/>
                      <a:pt x="2609" y="2362"/>
                      <a:pt x="2635" y="2399"/>
                    </a:cubicBezTo>
                    <a:cubicBezTo>
                      <a:pt x="2658" y="2437"/>
                      <a:pt x="2632" y="2505"/>
                      <a:pt x="2632" y="2505"/>
                    </a:cubicBezTo>
                    <a:cubicBezTo>
                      <a:pt x="2445" y="2233"/>
                      <a:pt x="2445" y="2233"/>
                      <a:pt x="2445" y="2233"/>
                    </a:cubicBezTo>
                    <a:cubicBezTo>
                      <a:pt x="2445" y="2233"/>
                      <a:pt x="2445" y="2198"/>
                      <a:pt x="2455" y="2193"/>
                    </a:cubicBezTo>
                    <a:cubicBezTo>
                      <a:pt x="2462" y="2186"/>
                      <a:pt x="2450" y="2160"/>
                      <a:pt x="2445" y="2160"/>
                    </a:cubicBezTo>
                    <a:cubicBezTo>
                      <a:pt x="2440" y="2160"/>
                      <a:pt x="2429" y="2207"/>
                      <a:pt x="2407" y="2219"/>
                    </a:cubicBezTo>
                    <a:cubicBezTo>
                      <a:pt x="2386" y="2233"/>
                      <a:pt x="2370" y="2254"/>
                      <a:pt x="2370" y="2259"/>
                    </a:cubicBezTo>
                    <a:cubicBezTo>
                      <a:pt x="2370" y="2266"/>
                      <a:pt x="2396" y="2291"/>
                      <a:pt x="2391" y="2291"/>
                    </a:cubicBezTo>
                    <a:cubicBezTo>
                      <a:pt x="2389" y="2291"/>
                      <a:pt x="2354" y="2280"/>
                      <a:pt x="2337" y="2301"/>
                    </a:cubicBezTo>
                    <a:cubicBezTo>
                      <a:pt x="2323" y="2324"/>
                      <a:pt x="2330" y="2348"/>
                      <a:pt x="2330" y="2348"/>
                    </a:cubicBezTo>
                    <a:cubicBezTo>
                      <a:pt x="2330" y="2348"/>
                      <a:pt x="2251" y="2355"/>
                      <a:pt x="2234" y="2434"/>
                    </a:cubicBezTo>
                    <a:cubicBezTo>
                      <a:pt x="2218" y="2516"/>
                      <a:pt x="2251" y="2612"/>
                      <a:pt x="2251" y="2612"/>
                    </a:cubicBezTo>
                    <a:cubicBezTo>
                      <a:pt x="2251" y="2612"/>
                      <a:pt x="2302" y="2664"/>
                      <a:pt x="2302" y="2678"/>
                    </a:cubicBezTo>
                    <a:cubicBezTo>
                      <a:pt x="2302" y="2690"/>
                      <a:pt x="2269" y="2711"/>
                      <a:pt x="2256" y="2729"/>
                    </a:cubicBezTo>
                    <a:cubicBezTo>
                      <a:pt x="2241" y="2748"/>
                      <a:pt x="2227" y="2793"/>
                      <a:pt x="2227" y="2793"/>
                    </a:cubicBezTo>
                    <a:cubicBezTo>
                      <a:pt x="2227" y="2793"/>
                      <a:pt x="2183" y="2793"/>
                      <a:pt x="2159" y="2821"/>
                    </a:cubicBezTo>
                    <a:cubicBezTo>
                      <a:pt x="2138" y="2849"/>
                      <a:pt x="2145" y="2894"/>
                      <a:pt x="2140" y="2894"/>
                    </a:cubicBezTo>
                    <a:cubicBezTo>
                      <a:pt x="2138" y="2894"/>
                      <a:pt x="2106" y="2896"/>
                      <a:pt x="2106" y="2896"/>
                    </a:cubicBezTo>
                    <a:cubicBezTo>
                      <a:pt x="2106" y="2896"/>
                      <a:pt x="2082" y="3055"/>
                      <a:pt x="2049" y="3090"/>
                    </a:cubicBezTo>
                    <a:cubicBezTo>
                      <a:pt x="2017" y="3125"/>
                      <a:pt x="1890" y="3219"/>
                      <a:pt x="1839" y="3254"/>
                    </a:cubicBezTo>
                    <a:cubicBezTo>
                      <a:pt x="1787" y="3287"/>
                      <a:pt x="1637" y="3322"/>
                      <a:pt x="1633" y="3322"/>
                    </a:cubicBezTo>
                    <a:cubicBezTo>
                      <a:pt x="1630" y="3324"/>
                      <a:pt x="1581" y="3367"/>
                      <a:pt x="1574" y="3362"/>
                    </a:cubicBezTo>
                    <a:cubicBezTo>
                      <a:pt x="1569" y="3360"/>
                      <a:pt x="1536" y="3339"/>
                      <a:pt x="1513" y="3339"/>
                    </a:cubicBezTo>
                    <a:cubicBezTo>
                      <a:pt x="1487" y="3339"/>
                      <a:pt x="1471" y="3320"/>
                      <a:pt x="1473" y="3315"/>
                    </a:cubicBezTo>
                    <a:cubicBezTo>
                      <a:pt x="1476" y="3311"/>
                      <a:pt x="1534" y="3301"/>
                      <a:pt x="1534" y="3301"/>
                    </a:cubicBezTo>
                    <a:cubicBezTo>
                      <a:pt x="1534" y="3301"/>
                      <a:pt x="1471" y="3294"/>
                      <a:pt x="1459" y="3313"/>
                    </a:cubicBezTo>
                    <a:cubicBezTo>
                      <a:pt x="1447" y="3332"/>
                      <a:pt x="1422" y="3374"/>
                      <a:pt x="1415" y="3374"/>
                    </a:cubicBezTo>
                    <a:cubicBezTo>
                      <a:pt x="1407" y="3374"/>
                      <a:pt x="1405" y="3446"/>
                      <a:pt x="1361" y="3453"/>
                    </a:cubicBezTo>
                    <a:cubicBezTo>
                      <a:pt x="1316" y="3458"/>
                      <a:pt x="1281" y="3467"/>
                      <a:pt x="1281" y="3467"/>
                    </a:cubicBezTo>
                    <a:cubicBezTo>
                      <a:pt x="1281" y="3467"/>
                      <a:pt x="1250" y="3498"/>
                      <a:pt x="1244" y="3498"/>
                    </a:cubicBezTo>
                    <a:cubicBezTo>
                      <a:pt x="1237" y="3498"/>
                      <a:pt x="1190" y="3493"/>
                      <a:pt x="1190" y="3493"/>
                    </a:cubicBezTo>
                    <a:cubicBezTo>
                      <a:pt x="1190" y="3493"/>
                      <a:pt x="1124" y="3580"/>
                      <a:pt x="1091" y="3594"/>
                    </a:cubicBezTo>
                    <a:cubicBezTo>
                      <a:pt x="1059" y="3608"/>
                      <a:pt x="1007" y="3632"/>
                      <a:pt x="1007" y="3632"/>
                    </a:cubicBezTo>
                    <a:cubicBezTo>
                      <a:pt x="1007" y="3632"/>
                      <a:pt x="970" y="3634"/>
                      <a:pt x="953" y="3632"/>
                    </a:cubicBezTo>
                    <a:cubicBezTo>
                      <a:pt x="937" y="3627"/>
                      <a:pt x="942" y="3596"/>
                      <a:pt x="913" y="3603"/>
                    </a:cubicBezTo>
                    <a:cubicBezTo>
                      <a:pt x="885" y="3611"/>
                      <a:pt x="848" y="3652"/>
                      <a:pt x="845" y="3641"/>
                    </a:cubicBezTo>
                    <a:cubicBezTo>
                      <a:pt x="841" y="3629"/>
                      <a:pt x="829" y="3582"/>
                      <a:pt x="841" y="3571"/>
                    </a:cubicBezTo>
                    <a:cubicBezTo>
                      <a:pt x="853" y="3556"/>
                      <a:pt x="832" y="3538"/>
                      <a:pt x="832" y="3538"/>
                    </a:cubicBezTo>
                    <a:cubicBezTo>
                      <a:pt x="832" y="3538"/>
                      <a:pt x="829" y="3584"/>
                      <a:pt x="810" y="3601"/>
                    </a:cubicBezTo>
                    <a:cubicBezTo>
                      <a:pt x="792" y="3615"/>
                      <a:pt x="731" y="3622"/>
                      <a:pt x="735" y="3622"/>
                    </a:cubicBezTo>
                    <a:cubicBezTo>
                      <a:pt x="740" y="3622"/>
                      <a:pt x="796" y="3634"/>
                      <a:pt x="775" y="3652"/>
                    </a:cubicBezTo>
                    <a:cubicBezTo>
                      <a:pt x="752" y="3669"/>
                      <a:pt x="724" y="3685"/>
                      <a:pt x="710" y="3692"/>
                    </a:cubicBezTo>
                    <a:cubicBezTo>
                      <a:pt x="695" y="3700"/>
                      <a:pt x="672" y="3716"/>
                      <a:pt x="670" y="3718"/>
                    </a:cubicBezTo>
                    <a:cubicBezTo>
                      <a:pt x="670" y="3723"/>
                      <a:pt x="630" y="3770"/>
                      <a:pt x="604" y="3784"/>
                    </a:cubicBezTo>
                    <a:cubicBezTo>
                      <a:pt x="578" y="3798"/>
                      <a:pt x="537" y="3863"/>
                      <a:pt x="527" y="3870"/>
                    </a:cubicBezTo>
                    <a:cubicBezTo>
                      <a:pt x="517" y="3875"/>
                      <a:pt x="492" y="3927"/>
                      <a:pt x="485" y="3934"/>
                    </a:cubicBezTo>
                    <a:cubicBezTo>
                      <a:pt x="476" y="3938"/>
                      <a:pt x="368" y="4001"/>
                      <a:pt x="328" y="4034"/>
                    </a:cubicBezTo>
                    <a:cubicBezTo>
                      <a:pt x="290" y="4067"/>
                      <a:pt x="250" y="4133"/>
                      <a:pt x="250" y="4154"/>
                    </a:cubicBezTo>
                    <a:cubicBezTo>
                      <a:pt x="250" y="4177"/>
                      <a:pt x="237" y="4264"/>
                      <a:pt x="237" y="4264"/>
                    </a:cubicBezTo>
                    <a:cubicBezTo>
                      <a:pt x="237" y="4264"/>
                      <a:pt x="201" y="4278"/>
                      <a:pt x="190" y="4280"/>
                    </a:cubicBezTo>
                    <a:cubicBezTo>
                      <a:pt x="178" y="4283"/>
                      <a:pt x="178" y="4255"/>
                      <a:pt x="171" y="4238"/>
                    </a:cubicBezTo>
                    <a:cubicBezTo>
                      <a:pt x="161" y="4222"/>
                      <a:pt x="150" y="4196"/>
                      <a:pt x="150" y="4187"/>
                    </a:cubicBezTo>
                    <a:cubicBezTo>
                      <a:pt x="150" y="4177"/>
                      <a:pt x="152" y="4072"/>
                      <a:pt x="152" y="4072"/>
                    </a:cubicBezTo>
                    <a:cubicBezTo>
                      <a:pt x="152" y="4072"/>
                      <a:pt x="150" y="4037"/>
                      <a:pt x="108" y="4095"/>
                    </a:cubicBezTo>
                    <a:cubicBezTo>
                      <a:pt x="68" y="4156"/>
                      <a:pt x="87" y="4243"/>
                      <a:pt x="87" y="4243"/>
                    </a:cubicBezTo>
                    <a:cubicBezTo>
                      <a:pt x="87" y="4243"/>
                      <a:pt x="28" y="4294"/>
                      <a:pt x="47" y="4329"/>
                    </a:cubicBezTo>
                    <a:cubicBezTo>
                      <a:pt x="65" y="4365"/>
                      <a:pt x="110" y="4423"/>
                      <a:pt x="110" y="4423"/>
                    </a:cubicBezTo>
                    <a:cubicBezTo>
                      <a:pt x="103" y="4484"/>
                      <a:pt x="103" y="4484"/>
                      <a:pt x="103" y="4484"/>
                    </a:cubicBezTo>
                    <a:cubicBezTo>
                      <a:pt x="103" y="4484"/>
                      <a:pt x="131" y="4522"/>
                      <a:pt x="126" y="4555"/>
                    </a:cubicBezTo>
                    <a:cubicBezTo>
                      <a:pt x="122" y="4587"/>
                      <a:pt x="72" y="4655"/>
                      <a:pt x="68" y="4676"/>
                    </a:cubicBezTo>
                    <a:cubicBezTo>
                      <a:pt x="61" y="4695"/>
                      <a:pt x="59" y="4873"/>
                      <a:pt x="59" y="4873"/>
                    </a:cubicBezTo>
                    <a:cubicBezTo>
                      <a:pt x="59" y="4873"/>
                      <a:pt x="150" y="4964"/>
                      <a:pt x="152" y="4985"/>
                    </a:cubicBezTo>
                    <a:cubicBezTo>
                      <a:pt x="154" y="5006"/>
                      <a:pt x="154" y="5034"/>
                      <a:pt x="161" y="5042"/>
                    </a:cubicBezTo>
                    <a:cubicBezTo>
                      <a:pt x="169" y="5049"/>
                      <a:pt x="209" y="5091"/>
                      <a:pt x="209" y="5091"/>
                    </a:cubicBezTo>
                    <a:cubicBezTo>
                      <a:pt x="232" y="5079"/>
                      <a:pt x="232" y="5079"/>
                      <a:pt x="232" y="5079"/>
                    </a:cubicBezTo>
                    <a:cubicBezTo>
                      <a:pt x="255" y="5122"/>
                      <a:pt x="255" y="5122"/>
                      <a:pt x="255" y="5122"/>
                    </a:cubicBezTo>
                    <a:cubicBezTo>
                      <a:pt x="253" y="5154"/>
                      <a:pt x="253" y="5154"/>
                      <a:pt x="253" y="5154"/>
                    </a:cubicBezTo>
                    <a:cubicBezTo>
                      <a:pt x="253" y="5154"/>
                      <a:pt x="379" y="5245"/>
                      <a:pt x="375" y="5267"/>
                    </a:cubicBezTo>
                    <a:cubicBezTo>
                      <a:pt x="370" y="5288"/>
                      <a:pt x="347" y="5304"/>
                      <a:pt x="347" y="5304"/>
                    </a:cubicBezTo>
                    <a:cubicBezTo>
                      <a:pt x="347" y="5304"/>
                      <a:pt x="360" y="5339"/>
                      <a:pt x="356" y="5353"/>
                    </a:cubicBezTo>
                    <a:cubicBezTo>
                      <a:pt x="351" y="5370"/>
                      <a:pt x="379" y="5390"/>
                      <a:pt x="379" y="5390"/>
                    </a:cubicBezTo>
                    <a:cubicBezTo>
                      <a:pt x="379" y="5390"/>
                      <a:pt x="347" y="5440"/>
                      <a:pt x="347" y="5435"/>
                    </a:cubicBezTo>
                    <a:cubicBezTo>
                      <a:pt x="347" y="5433"/>
                      <a:pt x="281" y="5339"/>
                      <a:pt x="276" y="5328"/>
                    </a:cubicBezTo>
                    <a:cubicBezTo>
                      <a:pt x="270" y="5316"/>
                      <a:pt x="250" y="5377"/>
                      <a:pt x="250" y="5377"/>
                    </a:cubicBezTo>
                    <a:cubicBezTo>
                      <a:pt x="281" y="5412"/>
                      <a:pt x="281" y="5412"/>
                      <a:pt x="281" y="5412"/>
                    </a:cubicBezTo>
                    <a:cubicBezTo>
                      <a:pt x="281" y="5412"/>
                      <a:pt x="302" y="5470"/>
                      <a:pt x="276" y="5484"/>
                    </a:cubicBezTo>
                    <a:cubicBezTo>
                      <a:pt x="250" y="5496"/>
                      <a:pt x="227" y="5501"/>
                      <a:pt x="227" y="5512"/>
                    </a:cubicBezTo>
                    <a:cubicBezTo>
                      <a:pt x="227" y="5524"/>
                      <a:pt x="222" y="5524"/>
                      <a:pt x="222" y="5524"/>
                    </a:cubicBezTo>
                    <a:cubicBezTo>
                      <a:pt x="222" y="5524"/>
                      <a:pt x="403" y="5714"/>
                      <a:pt x="410" y="5773"/>
                    </a:cubicBezTo>
                    <a:cubicBezTo>
                      <a:pt x="417" y="5831"/>
                      <a:pt x="408" y="5883"/>
                      <a:pt x="421" y="5894"/>
                    </a:cubicBezTo>
                    <a:cubicBezTo>
                      <a:pt x="436" y="5908"/>
                      <a:pt x="571" y="6014"/>
                      <a:pt x="586" y="6051"/>
                    </a:cubicBezTo>
                    <a:cubicBezTo>
                      <a:pt x="597" y="6089"/>
                      <a:pt x="574" y="6103"/>
                      <a:pt x="597" y="6126"/>
                    </a:cubicBezTo>
                    <a:cubicBezTo>
                      <a:pt x="623" y="6150"/>
                      <a:pt x="695" y="6224"/>
                      <a:pt x="700" y="6257"/>
                    </a:cubicBezTo>
                    <a:cubicBezTo>
                      <a:pt x="705" y="6290"/>
                      <a:pt x="738" y="6522"/>
                      <a:pt x="775" y="6588"/>
                    </a:cubicBezTo>
                    <a:cubicBezTo>
                      <a:pt x="813" y="6651"/>
                      <a:pt x="1002" y="6928"/>
                      <a:pt x="1002" y="6951"/>
                    </a:cubicBezTo>
                    <a:cubicBezTo>
                      <a:pt x="1005" y="6974"/>
                      <a:pt x="1019" y="7038"/>
                      <a:pt x="1019" y="7038"/>
                    </a:cubicBezTo>
                    <a:cubicBezTo>
                      <a:pt x="1019" y="7038"/>
                      <a:pt x="988" y="7049"/>
                      <a:pt x="991" y="7051"/>
                    </a:cubicBezTo>
                    <a:cubicBezTo>
                      <a:pt x="995" y="7054"/>
                      <a:pt x="1038" y="7124"/>
                      <a:pt x="1038" y="7124"/>
                    </a:cubicBezTo>
                    <a:cubicBezTo>
                      <a:pt x="1014" y="7180"/>
                      <a:pt x="1014" y="7180"/>
                      <a:pt x="1014" y="7180"/>
                    </a:cubicBezTo>
                    <a:cubicBezTo>
                      <a:pt x="1044" y="7216"/>
                      <a:pt x="1044" y="7216"/>
                      <a:pt x="1044" y="7216"/>
                    </a:cubicBezTo>
                    <a:cubicBezTo>
                      <a:pt x="1016" y="7232"/>
                      <a:pt x="1016" y="7232"/>
                      <a:pt x="1016" y="7232"/>
                    </a:cubicBezTo>
                    <a:cubicBezTo>
                      <a:pt x="1016" y="7232"/>
                      <a:pt x="1042" y="7284"/>
                      <a:pt x="1049" y="7305"/>
                    </a:cubicBezTo>
                    <a:cubicBezTo>
                      <a:pt x="1056" y="7326"/>
                      <a:pt x="1066" y="7405"/>
                      <a:pt x="1028" y="7445"/>
                    </a:cubicBezTo>
                    <a:cubicBezTo>
                      <a:pt x="993" y="7483"/>
                      <a:pt x="977" y="7508"/>
                      <a:pt x="958" y="7499"/>
                    </a:cubicBezTo>
                    <a:cubicBezTo>
                      <a:pt x="937" y="7492"/>
                      <a:pt x="906" y="7459"/>
                      <a:pt x="906" y="7459"/>
                    </a:cubicBezTo>
                    <a:cubicBezTo>
                      <a:pt x="897" y="7513"/>
                      <a:pt x="897" y="7513"/>
                      <a:pt x="897" y="7513"/>
                    </a:cubicBezTo>
                    <a:cubicBezTo>
                      <a:pt x="897" y="7513"/>
                      <a:pt x="913" y="7707"/>
                      <a:pt x="949" y="7703"/>
                    </a:cubicBezTo>
                    <a:cubicBezTo>
                      <a:pt x="982" y="7701"/>
                      <a:pt x="960" y="7661"/>
                      <a:pt x="1002" y="7679"/>
                    </a:cubicBezTo>
                    <a:cubicBezTo>
                      <a:pt x="1047" y="7701"/>
                      <a:pt x="1204" y="7818"/>
                      <a:pt x="1204" y="7818"/>
                    </a:cubicBezTo>
                    <a:cubicBezTo>
                      <a:pt x="1204" y="7818"/>
                      <a:pt x="1258" y="7806"/>
                      <a:pt x="1283" y="7815"/>
                    </a:cubicBezTo>
                    <a:cubicBezTo>
                      <a:pt x="1309" y="7824"/>
                      <a:pt x="1305" y="7843"/>
                      <a:pt x="1349" y="7843"/>
                    </a:cubicBezTo>
                    <a:cubicBezTo>
                      <a:pt x="1396" y="7843"/>
                      <a:pt x="1450" y="7843"/>
                      <a:pt x="1455" y="7841"/>
                    </a:cubicBezTo>
                    <a:cubicBezTo>
                      <a:pt x="1459" y="7841"/>
                      <a:pt x="1513" y="7822"/>
                      <a:pt x="1534" y="7827"/>
                    </a:cubicBezTo>
                    <a:cubicBezTo>
                      <a:pt x="1555" y="7829"/>
                      <a:pt x="1593" y="7850"/>
                      <a:pt x="1604" y="7846"/>
                    </a:cubicBezTo>
                    <a:cubicBezTo>
                      <a:pt x="1616" y="7843"/>
                      <a:pt x="1623" y="7815"/>
                      <a:pt x="1667" y="7811"/>
                    </a:cubicBezTo>
                    <a:cubicBezTo>
                      <a:pt x="1714" y="7806"/>
                      <a:pt x="1726" y="7815"/>
                      <a:pt x="1733" y="7806"/>
                    </a:cubicBezTo>
                    <a:cubicBezTo>
                      <a:pt x="1738" y="7796"/>
                      <a:pt x="1778" y="7768"/>
                      <a:pt x="1787" y="7757"/>
                    </a:cubicBezTo>
                    <a:cubicBezTo>
                      <a:pt x="1794" y="7747"/>
                      <a:pt x="1796" y="7710"/>
                      <a:pt x="1796" y="7710"/>
                    </a:cubicBezTo>
                    <a:cubicBezTo>
                      <a:pt x="1796" y="7710"/>
                      <a:pt x="1812" y="7714"/>
                      <a:pt x="1841" y="7679"/>
                    </a:cubicBezTo>
                    <a:cubicBezTo>
                      <a:pt x="1869" y="7644"/>
                      <a:pt x="1839" y="7628"/>
                      <a:pt x="1897" y="7612"/>
                    </a:cubicBezTo>
                    <a:cubicBezTo>
                      <a:pt x="1956" y="7597"/>
                      <a:pt x="1979" y="7623"/>
                      <a:pt x="1989" y="7616"/>
                    </a:cubicBezTo>
                    <a:cubicBezTo>
                      <a:pt x="1995" y="7609"/>
                      <a:pt x="2035" y="7579"/>
                      <a:pt x="2035" y="7574"/>
                    </a:cubicBezTo>
                    <a:cubicBezTo>
                      <a:pt x="2035" y="7572"/>
                      <a:pt x="2012" y="7555"/>
                      <a:pt x="2038" y="7520"/>
                    </a:cubicBezTo>
                    <a:cubicBezTo>
                      <a:pt x="2066" y="7487"/>
                      <a:pt x="2131" y="7431"/>
                      <a:pt x="2131" y="7431"/>
                    </a:cubicBezTo>
                    <a:cubicBezTo>
                      <a:pt x="2131" y="7431"/>
                      <a:pt x="2265" y="7434"/>
                      <a:pt x="2267" y="7429"/>
                    </a:cubicBezTo>
                    <a:cubicBezTo>
                      <a:pt x="2269" y="7422"/>
                      <a:pt x="2340" y="7377"/>
                      <a:pt x="2375" y="7377"/>
                    </a:cubicBezTo>
                    <a:cubicBezTo>
                      <a:pt x="2410" y="7377"/>
                      <a:pt x="2483" y="7354"/>
                      <a:pt x="2508" y="7351"/>
                    </a:cubicBezTo>
                    <a:cubicBezTo>
                      <a:pt x="2536" y="7349"/>
                      <a:pt x="2539" y="7370"/>
                      <a:pt x="2572" y="7370"/>
                    </a:cubicBezTo>
                    <a:cubicBezTo>
                      <a:pt x="2604" y="7368"/>
                      <a:pt x="2653" y="7361"/>
                      <a:pt x="2653" y="7361"/>
                    </a:cubicBezTo>
                    <a:cubicBezTo>
                      <a:pt x="2653" y="7361"/>
                      <a:pt x="2665" y="7391"/>
                      <a:pt x="2684" y="7391"/>
                    </a:cubicBezTo>
                    <a:cubicBezTo>
                      <a:pt x="2705" y="7391"/>
                      <a:pt x="2696" y="7368"/>
                      <a:pt x="2735" y="7368"/>
                    </a:cubicBezTo>
                    <a:cubicBezTo>
                      <a:pt x="2775" y="7366"/>
                      <a:pt x="2857" y="7345"/>
                      <a:pt x="2857" y="7345"/>
                    </a:cubicBezTo>
                    <a:cubicBezTo>
                      <a:pt x="2902" y="7328"/>
                      <a:pt x="2902" y="7328"/>
                      <a:pt x="2902" y="7328"/>
                    </a:cubicBezTo>
                    <a:cubicBezTo>
                      <a:pt x="2902" y="7328"/>
                      <a:pt x="2944" y="7403"/>
                      <a:pt x="2946" y="7398"/>
                    </a:cubicBezTo>
                    <a:cubicBezTo>
                      <a:pt x="2946" y="7394"/>
                      <a:pt x="2981" y="7356"/>
                      <a:pt x="2981" y="7354"/>
                    </a:cubicBezTo>
                    <a:cubicBezTo>
                      <a:pt x="2981" y="7349"/>
                      <a:pt x="3042" y="7337"/>
                      <a:pt x="3042" y="7337"/>
                    </a:cubicBezTo>
                    <a:cubicBezTo>
                      <a:pt x="3115" y="7223"/>
                      <a:pt x="3115" y="7223"/>
                      <a:pt x="3115" y="7223"/>
                    </a:cubicBezTo>
                    <a:cubicBezTo>
                      <a:pt x="3115" y="7223"/>
                      <a:pt x="3134" y="7070"/>
                      <a:pt x="3180" y="7049"/>
                    </a:cubicBezTo>
                    <a:cubicBezTo>
                      <a:pt x="3225" y="7028"/>
                      <a:pt x="3263" y="7045"/>
                      <a:pt x="3309" y="7009"/>
                    </a:cubicBezTo>
                    <a:cubicBezTo>
                      <a:pt x="3356" y="6974"/>
                      <a:pt x="3398" y="6923"/>
                      <a:pt x="3426" y="6918"/>
                    </a:cubicBezTo>
                    <a:cubicBezTo>
                      <a:pt x="3457" y="6911"/>
                      <a:pt x="3475" y="6909"/>
                      <a:pt x="3483" y="6901"/>
                    </a:cubicBezTo>
                    <a:cubicBezTo>
                      <a:pt x="3490" y="6895"/>
                      <a:pt x="3588" y="6810"/>
                      <a:pt x="3588" y="6810"/>
                    </a:cubicBezTo>
                    <a:cubicBezTo>
                      <a:pt x="3663" y="6799"/>
                      <a:pt x="3663" y="6799"/>
                      <a:pt x="3663" y="6799"/>
                    </a:cubicBezTo>
                    <a:cubicBezTo>
                      <a:pt x="3703" y="6806"/>
                      <a:pt x="3703" y="6806"/>
                      <a:pt x="3703" y="6806"/>
                    </a:cubicBezTo>
                    <a:cubicBezTo>
                      <a:pt x="3703" y="6806"/>
                      <a:pt x="3911" y="6817"/>
                      <a:pt x="3935" y="6799"/>
                    </a:cubicBezTo>
                    <a:cubicBezTo>
                      <a:pt x="3960" y="6780"/>
                      <a:pt x="4047" y="6738"/>
                      <a:pt x="4073" y="6731"/>
                    </a:cubicBezTo>
                    <a:cubicBezTo>
                      <a:pt x="4096" y="6726"/>
                      <a:pt x="4126" y="6728"/>
                      <a:pt x="4155" y="6710"/>
                    </a:cubicBezTo>
                    <a:cubicBezTo>
                      <a:pt x="4183" y="6691"/>
                      <a:pt x="4298" y="6600"/>
                      <a:pt x="4344" y="6590"/>
                    </a:cubicBezTo>
                    <a:cubicBezTo>
                      <a:pt x="4392" y="6578"/>
                      <a:pt x="4548" y="6562"/>
                      <a:pt x="4581" y="6562"/>
                    </a:cubicBezTo>
                    <a:cubicBezTo>
                      <a:pt x="4611" y="6562"/>
                      <a:pt x="4838" y="6567"/>
                      <a:pt x="4841" y="6562"/>
                    </a:cubicBezTo>
                    <a:cubicBezTo>
                      <a:pt x="4843" y="6560"/>
                      <a:pt x="4848" y="6513"/>
                      <a:pt x="4899" y="6524"/>
                    </a:cubicBezTo>
                    <a:cubicBezTo>
                      <a:pt x="4951" y="6536"/>
                      <a:pt x="5166" y="6686"/>
                      <a:pt x="5166" y="6686"/>
                    </a:cubicBezTo>
                    <a:cubicBezTo>
                      <a:pt x="5166" y="6686"/>
                      <a:pt x="5221" y="6689"/>
                      <a:pt x="5223" y="6684"/>
                    </a:cubicBezTo>
                    <a:cubicBezTo>
                      <a:pt x="5225" y="6681"/>
                      <a:pt x="5223" y="6651"/>
                      <a:pt x="5253" y="6656"/>
                    </a:cubicBezTo>
                    <a:cubicBezTo>
                      <a:pt x="5286" y="6661"/>
                      <a:pt x="5415" y="6735"/>
                      <a:pt x="5415" y="6735"/>
                    </a:cubicBezTo>
                    <a:cubicBezTo>
                      <a:pt x="5440" y="6756"/>
                      <a:pt x="5440" y="6756"/>
                      <a:pt x="5440" y="6756"/>
                    </a:cubicBezTo>
                    <a:cubicBezTo>
                      <a:pt x="5480" y="6721"/>
                      <a:pt x="5480" y="6721"/>
                      <a:pt x="5480" y="6721"/>
                    </a:cubicBezTo>
                    <a:cubicBezTo>
                      <a:pt x="5511" y="6763"/>
                      <a:pt x="5511" y="6763"/>
                      <a:pt x="5511" y="6763"/>
                    </a:cubicBezTo>
                    <a:cubicBezTo>
                      <a:pt x="5511" y="6763"/>
                      <a:pt x="5513" y="6712"/>
                      <a:pt x="5558" y="6747"/>
                    </a:cubicBezTo>
                    <a:cubicBezTo>
                      <a:pt x="5605" y="6782"/>
                      <a:pt x="5602" y="6799"/>
                      <a:pt x="5598" y="6799"/>
                    </a:cubicBezTo>
                    <a:cubicBezTo>
                      <a:pt x="5593" y="6799"/>
                      <a:pt x="5555" y="6831"/>
                      <a:pt x="5574" y="6834"/>
                    </a:cubicBezTo>
                    <a:cubicBezTo>
                      <a:pt x="5595" y="6836"/>
                      <a:pt x="5639" y="6810"/>
                      <a:pt x="5639" y="6810"/>
                    </a:cubicBezTo>
                    <a:cubicBezTo>
                      <a:pt x="5639" y="6810"/>
                      <a:pt x="5684" y="6860"/>
                      <a:pt x="5682" y="6867"/>
                    </a:cubicBezTo>
                    <a:cubicBezTo>
                      <a:pt x="5679" y="6873"/>
                      <a:pt x="5635" y="6890"/>
                      <a:pt x="5635" y="6890"/>
                    </a:cubicBezTo>
                    <a:cubicBezTo>
                      <a:pt x="5635" y="6890"/>
                      <a:pt x="5666" y="6904"/>
                      <a:pt x="5647" y="6918"/>
                    </a:cubicBezTo>
                    <a:cubicBezTo>
                      <a:pt x="5630" y="6934"/>
                      <a:pt x="5626" y="6946"/>
                      <a:pt x="5626" y="6946"/>
                    </a:cubicBezTo>
                    <a:cubicBezTo>
                      <a:pt x="5705" y="7023"/>
                      <a:pt x="5705" y="7023"/>
                      <a:pt x="5705" y="7023"/>
                    </a:cubicBezTo>
                    <a:cubicBezTo>
                      <a:pt x="5705" y="7023"/>
                      <a:pt x="5736" y="7000"/>
                      <a:pt x="5768" y="7023"/>
                    </a:cubicBezTo>
                    <a:cubicBezTo>
                      <a:pt x="5801" y="7049"/>
                      <a:pt x="5820" y="7091"/>
                      <a:pt x="5820" y="7103"/>
                    </a:cubicBezTo>
                    <a:cubicBezTo>
                      <a:pt x="5820" y="7115"/>
                      <a:pt x="5832" y="7171"/>
                      <a:pt x="5832" y="7171"/>
                    </a:cubicBezTo>
                    <a:cubicBezTo>
                      <a:pt x="5832" y="7171"/>
                      <a:pt x="5865" y="7220"/>
                      <a:pt x="5890" y="7234"/>
                    </a:cubicBezTo>
                    <a:cubicBezTo>
                      <a:pt x="5916" y="7248"/>
                      <a:pt x="5937" y="7279"/>
                      <a:pt x="5928" y="7290"/>
                    </a:cubicBezTo>
                    <a:cubicBezTo>
                      <a:pt x="5918" y="7305"/>
                      <a:pt x="5956" y="7356"/>
                      <a:pt x="5954" y="7361"/>
                    </a:cubicBezTo>
                    <a:cubicBezTo>
                      <a:pt x="5951" y="7363"/>
                      <a:pt x="5951" y="7412"/>
                      <a:pt x="5963" y="7417"/>
                    </a:cubicBezTo>
                    <a:cubicBezTo>
                      <a:pt x="5974" y="7422"/>
                      <a:pt x="5972" y="7464"/>
                      <a:pt x="5972" y="7464"/>
                    </a:cubicBezTo>
                    <a:cubicBezTo>
                      <a:pt x="5972" y="7464"/>
                      <a:pt x="5956" y="7473"/>
                      <a:pt x="5956" y="7478"/>
                    </a:cubicBezTo>
                    <a:cubicBezTo>
                      <a:pt x="5956" y="7483"/>
                      <a:pt x="6017" y="7567"/>
                      <a:pt x="6026" y="7553"/>
                    </a:cubicBezTo>
                    <a:cubicBezTo>
                      <a:pt x="6035" y="7539"/>
                      <a:pt x="6087" y="7504"/>
                      <a:pt x="6084" y="7494"/>
                    </a:cubicBezTo>
                    <a:cubicBezTo>
                      <a:pt x="6082" y="7487"/>
                      <a:pt x="6054" y="7447"/>
                      <a:pt x="6073" y="7436"/>
                    </a:cubicBezTo>
                    <a:cubicBezTo>
                      <a:pt x="6092" y="7424"/>
                      <a:pt x="6124" y="7434"/>
                      <a:pt x="6124" y="7426"/>
                    </a:cubicBezTo>
                    <a:cubicBezTo>
                      <a:pt x="6127" y="7417"/>
                      <a:pt x="6141" y="7386"/>
                      <a:pt x="6141" y="7379"/>
                    </a:cubicBezTo>
                    <a:cubicBezTo>
                      <a:pt x="6141" y="7375"/>
                      <a:pt x="6185" y="7302"/>
                      <a:pt x="6209" y="7284"/>
                    </a:cubicBezTo>
                    <a:cubicBezTo>
                      <a:pt x="6230" y="7265"/>
                      <a:pt x="6274" y="7229"/>
                      <a:pt x="6302" y="7229"/>
                    </a:cubicBezTo>
                    <a:cubicBezTo>
                      <a:pt x="6330" y="7229"/>
                      <a:pt x="6354" y="7211"/>
                      <a:pt x="6378" y="7201"/>
                    </a:cubicBezTo>
                    <a:cubicBezTo>
                      <a:pt x="6401" y="7192"/>
                      <a:pt x="6434" y="7124"/>
                      <a:pt x="6443" y="7101"/>
                    </a:cubicBezTo>
                    <a:cubicBezTo>
                      <a:pt x="6455" y="7079"/>
                      <a:pt x="6473" y="7049"/>
                      <a:pt x="6485" y="7026"/>
                    </a:cubicBezTo>
                    <a:cubicBezTo>
                      <a:pt x="6497" y="7002"/>
                      <a:pt x="6557" y="6989"/>
                      <a:pt x="6557" y="6965"/>
                    </a:cubicBezTo>
                    <a:cubicBezTo>
                      <a:pt x="6557" y="6939"/>
                      <a:pt x="6551" y="6885"/>
                      <a:pt x="6557" y="6876"/>
                    </a:cubicBezTo>
                    <a:cubicBezTo>
                      <a:pt x="6565" y="6864"/>
                      <a:pt x="6595" y="6895"/>
                      <a:pt x="6595" y="6913"/>
                    </a:cubicBezTo>
                    <a:cubicBezTo>
                      <a:pt x="6595" y="6930"/>
                      <a:pt x="6626" y="7007"/>
                      <a:pt x="6612" y="7026"/>
                    </a:cubicBezTo>
                    <a:cubicBezTo>
                      <a:pt x="6597" y="7045"/>
                      <a:pt x="6557" y="7035"/>
                      <a:pt x="6560" y="7054"/>
                    </a:cubicBezTo>
                    <a:cubicBezTo>
                      <a:pt x="6560" y="7073"/>
                      <a:pt x="6600" y="7127"/>
                      <a:pt x="6590" y="7143"/>
                    </a:cubicBezTo>
                    <a:cubicBezTo>
                      <a:pt x="6584" y="7159"/>
                      <a:pt x="6445" y="7326"/>
                      <a:pt x="6457" y="7351"/>
                    </a:cubicBezTo>
                    <a:cubicBezTo>
                      <a:pt x="6468" y="7377"/>
                      <a:pt x="6480" y="7536"/>
                      <a:pt x="6455" y="7548"/>
                    </a:cubicBezTo>
                    <a:cubicBezTo>
                      <a:pt x="6431" y="7562"/>
                      <a:pt x="6408" y="7536"/>
                      <a:pt x="6375" y="7551"/>
                    </a:cubicBezTo>
                    <a:cubicBezTo>
                      <a:pt x="6340" y="7565"/>
                      <a:pt x="6305" y="7605"/>
                      <a:pt x="6335" y="7628"/>
                    </a:cubicBezTo>
                    <a:cubicBezTo>
                      <a:pt x="6366" y="7649"/>
                      <a:pt x="6399" y="7665"/>
                      <a:pt x="6401" y="7661"/>
                    </a:cubicBezTo>
                    <a:cubicBezTo>
                      <a:pt x="6403" y="7654"/>
                      <a:pt x="6459" y="7602"/>
                      <a:pt x="6459" y="7602"/>
                    </a:cubicBezTo>
                    <a:cubicBezTo>
                      <a:pt x="6459" y="7602"/>
                      <a:pt x="6459" y="7646"/>
                      <a:pt x="6459" y="7661"/>
                    </a:cubicBezTo>
                    <a:cubicBezTo>
                      <a:pt x="6459" y="7672"/>
                      <a:pt x="6473" y="7710"/>
                      <a:pt x="6497" y="7710"/>
                    </a:cubicBezTo>
                    <a:cubicBezTo>
                      <a:pt x="6520" y="7710"/>
                      <a:pt x="6518" y="7644"/>
                      <a:pt x="6518" y="7607"/>
                    </a:cubicBezTo>
                    <a:cubicBezTo>
                      <a:pt x="6518" y="7569"/>
                      <a:pt x="6565" y="7529"/>
                      <a:pt x="6565" y="7496"/>
                    </a:cubicBezTo>
                    <a:cubicBezTo>
                      <a:pt x="6565" y="7464"/>
                      <a:pt x="6565" y="7422"/>
                      <a:pt x="6579" y="7410"/>
                    </a:cubicBezTo>
                    <a:cubicBezTo>
                      <a:pt x="6590" y="7398"/>
                      <a:pt x="6602" y="7407"/>
                      <a:pt x="6602" y="7377"/>
                    </a:cubicBezTo>
                    <a:cubicBezTo>
                      <a:pt x="6602" y="7349"/>
                      <a:pt x="6623" y="7330"/>
                      <a:pt x="6633" y="7318"/>
                    </a:cubicBezTo>
                    <a:cubicBezTo>
                      <a:pt x="6642" y="7307"/>
                      <a:pt x="6679" y="7361"/>
                      <a:pt x="6679" y="7361"/>
                    </a:cubicBezTo>
                    <a:cubicBezTo>
                      <a:pt x="6679" y="7361"/>
                      <a:pt x="6666" y="7386"/>
                      <a:pt x="6663" y="7412"/>
                    </a:cubicBezTo>
                    <a:cubicBezTo>
                      <a:pt x="6661" y="7438"/>
                      <a:pt x="6691" y="7480"/>
                      <a:pt x="6698" y="7496"/>
                    </a:cubicBezTo>
                    <a:cubicBezTo>
                      <a:pt x="6705" y="7511"/>
                      <a:pt x="6740" y="7527"/>
                      <a:pt x="6738" y="7557"/>
                    </a:cubicBezTo>
                    <a:cubicBezTo>
                      <a:pt x="6738" y="7588"/>
                      <a:pt x="6719" y="7614"/>
                      <a:pt x="6712" y="7616"/>
                    </a:cubicBezTo>
                    <a:cubicBezTo>
                      <a:pt x="6705" y="7621"/>
                      <a:pt x="6710" y="7672"/>
                      <a:pt x="6689" y="7691"/>
                    </a:cubicBezTo>
                    <a:cubicBezTo>
                      <a:pt x="6670" y="7710"/>
                      <a:pt x="6590" y="7738"/>
                      <a:pt x="6605" y="7764"/>
                    </a:cubicBezTo>
                    <a:cubicBezTo>
                      <a:pt x="6618" y="7787"/>
                      <a:pt x="6646" y="7792"/>
                      <a:pt x="6703" y="7785"/>
                    </a:cubicBezTo>
                    <a:cubicBezTo>
                      <a:pt x="6759" y="7775"/>
                      <a:pt x="6726" y="7766"/>
                      <a:pt x="6755" y="7750"/>
                    </a:cubicBezTo>
                    <a:cubicBezTo>
                      <a:pt x="6783" y="7735"/>
                      <a:pt x="6799" y="7710"/>
                      <a:pt x="6844" y="7703"/>
                    </a:cubicBezTo>
                    <a:cubicBezTo>
                      <a:pt x="6885" y="7694"/>
                      <a:pt x="6942" y="7658"/>
                      <a:pt x="6916" y="7694"/>
                    </a:cubicBezTo>
                    <a:cubicBezTo>
                      <a:pt x="6893" y="7729"/>
                      <a:pt x="6879" y="7761"/>
                      <a:pt x="6883" y="7799"/>
                    </a:cubicBezTo>
                    <a:cubicBezTo>
                      <a:pt x="6888" y="7836"/>
                      <a:pt x="6907" y="7846"/>
                      <a:pt x="6928" y="7867"/>
                    </a:cubicBezTo>
                    <a:cubicBezTo>
                      <a:pt x="6949" y="7888"/>
                      <a:pt x="6979" y="7949"/>
                      <a:pt x="6984" y="7974"/>
                    </a:cubicBezTo>
                    <a:cubicBezTo>
                      <a:pt x="6989" y="8000"/>
                      <a:pt x="7040" y="8122"/>
                      <a:pt x="7014" y="8143"/>
                    </a:cubicBezTo>
                    <a:cubicBezTo>
                      <a:pt x="6991" y="8167"/>
                      <a:pt x="6961" y="8192"/>
                      <a:pt x="6961" y="8197"/>
                    </a:cubicBezTo>
                    <a:cubicBezTo>
                      <a:pt x="6961" y="8204"/>
                      <a:pt x="6944" y="8270"/>
                      <a:pt x="7063" y="8373"/>
                    </a:cubicBezTo>
                    <a:cubicBezTo>
                      <a:pt x="7164" y="8506"/>
                      <a:pt x="7183" y="8537"/>
                      <a:pt x="7183" y="8537"/>
                    </a:cubicBezTo>
                    <a:cubicBezTo>
                      <a:pt x="7286" y="8532"/>
                      <a:pt x="7286" y="8532"/>
                      <a:pt x="7286" y="8532"/>
                    </a:cubicBezTo>
                    <a:cubicBezTo>
                      <a:pt x="7286" y="8532"/>
                      <a:pt x="7340" y="8628"/>
                      <a:pt x="7347" y="8633"/>
                    </a:cubicBezTo>
                    <a:cubicBezTo>
                      <a:pt x="7356" y="8635"/>
                      <a:pt x="7368" y="8656"/>
                      <a:pt x="7385" y="8654"/>
                    </a:cubicBezTo>
                    <a:cubicBezTo>
                      <a:pt x="7401" y="8651"/>
                      <a:pt x="7408" y="8569"/>
                      <a:pt x="7436" y="8577"/>
                    </a:cubicBezTo>
                    <a:cubicBezTo>
                      <a:pt x="7467" y="8586"/>
                      <a:pt x="7525" y="8651"/>
                      <a:pt x="7534" y="8651"/>
                    </a:cubicBezTo>
                    <a:cubicBezTo>
                      <a:pt x="7544" y="8651"/>
                      <a:pt x="7621" y="8649"/>
                      <a:pt x="7625" y="8651"/>
                    </a:cubicBezTo>
                    <a:cubicBezTo>
                      <a:pt x="7630" y="8651"/>
                      <a:pt x="7724" y="8771"/>
                      <a:pt x="7736" y="8771"/>
                    </a:cubicBezTo>
                    <a:cubicBezTo>
                      <a:pt x="7750" y="8768"/>
                      <a:pt x="7836" y="8795"/>
                      <a:pt x="7836" y="8792"/>
                    </a:cubicBezTo>
                    <a:cubicBezTo>
                      <a:pt x="7839" y="8787"/>
                      <a:pt x="7843" y="8752"/>
                      <a:pt x="7876" y="8752"/>
                    </a:cubicBezTo>
                    <a:cubicBezTo>
                      <a:pt x="7907" y="8750"/>
                      <a:pt x="7940" y="8783"/>
                      <a:pt x="7953" y="8771"/>
                    </a:cubicBezTo>
                    <a:cubicBezTo>
                      <a:pt x="7968" y="8762"/>
                      <a:pt x="7996" y="8706"/>
                      <a:pt x="8029" y="8687"/>
                    </a:cubicBezTo>
                    <a:cubicBezTo>
                      <a:pt x="8064" y="8666"/>
                      <a:pt x="8094" y="8670"/>
                      <a:pt x="8110" y="8661"/>
                    </a:cubicBezTo>
                    <a:cubicBezTo>
                      <a:pt x="8129" y="8651"/>
                      <a:pt x="8148" y="8630"/>
                      <a:pt x="8143" y="8628"/>
                    </a:cubicBezTo>
                    <a:cubicBezTo>
                      <a:pt x="8141" y="8626"/>
                      <a:pt x="8092" y="8614"/>
                      <a:pt x="8090" y="8605"/>
                    </a:cubicBezTo>
                    <a:cubicBezTo>
                      <a:pt x="8087" y="8595"/>
                      <a:pt x="8097" y="8553"/>
                      <a:pt x="8136" y="8541"/>
                    </a:cubicBezTo>
                    <a:cubicBezTo>
                      <a:pt x="8179" y="8530"/>
                      <a:pt x="8242" y="8539"/>
                      <a:pt x="8242" y="8556"/>
                    </a:cubicBezTo>
                    <a:cubicBezTo>
                      <a:pt x="8242" y="8572"/>
                      <a:pt x="8281" y="8626"/>
                      <a:pt x="8246" y="8642"/>
                    </a:cubicBezTo>
                    <a:cubicBezTo>
                      <a:pt x="8211" y="8658"/>
                      <a:pt x="8153" y="8698"/>
                      <a:pt x="8164" y="8706"/>
                    </a:cubicBezTo>
                    <a:cubicBezTo>
                      <a:pt x="8176" y="8715"/>
                      <a:pt x="8211" y="8740"/>
                      <a:pt x="8225" y="8734"/>
                    </a:cubicBezTo>
                    <a:cubicBezTo>
                      <a:pt x="8237" y="8727"/>
                      <a:pt x="8279" y="8651"/>
                      <a:pt x="8303" y="8661"/>
                    </a:cubicBezTo>
                    <a:cubicBezTo>
                      <a:pt x="8326" y="8670"/>
                      <a:pt x="8349" y="8691"/>
                      <a:pt x="8321" y="8715"/>
                    </a:cubicBezTo>
                    <a:cubicBezTo>
                      <a:pt x="8293" y="8738"/>
                      <a:pt x="8263" y="8757"/>
                      <a:pt x="8281" y="8767"/>
                    </a:cubicBezTo>
                    <a:cubicBezTo>
                      <a:pt x="8300" y="8776"/>
                      <a:pt x="8342" y="8808"/>
                      <a:pt x="8342" y="8808"/>
                    </a:cubicBezTo>
                    <a:cubicBezTo>
                      <a:pt x="8370" y="8804"/>
                      <a:pt x="8370" y="8804"/>
                      <a:pt x="8370" y="8804"/>
                    </a:cubicBezTo>
                    <a:cubicBezTo>
                      <a:pt x="8370" y="8804"/>
                      <a:pt x="8382" y="8888"/>
                      <a:pt x="8413" y="8879"/>
                    </a:cubicBezTo>
                    <a:cubicBezTo>
                      <a:pt x="8445" y="8872"/>
                      <a:pt x="8441" y="8827"/>
                      <a:pt x="8495" y="8829"/>
                    </a:cubicBezTo>
                    <a:cubicBezTo>
                      <a:pt x="8548" y="8832"/>
                      <a:pt x="8553" y="8856"/>
                      <a:pt x="8574" y="8851"/>
                    </a:cubicBezTo>
                    <a:cubicBezTo>
                      <a:pt x="8598" y="8848"/>
                      <a:pt x="8661" y="8816"/>
                      <a:pt x="8668" y="8808"/>
                    </a:cubicBezTo>
                    <a:cubicBezTo>
                      <a:pt x="8675" y="8801"/>
                      <a:pt x="8846" y="8649"/>
                      <a:pt x="8890" y="8640"/>
                    </a:cubicBezTo>
                    <a:cubicBezTo>
                      <a:pt x="8932" y="8630"/>
                      <a:pt x="9021" y="8600"/>
                      <a:pt x="9021" y="8600"/>
                    </a:cubicBezTo>
                    <a:cubicBezTo>
                      <a:pt x="9021" y="8600"/>
                      <a:pt x="9068" y="8628"/>
                      <a:pt x="9076" y="8628"/>
                    </a:cubicBezTo>
                    <a:cubicBezTo>
                      <a:pt x="9080" y="8626"/>
                      <a:pt x="9251" y="8656"/>
                      <a:pt x="9275" y="8638"/>
                    </a:cubicBezTo>
                    <a:cubicBezTo>
                      <a:pt x="9300" y="8621"/>
                      <a:pt x="9356" y="8593"/>
                      <a:pt x="9356" y="8593"/>
                    </a:cubicBezTo>
                    <a:cubicBezTo>
                      <a:pt x="9422" y="8590"/>
                      <a:pt x="9422" y="8590"/>
                      <a:pt x="9422" y="8590"/>
                    </a:cubicBezTo>
                    <a:cubicBezTo>
                      <a:pt x="9422" y="8590"/>
                      <a:pt x="9445" y="8497"/>
                      <a:pt x="9436" y="8480"/>
                    </a:cubicBezTo>
                    <a:cubicBezTo>
                      <a:pt x="9427" y="8462"/>
                      <a:pt x="9410" y="8445"/>
                      <a:pt x="9410" y="8422"/>
                    </a:cubicBezTo>
                    <a:cubicBezTo>
                      <a:pt x="9410" y="8396"/>
                      <a:pt x="9471" y="8277"/>
                      <a:pt x="9481" y="8253"/>
                    </a:cubicBezTo>
                    <a:cubicBezTo>
                      <a:pt x="9488" y="8228"/>
                      <a:pt x="9504" y="8185"/>
                      <a:pt x="9504" y="8136"/>
                    </a:cubicBezTo>
                    <a:cubicBezTo>
                      <a:pt x="9504" y="8089"/>
                      <a:pt x="9574" y="8014"/>
                      <a:pt x="9605" y="7977"/>
                    </a:cubicBezTo>
                    <a:cubicBezTo>
                      <a:pt x="9635" y="7942"/>
                      <a:pt x="9659" y="7909"/>
                      <a:pt x="9659" y="7909"/>
                    </a:cubicBezTo>
                    <a:cubicBezTo>
                      <a:pt x="9701" y="7909"/>
                      <a:pt x="9701" y="7909"/>
                      <a:pt x="9701" y="7909"/>
                    </a:cubicBezTo>
                    <a:cubicBezTo>
                      <a:pt x="9720" y="7878"/>
                      <a:pt x="9720" y="7878"/>
                      <a:pt x="9720" y="7878"/>
                    </a:cubicBezTo>
                    <a:cubicBezTo>
                      <a:pt x="9720" y="7878"/>
                      <a:pt x="9691" y="7834"/>
                      <a:pt x="9696" y="7827"/>
                    </a:cubicBezTo>
                    <a:cubicBezTo>
                      <a:pt x="9701" y="7818"/>
                      <a:pt x="9733" y="7799"/>
                      <a:pt x="9743" y="7773"/>
                    </a:cubicBezTo>
                    <a:cubicBezTo>
                      <a:pt x="9750" y="7750"/>
                      <a:pt x="9748" y="7705"/>
                      <a:pt x="9755" y="7691"/>
                    </a:cubicBezTo>
                    <a:cubicBezTo>
                      <a:pt x="9759" y="7677"/>
                      <a:pt x="9799" y="7649"/>
                      <a:pt x="9813" y="7633"/>
                    </a:cubicBezTo>
                    <a:cubicBezTo>
                      <a:pt x="9830" y="7614"/>
                      <a:pt x="9850" y="7583"/>
                      <a:pt x="9858" y="7555"/>
                    </a:cubicBezTo>
                    <a:cubicBezTo>
                      <a:pt x="9867" y="7527"/>
                      <a:pt x="9881" y="7468"/>
                      <a:pt x="9898" y="7452"/>
                    </a:cubicBezTo>
                    <a:cubicBezTo>
                      <a:pt x="9911" y="7436"/>
                      <a:pt x="10036" y="7290"/>
                      <a:pt x="10036" y="7290"/>
                    </a:cubicBezTo>
                    <a:cubicBezTo>
                      <a:pt x="10036" y="7290"/>
                      <a:pt x="10085" y="7277"/>
                      <a:pt x="10092" y="7272"/>
                    </a:cubicBezTo>
                    <a:cubicBezTo>
                      <a:pt x="10099" y="7267"/>
                      <a:pt x="10141" y="7229"/>
                      <a:pt x="10141" y="7229"/>
                    </a:cubicBezTo>
                    <a:cubicBezTo>
                      <a:pt x="10141" y="7229"/>
                      <a:pt x="10188" y="7206"/>
                      <a:pt x="10188" y="7197"/>
                    </a:cubicBezTo>
                    <a:cubicBezTo>
                      <a:pt x="10188" y="7190"/>
                      <a:pt x="10188" y="7159"/>
                      <a:pt x="10188" y="7159"/>
                    </a:cubicBezTo>
                    <a:cubicBezTo>
                      <a:pt x="10242" y="7150"/>
                      <a:pt x="10242" y="7150"/>
                      <a:pt x="10242" y="7150"/>
                    </a:cubicBezTo>
                    <a:cubicBezTo>
                      <a:pt x="10242" y="7150"/>
                      <a:pt x="10258" y="7070"/>
                      <a:pt x="10261" y="7063"/>
                    </a:cubicBezTo>
                    <a:cubicBezTo>
                      <a:pt x="10265" y="7056"/>
                      <a:pt x="10371" y="6937"/>
                      <a:pt x="10375" y="6918"/>
                    </a:cubicBezTo>
                    <a:cubicBezTo>
                      <a:pt x="10382" y="6897"/>
                      <a:pt x="10424" y="6789"/>
                      <a:pt x="10448" y="6766"/>
                    </a:cubicBezTo>
                    <a:cubicBezTo>
                      <a:pt x="10471" y="6742"/>
                      <a:pt x="10427" y="6698"/>
                      <a:pt x="10436" y="6670"/>
                    </a:cubicBezTo>
                    <a:cubicBezTo>
                      <a:pt x="10448" y="6639"/>
                      <a:pt x="10556" y="6431"/>
                      <a:pt x="10556" y="6428"/>
                    </a:cubicBezTo>
                    <a:cubicBezTo>
                      <a:pt x="10556" y="6424"/>
                      <a:pt x="10572" y="6307"/>
                      <a:pt x="10591" y="6278"/>
                    </a:cubicBezTo>
                    <a:cubicBezTo>
                      <a:pt x="10610" y="6250"/>
                      <a:pt x="10673" y="6178"/>
                      <a:pt x="10675" y="6173"/>
                    </a:cubicBezTo>
                    <a:cubicBezTo>
                      <a:pt x="10675" y="6171"/>
                      <a:pt x="10680" y="6094"/>
                      <a:pt x="10675" y="6065"/>
                    </a:cubicBezTo>
                    <a:cubicBezTo>
                      <a:pt x="10670" y="6037"/>
                      <a:pt x="10684" y="6016"/>
                      <a:pt x="10687" y="5997"/>
                    </a:cubicBezTo>
                    <a:cubicBezTo>
                      <a:pt x="10689" y="5981"/>
                      <a:pt x="10670" y="5932"/>
                      <a:pt x="10668" y="5913"/>
                    </a:cubicBezTo>
                    <a:cubicBezTo>
                      <a:pt x="10668" y="5892"/>
                      <a:pt x="10677" y="5845"/>
                      <a:pt x="10684" y="5829"/>
                    </a:cubicBezTo>
                    <a:close/>
                    <a:moveTo>
                      <a:pt x="6157" y="6742"/>
                    </a:moveTo>
                    <a:cubicBezTo>
                      <a:pt x="6148" y="6747"/>
                      <a:pt x="6143" y="6710"/>
                      <a:pt x="6129" y="6710"/>
                    </a:cubicBezTo>
                    <a:cubicBezTo>
                      <a:pt x="6117" y="6710"/>
                      <a:pt x="6106" y="6808"/>
                      <a:pt x="6106" y="6808"/>
                    </a:cubicBezTo>
                    <a:cubicBezTo>
                      <a:pt x="6106" y="6808"/>
                      <a:pt x="6106" y="6808"/>
                      <a:pt x="6073" y="6808"/>
                    </a:cubicBezTo>
                    <a:cubicBezTo>
                      <a:pt x="6043" y="6808"/>
                      <a:pt x="6073" y="6766"/>
                      <a:pt x="6078" y="6731"/>
                    </a:cubicBezTo>
                    <a:cubicBezTo>
                      <a:pt x="6080" y="6695"/>
                      <a:pt x="6136" y="6665"/>
                      <a:pt x="6136" y="6665"/>
                    </a:cubicBezTo>
                    <a:cubicBezTo>
                      <a:pt x="6136" y="6665"/>
                      <a:pt x="6096" y="6611"/>
                      <a:pt x="6068" y="6597"/>
                    </a:cubicBezTo>
                    <a:cubicBezTo>
                      <a:pt x="6040" y="6581"/>
                      <a:pt x="6068" y="6552"/>
                      <a:pt x="6068" y="6552"/>
                    </a:cubicBezTo>
                    <a:cubicBezTo>
                      <a:pt x="6014" y="6550"/>
                      <a:pt x="6014" y="6550"/>
                      <a:pt x="6014" y="6550"/>
                    </a:cubicBezTo>
                    <a:cubicBezTo>
                      <a:pt x="6031" y="6487"/>
                      <a:pt x="6031" y="6487"/>
                      <a:pt x="6031" y="6487"/>
                    </a:cubicBezTo>
                    <a:cubicBezTo>
                      <a:pt x="6031" y="6487"/>
                      <a:pt x="5984" y="6445"/>
                      <a:pt x="5937" y="6419"/>
                    </a:cubicBezTo>
                    <a:cubicBezTo>
                      <a:pt x="5890" y="6393"/>
                      <a:pt x="5902" y="6496"/>
                      <a:pt x="5902" y="6496"/>
                    </a:cubicBezTo>
                    <a:cubicBezTo>
                      <a:pt x="5951" y="6503"/>
                      <a:pt x="5951" y="6503"/>
                      <a:pt x="5951" y="6503"/>
                    </a:cubicBezTo>
                    <a:cubicBezTo>
                      <a:pt x="5974" y="6562"/>
                      <a:pt x="5974" y="6562"/>
                      <a:pt x="5974" y="6562"/>
                    </a:cubicBezTo>
                    <a:cubicBezTo>
                      <a:pt x="5928" y="6555"/>
                      <a:pt x="5928" y="6555"/>
                      <a:pt x="5928" y="6555"/>
                    </a:cubicBezTo>
                    <a:cubicBezTo>
                      <a:pt x="5888" y="6522"/>
                      <a:pt x="5888" y="6522"/>
                      <a:pt x="5888" y="6522"/>
                    </a:cubicBezTo>
                    <a:cubicBezTo>
                      <a:pt x="5888" y="6522"/>
                      <a:pt x="5862" y="6581"/>
                      <a:pt x="5850" y="6581"/>
                    </a:cubicBezTo>
                    <a:cubicBezTo>
                      <a:pt x="5836" y="6581"/>
                      <a:pt x="5825" y="6522"/>
                      <a:pt x="5825" y="6522"/>
                    </a:cubicBezTo>
                    <a:cubicBezTo>
                      <a:pt x="5806" y="6494"/>
                      <a:pt x="5806" y="6494"/>
                      <a:pt x="5806" y="6494"/>
                    </a:cubicBezTo>
                    <a:cubicBezTo>
                      <a:pt x="5844" y="6508"/>
                      <a:pt x="5844" y="6508"/>
                      <a:pt x="5844" y="6508"/>
                    </a:cubicBezTo>
                    <a:cubicBezTo>
                      <a:pt x="5844" y="6508"/>
                      <a:pt x="5862" y="6485"/>
                      <a:pt x="5872" y="6473"/>
                    </a:cubicBezTo>
                    <a:cubicBezTo>
                      <a:pt x="5881" y="6459"/>
                      <a:pt x="5897" y="6365"/>
                      <a:pt x="5897" y="6365"/>
                    </a:cubicBezTo>
                    <a:cubicBezTo>
                      <a:pt x="5897" y="6365"/>
                      <a:pt x="5939" y="6365"/>
                      <a:pt x="5958" y="6370"/>
                    </a:cubicBezTo>
                    <a:cubicBezTo>
                      <a:pt x="5977" y="6372"/>
                      <a:pt x="6045" y="6447"/>
                      <a:pt x="6045" y="6447"/>
                    </a:cubicBezTo>
                    <a:cubicBezTo>
                      <a:pt x="6045" y="6447"/>
                      <a:pt x="6143" y="6440"/>
                      <a:pt x="6152" y="6445"/>
                    </a:cubicBezTo>
                    <a:cubicBezTo>
                      <a:pt x="6162" y="6447"/>
                      <a:pt x="6145" y="6503"/>
                      <a:pt x="6148" y="6513"/>
                    </a:cubicBezTo>
                    <a:cubicBezTo>
                      <a:pt x="6152" y="6522"/>
                      <a:pt x="6164" y="6545"/>
                      <a:pt x="6176" y="6572"/>
                    </a:cubicBezTo>
                    <a:cubicBezTo>
                      <a:pt x="6190" y="6597"/>
                      <a:pt x="6171" y="6611"/>
                      <a:pt x="6171" y="6611"/>
                    </a:cubicBezTo>
                    <a:cubicBezTo>
                      <a:pt x="6171" y="6611"/>
                      <a:pt x="6195" y="6649"/>
                      <a:pt x="6201" y="6674"/>
                    </a:cubicBezTo>
                    <a:cubicBezTo>
                      <a:pt x="6209" y="6700"/>
                      <a:pt x="6167" y="6740"/>
                      <a:pt x="6157" y="6742"/>
                    </a:cubicBezTo>
                    <a:close/>
                    <a:moveTo>
                      <a:pt x="6347" y="5625"/>
                    </a:moveTo>
                    <a:cubicBezTo>
                      <a:pt x="6347" y="5625"/>
                      <a:pt x="6375" y="5608"/>
                      <a:pt x="6389" y="5580"/>
                    </a:cubicBezTo>
                    <a:cubicBezTo>
                      <a:pt x="6401" y="5552"/>
                      <a:pt x="6347" y="5496"/>
                      <a:pt x="6347" y="5496"/>
                    </a:cubicBezTo>
                    <a:cubicBezTo>
                      <a:pt x="6382" y="5449"/>
                      <a:pt x="6382" y="5449"/>
                      <a:pt x="6382" y="5449"/>
                    </a:cubicBezTo>
                    <a:cubicBezTo>
                      <a:pt x="6384" y="5482"/>
                      <a:pt x="6384" y="5482"/>
                      <a:pt x="6384" y="5482"/>
                    </a:cubicBezTo>
                    <a:cubicBezTo>
                      <a:pt x="6384" y="5482"/>
                      <a:pt x="6403" y="5475"/>
                      <a:pt x="6431" y="5463"/>
                    </a:cubicBezTo>
                    <a:cubicBezTo>
                      <a:pt x="6459" y="5449"/>
                      <a:pt x="6523" y="5540"/>
                      <a:pt x="6544" y="5550"/>
                    </a:cubicBezTo>
                    <a:cubicBezTo>
                      <a:pt x="6565" y="5559"/>
                      <a:pt x="6569" y="5569"/>
                      <a:pt x="6590" y="5611"/>
                    </a:cubicBezTo>
                    <a:cubicBezTo>
                      <a:pt x="6612" y="5656"/>
                      <a:pt x="6548" y="5656"/>
                      <a:pt x="6541" y="5665"/>
                    </a:cubicBezTo>
                    <a:cubicBezTo>
                      <a:pt x="6534" y="5674"/>
                      <a:pt x="6569" y="5705"/>
                      <a:pt x="6590" y="5742"/>
                    </a:cubicBezTo>
                    <a:cubicBezTo>
                      <a:pt x="6612" y="5779"/>
                      <a:pt x="6649" y="5834"/>
                      <a:pt x="6649" y="5834"/>
                    </a:cubicBezTo>
                    <a:cubicBezTo>
                      <a:pt x="6597" y="5807"/>
                      <a:pt x="6597" y="5807"/>
                      <a:pt x="6597" y="5807"/>
                    </a:cubicBezTo>
                    <a:cubicBezTo>
                      <a:pt x="6529" y="5812"/>
                      <a:pt x="6529" y="5812"/>
                      <a:pt x="6529" y="5812"/>
                    </a:cubicBezTo>
                    <a:cubicBezTo>
                      <a:pt x="6511" y="5770"/>
                      <a:pt x="6511" y="5770"/>
                      <a:pt x="6511" y="5770"/>
                    </a:cubicBezTo>
                    <a:cubicBezTo>
                      <a:pt x="6488" y="5803"/>
                      <a:pt x="6488" y="5803"/>
                      <a:pt x="6488" y="5803"/>
                    </a:cubicBezTo>
                    <a:cubicBezTo>
                      <a:pt x="6445" y="5742"/>
                      <a:pt x="6445" y="5742"/>
                      <a:pt x="6445" y="5742"/>
                    </a:cubicBezTo>
                    <a:cubicBezTo>
                      <a:pt x="6445" y="5742"/>
                      <a:pt x="6464" y="5794"/>
                      <a:pt x="6403" y="5812"/>
                    </a:cubicBezTo>
                    <a:cubicBezTo>
                      <a:pt x="6345" y="5831"/>
                      <a:pt x="6347" y="5625"/>
                      <a:pt x="6347" y="5625"/>
                    </a:cubicBezTo>
                    <a:close/>
                    <a:moveTo>
                      <a:pt x="6450" y="5876"/>
                    </a:moveTo>
                    <a:cubicBezTo>
                      <a:pt x="6483" y="5871"/>
                      <a:pt x="6529" y="5862"/>
                      <a:pt x="6529" y="5862"/>
                    </a:cubicBezTo>
                    <a:cubicBezTo>
                      <a:pt x="6529" y="5862"/>
                      <a:pt x="6560" y="5824"/>
                      <a:pt x="6565" y="5843"/>
                    </a:cubicBezTo>
                    <a:cubicBezTo>
                      <a:pt x="6572" y="5862"/>
                      <a:pt x="6565" y="5913"/>
                      <a:pt x="6565" y="5913"/>
                    </a:cubicBezTo>
                    <a:cubicBezTo>
                      <a:pt x="6523" y="5894"/>
                      <a:pt x="6523" y="5894"/>
                      <a:pt x="6523" y="5894"/>
                    </a:cubicBezTo>
                    <a:cubicBezTo>
                      <a:pt x="6523" y="5894"/>
                      <a:pt x="6520" y="5929"/>
                      <a:pt x="6485" y="5936"/>
                    </a:cubicBezTo>
                    <a:cubicBezTo>
                      <a:pt x="6450" y="5941"/>
                      <a:pt x="6410" y="5923"/>
                      <a:pt x="6410" y="5923"/>
                    </a:cubicBezTo>
                    <a:cubicBezTo>
                      <a:pt x="6410" y="5923"/>
                      <a:pt x="6419" y="5883"/>
                      <a:pt x="6450" y="5876"/>
                    </a:cubicBezTo>
                    <a:close/>
                    <a:moveTo>
                      <a:pt x="6581" y="6609"/>
                    </a:moveTo>
                    <a:cubicBezTo>
                      <a:pt x="6581" y="6609"/>
                      <a:pt x="6565" y="6653"/>
                      <a:pt x="6551" y="6653"/>
                    </a:cubicBezTo>
                    <a:cubicBezTo>
                      <a:pt x="6534" y="6653"/>
                      <a:pt x="6506" y="6621"/>
                      <a:pt x="6506" y="6621"/>
                    </a:cubicBezTo>
                    <a:cubicBezTo>
                      <a:pt x="6560" y="6581"/>
                      <a:pt x="6560" y="6581"/>
                      <a:pt x="6560" y="6581"/>
                    </a:cubicBezTo>
                    <a:cubicBezTo>
                      <a:pt x="6548" y="6478"/>
                      <a:pt x="6548" y="6478"/>
                      <a:pt x="6548" y="6478"/>
                    </a:cubicBezTo>
                    <a:cubicBezTo>
                      <a:pt x="6497" y="6431"/>
                      <a:pt x="6497" y="6431"/>
                      <a:pt x="6497" y="6431"/>
                    </a:cubicBezTo>
                    <a:cubicBezTo>
                      <a:pt x="6548" y="6412"/>
                      <a:pt x="6548" y="6412"/>
                      <a:pt x="6548" y="6412"/>
                    </a:cubicBezTo>
                    <a:cubicBezTo>
                      <a:pt x="6523" y="6307"/>
                      <a:pt x="6523" y="6307"/>
                      <a:pt x="6523" y="6307"/>
                    </a:cubicBezTo>
                    <a:cubicBezTo>
                      <a:pt x="6476" y="6285"/>
                      <a:pt x="6476" y="6285"/>
                      <a:pt x="6476" y="6285"/>
                    </a:cubicBezTo>
                    <a:cubicBezTo>
                      <a:pt x="6476" y="6285"/>
                      <a:pt x="6468" y="6234"/>
                      <a:pt x="6468" y="6213"/>
                    </a:cubicBezTo>
                    <a:cubicBezTo>
                      <a:pt x="6468" y="6192"/>
                      <a:pt x="6440" y="6173"/>
                      <a:pt x="6440" y="6173"/>
                    </a:cubicBezTo>
                    <a:cubicBezTo>
                      <a:pt x="6445" y="6147"/>
                      <a:pt x="6445" y="6147"/>
                      <a:pt x="6445" y="6147"/>
                    </a:cubicBezTo>
                    <a:cubicBezTo>
                      <a:pt x="6476" y="6145"/>
                      <a:pt x="6525" y="6232"/>
                      <a:pt x="6525" y="6232"/>
                    </a:cubicBezTo>
                    <a:cubicBezTo>
                      <a:pt x="6607" y="6260"/>
                      <a:pt x="6607" y="6260"/>
                      <a:pt x="6607" y="6260"/>
                    </a:cubicBezTo>
                    <a:cubicBezTo>
                      <a:pt x="6600" y="6285"/>
                      <a:pt x="6600" y="6285"/>
                      <a:pt x="6600" y="6285"/>
                    </a:cubicBezTo>
                    <a:cubicBezTo>
                      <a:pt x="6600" y="6285"/>
                      <a:pt x="6640" y="6363"/>
                      <a:pt x="6646" y="6389"/>
                    </a:cubicBezTo>
                    <a:cubicBezTo>
                      <a:pt x="6654" y="6412"/>
                      <a:pt x="6663" y="6463"/>
                      <a:pt x="6663" y="6513"/>
                    </a:cubicBezTo>
                    <a:cubicBezTo>
                      <a:pt x="6663" y="6562"/>
                      <a:pt x="6581" y="6609"/>
                      <a:pt x="6581" y="6609"/>
                    </a:cubicBezTo>
                    <a:close/>
                    <a:moveTo>
                      <a:pt x="7129" y="6323"/>
                    </a:moveTo>
                    <a:cubicBezTo>
                      <a:pt x="7111" y="6346"/>
                      <a:pt x="7129" y="6346"/>
                      <a:pt x="7129" y="6389"/>
                    </a:cubicBezTo>
                    <a:cubicBezTo>
                      <a:pt x="7129" y="6428"/>
                      <a:pt x="7091" y="6454"/>
                      <a:pt x="7091" y="6454"/>
                    </a:cubicBezTo>
                    <a:cubicBezTo>
                      <a:pt x="7090" y="6435"/>
                      <a:pt x="7090" y="6435"/>
                      <a:pt x="7090" y="6435"/>
                    </a:cubicBezTo>
                    <a:cubicBezTo>
                      <a:pt x="7052" y="6412"/>
                      <a:pt x="7052" y="6412"/>
                      <a:pt x="7052" y="6412"/>
                    </a:cubicBezTo>
                    <a:cubicBezTo>
                      <a:pt x="7017" y="6372"/>
                      <a:pt x="7017" y="6372"/>
                      <a:pt x="7017" y="6372"/>
                    </a:cubicBezTo>
                    <a:cubicBezTo>
                      <a:pt x="7035" y="6333"/>
                      <a:pt x="7134" y="6196"/>
                      <a:pt x="7143" y="6196"/>
                    </a:cubicBezTo>
                    <a:cubicBezTo>
                      <a:pt x="7152" y="6196"/>
                      <a:pt x="7136" y="6213"/>
                      <a:pt x="7155" y="6229"/>
                    </a:cubicBezTo>
                    <a:cubicBezTo>
                      <a:pt x="7174" y="6244"/>
                      <a:pt x="7148" y="6297"/>
                      <a:pt x="7129" y="6323"/>
                    </a:cubicBezTo>
                    <a:close/>
                    <a:moveTo>
                      <a:pt x="359" y="6147"/>
                    </a:moveTo>
                    <a:cubicBezTo>
                      <a:pt x="398" y="6117"/>
                      <a:pt x="398" y="6117"/>
                      <a:pt x="398" y="6117"/>
                    </a:cubicBezTo>
                    <a:cubicBezTo>
                      <a:pt x="377" y="6079"/>
                      <a:pt x="377" y="6079"/>
                      <a:pt x="377" y="6079"/>
                    </a:cubicBezTo>
                    <a:lnTo>
                      <a:pt x="359" y="6147"/>
                    </a:lnTo>
                    <a:close/>
                    <a:moveTo>
                      <a:pt x="424" y="6147"/>
                    </a:moveTo>
                    <a:cubicBezTo>
                      <a:pt x="400" y="6166"/>
                      <a:pt x="400" y="6166"/>
                      <a:pt x="400" y="6166"/>
                    </a:cubicBezTo>
                    <a:cubicBezTo>
                      <a:pt x="426" y="6187"/>
                      <a:pt x="426" y="6187"/>
                      <a:pt x="426" y="6187"/>
                    </a:cubicBezTo>
                    <a:cubicBezTo>
                      <a:pt x="426" y="6222"/>
                      <a:pt x="426" y="6222"/>
                      <a:pt x="426" y="6222"/>
                    </a:cubicBezTo>
                    <a:cubicBezTo>
                      <a:pt x="478" y="6206"/>
                      <a:pt x="478" y="6206"/>
                      <a:pt x="478" y="6206"/>
                    </a:cubicBezTo>
                    <a:cubicBezTo>
                      <a:pt x="448" y="6175"/>
                      <a:pt x="448" y="6175"/>
                      <a:pt x="448" y="6175"/>
                    </a:cubicBezTo>
                    <a:lnTo>
                      <a:pt x="424" y="6147"/>
                    </a:lnTo>
                    <a:close/>
                    <a:moveTo>
                      <a:pt x="227" y="5276"/>
                    </a:moveTo>
                    <a:cubicBezTo>
                      <a:pt x="145" y="5203"/>
                      <a:pt x="145" y="5203"/>
                      <a:pt x="145" y="5203"/>
                    </a:cubicBezTo>
                    <a:cubicBezTo>
                      <a:pt x="124" y="5239"/>
                      <a:pt x="124" y="5239"/>
                      <a:pt x="124" y="5239"/>
                    </a:cubicBezTo>
                    <a:cubicBezTo>
                      <a:pt x="218" y="5370"/>
                      <a:pt x="218" y="5370"/>
                      <a:pt x="218" y="5370"/>
                    </a:cubicBezTo>
                    <a:lnTo>
                      <a:pt x="227" y="5276"/>
                    </a:lnTo>
                    <a:close/>
                    <a:moveTo>
                      <a:pt x="12" y="5269"/>
                    </a:moveTo>
                    <a:cubicBezTo>
                      <a:pt x="23" y="5290"/>
                      <a:pt x="68" y="5337"/>
                      <a:pt x="68" y="5337"/>
                    </a:cubicBezTo>
                    <a:cubicBezTo>
                      <a:pt x="4" y="5203"/>
                      <a:pt x="4" y="5203"/>
                      <a:pt x="4" y="5203"/>
                    </a:cubicBezTo>
                    <a:cubicBezTo>
                      <a:pt x="4" y="5203"/>
                      <a:pt x="0" y="5248"/>
                      <a:pt x="12" y="5269"/>
                    </a:cubicBezTo>
                    <a:close/>
                    <a:moveTo>
                      <a:pt x="133" y="5346"/>
                    </a:moveTo>
                    <a:cubicBezTo>
                      <a:pt x="93" y="5328"/>
                      <a:pt x="96" y="5360"/>
                      <a:pt x="96" y="5360"/>
                    </a:cubicBezTo>
                    <a:cubicBezTo>
                      <a:pt x="96" y="5402"/>
                      <a:pt x="96" y="5402"/>
                      <a:pt x="96" y="5402"/>
                    </a:cubicBezTo>
                    <a:cubicBezTo>
                      <a:pt x="138" y="5410"/>
                      <a:pt x="138" y="5410"/>
                      <a:pt x="138" y="5410"/>
                    </a:cubicBezTo>
                    <a:cubicBezTo>
                      <a:pt x="138" y="5449"/>
                      <a:pt x="138" y="5449"/>
                      <a:pt x="138" y="5449"/>
                    </a:cubicBezTo>
                    <a:cubicBezTo>
                      <a:pt x="190" y="5506"/>
                      <a:pt x="190" y="5506"/>
                      <a:pt x="190" y="5506"/>
                    </a:cubicBezTo>
                    <a:cubicBezTo>
                      <a:pt x="222" y="5473"/>
                      <a:pt x="222" y="5473"/>
                      <a:pt x="222" y="5473"/>
                    </a:cubicBezTo>
                    <a:cubicBezTo>
                      <a:pt x="222" y="5473"/>
                      <a:pt x="173" y="5365"/>
                      <a:pt x="133" y="5346"/>
                    </a:cubicBezTo>
                    <a:close/>
                    <a:moveTo>
                      <a:pt x="464" y="3695"/>
                    </a:moveTo>
                    <a:cubicBezTo>
                      <a:pt x="428" y="3701"/>
                      <a:pt x="428" y="3701"/>
                      <a:pt x="428" y="3701"/>
                    </a:cubicBezTo>
                    <a:cubicBezTo>
                      <a:pt x="419" y="3746"/>
                      <a:pt x="419" y="3746"/>
                      <a:pt x="419" y="3746"/>
                    </a:cubicBezTo>
                    <a:cubicBezTo>
                      <a:pt x="419" y="3746"/>
                      <a:pt x="436" y="3749"/>
                      <a:pt x="452" y="3749"/>
                    </a:cubicBezTo>
                    <a:cubicBezTo>
                      <a:pt x="466" y="3749"/>
                      <a:pt x="464" y="3695"/>
                      <a:pt x="464" y="3695"/>
                    </a:cubicBezTo>
                    <a:close/>
                    <a:moveTo>
                      <a:pt x="1293" y="2655"/>
                    </a:moveTo>
                    <a:cubicBezTo>
                      <a:pt x="1293" y="2655"/>
                      <a:pt x="1344" y="2627"/>
                      <a:pt x="1335" y="2603"/>
                    </a:cubicBezTo>
                    <a:cubicBezTo>
                      <a:pt x="1326" y="2577"/>
                      <a:pt x="1307" y="2577"/>
                      <a:pt x="1307" y="2577"/>
                    </a:cubicBezTo>
                    <a:cubicBezTo>
                      <a:pt x="1307" y="2577"/>
                      <a:pt x="1248" y="2645"/>
                      <a:pt x="1293" y="2655"/>
                    </a:cubicBezTo>
                    <a:close/>
                    <a:moveTo>
                      <a:pt x="1426" y="2575"/>
                    </a:moveTo>
                    <a:cubicBezTo>
                      <a:pt x="1436" y="2556"/>
                      <a:pt x="1436" y="2523"/>
                      <a:pt x="1407" y="2530"/>
                    </a:cubicBezTo>
                    <a:cubicBezTo>
                      <a:pt x="1398" y="2533"/>
                      <a:pt x="1417" y="2594"/>
                      <a:pt x="1426" y="2575"/>
                    </a:cubicBezTo>
                    <a:close/>
                  </a:path>
                </a:pathLst>
              </a:custGeom>
              <a:gradFill rotWithShape="0">
                <a:gsLst>
                  <a:gs pos="0">
                    <a:srgbClr val="F8F8F8"/>
                  </a:gs>
                  <a:gs pos="100000">
                    <a:srgbClr val="C0C0C0"/>
                  </a:gs>
                </a:gsLst>
                <a:lin ang="5400000" scaled="1"/>
              </a:gradFill>
              <a:ln w="6350" cap="flat" cmpd="sng">
                <a:solidFill>
                  <a:srgbClr val="E2E2E2"/>
                </a:solidFill>
                <a:prstDash val="solid"/>
                <a:round/>
                <a:headEnd type="none" w="med" len="med"/>
                <a:tailEnd type="none" w="med" len="med"/>
              </a:ln>
              <a:effectLst>
                <a:outerShdw dist="63500" dir="2212194" algn="ctr" rotWithShape="0">
                  <a:srgbClr val="808080"/>
                </a:outerShdw>
              </a:effectLst>
            </p:spPr>
            <p:txBody>
              <a:bodyPr/>
              <a:lstStyle/>
              <a:p>
                <a:endParaRPr lang="en-GB"/>
              </a:p>
            </p:txBody>
          </p:sp>
          <p:grpSp>
            <p:nvGrpSpPr>
              <p:cNvPr id="4" name="Group 40"/>
              <p:cNvGrpSpPr>
                <a:grpSpLocks/>
              </p:cNvGrpSpPr>
              <p:nvPr/>
            </p:nvGrpSpPr>
            <p:grpSpPr bwMode="auto">
              <a:xfrm>
                <a:off x="2817" y="850"/>
                <a:ext cx="2758" cy="2481"/>
                <a:chOff x="2817" y="850"/>
                <a:chExt cx="2758" cy="2481"/>
              </a:xfrm>
            </p:grpSpPr>
            <p:sp>
              <p:nvSpPr>
                <p:cNvPr id="18449" name="Freeform 17" descr="© INSCALE GmbH, 05.05.2010&#10;http://www.presentationload.com/"/>
                <p:cNvSpPr>
                  <a:spLocks noChangeAspect="1" noEditPoints="1"/>
                </p:cNvSpPr>
                <p:nvPr/>
              </p:nvSpPr>
              <p:spPr bwMode="auto">
                <a:xfrm>
                  <a:off x="4746" y="2973"/>
                  <a:ext cx="226" cy="358"/>
                </a:xfrm>
                <a:custGeom>
                  <a:avLst/>
                  <a:gdLst/>
                  <a:ahLst/>
                  <a:cxnLst>
                    <a:cxn ang="0">
                      <a:pos x="208" y="9"/>
                    </a:cxn>
                    <a:cxn ang="0">
                      <a:pos x="190" y="15"/>
                    </a:cxn>
                    <a:cxn ang="0">
                      <a:pos x="44" y="200"/>
                    </a:cxn>
                    <a:cxn ang="0">
                      <a:pos x="15" y="197"/>
                    </a:cxn>
                    <a:cxn ang="0">
                      <a:pos x="25" y="208"/>
                    </a:cxn>
                    <a:cxn ang="0">
                      <a:pos x="214" y="617"/>
                    </a:cxn>
                    <a:cxn ang="0">
                      <a:pos x="242" y="588"/>
                    </a:cxn>
                    <a:cxn ang="0">
                      <a:pos x="230" y="592"/>
                    </a:cxn>
                    <a:cxn ang="0">
                      <a:pos x="273" y="575"/>
                    </a:cxn>
                    <a:cxn ang="0">
                      <a:pos x="298" y="571"/>
                    </a:cxn>
                    <a:cxn ang="0">
                      <a:pos x="366" y="221"/>
                    </a:cxn>
                    <a:cxn ang="0">
                      <a:pos x="353" y="236"/>
                    </a:cxn>
                    <a:cxn ang="0">
                      <a:pos x="370" y="241"/>
                    </a:cxn>
                    <a:cxn ang="0">
                      <a:pos x="303" y="557"/>
                    </a:cxn>
                    <a:cxn ang="0">
                      <a:pos x="278" y="556"/>
                    </a:cxn>
                    <a:cxn ang="0">
                      <a:pos x="318" y="290"/>
                    </a:cxn>
                    <a:cxn ang="0">
                      <a:pos x="280" y="302"/>
                    </a:cxn>
                    <a:cxn ang="0">
                      <a:pos x="254" y="303"/>
                    </a:cxn>
                    <a:cxn ang="0">
                      <a:pos x="224" y="314"/>
                    </a:cxn>
                    <a:cxn ang="0">
                      <a:pos x="168" y="315"/>
                    </a:cxn>
                    <a:cxn ang="0">
                      <a:pos x="75" y="246"/>
                    </a:cxn>
                    <a:cxn ang="0">
                      <a:pos x="41" y="230"/>
                    </a:cxn>
                    <a:cxn ang="0">
                      <a:pos x="13" y="263"/>
                    </a:cxn>
                    <a:cxn ang="0">
                      <a:pos x="21" y="345"/>
                    </a:cxn>
                    <a:cxn ang="0">
                      <a:pos x="57" y="419"/>
                    </a:cxn>
                    <a:cxn ang="0">
                      <a:pos x="68" y="469"/>
                    </a:cxn>
                    <a:cxn ang="0">
                      <a:pos x="48" y="484"/>
                    </a:cxn>
                    <a:cxn ang="0">
                      <a:pos x="101" y="565"/>
                    </a:cxn>
                    <a:cxn ang="0">
                      <a:pos x="108" y="592"/>
                    </a:cxn>
                    <a:cxn ang="0">
                      <a:pos x="136" y="616"/>
                    </a:cxn>
                    <a:cxn ang="0">
                      <a:pos x="157" y="609"/>
                    </a:cxn>
                    <a:cxn ang="0">
                      <a:pos x="208" y="597"/>
                    </a:cxn>
                    <a:cxn ang="0">
                      <a:pos x="218" y="588"/>
                    </a:cxn>
                    <a:cxn ang="0">
                      <a:pos x="253" y="532"/>
                    </a:cxn>
                    <a:cxn ang="0">
                      <a:pos x="293" y="540"/>
                    </a:cxn>
                    <a:cxn ang="0">
                      <a:pos x="307" y="516"/>
                    </a:cxn>
                    <a:cxn ang="0">
                      <a:pos x="339" y="452"/>
                    </a:cxn>
                    <a:cxn ang="0">
                      <a:pos x="355" y="464"/>
                    </a:cxn>
                    <a:cxn ang="0">
                      <a:pos x="351" y="341"/>
                    </a:cxn>
                    <a:cxn ang="0">
                      <a:pos x="347" y="270"/>
                    </a:cxn>
                    <a:cxn ang="0">
                      <a:pos x="337" y="186"/>
                    </a:cxn>
                    <a:cxn ang="0">
                      <a:pos x="377" y="208"/>
                    </a:cxn>
                    <a:cxn ang="0">
                      <a:pos x="383" y="178"/>
                    </a:cxn>
                    <a:cxn ang="0">
                      <a:pos x="349" y="140"/>
                    </a:cxn>
                    <a:cxn ang="0">
                      <a:pos x="338" y="169"/>
                    </a:cxn>
                  </a:cxnLst>
                  <a:rect l="0" t="0" r="r" b="b"/>
                  <a:pathLst>
                    <a:path w="402" h="635">
                      <a:moveTo>
                        <a:pt x="190" y="15"/>
                      </a:moveTo>
                      <a:cubicBezTo>
                        <a:pt x="202" y="15"/>
                        <a:pt x="208" y="9"/>
                        <a:pt x="208" y="9"/>
                      </a:cubicBezTo>
                      <a:cubicBezTo>
                        <a:pt x="190" y="0"/>
                        <a:pt x="190" y="0"/>
                        <a:pt x="190" y="0"/>
                      </a:cubicBezTo>
                      <a:cubicBezTo>
                        <a:pt x="190" y="0"/>
                        <a:pt x="178" y="15"/>
                        <a:pt x="190" y="15"/>
                      </a:cubicBezTo>
                      <a:close/>
                      <a:moveTo>
                        <a:pt x="25" y="208"/>
                      </a:moveTo>
                      <a:cubicBezTo>
                        <a:pt x="25" y="208"/>
                        <a:pt x="39" y="200"/>
                        <a:pt x="44" y="200"/>
                      </a:cubicBezTo>
                      <a:cubicBezTo>
                        <a:pt x="40" y="190"/>
                        <a:pt x="40" y="190"/>
                        <a:pt x="40" y="190"/>
                      </a:cubicBezTo>
                      <a:cubicBezTo>
                        <a:pt x="40" y="190"/>
                        <a:pt x="20" y="194"/>
                        <a:pt x="15" y="197"/>
                      </a:cubicBezTo>
                      <a:cubicBezTo>
                        <a:pt x="10" y="200"/>
                        <a:pt x="11" y="213"/>
                        <a:pt x="17" y="224"/>
                      </a:cubicBezTo>
                      <a:cubicBezTo>
                        <a:pt x="24" y="234"/>
                        <a:pt x="25" y="208"/>
                        <a:pt x="25" y="208"/>
                      </a:cubicBezTo>
                      <a:close/>
                      <a:moveTo>
                        <a:pt x="230" y="592"/>
                      </a:moveTo>
                      <a:cubicBezTo>
                        <a:pt x="230" y="592"/>
                        <a:pt x="206" y="613"/>
                        <a:pt x="214" y="617"/>
                      </a:cubicBezTo>
                      <a:cubicBezTo>
                        <a:pt x="222" y="621"/>
                        <a:pt x="236" y="621"/>
                        <a:pt x="236" y="621"/>
                      </a:cubicBezTo>
                      <a:cubicBezTo>
                        <a:pt x="236" y="621"/>
                        <a:pt x="230" y="593"/>
                        <a:pt x="242" y="588"/>
                      </a:cubicBezTo>
                      <a:cubicBezTo>
                        <a:pt x="254" y="583"/>
                        <a:pt x="252" y="567"/>
                        <a:pt x="252" y="567"/>
                      </a:cubicBezTo>
                      <a:lnTo>
                        <a:pt x="230" y="592"/>
                      </a:lnTo>
                      <a:close/>
                      <a:moveTo>
                        <a:pt x="298" y="571"/>
                      </a:moveTo>
                      <a:cubicBezTo>
                        <a:pt x="280" y="565"/>
                        <a:pt x="273" y="575"/>
                        <a:pt x="273" y="575"/>
                      </a:cubicBezTo>
                      <a:cubicBezTo>
                        <a:pt x="280" y="592"/>
                        <a:pt x="282" y="593"/>
                        <a:pt x="294" y="593"/>
                      </a:cubicBezTo>
                      <a:cubicBezTo>
                        <a:pt x="306" y="593"/>
                        <a:pt x="317" y="576"/>
                        <a:pt x="298" y="571"/>
                      </a:cubicBezTo>
                      <a:close/>
                      <a:moveTo>
                        <a:pt x="393" y="238"/>
                      </a:moveTo>
                      <a:cubicBezTo>
                        <a:pt x="383" y="224"/>
                        <a:pt x="379" y="221"/>
                        <a:pt x="366" y="221"/>
                      </a:cubicBezTo>
                      <a:cubicBezTo>
                        <a:pt x="353" y="221"/>
                        <a:pt x="341" y="228"/>
                        <a:pt x="341" y="228"/>
                      </a:cubicBezTo>
                      <a:cubicBezTo>
                        <a:pt x="353" y="236"/>
                        <a:pt x="353" y="236"/>
                        <a:pt x="353" y="236"/>
                      </a:cubicBezTo>
                      <a:cubicBezTo>
                        <a:pt x="361" y="254"/>
                        <a:pt x="361" y="254"/>
                        <a:pt x="361" y="254"/>
                      </a:cubicBezTo>
                      <a:cubicBezTo>
                        <a:pt x="361" y="254"/>
                        <a:pt x="357" y="240"/>
                        <a:pt x="370" y="241"/>
                      </a:cubicBezTo>
                      <a:cubicBezTo>
                        <a:pt x="383" y="242"/>
                        <a:pt x="402" y="253"/>
                        <a:pt x="393" y="238"/>
                      </a:cubicBezTo>
                      <a:close/>
                      <a:moveTo>
                        <a:pt x="303" y="557"/>
                      </a:moveTo>
                      <a:cubicBezTo>
                        <a:pt x="308" y="551"/>
                        <a:pt x="293" y="548"/>
                        <a:pt x="293" y="548"/>
                      </a:cubicBezTo>
                      <a:cubicBezTo>
                        <a:pt x="278" y="556"/>
                        <a:pt x="278" y="556"/>
                        <a:pt x="278" y="556"/>
                      </a:cubicBezTo>
                      <a:cubicBezTo>
                        <a:pt x="278" y="556"/>
                        <a:pt x="297" y="568"/>
                        <a:pt x="303" y="557"/>
                      </a:cubicBezTo>
                      <a:close/>
                      <a:moveTo>
                        <a:pt x="318" y="290"/>
                      </a:moveTo>
                      <a:cubicBezTo>
                        <a:pt x="318" y="290"/>
                        <a:pt x="307" y="282"/>
                        <a:pt x="299" y="281"/>
                      </a:cubicBezTo>
                      <a:cubicBezTo>
                        <a:pt x="291" y="279"/>
                        <a:pt x="280" y="302"/>
                        <a:pt x="280" y="302"/>
                      </a:cubicBezTo>
                      <a:cubicBezTo>
                        <a:pt x="280" y="302"/>
                        <a:pt x="265" y="293"/>
                        <a:pt x="260" y="293"/>
                      </a:cubicBezTo>
                      <a:cubicBezTo>
                        <a:pt x="254" y="293"/>
                        <a:pt x="254" y="303"/>
                        <a:pt x="254" y="303"/>
                      </a:cubicBezTo>
                      <a:cubicBezTo>
                        <a:pt x="254" y="303"/>
                        <a:pt x="241" y="297"/>
                        <a:pt x="233" y="298"/>
                      </a:cubicBezTo>
                      <a:cubicBezTo>
                        <a:pt x="225" y="299"/>
                        <a:pt x="224" y="314"/>
                        <a:pt x="224" y="314"/>
                      </a:cubicBezTo>
                      <a:cubicBezTo>
                        <a:pt x="213" y="303"/>
                        <a:pt x="213" y="303"/>
                        <a:pt x="213" y="303"/>
                      </a:cubicBezTo>
                      <a:cubicBezTo>
                        <a:pt x="168" y="315"/>
                        <a:pt x="168" y="315"/>
                        <a:pt x="168" y="315"/>
                      </a:cubicBezTo>
                      <a:cubicBezTo>
                        <a:pt x="88" y="267"/>
                        <a:pt x="88" y="267"/>
                        <a:pt x="88" y="267"/>
                      </a:cubicBezTo>
                      <a:cubicBezTo>
                        <a:pt x="75" y="246"/>
                        <a:pt x="75" y="246"/>
                        <a:pt x="75" y="246"/>
                      </a:cubicBezTo>
                      <a:cubicBezTo>
                        <a:pt x="75" y="246"/>
                        <a:pt x="67" y="253"/>
                        <a:pt x="59" y="253"/>
                      </a:cubicBezTo>
                      <a:cubicBezTo>
                        <a:pt x="51" y="253"/>
                        <a:pt x="41" y="236"/>
                        <a:pt x="41" y="230"/>
                      </a:cubicBezTo>
                      <a:cubicBezTo>
                        <a:pt x="41" y="225"/>
                        <a:pt x="13" y="230"/>
                        <a:pt x="13" y="230"/>
                      </a:cubicBezTo>
                      <a:cubicBezTo>
                        <a:pt x="13" y="230"/>
                        <a:pt x="10" y="255"/>
                        <a:pt x="13" y="263"/>
                      </a:cubicBezTo>
                      <a:cubicBezTo>
                        <a:pt x="17" y="271"/>
                        <a:pt x="6" y="271"/>
                        <a:pt x="3" y="283"/>
                      </a:cubicBezTo>
                      <a:cubicBezTo>
                        <a:pt x="0" y="295"/>
                        <a:pt x="16" y="315"/>
                        <a:pt x="21" y="345"/>
                      </a:cubicBezTo>
                      <a:cubicBezTo>
                        <a:pt x="27" y="374"/>
                        <a:pt x="36" y="386"/>
                        <a:pt x="49" y="402"/>
                      </a:cubicBezTo>
                      <a:cubicBezTo>
                        <a:pt x="63" y="418"/>
                        <a:pt x="57" y="419"/>
                        <a:pt x="57" y="419"/>
                      </a:cubicBezTo>
                      <a:cubicBezTo>
                        <a:pt x="57" y="419"/>
                        <a:pt x="77" y="452"/>
                        <a:pt x="79" y="458"/>
                      </a:cubicBezTo>
                      <a:cubicBezTo>
                        <a:pt x="80" y="463"/>
                        <a:pt x="68" y="469"/>
                        <a:pt x="68" y="469"/>
                      </a:cubicBezTo>
                      <a:cubicBezTo>
                        <a:pt x="49" y="435"/>
                        <a:pt x="49" y="435"/>
                        <a:pt x="49" y="435"/>
                      </a:cubicBezTo>
                      <a:cubicBezTo>
                        <a:pt x="49" y="435"/>
                        <a:pt x="48" y="469"/>
                        <a:pt x="48" y="484"/>
                      </a:cubicBezTo>
                      <a:cubicBezTo>
                        <a:pt x="48" y="499"/>
                        <a:pt x="93" y="576"/>
                        <a:pt x="93" y="576"/>
                      </a:cubicBezTo>
                      <a:cubicBezTo>
                        <a:pt x="101" y="565"/>
                        <a:pt x="101" y="565"/>
                        <a:pt x="101" y="565"/>
                      </a:cubicBezTo>
                      <a:cubicBezTo>
                        <a:pt x="125" y="588"/>
                        <a:pt x="125" y="588"/>
                        <a:pt x="125" y="588"/>
                      </a:cubicBezTo>
                      <a:cubicBezTo>
                        <a:pt x="108" y="592"/>
                        <a:pt x="108" y="592"/>
                        <a:pt x="108" y="592"/>
                      </a:cubicBezTo>
                      <a:cubicBezTo>
                        <a:pt x="108" y="611"/>
                        <a:pt x="108" y="611"/>
                        <a:pt x="108" y="611"/>
                      </a:cubicBezTo>
                      <a:cubicBezTo>
                        <a:pt x="136" y="616"/>
                        <a:pt x="136" y="616"/>
                        <a:pt x="136" y="616"/>
                      </a:cubicBezTo>
                      <a:cubicBezTo>
                        <a:pt x="152" y="620"/>
                        <a:pt x="152" y="620"/>
                        <a:pt x="152" y="620"/>
                      </a:cubicBezTo>
                      <a:cubicBezTo>
                        <a:pt x="157" y="609"/>
                        <a:pt x="157" y="609"/>
                        <a:pt x="157" y="609"/>
                      </a:cubicBezTo>
                      <a:cubicBezTo>
                        <a:pt x="180" y="635"/>
                        <a:pt x="180" y="635"/>
                        <a:pt x="180" y="635"/>
                      </a:cubicBezTo>
                      <a:cubicBezTo>
                        <a:pt x="208" y="597"/>
                        <a:pt x="208" y="597"/>
                        <a:pt x="208" y="597"/>
                      </a:cubicBezTo>
                      <a:cubicBezTo>
                        <a:pt x="208" y="573"/>
                        <a:pt x="208" y="573"/>
                        <a:pt x="208" y="573"/>
                      </a:cubicBezTo>
                      <a:cubicBezTo>
                        <a:pt x="218" y="588"/>
                        <a:pt x="218" y="588"/>
                        <a:pt x="218" y="588"/>
                      </a:cubicBezTo>
                      <a:cubicBezTo>
                        <a:pt x="241" y="567"/>
                        <a:pt x="241" y="567"/>
                        <a:pt x="241" y="567"/>
                      </a:cubicBezTo>
                      <a:cubicBezTo>
                        <a:pt x="253" y="532"/>
                        <a:pt x="253" y="532"/>
                        <a:pt x="253" y="532"/>
                      </a:cubicBezTo>
                      <a:cubicBezTo>
                        <a:pt x="272" y="552"/>
                        <a:pt x="272" y="552"/>
                        <a:pt x="272" y="552"/>
                      </a:cubicBezTo>
                      <a:cubicBezTo>
                        <a:pt x="272" y="552"/>
                        <a:pt x="293" y="549"/>
                        <a:pt x="293" y="540"/>
                      </a:cubicBezTo>
                      <a:cubicBezTo>
                        <a:pt x="293" y="531"/>
                        <a:pt x="309" y="525"/>
                        <a:pt x="317" y="521"/>
                      </a:cubicBezTo>
                      <a:cubicBezTo>
                        <a:pt x="325" y="517"/>
                        <a:pt x="311" y="516"/>
                        <a:pt x="307" y="516"/>
                      </a:cubicBezTo>
                      <a:cubicBezTo>
                        <a:pt x="303" y="516"/>
                        <a:pt x="302" y="475"/>
                        <a:pt x="310" y="469"/>
                      </a:cubicBezTo>
                      <a:cubicBezTo>
                        <a:pt x="318" y="463"/>
                        <a:pt x="321" y="444"/>
                        <a:pt x="339" y="452"/>
                      </a:cubicBezTo>
                      <a:cubicBezTo>
                        <a:pt x="355" y="459"/>
                        <a:pt x="344" y="474"/>
                        <a:pt x="341" y="479"/>
                      </a:cubicBezTo>
                      <a:cubicBezTo>
                        <a:pt x="343" y="476"/>
                        <a:pt x="350" y="468"/>
                        <a:pt x="355" y="464"/>
                      </a:cubicBezTo>
                      <a:cubicBezTo>
                        <a:pt x="362" y="460"/>
                        <a:pt x="354" y="412"/>
                        <a:pt x="354" y="408"/>
                      </a:cubicBezTo>
                      <a:cubicBezTo>
                        <a:pt x="354" y="404"/>
                        <a:pt x="355" y="355"/>
                        <a:pt x="351" y="341"/>
                      </a:cubicBezTo>
                      <a:cubicBezTo>
                        <a:pt x="347" y="326"/>
                        <a:pt x="377" y="302"/>
                        <a:pt x="377" y="302"/>
                      </a:cubicBezTo>
                      <a:cubicBezTo>
                        <a:pt x="347" y="270"/>
                        <a:pt x="347" y="270"/>
                        <a:pt x="347" y="270"/>
                      </a:cubicBezTo>
                      <a:lnTo>
                        <a:pt x="318" y="290"/>
                      </a:lnTo>
                      <a:close/>
                      <a:moveTo>
                        <a:pt x="337" y="186"/>
                      </a:moveTo>
                      <a:cubicBezTo>
                        <a:pt x="337" y="186"/>
                        <a:pt x="347" y="206"/>
                        <a:pt x="350" y="210"/>
                      </a:cubicBezTo>
                      <a:cubicBezTo>
                        <a:pt x="353" y="214"/>
                        <a:pt x="377" y="208"/>
                        <a:pt x="377" y="208"/>
                      </a:cubicBezTo>
                      <a:cubicBezTo>
                        <a:pt x="371" y="196"/>
                        <a:pt x="371" y="196"/>
                        <a:pt x="371" y="196"/>
                      </a:cubicBezTo>
                      <a:cubicBezTo>
                        <a:pt x="371" y="196"/>
                        <a:pt x="399" y="192"/>
                        <a:pt x="383" y="178"/>
                      </a:cubicBezTo>
                      <a:cubicBezTo>
                        <a:pt x="367" y="165"/>
                        <a:pt x="370" y="180"/>
                        <a:pt x="362" y="164"/>
                      </a:cubicBezTo>
                      <a:cubicBezTo>
                        <a:pt x="354" y="148"/>
                        <a:pt x="349" y="140"/>
                        <a:pt x="349" y="140"/>
                      </a:cubicBezTo>
                      <a:cubicBezTo>
                        <a:pt x="333" y="158"/>
                        <a:pt x="333" y="158"/>
                        <a:pt x="333" y="158"/>
                      </a:cubicBezTo>
                      <a:cubicBezTo>
                        <a:pt x="338" y="169"/>
                        <a:pt x="338" y="169"/>
                        <a:pt x="338" y="169"/>
                      </a:cubicBezTo>
                      <a:lnTo>
                        <a:pt x="337" y="186"/>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18450" name="Freeform 18" descr="© INSCALE GmbH, 05.05.2010&#10;http://www.presentationload.com/"/>
                <p:cNvSpPr>
                  <a:spLocks noChangeAspect="1" noEditPoints="1"/>
                </p:cNvSpPr>
                <p:nvPr/>
              </p:nvSpPr>
              <p:spPr bwMode="auto">
                <a:xfrm>
                  <a:off x="2817" y="1065"/>
                  <a:ext cx="1042" cy="1670"/>
                </a:xfrm>
                <a:custGeom>
                  <a:avLst/>
                  <a:gdLst/>
                  <a:ahLst/>
                  <a:cxnLst>
                    <a:cxn ang="0">
                      <a:pos x="29" y="1896"/>
                    </a:cxn>
                    <a:cxn ang="0">
                      <a:pos x="179" y="1217"/>
                    </a:cxn>
                    <a:cxn ang="0">
                      <a:pos x="53" y="1854"/>
                    </a:cxn>
                    <a:cxn ang="0">
                      <a:pos x="558" y="718"/>
                    </a:cxn>
                    <a:cxn ang="0">
                      <a:pos x="57" y="1900"/>
                    </a:cxn>
                    <a:cxn ang="0">
                      <a:pos x="81" y="1968"/>
                    </a:cxn>
                    <a:cxn ang="0">
                      <a:pos x="182" y="2260"/>
                    </a:cxn>
                    <a:cxn ang="0">
                      <a:pos x="1769" y="300"/>
                    </a:cxn>
                    <a:cxn ang="0">
                      <a:pos x="1705" y="333"/>
                    </a:cxn>
                    <a:cxn ang="0">
                      <a:pos x="1652" y="356"/>
                    </a:cxn>
                    <a:cxn ang="0">
                      <a:pos x="1573" y="193"/>
                    </a:cxn>
                    <a:cxn ang="0">
                      <a:pos x="1467" y="236"/>
                    </a:cxn>
                    <a:cxn ang="0">
                      <a:pos x="1402" y="271"/>
                    </a:cxn>
                    <a:cxn ang="0">
                      <a:pos x="1328" y="296"/>
                    </a:cxn>
                    <a:cxn ang="0">
                      <a:pos x="1321" y="362"/>
                    </a:cxn>
                    <a:cxn ang="0">
                      <a:pos x="1302" y="412"/>
                    </a:cxn>
                    <a:cxn ang="0">
                      <a:pos x="1221" y="471"/>
                    </a:cxn>
                    <a:cxn ang="0">
                      <a:pos x="1244" y="519"/>
                    </a:cxn>
                    <a:cxn ang="0">
                      <a:pos x="1165" y="532"/>
                    </a:cxn>
                    <a:cxn ang="0">
                      <a:pos x="1115" y="563"/>
                    </a:cxn>
                    <a:cxn ang="0">
                      <a:pos x="1125" y="614"/>
                    </a:cxn>
                    <a:cxn ang="0">
                      <a:pos x="1044" y="540"/>
                    </a:cxn>
                    <a:cxn ang="0">
                      <a:pos x="995" y="620"/>
                    </a:cxn>
                    <a:cxn ang="0">
                      <a:pos x="951" y="810"/>
                    </a:cxn>
                    <a:cxn ang="0">
                      <a:pos x="785" y="1007"/>
                    </a:cxn>
                    <a:cxn ang="0">
                      <a:pos x="655" y="1027"/>
                    </a:cxn>
                    <a:cxn ang="0">
                      <a:pos x="531" y="1111"/>
                    </a:cxn>
                    <a:cxn ang="0">
                      <a:pos x="390" y="1156"/>
                    </a:cxn>
                    <a:cxn ang="0">
                      <a:pos x="314" y="1164"/>
                    </a:cxn>
                    <a:cxn ang="0">
                      <a:pos x="225" y="1270"/>
                    </a:cxn>
                    <a:cxn ang="0">
                      <a:pos x="81" y="1445"/>
                    </a:cxn>
                    <a:cxn ang="0">
                      <a:pos x="37" y="1429"/>
                    </a:cxn>
                    <a:cxn ang="0">
                      <a:pos x="29" y="1614"/>
                    </a:cxn>
                    <a:cxn ang="0">
                      <a:pos x="99" y="1786"/>
                    </a:cxn>
                    <a:cxn ang="0">
                      <a:pos x="152" y="1903"/>
                    </a:cxn>
                    <a:cxn ang="0">
                      <a:pos x="120" y="1928"/>
                    </a:cxn>
                    <a:cxn ang="0">
                      <a:pos x="180" y="2134"/>
                    </a:cxn>
                    <a:cxn ang="0">
                      <a:pos x="428" y="2585"/>
                    </a:cxn>
                    <a:cxn ang="0">
                      <a:pos x="446" y="2698"/>
                    </a:cxn>
                    <a:cxn ang="0">
                      <a:pos x="387" y="2802"/>
                    </a:cxn>
                    <a:cxn ang="0">
                      <a:pos x="548" y="2954"/>
                    </a:cxn>
                    <a:cxn ang="0">
                      <a:pos x="712" y="2952"/>
                    </a:cxn>
                    <a:cxn ang="0">
                      <a:pos x="810" y="2867"/>
                    </a:cxn>
                    <a:cxn ang="0">
                      <a:pos x="968" y="2789"/>
                    </a:cxn>
                    <a:cxn ang="0">
                      <a:pos x="1146" y="2773"/>
                    </a:cxn>
                    <a:cxn ang="0">
                      <a:pos x="1273" y="2757"/>
                    </a:cxn>
                    <a:cxn ang="0">
                      <a:pos x="1463" y="2571"/>
                    </a:cxn>
                    <a:cxn ang="0">
                      <a:pos x="1680" y="2520"/>
                    </a:cxn>
                    <a:cxn ang="0">
                      <a:pos x="153" y="2242"/>
                    </a:cxn>
                    <a:cxn ang="0">
                      <a:pos x="1382" y="150"/>
                    </a:cxn>
                    <a:cxn ang="0">
                      <a:pos x="1376" y="211"/>
                    </a:cxn>
                    <a:cxn ang="0">
                      <a:pos x="1250" y="347"/>
                    </a:cxn>
                    <a:cxn ang="0">
                      <a:pos x="1421" y="202"/>
                    </a:cxn>
                    <a:cxn ang="0">
                      <a:pos x="1215" y="396"/>
                    </a:cxn>
                    <a:cxn ang="0">
                      <a:pos x="1197" y="401"/>
                    </a:cxn>
                    <a:cxn ang="0">
                      <a:pos x="1009" y="0"/>
                    </a:cxn>
                    <a:cxn ang="0">
                      <a:pos x="1044" y="417"/>
                    </a:cxn>
                    <a:cxn ang="0">
                      <a:pos x="1113" y="424"/>
                    </a:cxn>
                  </a:cxnLst>
                  <a:rect l="0" t="0" r="r" b="b"/>
                  <a:pathLst>
                    <a:path w="1854" h="2969">
                      <a:moveTo>
                        <a:pt x="1270" y="283"/>
                      </a:moveTo>
                      <a:cubicBezTo>
                        <a:pt x="1280" y="283"/>
                        <a:pt x="1282" y="260"/>
                        <a:pt x="1262" y="264"/>
                      </a:cubicBezTo>
                      <a:cubicBezTo>
                        <a:pt x="1262" y="264"/>
                        <a:pt x="1259" y="283"/>
                        <a:pt x="1270" y="283"/>
                      </a:cubicBezTo>
                      <a:close/>
                      <a:moveTo>
                        <a:pt x="5" y="1867"/>
                      </a:moveTo>
                      <a:cubicBezTo>
                        <a:pt x="10" y="1876"/>
                        <a:pt x="29" y="1896"/>
                        <a:pt x="29" y="1896"/>
                      </a:cubicBezTo>
                      <a:cubicBezTo>
                        <a:pt x="2" y="1839"/>
                        <a:pt x="2" y="1839"/>
                        <a:pt x="2" y="1839"/>
                      </a:cubicBezTo>
                      <a:cubicBezTo>
                        <a:pt x="2" y="1839"/>
                        <a:pt x="0" y="1858"/>
                        <a:pt x="5" y="1867"/>
                      </a:cubicBezTo>
                      <a:close/>
                      <a:moveTo>
                        <a:pt x="198" y="1195"/>
                      </a:moveTo>
                      <a:cubicBezTo>
                        <a:pt x="183" y="1198"/>
                        <a:pt x="183" y="1198"/>
                        <a:pt x="183" y="1198"/>
                      </a:cubicBezTo>
                      <a:cubicBezTo>
                        <a:pt x="179" y="1217"/>
                        <a:pt x="179" y="1217"/>
                        <a:pt x="179" y="1217"/>
                      </a:cubicBezTo>
                      <a:cubicBezTo>
                        <a:pt x="179" y="1217"/>
                        <a:pt x="186" y="1218"/>
                        <a:pt x="192" y="1218"/>
                      </a:cubicBezTo>
                      <a:cubicBezTo>
                        <a:pt x="199" y="1218"/>
                        <a:pt x="198" y="1195"/>
                        <a:pt x="198" y="1195"/>
                      </a:cubicBezTo>
                      <a:close/>
                      <a:moveTo>
                        <a:pt x="97" y="1870"/>
                      </a:moveTo>
                      <a:cubicBezTo>
                        <a:pt x="62" y="1839"/>
                        <a:pt x="62" y="1839"/>
                        <a:pt x="62" y="1839"/>
                      </a:cubicBezTo>
                      <a:cubicBezTo>
                        <a:pt x="53" y="1854"/>
                        <a:pt x="53" y="1854"/>
                        <a:pt x="53" y="1854"/>
                      </a:cubicBezTo>
                      <a:cubicBezTo>
                        <a:pt x="93" y="1910"/>
                        <a:pt x="93" y="1910"/>
                        <a:pt x="93" y="1910"/>
                      </a:cubicBezTo>
                      <a:lnTo>
                        <a:pt x="97" y="1870"/>
                      </a:lnTo>
                      <a:close/>
                      <a:moveTo>
                        <a:pt x="552" y="751"/>
                      </a:moveTo>
                      <a:cubicBezTo>
                        <a:pt x="552" y="751"/>
                        <a:pt x="574" y="739"/>
                        <a:pt x="570" y="729"/>
                      </a:cubicBezTo>
                      <a:cubicBezTo>
                        <a:pt x="566" y="718"/>
                        <a:pt x="558" y="718"/>
                        <a:pt x="558" y="718"/>
                      </a:cubicBezTo>
                      <a:cubicBezTo>
                        <a:pt x="558" y="718"/>
                        <a:pt x="533" y="747"/>
                        <a:pt x="552" y="751"/>
                      </a:cubicBezTo>
                      <a:close/>
                      <a:moveTo>
                        <a:pt x="609" y="717"/>
                      </a:moveTo>
                      <a:cubicBezTo>
                        <a:pt x="613" y="709"/>
                        <a:pt x="613" y="695"/>
                        <a:pt x="601" y="698"/>
                      </a:cubicBezTo>
                      <a:cubicBezTo>
                        <a:pt x="597" y="699"/>
                        <a:pt x="605" y="725"/>
                        <a:pt x="609" y="717"/>
                      </a:cubicBezTo>
                      <a:close/>
                      <a:moveTo>
                        <a:pt x="57" y="1900"/>
                      </a:moveTo>
                      <a:cubicBezTo>
                        <a:pt x="39" y="1892"/>
                        <a:pt x="41" y="1906"/>
                        <a:pt x="41" y="1906"/>
                      </a:cubicBezTo>
                      <a:cubicBezTo>
                        <a:pt x="41" y="1924"/>
                        <a:pt x="41" y="1924"/>
                        <a:pt x="41" y="1924"/>
                      </a:cubicBezTo>
                      <a:cubicBezTo>
                        <a:pt x="59" y="1927"/>
                        <a:pt x="59" y="1927"/>
                        <a:pt x="59" y="1927"/>
                      </a:cubicBezTo>
                      <a:cubicBezTo>
                        <a:pt x="59" y="1944"/>
                        <a:pt x="59" y="1944"/>
                        <a:pt x="59" y="1944"/>
                      </a:cubicBezTo>
                      <a:cubicBezTo>
                        <a:pt x="81" y="1968"/>
                        <a:pt x="81" y="1968"/>
                        <a:pt x="81" y="1968"/>
                      </a:cubicBezTo>
                      <a:cubicBezTo>
                        <a:pt x="95" y="1954"/>
                        <a:pt x="95" y="1954"/>
                        <a:pt x="95" y="1954"/>
                      </a:cubicBezTo>
                      <a:cubicBezTo>
                        <a:pt x="95" y="1954"/>
                        <a:pt x="74" y="1908"/>
                        <a:pt x="57" y="1900"/>
                      </a:cubicBezTo>
                      <a:close/>
                      <a:moveTo>
                        <a:pt x="180" y="2242"/>
                      </a:moveTo>
                      <a:cubicBezTo>
                        <a:pt x="171" y="2250"/>
                        <a:pt x="171" y="2250"/>
                        <a:pt x="171" y="2250"/>
                      </a:cubicBezTo>
                      <a:cubicBezTo>
                        <a:pt x="182" y="2260"/>
                        <a:pt x="182" y="2260"/>
                        <a:pt x="182" y="2260"/>
                      </a:cubicBezTo>
                      <a:cubicBezTo>
                        <a:pt x="182" y="2274"/>
                        <a:pt x="182" y="2274"/>
                        <a:pt x="182" y="2274"/>
                      </a:cubicBezTo>
                      <a:cubicBezTo>
                        <a:pt x="204" y="2268"/>
                        <a:pt x="204" y="2268"/>
                        <a:pt x="204" y="2268"/>
                      </a:cubicBezTo>
                      <a:cubicBezTo>
                        <a:pt x="191" y="2254"/>
                        <a:pt x="191" y="2254"/>
                        <a:pt x="191" y="2254"/>
                      </a:cubicBezTo>
                      <a:lnTo>
                        <a:pt x="180" y="2242"/>
                      </a:lnTo>
                      <a:close/>
                      <a:moveTo>
                        <a:pt x="1769" y="300"/>
                      </a:moveTo>
                      <a:cubicBezTo>
                        <a:pt x="1767" y="300"/>
                        <a:pt x="1765" y="300"/>
                        <a:pt x="1762" y="300"/>
                      </a:cubicBezTo>
                      <a:cubicBezTo>
                        <a:pt x="1741" y="300"/>
                        <a:pt x="1724" y="292"/>
                        <a:pt x="1722" y="291"/>
                      </a:cubicBezTo>
                      <a:cubicBezTo>
                        <a:pt x="1719" y="290"/>
                        <a:pt x="1699" y="309"/>
                        <a:pt x="1699" y="309"/>
                      </a:cubicBezTo>
                      <a:cubicBezTo>
                        <a:pt x="1710" y="328"/>
                        <a:pt x="1710" y="328"/>
                        <a:pt x="1710" y="328"/>
                      </a:cubicBezTo>
                      <a:cubicBezTo>
                        <a:pt x="1710" y="328"/>
                        <a:pt x="1707" y="333"/>
                        <a:pt x="1705" y="333"/>
                      </a:cubicBezTo>
                      <a:cubicBezTo>
                        <a:pt x="1704" y="333"/>
                        <a:pt x="1688" y="322"/>
                        <a:pt x="1688" y="322"/>
                      </a:cubicBezTo>
                      <a:cubicBezTo>
                        <a:pt x="1688" y="322"/>
                        <a:pt x="1669" y="331"/>
                        <a:pt x="1673" y="340"/>
                      </a:cubicBezTo>
                      <a:cubicBezTo>
                        <a:pt x="1677" y="348"/>
                        <a:pt x="1695" y="367"/>
                        <a:pt x="1690" y="369"/>
                      </a:cubicBezTo>
                      <a:cubicBezTo>
                        <a:pt x="1685" y="372"/>
                        <a:pt x="1666" y="382"/>
                        <a:pt x="1666" y="382"/>
                      </a:cubicBezTo>
                      <a:cubicBezTo>
                        <a:pt x="1666" y="382"/>
                        <a:pt x="1648" y="365"/>
                        <a:pt x="1652" y="356"/>
                      </a:cubicBezTo>
                      <a:cubicBezTo>
                        <a:pt x="1656" y="348"/>
                        <a:pt x="1664" y="350"/>
                        <a:pt x="1663" y="337"/>
                      </a:cubicBezTo>
                      <a:cubicBezTo>
                        <a:pt x="1662" y="324"/>
                        <a:pt x="1655" y="325"/>
                        <a:pt x="1660" y="316"/>
                      </a:cubicBezTo>
                      <a:cubicBezTo>
                        <a:pt x="1665" y="307"/>
                        <a:pt x="1678" y="293"/>
                        <a:pt x="1677" y="291"/>
                      </a:cubicBezTo>
                      <a:cubicBezTo>
                        <a:pt x="1676" y="288"/>
                        <a:pt x="1640" y="274"/>
                        <a:pt x="1631" y="261"/>
                      </a:cubicBezTo>
                      <a:cubicBezTo>
                        <a:pt x="1622" y="248"/>
                        <a:pt x="1584" y="198"/>
                        <a:pt x="1573" y="193"/>
                      </a:cubicBezTo>
                      <a:cubicBezTo>
                        <a:pt x="1561" y="188"/>
                        <a:pt x="1538" y="197"/>
                        <a:pt x="1538" y="197"/>
                      </a:cubicBezTo>
                      <a:cubicBezTo>
                        <a:pt x="1514" y="171"/>
                        <a:pt x="1514" y="171"/>
                        <a:pt x="1514" y="171"/>
                      </a:cubicBezTo>
                      <a:cubicBezTo>
                        <a:pt x="1489" y="179"/>
                        <a:pt x="1489" y="179"/>
                        <a:pt x="1489" y="179"/>
                      </a:cubicBezTo>
                      <a:cubicBezTo>
                        <a:pt x="1500" y="204"/>
                        <a:pt x="1500" y="204"/>
                        <a:pt x="1500" y="204"/>
                      </a:cubicBezTo>
                      <a:cubicBezTo>
                        <a:pt x="1467" y="236"/>
                        <a:pt x="1467" y="236"/>
                        <a:pt x="1467" y="236"/>
                      </a:cubicBezTo>
                      <a:cubicBezTo>
                        <a:pt x="1467" y="236"/>
                        <a:pt x="1449" y="215"/>
                        <a:pt x="1451" y="206"/>
                      </a:cubicBezTo>
                      <a:cubicBezTo>
                        <a:pt x="1446" y="213"/>
                        <a:pt x="1434" y="229"/>
                        <a:pt x="1434" y="234"/>
                      </a:cubicBezTo>
                      <a:cubicBezTo>
                        <a:pt x="1434" y="241"/>
                        <a:pt x="1417" y="230"/>
                        <a:pt x="1417" y="230"/>
                      </a:cubicBezTo>
                      <a:cubicBezTo>
                        <a:pt x="1390" y="256"/>
                        <a:pt x="1390" y="256"/>
                        <a:pt x="1390" y="256"/>
                      </a:cubicBezTo>
                      <a:cubicBezTo>
                        <a:pt x="1402" y="271"/>
                        <a:pt x="1402" y="271"/>
                        <a:pt x="1402" y="271"/>
                      </a:cubicBezTo>
                      <a:cubicBezTo>
                        <a:pt x="1388" y="285"/>
                        <a:pt x="1388" y="285"/>
                        <a:pt x="1388" y="285"/>
                      </a:cubicBezTo>
                      <a:cubicBezTo>
                        <a:pt x="1361" y="253"/>
                        <a:pt x="1361" y="253"/>
                        <a:pt x="1361" y="253"/>
                      </a:cubicBezTo>
                      <a:cubicBezTo>
                        <a:pt x="1356" y="294"/>
                        <a:pt x="1356" y="294"/>
                        <a:pt x="1356" y="294"/>
                      </a:cubicBezTo>
                      <a:cubicBezTo>
                        <a:pt x="1356" y="294"/>
                        <a:pt x="1342" y="279"/>
                        <a:pt x="1340" y="279"/>
                      </a:cubicBezTo>
                      <a:cubicBezTo>
                        <a:pt x="1339" y="279"/>
                        <a:pt x="1328" y="296"/>
                        <a:pt x="1328" y="296"/>
                      </a:cubicBezTo>
                      <a:cubicBezTo>
                        <a:pt x="1314" y="290"/>
                        <a:pt x="1314" y="290"/>
                        <a:pt x="1314" y="290"/>
                      </a:cubicBezTo>
                      <a:cubicBezTo>
                        <a:pt x="1296" y="315"/>
                        <a:pt x="1296" y="315"/>
                        <a:pt x="1296" y="315"/>
                      </a:cubicBezTo>
                      <a:cubicBezTo>
                        <a:pt x="1296" y="315"/>
                        <a:pt x="1302" y="334"/>
                        <a:pt x="1311" y="339"/>
                      </a:cubicBezTo>
                      <a:cubicBezTo>
                        <a:pt x="1319" y="343"/>
                        <a:pt x="1325" y="351"/>
                        <a:pt x="1325" y="351"/>
                      </a:cubicBezTo>
                      <a:cubicBezTo>
                        <a:pt x="1321" y="362"/>
                        <a:pt x="1321" y="362"/>
                        <a:pt x="1321" y="362"/>
                      </a:cubicBezTo>
                      <a:cubicBezTo>
                        <a:pt x="1321" y="362"/>
                        <a:pt x="1308" y="367"/>
                        <a:pt x="1299" y="361"/>
                      </a:cubicBezTo>
                      <a:cubicBezTo>
                        <a:pt x="1291" y="354"/>
                        <a:pt x="1283" y="347"/>
                        <a:pt x="1281" y="347"/>
                      </a:cubicBezTo>
                      <a:cubicBezTo>
                        <a:pt x="1279" y="347"/>
                        <a:pt x="1276" y="370"/>
                        <a:pt x="1276" y="370"/>
                      </a:cubicBezTo>
                      <a:cubicBezTo>
                        <a:pt x="1293" y="390"/>
                        <a:pt x="1293" y="390"/>
                        <a:pt x="1293" y="390"/>
                      </a:cubicBezTo>
                      <a:cubicBezTo>
                        <a:pt x="1302" y="412"/>
                        <a:pt x="1302" y="412"/>
                        <a:pt x="1302" y="412"/>
                      </a:cubicBezTo>
                      <a:cubicBezTo>
                        <a:pt x="1285" y="406"/>
                        <a:pt x="1285" y="406"/>
                        <a:pt x="1285" y="406"/>
                      </a:cubicBezTo>
                      <a:cubicBezTo>
                        <a:pt x="1261" y="378"/>
                        <a:pt x="1261" y="378"/>
                        <a:pt x="1261" y="378"/>
                      </a:cubicBezTo>
                      <a:cubicBezTo>
                        <a:pt x="1261" y="378"/>
                        <a:pt x="1245" y="395"/>
                        <a:pt x="1237" y="404"/>
                      </a:cubicBezTo>
                      <a:cubicBezTo>
                        <a:pt x="1228" y="414"/>
                        <a:pt x="1215" y="406"/>
                        <a:pt x="1212" y="418"/>
                      </a:cubicBezTo>
                      <a:cubicBezTo>
                        <a:pt x="1208" y="430"/>
                        <a:pt x="1210" y="472"/>
                        <a:pt x="1221" y="471"/>
                      </a:cubicBezTo>
                      <a:cubicBezTo>
                        <a:pt x="1231" y="471"/>
                        <a:pt x="1245" y="453"/>
                        <a:pt x="1245" y="453"/>
                      </a:cubicBezTo>
                      <a:cubicBezTo>
                        <a:pt x="1245" y="453"/>
                        <a:pt x="1242" y="478"/>
                        <a:pt x="1233" y="488"/>
                      </a:cubicBezTo>
                      <a:cubicBezTo>
                        <a:pt x="1224" y="498"/>
                        <a:pt x="1213" y="491"/>
                        <a:pt x="1212" y="502"/>
                      </a:cubicBezTo>
                      <a:cubicBezTo>
                        <a:pt x="1212" y="512"/>
                        <a:pt x="1213" y="520"/>
                        <a:pt x="1216" y="520"/>
                      </a:cubicBezTo>
                      <a:cubicBezTo>
                        <a:pt x="1218" y="520"/>
                        <a:pt x="1232" y="516"/>
                        <a:pt x="1244" y="519"/>
                      </a:cubicBezTo>
                      <a:cubicBezTo>
                        <a:pt x="1256" y="522"/>
                        <a:pt x="1279" y="532"/>
                        <a:pt x="1279" y="532"/>
                      </a:cubicBezTo>
                      <a:cubicBezTo>
                        <a:pt x="1279" y="532"/>
                        <a:pt x="1214" y="538"/>
                        <a:pt x="1203" y="536"/>
                      </a:cubicBezTo>
                      <a:cubicBezTo>
                        <a:pt x="1193" y="533"/>
                        <a:pt x="1201" y="517"/>
                        <a:pt x="1185" y="517"/>
                      </a:cubicBezTo>
                      <a:cubicBezTo>
                        <a:pt x="1169" y="518"/>
                        <a:pt x="1164" y="518"/>
                        <a:pt x="1161" y="520"/>
                      </a:cubicBezTo>
                      <a:cubicBezTo>
                        <a:pt x="1157" y="521"/>
                        <a:pt x="1165" y="532"/>
                        <a:pt x="1165" y="532"/>
                      </a:cubicBezTo>
                      <a:cubicBezTo>
                        <a:pt x="1147" y="532"/>
                        <a:pt x="1147" y="532"/>
                        <a:pt x="1147" y="532"/>
                      </a:cubicBezTo>
                      <a:cubicBezTo>
                        <a:pt x="1147" y="532"/>
                        <a:pt x="1136" y="504"/>
                        <a:pt x="1132" y="504"/>
                      </a:cubicBezTo>
                      <a:cubicBezTo>
                        <a:pt x="1127" y="504"/>
                        <a:pt x="1111" y="508"/>
                        <a:pt x="1113" y="516"/>
                      </a:cubicBezTo>
                      <a:cubicBezTo>
                        <a:pt x="1115" y="525"/>
                        <a:pt x="1135" y="532"/>
                        <a:pt x="1130" y="535"/>
                      </a:cubicBezTo>
                      <a:cubicBezTo>
                        <a:pt x="1126" y="538"/>
                        <a:pt x="1114" y="560"/>
                        <a:pt x="1115" y="563"/>
                      </a:cubicBezTo>
                      <a:cubicBezTo>
                        <a:pt x="1115" y="566"/>
                        <a:pt x="1134" y="599"/>
                        <a:pt x="1144" y="598"/>
                      </a:cubicBezTo>
                      <a:cubicBezTo>
                        <a:pt x="1153" y="598"/>
                        <a:pt x="1163" y="590"/>
                        <a:pt x="1163" y="590"/>
                      </a:cubicBezTo>
                      <a:cubicBezTo>
                        <a:pt x="1154" y="608"/>
                        <a:pt x="1154" y="608"/>
                        <a:pt x="1154" y="608"/>
                      </a:cubicBezTo>
                      <a:cubicBezTo>
                        <a:pt x="1166" y="639"/>
                        <a:pt x="1166" y="639"/>
                        <a:pt x="1166" y="639"/>
                      </a:cubicBezTo>
                      <a:cubicBezTo>
                        <a:pt x="1125" y="614"/>
                        <a:pt x="1125" y="614"/>
                        <a:pt x="1125" y="614"/>
                      </a:cubicBezTo>
                      <a:cubicBezTo>
                        <a:pt x="1125" y="614"/>
                        <a:pt x="1114" y="626"/>
                        <a:pt x="1125" y="642"/>
                      </a:cubicBezTo>
                      <a:cubicBezTo>
                        <a:pt x="1135" y="658"/>
                        <a:pt x="1124" y="687"/>
                        <a:pt x="1124" y="687"/>
                      </a:cubicBezTo>
                      <a:cubicBezTo>
                        <a:pt x="1044" y="571"/>
                        <a:pt x="1044" y="571"/>
                        <a:pt x="1044" y="571"/>
                      </a:cubicBezTo>
                      <a:cubicBezTo>
                        <a:pt x="1044" y="571"/>
                        <a:pt x="1044" y="556"/>
                        <a:pt x="1048" y="554"/>
                      </a:cubicBezTo>
                      <a:cubicBezTo>
                        <a:pt x="1051" y="551"/>
                        <a:pt x="1046" y="540"/>
                        <a:pt x="1044" y="540"/>
                      </a:cubicBezTo>
                      <a:cubicBezTo>
                        <a:pt x="1042" y="540"/>
                        <a:pt x="1037" y="560"/>
                        <a:pt x="1028" y="565"/>
                      </a:cubicBezTo>
                      <a:cubicBezTo>
                        <a:pt x="1019" y="571"/>
                        <a:pt x="1012" y="580"/>
                        <a:pt x="1012" y="582"/>
                      </a:cubicBezTo>
                      <a:cubicBezTo>
                        <a:pt x="1012" y="585"/>
                        <a:pt x="1023" y="596"/>
                        <a:pt x="1021" y="596"/>
                      </a:cubicBezTo>
                      <a:cubicBezTo>
                        <a:pt x="1020" y="596"/>
                        <a:pt x="1005" y="591"/>
                        <a:pt x="998" y="600"/>
                      </a:cubicBezTo>
                      <a:cubicBezTo>
                        <a:pt x="992" y="610"/>
                        <a:pt x="995" y="620"/>
                        <a:pt x="995" y="620"/>
                      </a:cubicBezTo>
                      <a:cubicBezTo>
                        <a:pt x="995" y="620"/>
                        <a:pt x="961" y="623"/>
                        <a:pt x="954" y="657"/>
                      </a:cubicBezTo>
                      <a:cubicBezTo>
                        <a:pt x="947" y="692"/>
                        <a:pt x="961" y="733"/>
                        <a:pt x="961" y="733"/>
                      </a:cubicBezTo>
                      <a:cubicBezTo>
                        <a:pt x="961" y="733"/>
                        <a:pt x="983" y="755"/>
                        <a:pt x="983" y="761"/>
                      </a:cubicBezTo>
                      <a:cubicBezTo>
                        <a:pt x="983" y="766"/>
                        <a:pt x="969" y="775"/>
                        <a:pt x="963" y="783"/>
                      </a:cubicBezTo>
                      <a:cubicBezTo>
                        <a:pt x="957" y="791"/>
                        <a:pt x="951" y="810"/>
                        <a:pt x="951" y="810"/>
                      </a:cubicBezTo>
                      <a:cubicBezTo>
                        <a:pt x="951" y="810"/>
                        <a:pt x="932" y="810"/>
                        <a:pt x="922" y="822"/>
                      </a:cubicBezTo>
                      <a:cubicBezTo>
                        <a:pt x="913" y="834"/>
                        <a:pt x="916" y="853"/>
                        <a:pt x="914" y="853"/>
                      </a:cubicBezTo>
                      <a:cubicBezTo>
                        <a:pt x="913" y="853"/>
                        <a:pt x="899" y="854"/>
                        <a:pt x="899" y="854"/>
                      </a:cubicBezTo>
                      <a:cubicBezTo>
                        <a:pt x="899" y="854"/>
                        <a:pt x="889" y="922"/>
                        <a:pt x="875" y="937"/>
                      </a:cubicBezTo>
                      <a:cubicBezTo>
                        <a:pt x="861" y="952"/>
                        <a:pt x="807" y="992"/>
                        <a:pt x="785" y="1007"/>
                      </a:cubicBezTo>
                      <a:cubicBezTo>
                        <a:pt x="763" y="1021"/>
                        <a:pt x="699" y="1036"/>
                        <a:pt x="697" y="1036"/>
                      </a:cubicBezTo>
                      <a:cubicBezTo>
                        <a:pt x="696" y="1037"/>
                        <a:pt x="675" y="1055"/>
                        <a:pt x="672" y="1053"/>
                      </a:cubicBezTo>
                      <a:cubicBezTo>
                        <a:pt x="670" y="1052"/>
                        <a:pt x="656" y="1043"/>
                        <a:pt x="646" y="1043"/>
                      </a:cubicBezTo>
                      <a:cubicBezTo>
                        <a:pt x="635" y="1043"/>
                        <a:pt x="628" y="1035"/>
                        <a:pt x="629" y="1033"/>
                      </a:cubicBezTo>
                      <a:cubicBezTo>
                        <a:pt x="630" y="1031"/>
                        <a:pt x="655" y="1027"/>
                        <a:pt x="655" y="1027"/>
                      </a:cubicBezTo>
                      <a:cubicBezTo>
                        <a:pt x="655" y="1027"/>
                        <a:pt x="628" y="1024"/>
                        <a:pt x="623" y="1032"/>
                      </a:cubicBezTo>
                      <a:cubicBezTo>
                        <a:pt x="618" y="1040"/>
                        <a:pt x="607" y="1058"/>
                        <a:pt x="604" y="1058"/>
                      </a:cubicBezTo>
                      <a:cubicBezTo>
                        <a:pt x="601" y="1058"/>
                        <a:pt x="600" y="1089"/>
                        <a:pt x="581" y="1092"/>
                      </a:cubicBezTo>
                      <a:cubicBezTo>
                        <a:pt x="562" y="1094"/>
                        <a:pt x="547" y="1098"/>
                        <a:pt x="547" y="1098"/>
                      </a:cubicBezTo>
                      <a:cubicBezTo>
                        <a:pt x="547" y="1098"/>
                        <a:pt x="534" y="1111"/>
                        <a:pt x="531" y="1111"/>
                      </a:cubicBezTo>
                      <a:cubicBezTo>
                        <a:pt x="528" y="1111"/>
                        <a:pt x="508" y="1109"/>
                        <a:pt x="508" y="1109"/>
                      </a:cubicBezTo>
                      <a:cubicBezTo>
                        <a:pt x="508" y="1109"/>
                        <a:pt x="480" y="1146"/>
                        <a:pt x="466" y="1152"/>
                      </a:cubicBezTo>
                      <a:cubicBezTo>
                        <a:pt x="452" y="1158"/>
                        <a:pt x="430" y="1168"/>
                        <a:pt x="430" y="1168"/>
                      </a:cubicBezTo>
                      <a:cubicBezTo>
                        <a:pt x="430" y="1168"/>
                        <a:pt x="414" y="1169"/>
                        <a:pt x="407" y="1168"/>
                      </a:cubicBezTo>
                      <a:cubicBezTo>
                        <a:pt x="400" y="1166"/>
                        <a:pt x="402" y="1153"/>
                        <a:pt x="390" y="1156"/>
                      </a:cubicBezTo>
                      <a:cubicBezTo>
                        <a:pt x="378" y="1159"/>
                        <a:pt x="362" y="1177"/>
                        <a:pt x="361" y="1172"/>
                      </a:cubicBezTo>
                      <a:cubicBezTo>
                        <a:pt x="359" y="1167"/>
                        <a:pt x="354" y="1147"/>
                        <a:pt x="359" y="1142"/>
                      </a:cubicBezTo>
                      <a:cubicBezTo>
                        <a:pt x="364" y="1136"/>
                        <a:pt x="355" y="1128"/>
                        <a:pt x="355" y="1128"/>
                      </a:cubicBezTo>
                      <a:cubicBezTo>
                        <a:pt x="355" y="1128"/>
                        <a:pt x="354" y="1148"/>
                        <a:pt x="346" y="1155"/>
                      </a:cubicBezTo>
                      <a:cubicBezTo>
                        <a:pt x="338" y="1161"/>
                        <a:pt x="312" y="1164"/>
                        <a:pt x="314" y="1164"/>
                      </a:cubicBezTo>
                      <a:cubicBezTo>
                        <a:pt x="316" y="1164"/>
                        <a:pt x="340" y="1169"/>
                        <a:pt x="331" y="1177"/>
                      </a:cubicBezTo>
                      <a:cubicBezTo>
                        <a:pt x="321" y="1184"/>
                        <a:pt x="309" y="1191"/>
                        <a:pt x="303" y="1194"/>
                      </a:cubicBezTo>
                      <a:cubicBezTo>
                        <a:pt x="297" y="1197"/>
                        <a:pt x="287" y="1204"/>
                        <a:pt x="286" y="1205"/>
                      </a:cubicBezTo>
                      <a:cubicBezTo>
                        <a:pt x="286" y="1207"/>
                        <a:pt x="269" y="1227"/>
                        <a:pt x="258" y="1233"/>
                      </a:cubicBezTo>
                      <a:cubicBezTo>
                        <a:pt x="247" y="1239"/>
                        <a:pt x="229" y="1267"/>
                        <a:pt x="225" y="1270"/>
                      </a:cubicBezTo>
                      <a:cubicBezTo>
                        <a:pt x="221" y="1272"/>
                        <a:pt x="210" y="1294"/>
                        <a:pt x="207" y="1297"/>
                      </a:cubicBezTo>
                      <a:cubicBezTo>
                        <a:pt x="203" y="1299"/>
                        <a:pt x="157" y="1326"/>
                        <a:pt x="140" y="1340"/>
                      </a:cubicBezTo>
                      <a:cubicBezTo>
                        <a:pt x="124" y="1354"/>
                        <a:pt x="107" y="1382"/>
                        <a:pt x="107" y="1391"/>
                      </a:cubicBezTo>
                      <a:cubicBezTo>
                        <a:pt x="107" y="1401"/>
                        <a:pt x="101" y="1438"/>
                        <a:pt x="101" y="1438"/>
                      </a:cubicBezTo>
                      <a:cubicBezTo>
                        <a:pt x="101" y="1438"/>
                        <a:pt x="86" y="1444"/>
                        <a:pt x="81" y="1445"/>
                      </a:cubicBezTo>
                      <a:cubicBezTo>
                        <a:pt x="76" y="1446"/>
                        <a:pt x="76" y="1434"/>
                        <a:pt x="73" y="1427"/>
                      </a:cubicBezTo>
                      <a:cubicBezTo>
                        <a:pt x="69" y="1420"/>
                        <a:pt x="64" y="1409"/>
                        <a:pt x="64" y="1405"/>
                      </a:cubicBezTo>
                      <a:cubicBezTo>
                        <a:pt x="64" y="1401"/>
                        <a:pt x="65" y="1356"/>
                        <a:pt x="65" y="1356"/>
                      </a:cubicBezTo>
                      <a:cubicBezTo>
                        <a:pt x="65" y="1356"/>
                        <a:pt x="64" y="1341"/>
                        <a:pt x="46" y="1366"/>
                      </a:cubicBezTo>
                      <a:cubicBezTo>
                        <a:pt x="29" y="1392"/>
                        <a:pt x="37" y="1429"/>
                        <a:pt x="37" y="1429"/>
                      </a:cubicBezTo>
                      <a:cubicBezTo>
                        <a:pt x="37" y="1429"/>
                        <a:pt x="12" y="1451"/>
                        <a:pt x="20" y="1466"/>
                      </a:cubicBezTo>
                      <a:cubicBezTo>
                        <a:pt x="28" y="1481"/>
                        <a:pt x="47" y="1506"/>
                        <a:pt x="47" y="1506"/>
                      </a:cubicBezTo>
                      <a:cubicBezTo>
                        <a:pt x="44" y="1532"/>
                        <a:pt x="44" y="1532"/>
                        <a:pt x="44" y="1532"/>
                      </a:cubicBezTo>
                      <a:cubicBezTo>
                        <a:pt x="44" y="1532"/>
                        <a:pt x="56" y="1548"/>
                        <a:pt x="54" y="1562"/>
                      </a:cubicBezTo>
                      <a:cubicBezTo>
                        <a:pt x="52" y="1576"/>
                        <a:pt x="31" y="1605"/>
                        <a:pt x="29" y="1614"/>
                      </a:cubicBezTo>
                      <a:cubicBezTo>
                        <a:pt x="26" y="1622"/>
                        <a:pt x="25" y="1698"/>
                        <a:pt x="25" y="1698"/>
                      </a:cubicBezTo>
                      <a:cubicBezTo>
                        <a:pt x="25" y="1698"/>
                        <a:pt x="64" y="1737"/>
                        <a:pt x="65" y="1746"/>
                      </a:cubicBezTo>
                      <a:cubicBezTo>
                        <a:pt x="66" y="1755"/>
                        <a:pt x="66" y="1767"/>
                        <a:pt x="69" y="1770"/>
                      </a:cubicBezTo>
                      <a:cubicBezTo>
                        <a:pt x="72" y="1773"/>
                        <a:pt x="89" y="1791"/>
                        <a:pt x="89" y="1791"/>
                      </a:cubicBezTo>
                      <a:cubicBezTo>
                        <a:pt x="99" y="1786"/>
                        <a:pt x="99" y="1786"/>
                        <a:pt x="99" y="1786"/>
                      </a:cubicBezTo>
                      <a:cubicBezTo>
                        <a:pt x="109" y="1804"/>
                        <a:pt x="109" y="1804"/>
                        <a:pt x="109" y="1804"/>
                      </a:cubicBezTo>
                      <a:cubicBezTo>
                        <a:pt x="108" y="1818"/>
                        <a:pt x="108" y="1818"/>
                        <a:pt x="108" y="1818"/>
                      </a:cubicBezTo>
                      <a:cubicBezTo>
                        <a:pt x="108" y="1818"/>
                        <a:pt x="162" y="1857"/>
                        <a:pt x="160" y="1866"/>
                      </a:cubicBezTo>
                      <a:cubicBezTo>
                        <a:pt x="158" y="1875"/>
                        <a:pt x="148" y="1882"/>
                        <a:pt x="148" y="1882"/>
                      </a:cubicBezTo>
                      <a:cubicBezTo>
                        <a:pt x="148" y="1882"/>
                        <a:pt x="154" y="1897"/>
                        <a:pt x="152" y="1903"/>
                      </a:cubicBezTo>
                      <a:cubicBezTo>
                        <a:pt x="150" y="1910"/>
                        <a:pt x="162" y="1919"/>
                        <a:pt x="162" y="1919"/>
                      </a:cubicBezTo>
                      <a:cubicBezTo>
                        <a:pt x="162" y="1919"/>
                        <a:pt x="148" y="1940"/>
                        <a:pt x="148" y="1938"/>
                      </a:cubicBezTo>
                      <a:cubicBezTo>
                        <a:pt x="148" y="1937"/>
                        <a:pt x="120" y="1897"/>
                        <a:pt x="118" y="1892"/>
                      </a:cubicBezTo>
                      <a:cubicBezTo>
                        <a:pt x="115" y="1887"/>
                        <a:pt x="107" y="1913"/>
                        <a:pt x="107" y="1913"/>
                      </a:cubicBezTo>
                      <a:cubicBezTo>
                        <a:pt x="120" y="1928"/>
                        <a:pt x="120" y="1928"/>
                        <a:pt x="120" y="1928"/>
                      </a:cubicBezTo>
                      <a:cubicBezTo>
                        <a:pt x="120" y="1928"/>
                        <a:pt x="129" y="1953"/>
                        <a:pt x="118" y="1959"/>
                      </a:cubicBezTo>
                      <a:cubicBezTo>
                        <a:pt x="107" y="1964"/>
                        <a:pt x="97" y="1966"/>
                        <a:pt x="97" y="1971"/>
                      </a:cubicBezTo>
                      <a:cubicBezTo>
                        <a:pt x="97" y="1976"/>
                        <a:pt x="95" y="1976"/>
                        <a:pt x="95" y="1976"/>
                      </a:cubicBezTo>
                      <a:cubicBezTo>
                        <a:pt x="95" y="1976"/>
                        <a:pt x="172" y="2057"/>
                        <a:pt x="175" y="2082"/>
                      </a:cubicBezTo>
                      <a:cubicBezTo>
                        <a:pt x="178" y="2107"/>
                        <a:pt x="174" y="2129"/>
                        <a:pt x="180" y="2134"/>
                      </a:cubicBezTo>
                      <a:cubicBezTo>
                        <a:pt x="186" y="2140"/>
                        <a:pt x="244" y="2185"/>
                        <a:pt x="250" y="2201"/>
                      </a:cubicBezTo>
                      <a:cubicBezTo>
                        <a:pt x="255" y="2217"/>
                        <a:pt x="245" y="2223"/>
                        <a:pt x="255" y="2233"/>
                      </a:cubicBezTo>
                      <a:cubicBezTo>
                        <a:pt x="266" y="2243"/>
                        <a:pt x="297" y="2275"/>
                        <a:pt x="299" y="2289"/>
                      </a:cubicBezTo>
                      <a:cubicBezTo>
                        <a:pt x="301" y="2303"/>
                        <a:pt x="315" y="2402"/>
                        <a:pt x="331" y="2430"/>
                      </a:cubicBezTo>
                      <a:cubicBezTo>
                        <a:pt x="347" y="2457"/>
                        <a:pt x="428" y="2575"/>
                        <a:pt x="428" y="2585"/>
                      </a:cubicBezTo>
                      <a:cubicBezTo>
                        <a:pt x="429" y="2595"/>
                        <a:pt x="435" y="2622"/>
                        <a:pt x="435" y="2622"/>
                      </a:cubicBezTo>
                      <a:cubicBezTo>
                        <a:pt x="435" y="2622"/>
                        <a:pt x="422" y="2627"/>
                        <a:pt x="423" y="2628"/>
                      </a:cubicBezTo>
                      <a:cubicBezTo>
                        <a:pt x="425" y="2629"/>
                        <a:pt x="443" y="2659"/>
                        <a:pt x="443" y="2659"/>
                      </a:cubicBezTo>
                      <a:cubicBezTo>
                        <a:pt x="433" y="2683"/>
                        <a:pt x="433" y="2683"/>
                        <a:pt x="433" y="2683"/>
                      </a:cubicBezTo>
                      <a:cubicBezTo>
                        <a:pt x="446" y="2698"/>
                        <a:pt x="446" y="2698"/>
                        <a:pt x="446" y="2698"/>
                      </a:cubicBezTo>
                      <a:cubicBezTo>
                        <a:pt x="434" y="2705"/>
                        <a:pt x="434" y="2705"/>
                        <a:pt x="434" y="2705"/>
                      </a:cubicBezTo>
                      <a:cubicBezTo>
                        <a:pt x="434" y="2705"/>
                        <a:pt x="445" y="2727"/>
                        <a:pt x="448" y="2736"/>
                      </a:cubicBezTo>
                      <a:cubicBezTo>
                        <a:pt x="451" y="2745"/>
                        <a:pt x="455" y="2779"/>
                        <a:pt x="439" y="2796"/>
                      </a:cubicBezTo>
                      <a:cubicBezTo>
                        <a:pt x="424" y="2812"/>
                        <a:pt x="417" y="2823"/>
                        <a:pt x="409" y="2819"/>
                      </a:cubicBezTo>
                      <a:cubicBezTo>
                        <a:pt x="400" y="2816"/>
                        <a:pt x="387" y="2802"/>
                        <a:pt x="387" y="2802"/>
                      </a:cubicBezTo>
                      <a:cubicBezTo>
                        <a:pt x="383" y="2825"/>
                        <a:pt x="383" y="2825"/>
                        <a:pt x="383" y="2825"/>
                      </a:cubicBezTo>
                      <a:cubicBezTo>
                        <a:pt x="383" y="2825"/>
                        <a:pt x="390" y="2908"/>
                        <a:pt x="405" y="2906"/>
                      </a:cubicBezTo>
                      <a:cubicBezTo>
                        <a:pt x="419" y="2905"/>
                        <a:pt x="410" y="2888"/>
                        <a:pt x="428" y="2896"/>
                      </a:cubicBezTo>
                      <a:cubicBezTo>
                        <a:pt x="447" y="2905"/>
                        <a:pt x="514" y="2955"/>
                        <a:pt x="514" y="2955"/>
                      </a:cubicBezTo>
                      <a:cubicBezTo>
                        <a:pt x="514" y="2955"/>
                        <a:pt x="537" y="2950"/>
                        <a:pt x="548" y="2954"/>
                      </a:cubicBezTo>
                      <a:cubicBezTo>
                        <a:pt x="559" y="2958"/>
                        <a:pt x="557" y="2966"/>
                        <a:pt x="576" y="2966"/>
                      </a:cubicBezTo>
                      <a:cubicBezTo>
                        <a:pt x="596" y="2966"/>
                        <a:pt x="619" y="2966"/>
                        <a:pt x="621" y="2965"/>
                      </a:cubicBezTo>
                      <a:cubicBezTo>
                        <a:pt x="623" y="2965"/>
                        <a:pt x="646" y="2957"/>
                        <a:pt x="655" y="2959"/>
                      </a:cubicBezTo>
                      <a:cubicBezTo>
                        <a:pt x="664" y="2960"/>
                        <a:pt x="680" y="2969"/>
                        <a:pt x="685" y="2967"/>
                      </a:cubicBezTo>
                      <a:cubicBezTo>
                        <a:pt x="690" y="2966"/>
                        <a:pt x="693" y="2954"/>
                        <a:pt x="712" y="2952"/>
                      </a:cubicBezTo>
                      <a:cubicBezTo>
                        <a:pt x="732" y="2950"/>
                        <a:pt x="737" y="2954"/>
                        <a:pt x="740" y="2950"/>
                      </a:cubicBezTo>
                      <a:cubicBezTo>
                        <a:pt x="742" y="2946"/>
                        <a:pt x="759" y="2934"/>
                        <a:pt x="763" y="2929"/>
                      </a:cubicBezTo>
                      <a:cubicBezTo>
                        <a:pt x="766" y="2925"/>
                        <a:pt x="767" y="2909"/>
                        <a:pt x="767" y="2909"/>
                      </a:cubicBezTo>
                      <a:cubicBezTo>
                        <a:pt x="767" y="2909"/>
                        <a:pt x="774" y="2911"/>
                        <a:pt x="786" y="2896"/>
                      </a:cubicBezTo>
                      <a:cubicBezTo>
                        <a:pt x="798" y="2881"/>
                        <a:pt x="785" y="2874"/>
                        <a:pt x="810" y="2867"/>
                      </a:cubicBezTo>
                      <a:cubicBezTo>
                        <a:pt x="835" y="2861"/>
                        <a:pt x="845" y="2872"/>
                        <a:pt x="849" y="2869"/>
                      </a:cubicBezTo>
                      <a:cubicBezTo>
                        <a:pt x="852" y="2866"/>
                        <a:pt x="869" y="2853"/>
                        <a:pt x="869" y="2851"/>
                      </a:cubicBezTo>
                      <a:cubicBezTo>
                        <a:pt x="869" y="2850"/>
                        <a:pt x="859" y="2843"/>
                        <a:pt x="870" y="2828"/>
                      </a:cubicBezTo>
                      <a:cubicBezTo>
                        <a:pt x="882" y="2814"/>
                        <a:pt x="910" y="2790"/>
                        <a:pt x="910" y="2790"/>
                      </a:cubicBezTo>
                      <a:cubicBezTo>
                        <a:pt x="910" y="2790"/>
                        <a:pt x="967" y="2791"/>
                        <a:pt x="968" y="2789"/>
                      </a:cubicBezTo>
                      <a:cubicBezTo>
                        <a:pt x="969" y="2786"/>
                        <a:pt x="999" y="2767"/>
                        <a:pt x="1014" y="2767"/>
                      </a:cubicBezTo>
                      <a:cubicBezTo>
                        <a:pt x="1029" y="2767"/>
                        <a:pt x="1060" y="2757"/>
                        <a:pt x="1071" y="2756"/>
                      </a:cubicBezTo>
                      <a:cubicBezTo>
                        <a:pt x="1083" y="2755"/>
                        <a:pt x="1084" y="2764"/>
                        <a:pt x="1098" y="2764"/>
                      </a:cubicBezTo>
                      <a:cubicBezTo>
                        <a:pt x="1112" y="2763"/>
                        <a:pt x="1133" y="2760"/>
                        <a:pt x="1133" y="2760"/>
                      </a:cubicBezTo>
                      <a:cubicBezTo>
                        <a:pt x="1133" y="2760"/>
                        <a:pt x="1138" y="2773"/>
                        <a:pt x="1146" y="2773"/>
                      </a:cubicBezTo>
                      <a:cubicBezTo>
                        <a:pt x="1155" y="2773"/>
                        <a:pt x="1151" y="2763"/>
                        <a:pt x="1168" y="2763"/>
                      </a:cubicBezTo>
                      <a:cubicBezTo>
                        <a:pt x="1185" y="2762"/>
                        <a:pt x="1220" y="2753"/>
                        <a:pt x="1220" y="2753"/>
                      </a:cubicBezTo>
                      <a:cubicBezTo>
                        <a:pt x="1239" y="2746"/>
                        <a:pt x="1239" y="2746"/>
                        <a:pt x="1239" y="2746"/>
                      </a:cubicBezTo>
                      <a:cubicBezTo>
                        <a:pt x="1239" y="2746"/>
                        <a:pt x="1257" y="2778"/>
                        <a:pt x="1258" y="2776"/>
                      </a:cubicBezTo>
                      <a:cubicBezTo>
                        <a:pt x="1258" y="2774"/>
                        <a:pt x="1273" y="2758"/>
                        <a:pt x="1273" y="2757"/>
                      </a:cubicBezTo>
                      <a:cubicBezTo>
                        <a:pt x="1273" y="2755"/>
                        <a:pt x="1299" y="2750"/>
                        <a:pt x="1299" y="2750"/>
                      </a:cubicBezTo>
                      <a:cubicBezTo>
                        <a:pt x="1330" y="2701"/>
                        <a:pt x="1330" y="2701"/>
                        <a:pt x="1330" y="2701"/>
                      </a:cubicBezTo>
                      <a:cubicBezTo>
                        <a:pt x="1330" y="2701"/>
                        <a:pt x="1338" y="2636"/>
                        <a:pt x="1358" y="2627"/>
                      </a:cubicBezTo>
                      <a:cubicBezTo>
                        <a:pt x="1377" y="2618"/>
                        <a:pt x="1393" y="2625"/>
                        <a:pt x="1413" y="2610"/>
                      </a:cubicBezTo>
                      <a:cubicBezTo>
                        <a:pt x="1433" y="2595"/>
                        <a:pt x="1450" y="2573"/>
                        <a:pt x="1463" y="2571"/>
                      </a:cubicBezTo>
                      <a:cubicBezTo>
                        <a:pt x="1475" y="2568"/>
                        <a:pt x="1483" y="2567"/>
                        <a:pt x="1486" y="2564"/>
                      </a:cubicBezTo>
                      <a:cubicBezTo>
                        <a:pt x="1489" y="2561"/>
                        <a:pt x="1531" y="2525"/>
                        <a:pt x="1531" y="2525"/>
                      </a:cubicBezTo>
                      <a:cubicBezTo>
                        <a:pt x="1563" y="2520"/>
                        <a:pt x="1563" y="2520"/>
                        <a:pt x="1563" y="2520"/>
                      </a:cubicBezTo>
                      <a:cubicBezTo>
                        <a:pt x="1580" y="2523"/>
                        <a:pt x="1580" y="2523"/>
                        <a:pt x="1580" y="2523"/>
                      </a:cubicBezTo>
                      <a:cubicBezTo>
                        <a:pt x="1580" y="2523"/>
                        <a:pt x="1669" y="2528"/>
                        <a:pt x="1680" y="2520"/>
                      </a:cubicBezTo>
                      <a:cubicBezTo>
                        <a:pt x="1690" y="2512"/>
                        <a:pt x="1728" y="2494"/>
                        <a:pt x="1738" y="2491"/>
                      </a:cubicBezTo>
                      <a:cubicBezTo>
                        <a:pt x="1749" y="2489"/>
                        <a:pt x="1762" y="2490"/>
                        <a:pt x="1774" y="2482"/>
                      </a:cubicBezTo>
                      <a:cubicBezTo>
                        <a:pt x="1786" y="2474"/>
                        <a:pt x="1834" y="2435"/>
                        <a:pt x="1854" y="2431"/>
                      </a:cubicBezTo>
                      <a:lnTo>
                        <a:pt x="1769" y="300"/>
                      </a:lnTo>
                      <a:close/>
                      <a:moveTo>
                        <a:pt x="153" y="2242"/>
                      </a:moveTo>
                      <a:cubicBezTo>
                        <a:pt x="170" y="2229"/>
                        <a:pt x="170" y="2229"/>
                        <a:pt x="170" y="2229"/>
                      </a:cubicBezTo>
                      <a:cubicBezTo>
                        <a:pt x="160" y="2213"/>
                        <a:pt x="160" y="2213"/>
                        <a:pt x="160" y="2213"/>
                      </a:cubicBezTo>
                      <a:lnTo>
                        <a:pt x="153" y="2242"/>
                      </a:lnTo>
                      <a:close/>
                      <a:moveTo>
                        <a:pt x="1400" y="159"/>
                      </a:moveTo>
                      <a:cubicBezTo>
                        <a:pt x="1400" y="150"/>
                        <a:pt x="1393" y="139"/>
                        <a:pt x="1382" y="150"/>
                      </a:cubicBezTo>
                      <a:cubicBezTo>
                        <a:pt x="1382" y="150"/>
                        <a:pt x="1400" y="169"/>
                        <a:pt x="1400" y="159"/>
                      </a:cubicBezTo>
                      <a:close/>
                      <a:moveTo>
                        <a:pt x="1371" y="199"/>
                      </a:moveTo>
                      <a:cubicBezTo>
                        <a:pt x="1371" y="187"/>
                        <a:pt x="1371" y="187"/>
                        <a:pt x="1371" y="187"/>
                      </a:cubicBezTo>
                      <a:cubicBezTo>
                        <a:pt x="1354" y="199"/>
                        <a:pt x="1354" y="199"/>
                        <a:pt x="1354" y="199"/>
                      </a:cubicBezTo>
                      <a:cubicBezTo>
                        <a:pt x="1376" y="211"/>
                        <a:pt x="1376" y="211"/>
                        <a:pt x="1376" y="211"/>
                      </a:cubicBezTo>
                      <a:lnTo>
                        <a:pt x="1371" y="199"/>
                      </a:lnTo>
                      <a:close/>
                      <a:moveTo>
                        <a:pt x="1264" y="350"/>
                      </a:moveTo>
                      <a:cubicBezTo>
                        <a:pt x="1278" y="347"/>
                        <a:pt x="1263" y="336"/>
                        <a:pt x="1260" y="343"/>
                      </a:cubicBezTo>
                      <a:cubicBezTo>
                        <a:pt x="1260" y="343"/>
                        <a:pt x="1251" y="352"/>
                        <a:pt x="1264" y="350"/>
                      </a:cubicBezTo>
                      <a:close/>
                      <a:moveTo>
                        <a:pt x="1250" y="347"/>
                      </a:moveTo>
                      <a:cubicBezTo>
                        <a:pt x="1254" y="346"/>
                        <a:pt x="1245" y="328"/>
                        <a:pt x="1239" y="335"/>
                      </a:cubicBezTo>
                      <a:cubicBezTo>
                        <a:pt x="1239" y="335"/>
                        <a:pt x="1246" y="348"/>
                        <a:pt x="1250" y="347"/>
                      </a:cubicBezTo>
                      <a:close/>
                      <a:moveTo>
                        <a:pt x="1401" y="219"/>
                      </a:moveTo>
                      <a:cubicBezTo>
                        <a:pt x="1420" y="219"/>
                        <a:pt x="1420" y="219"/>
                        <a:pt x="1420" y="219"/>
                      </a:cubicBezTo>
                      <a:cubicBezTo>
                        <a:pt x="1421" y="202"/>
                        <a:pt x="1421" y="202"/>
                        <a:pt x="1421" y="202"/>
                      </a:cubicBezTo>
                      <a:cubicBezTo>
                        <a:pt x="1404" y="195"/>
                        <a:pt x="1404" y="195"/>
                        <a:pt x="1404" y="195"/>
                      </a:cubicBezTo>
                      <a:cubicBezTo>
                        <a:pt x="1392" y="210"/>
                        <a:pt x="1392" y="210"/>
                        <a:pt x="1392" y="210"/>
                      </a:cubicBezTo>
                      <a:lnTo>
                        <a:pt x="1401" y="219"/>
                      </a:lnTo>
                      <a:close/>
                      <a:moveTo>
                        <a:pt x="1206" y="389"/>
                      </a:moveTo>
                      <a:cubicBezTo>
                        <a:pt x="1206" y="389"/>
                        <a:pt x="1202" y="396"/>
                        <a:pt x="1215" y="396"/>
                      </a:cubicBezTo>
                      <a:cubicBezTo>
                        <a:pt x="1229" y="396"/>
                        <a:pt x="1235" y="388"/>
                        <a:pt x="1235" y="388"/>
                      </a:cubicBezTo>
                      <a:cubicBezTo>
                        <a:pt x="1211" y="377"/>
                        <a:pt x="1211" y="377"/>
                        <a:pt x="1211" y="377"/>
                      </a:cubicBezTo>
                      <a:cubicBezTo>
                        <a:pt x="1195" y="389"/>
                        <a:pt x="1195" y="389"/>
                        <a:pt x="1195" y="389"/>
                      </a:cubicBezTo>
                      <a:cubicBezTo>
                        <a:pt x="1185" y="389"/>
                        <a:pt x="1185" y="389"/>
                        <a:pt x="1185" y="389"/>
                      </a:cubicBezTo>
                      <a:cubicBezTo>
                        <a:pt x="1197" y="401"/>
                        <a:pt x="1197" y="401"/>
                        <a:pt x="1197" y="401"/>
                      </a:cubicBezTo>
                      <a:lnTo>
                        <a:pt x="1206" y="389"/>
                      </a:lnTo>
                      <a:close/>
                      <a:moveTo>
                        <a:pt x="1009" y="0"/>
                      </a:moveTo>
                      <a:cubicBezTo>
                        <a:pt x="986" y="13"/>
                        <a:pt x="986" y="13"/>
                        <a:pt x="986" y="13"/>
                      </a:cubicBezTo>
                      <a:cubicBezTo>
                        <a:pt x="1008" y="18"/>
                        <a:pt x="1008" y="18"/>
                        <a:pt x="1008" y="18"/>
                      </a:cubicBezTo>
                      <a:lnTo>
                        <a:pt x="1009" y="0"/>
                      </a:lnTo>
                      <a:close/>
                      <a:moveTo>
                        <a:pt x="1045" y="433"/>
                      </a:moveTo>
                      <a:cubicBezTo>
                        <a:pt x="1049" y="433"/>
                        <a:pt x="1060" y="445"/>
                        <a:pt x="1060" y="445"/>
                      </a:cubicBezTo>
                      <a:cubicBezTo>
                        <a:pt x="1066" y="425"/>
                        <a:pt x="1066" y="425"/>
                        <a:pt x="1066" y="425"/>
                      </a:cubicBezTo>
                      <a:cubicBezTo>
                        <a:pt x="1054" y="425"/>
                        <a:pt x="1054" y="425"/>
                        <a:pt x="1054" y="425"/>
                      </a:cubicBezTo>
                      <a:cubicBezTo>
                        <a:pt x="1044" y="417"/>
                        <a:pt x="1044" y="417"/>
                        <a:pt x="1044" y="417"/>
                      </a:cubicBezTo>
                      <a:cubicBezTo>
                        <a:pt x="1044" y="417"/>
                        <a:pt x="1041" y="433"/>
                        <a:pt x="1045" y="433"/>
                      </a:cubicBezTo>
                      <a:close/>
                      <a:moveTo>
                        <a:pt x="1078" y="48"/>
                      </a:moveTo>
                      <a:cubicBezTo>
                        <a:pt x="1085" y="42"/>
                        <a:pt x="1066" y="37"/>
                        <a:pt x="1066" y="37"/>
                      </a:cubicBezTo>
                      <a:cubicBezTo>
                        <a:pt x="1062" y="44"/>
                        <a:pt x="1072" y="53"/>
                        <a:pt x="1078" y="48"/>
                      </a:cubicBezTo>
                      <a:close/>
                      <a:moveTo>
                        <a:pt x="1113" y="424"/>
                      </a:moveTo>
                      <a:cubicBezTo>
                        <a:pt x="1113" y="417"/>
                        <a:pt x="1105" y="416"/>
                        <a:pt x="1098" y="416"/>
                      </a:cubicBezTo>
                      <a:cubicBezTo>
                        <a:pt x="1092" y="416"/>
                        <a:pt x="1113" y="431"/>
                        <a:pt x="1113" y="424"/>
                      </a:cubicBezTo>
                      <a:close/>
                    </a:path>
                  </a:pathLst>
                </a:custGeom>
                <a:solidFill>
                  <a:srgbClr val="902017"/>
                </a:solidFill>
                <a:ln w="9525" cap="flat" cmpd="sng">
                  <a:solidFill>
                    <a:schemeClr val="bg1"/>
                  </a:solidFill>
                  <a:prstDash val="solid"/>
                  <a:round/>
                  <a:headEnd type="none" w="med" len="med"/>
                  <a:tailEnd type="none" w="med" len="med"/>
                </a:ln>
                <a:effectLst/>
              </p:spPr>
              <p:txBody>
                <a:bodyPr/>
                <a:lstStyle/>
                <a:p>
                  <a:endParaRPr lang="en-GB"/>
                </a:p>
              </p:txBody>
            </p:sp>
            <p:sp>
              <p:nvSpPr>
                <p:cNvPr id="18451" name="Freeform 19" descr="© INSCALE GmbH, 05.05.2010&#10;http://www.presentationload.com/"/>
                <p:cNvSpPr>
                  <a:spLocks noChangeAspect="1" noEditPoints="1"/>
                </p:cNvSpPr>
                <p:nvPr/>
              </p:nvSpPr>
              <p:spPr bwMode="auto">
                <a:xfrm>
                  <a:off x="3811" y="948"/>
                  <a:ext cx="637" cy="1084"/>
                </a:xfrm>
                <a:custGeom>
                  <a:avLst/>
                  <a:gdLst/>
                  <a:ahLst/>
                  <a:cxnLst>
                    <a:cxn ang="0">
                      <a:pos x="909" y="315"/>
                    </a:cxn>
                    <a:cxn ang="0">
                      <a:pos x="852" y="125"/>
                    </a:cxn>
                    <a:cxn ang="0">
                      <a:pos x="900" y="87"/>
                    </a:cxn>
                    <a:cxn ang="0">
                      <a:pos x="852" y="125"/>
                    </a:cxn>
                    <a:cxn ang="0">
                      <a:pos x="311" y="73"/>
                    </a:cxn>
                    <a:cxn ang="0">
                      <a:pos x="279" y="23"/>
                    </a:cxn>
                    <a:cxn ang="0">
                      <a:pos x="242" y="40"/>
                    </a:cxn>
                    <a:cxn ang="0">
                      <a:pos x="206" y="99"/>
                    </a:cxn>
                    <a:cxn ang="0">
                      <a:pos x="182" y="87"/>
                    </a:cxn>
                    <a:cxn ang="0">
                      <a:pos x="126" y="109"/>
                    </a:cxn>
                    <a:cxn ang="0">
                      <a:pos x="977" y="611"/>
                    </a:cxn>
                    <a:cxn ang="0">
                      <a:pos x="959" y="583"/>
                    </a:cxn>
                    <a:cxn ang="0">
                      <a:pos x="963" y="430"/>
                    </a:cxn>
                    <a:cxn ang="0">
                      <a:pos x="988" y="419"/>
                    </a:cxn>
                    <a:cxn ang="0">
                      <a:pos x="973" y="351"/>
                    </a:cxn>
                    <a:cxn ang="0">
                      <a:pos x="937" y="414"/>
                    </a:cxn>
                    <a:cxn ang="0">
                      <a:pos x="996" y="611"/>
                    </a:cxn>
                    <a:cxn ang="0">
                      <a:pos x="977" y="51"/>
                    </a:cxn>
                    <a:cxn ang="0">
                      <a:pos x="927" y="361"/>
                    </a:cxn>
                    <a:cxn ang="0">
                      <a:pos x="927" y="361"/>
                    </a:cxn>
                    <a:cxn ang="0">
                      <a:pos x="1097" y="687"/>
                    </a:cxn>
                    <a:cxn ang="0">
                      <a:pos x="968" y="628"/>
                    </a:cxn>
                    <a:cxn ang="0">
                      <a:pos x="810" y="491"/>
                    </a:cxn>
                    <a:cxn ang="0">
                      <a:pos x="889" y="366"/>
                    </a:cxn>
                    <a:cxn ang="0">
                      <a:pos x="900" y="294"/>
                    </a:cxn>
                    <a:cxn ang="0">
                      <a:pos x="940" y="296"/>
                    </a:cxn>
                    <a:cxn ang="0">
                      <a:pos x="993" y="199"/>
                    </a:cxn>
                    <a:cxn ang="0">
                      <a:pos x="967" y="131"/>
                    </a:cxn>
                    <a:cxn ang="0">
                      <a:pos x="925" y="192"/>
                    </a:cxn>
                    <a:cxn ang="0">
                      <a:pos x="884" y="152"/>
                    </a:cxn>
                    <a:cxn ang="0">
                      <a:pos x="802" y="170"/>
                    </a:cxn>
                    <a:cxn ang="0">
                      <a:pos x="709" y="140"/>
                    </a:cxn>
                    <a:cxn ang="0">
                      <a:pos x="651" y="114"/>
                    </a:cxn>
                    <a:cxn ang="0">
                      <a:pos x="586" y="108"/>
                    </a:cxn>
                    <a:cxn ang="0">
                      <a:pos x="493" y="42"/>
                    </a:cxn>
                    <a:cxn ang="0">
                      <a:pos x="452" y="0"/>
                    </a:cxn>
                    <a:cxn ang="0">
                      <a:pos x="411" y="24"/>
                    </a:cxn>
                    <a:cxn ang="0">
                      <a:pos x="374" y="43"/>
                    </a:cxn>
                    <a:cxn ang="0">
                      <a:pos x="464" y="87"/>
                    </a:cxn>
                    <a:cxn ang="0">
                      <a:pos x="440" y="149"/>
                    </a:cxn>
                    <a:cxn ang="0">
                      <a:pos x="411" y="153"/>
                    </a:cxn>
                    <a:cxn ang="0">
                      <a:pos x="353" y="169"/>
                    </a:cxn>
                    <a:cxn ang="0">
                      <a:pos x="267" y="150"/>
                    </a:cxn>
                    <a:cxn ang="0">
                      <a:pos x="220" y="193"/>
                    </a:cxn>
                    <a:cxn ang="0">
                      <a:pos x="185" y="217"/>
                    </a:cxn>
                    <a:cxn ang="0">
                      <a:pos x="145" y="292"/>
                    </a:cxn>
                    <a:cxn ang="0">
                      <a:pos x="101" y="355"/>
                    </a:cxn>
                    <a:cxn ang="0">
                      <a:pos x="103" y="467"/>
                    </a:cxn>
                    <a:cxn ang="0">
                      <a:pos x="81" y="507"/>
                    </a:cxn>
                    <a:cxn ang="0">
                      <a:pos x="30" y="556"/>
                    </a:cxn>
                    <a:cxn ang="0">
                      <a:pos x="806" y="1914"/>
                    </a:cxn>
                  </a:cxnLst>
                  <a:rect l="0" t="0" r="r" b="b"/>
                  <a:pathLst>
                    <a:path w="1131" h="1927">
                      <a:moveTo>
                        <a:pt x="1017" y="637"/>
                      </a:moveTo>
                      <a:cubicBezTo>
                        <a:pt x="1025" y="640"/>
                        <a:pt x="1021" y="621"/>
                        <a:pt x="1021" y="621"/>
                      </a:cubicBezTo>
                      <a:cubicBezTo>
                        <a:pt x="1002" y="621"/>
                        <a:pt x="1009" y="635"/>
                        <a:pt x="1017" y="637"/>
                      </a:cubicBezTo>
                      <a:close/>
                      <a:moveTo>
                        <a:pt x="909" y="315"/>
                      </a:moveTo>
                      <a:cubicBezTo>
                        <a:pt x="899" y="306"/>
                        <a:pt x="896" y="310"/>
                        <a:pt x="896" y="310"/>
                      </a:cubicBezTo>
                      <a:cubicBezTo>
                        <a:pt x="896" y="310"/>
                        <a:pt x="915" y="325"/>
                        <a:pt x="911" y="331"/>
                      </a:cubicBezTo>
                      <a:cubicBezTo>
                        <a:pt x="913" y="328"/>
                        <a:pt x="918" y="323"/>
                        <a:pt x="909" y="315"/>
                      </a:cubicBezTo>
                      <a:close/>
                      <a:moveTo>
                        <a:pt x="852" y="125"/>
                      </a:moveTo>
                      <a:cubicBezTo>
                        <a:pt x="867" y="136"/>
                        <a:pt x="867" y="136"/>
                        <a:pt x="867" y="136"/>
                      </a:cubicBezTo>
                      <a:cubicBezTo>
                        <a:pt x="881" y="132"/>
                        <a:pt x="881" y="132"/>
                        <a:pt x="881" y="132"/>
                      </a:cubicBezTo>
                      <a:cubicBezTo>
                        <a:pt x="872" y="121"/>
                        <a:pt x="872" y="121"/>
                        <a:pt x="872" y="121"/>
                      </a:cubicBezTo>
                      <a:cubicBezTo>
                        <a:pt x="872" y="121"/>
                        <a:pt x="908" y="87"/>
                        <a:pt x="900" y="87"/>
                      </a:cubicBezTo>
                      <a:cubicBezTo>
                        <a:pt x="892" y="87"/>
                        <a:pt x="875" y="113"/>
                        <a:pt x="863" y="116"/>
                      </a:cubicBezTo>
                      <a:cubicBezTo>
                        <a:pt x="851" y="119"/>
                        <a:pt x="838" y="129"/>
                        <a:pt x="838" y="129"/>
                      </a:cubicBezTo>
                      <a:cubicBezTo>
                        <a:pt x="846" y="135"/>
                        <a:pt x="846" y="135"/>
                        <a:pt x="846" y="135"/>
                      </a:cubicBezTo>
                      <a:lnTo>
                        <a:pt x="852" y="125"/>
                      </a:lnTo>
                      <a:close/>
                      <a:moveTo>
                        <a:pt x="206" y="99"/>
                      </a:moveTo>
                      <a:cubicBezTo>
                        <a:pt x="254" y="127"/>
                        <a:pt x="254" y="127"/>
                        <a:pt x="254" y="127"/>
                      </a:cubicBezTo>
                      <a:cubicBezTo>
                        <a:pt x="300" y="81"/>
                        <a:pt x="300" y="81"/>
                        <a:pt x="300" y="81"/>
                      </a:cubicBezTo>
                      <a:cubicBezTo>
                        <a:pt x="311" y="73"/>
                        <a:pt x="311" y="73"/>
                        <a:pt x="311" y="73"/>
                      </a:cubicBezTo>
                      <a:cubicBezTo>
                        <a:pt x="311" y="61"/>
                        <a:pt x="311" y="61"/>
                        <a:pt x="311" y="61"/>
                      </a:cubicBezTo>
                      <a:cubicBezTo>
                        <a:pt x="320" y="55"/>
                        <a:pt x="320" y="55"/>
                        <a:pt x="320" y="55"/>
                      </a:cubicBezTo>
                      <a:cubicBezTo>
                        <a:pt x="320" y="55"/>
                        <a:pt x="313" y="49"/>
                        <a:pt x="304" y="39"/>
                      </a:cubicBezTo>
                      <a:cubicBezTo>
                        <a:pt x="295" y="28"/>
                        <a:pt x="279" y="23"/>
                        <a:pt x="279" y="23"/>
                      </a:cubicBezTo>
                      <a:cubicBezTo>
                        <a:pt x="282" y="53"/>
                        <a:pt x="282" y="53"/>
                        <a:pt x="282" y="53"/>
                      </a:cubicBezTo>
                      <a:cubicBezTo>
                        <a:pt x="282" y="53"/>
                        <a:pt x="272" y="31"/>
                        <a:pt x="266" y="39"/>
                      </a:cubicBezTo>
                      <a:cubicBezTo>
                        <a:pt x="259" y="47"/>
                        <a:pt x="256" y="57"/>
                        <a:pt x="256" y="57"/>
                      </a:cubicBezTo>
                      <a:cubicBezTo>
                        <a:pt x="256" y="57"/>
                        <a:pt x="251" y="41"/>
                        <a:pt x="242" y="40"/>
                      </a:cubicBezTo>
                      <a:cubicBezTo>
                        <a:pt x="232" y="39"/>
                        <a:pt x="208" y="59"/>
                        <a:pt x="208" y="59"/>
                      </a:cubicBezTo>
                      <a:cubicBezTo>
                        <a:pt x="171" y="32"/>
                        <a:pt x="171" y="32"/>
                        <a:pt x="171" y="32"/>
                      </a:cubicBezTo>
                      <a:cubicBezTo>
                        <a:pt x="171" y="32"/>
                        <a:pt x="171" y="56"/>
                        <a:pt x="179" y="67"/>
                      </a:cubicBezTo>
                      <a:cubicBezTo>
                        <a:pt x="187" y="77"/>
                        <a:pt x="206" y="99"/>
                        <a:pt x="206" y="99"/>
                      </a:cubicBezTo>
                      <a:close/>
                      <a:moveTo>
                        <a:pt x="126" y="109"/>
                      </a:moveTo>
                      <a:cubicBezTo>
                        <a:pt x="151" y="113"/>
                        <a:pt x="158" y="107"/>
                        <a:pt x="166" y="107"/>
                      </a:cubicBezTo>
                      <a:cubicBezTo>
                        <a:pt x="174" y="107"/>
                        <a:pt x="200" y="117"/>
                        <a:pt x="200" y="111"/>
                      </a:cubicBezTo>
                      <a:cubicBezTo>
                        <a:pt x="200" y="104"/>
                        <a:pt x="191" y="93"/>
                        <a:pt x="182" y="87"/>
                      </a:cubicBezTo>
                      <a:cubicBezTo>
                        <a:pt x="172" y="80"/>
                        <a:pt x="162" y="51"/>
                        <a:pt x="162" y="51"/>
                      </a:cubicBezTo>
                      <a:cubicBezTo>
                        <a:pt x="141" y="64"/>
                        <a:pt x="141" y="64"/>
                        <a:pt x="141" y="64"/>
                      </a:cubicBezTo>
                      <a:cubicBezTo>
                        <a:pt x="151" y="89"/>
                        <a:pt x="151" y="89"/>
                        <a:pt x="151" y="89"/>
                      </a:cubicBezTo>
                      <a:cubicBezTo>
                        <a:pt x="151" y="89"/>
                        <a:pt x="101" y="105"/>
                        <a:pt x="126" y="109"/>
                      </a:cubicBezTo>
                      <a:close/>
                      <a:moveTo>
                        <a:pt x="959" y="108"/>
                      </a:moveTo>
                      <a:cubicBezTo>
                        <a:pt x="963" y="113"/>
                        <a:pt x="984" y="103"/>
                        <a:pt x="977" y="99"/>
                      </a:cubicBezTo>
                      <a:cubicBezTo>
                        <a:pt x="971" y="95"/>
                        <a:pt x="951" y="100"/>
                        <a:pt x="959" y="108"/>
                      </a:cubicBezTo>
                      <a:close/>
                      <a:moveTo>
                        <a:pt x="977" y="611"/>
                      </a:moveTo>
                      <a:cubicBezTo>
                        <a:pt x="977" y="611"/>
                        <a:pt x="996" y="597"/>
                        <a:pt x="997" y="591"/>
                      </a:cubicBezTo>
                      <a:cubicBezTo>
                        <a:pt x="998" y="584"/>
                        <a:pt x="980" y="591"/>
                        <a:pt x="980" y="591"/>
                      </a:cubicBezTo>
                      <a:cubicBezTo>
                        <a:pt x="963" y="603"/>
                        <a:pt x="963" y="603"/>
                        <a:pt x="963" y="603"/>
                      </a:cubicBezTo>
                      <a:cubicBezTo>
                        <a:pt x="959" y="583"/>
                        <a:pt x="959" y="583"/>
                        <a:pt x="959" y="583"/>
                      </a:cubicBezTo>
                      <a:cubicBezTo>
                        <a:pt x="947" y="599"/>
                        <a:pt x="947" y="599"/>
                        <a:pt x="947" y="599"/>
                      </a:cubicBezTo>
                      <a:cubicBezTo>
                        <a:pt x="959" y="624"/>
                        <a:pt x="977" y="611"/>
                        <a:pt x="977" y="611"/>
                      </a:cubicBezTo>
                      <a:close/>
                      <a:moveTo>
                        <a:pt x="943" y="422"/>
                      </a:moveTo>
                      <a:cubicBezTo>
                        <a:pt x="951" y="425"/>
                        <a:pt x="963" y="430"/>
                        <a:pt x="963" y="430"/>
                      </a:cubicBezTo>
                      <a:cubicBezTo>
                        <a:pt x="989" y="430"/>
                        <a:pt x="989" y="430"/>
                        <a:pt x="989" y="430"/>
                      </a:cubicBezTo>
                      <a:cubicBezTo>
                        <a:pt x="989" y="430"/>
                        <a:pt x="1002" y="435"/>
                        <a:pt x="1004" y="426"/>
                      </a:cubicBezTo>
                      <a:cubicBezTo>
                        <a:pt x="1005" y="417"/>
                        <a:pt x="1002" y="407"/>
                        <a:pt x="1002" y="407"/>
                      </a:cubicBezTo>
                      <a:cubicBezTo>
                        <a:pt x="988" y="419"/>
                        <a:pt x="988" y="419"/>
                        <a:pt x="988" y="419"/>
                      </a:cubicBezTo>
                      <a:cubicBezTo>
                        <a:pt x="972" y="405"/>
                        <a:pt x="972" y="405"/>
                        <a:pt x="972" y="405"/>
                      </a:cubicBezTo>
                      <a:cubicBezTo>
                        <a:pt x="1005" y="359"/>
                        <a:pt x="1005" y="359"/>
                        <a:pt x="1005" y="359"/>
                      </a:cubicBezTo>
                      <a:cubicBezTo>
                        <a:pt x="981" y="373"/>
                        <a:pt x="981" y="373"/>
                        <a:pt x="981" y="373"/>
                      </a:cubicBezTo>
                      <a:cubicBezTo>
                        <a:pt x="973" y="351"/>
                        <a:pt x="973" y="351"/>
                        <a:pt x="973" y="351"/>
                      </a:cubicBezTo>
                      <a:cubicBezTo>
                        <a:pt x="952" y="354"/>
                        <a:pt x="952" y="354"/>
                        <a:pt x="952" y="354"/>
                      </a:cubicBezTo>
                      <a:cubicBezTo>
                        <a:pt x="951" y="370"/>
                        <a:pt x="951" y="370"/>
                        <a:pt x="951" y="370"/>
                      </a:cubicBezTo>
                      <a:cubicBezTo>
                        <a:pt x="940" y="370"/>
                        <a:pt x="940" y="370"/>
                        <a:pt x="940" y="370"/>
                      </a:cubicBezTo>
                      <a:cubicBezTo>
                        <a:pt x="940" y="370"/>
                        <a:pt x="947" y="406"/>
                        <a:pt x="937" y="414"/>
                      </a:cubicBezTo>
                      <a:cubicBezTo>
                        <a:pt x="928" y="422"/>
                        <a:pt x="927" y="427"/>
                        <a:pt x="927" y="427"/>
                      </a:cubicBezTo>
                      <a:cubicBezTo>
                        <a:pt x="927" y="427"/>
                        <a:pt x="935" y="419"/>
                        <a:pt x="943" y="422"/>
                      </a:cubicBezTo>
                      <a:close/>
                      <a:moveTo>
                        <a:pt x="1016" y="595"/>
                      </a:moveTo>
                      <a:cubicBezTo>
                        <a:pt x="1006" y="592"/>
                        <a:pt x="1002" y="603"/>
                        <a:pt x="996" y="611"/>
                      </a:cubicBezTo>
                      <a:cubicBezTo>
                        <a:pt x="996" y="611"/>
                        <a:pt x="1004" y="611"/>
                        <a:pt x="1008" y="609"/>
                      </a:cubicBezTo>
                      <a:cubicBezTo>
                        <a:pt x="1012" y="608"/>
                        <a:pt x="1025" y="597"/>
                        <a:pt x="1016" y="595"/>
                      </a:cubicBezTo>
                      <a:close/>
                      <a:moveTo>
                        <a:pt x="917" y="91"/>
                      </a:moveTo>
                      <a:cubicBezTo>
                        <a:pt x="917" y="91"/>
                        <a:pt x="960" y="73"/>
                        <a:pt x="977" y="51"/>
                      </a:cubicBezTo>
                      <a:cubicBezTo>
                        <a:pt x="994" y="28"/>
                        <a:pt x="996" y="4"/>
                        <a:pt x="996" y="4"/>
                      </a:cubicBezTo>
                      <a:cubicBezTo>
                        <a:pt x="996" y="4"/>
                        <a:pt x="984" y="28"/>
                        <a:pt x="972" y="40"/>
                      </a:cubicBezTo>
                      <a:cubicBezTo>
                        <a:pt x="960" y="52"/>
                        <a:pt x="903" y="83"/>
                        <a:pt x="917" y="91"/>
                      </a:cubicBezTo>
                      <a:close/>
                      <a:moveTo>
                        <a:pt x="927" y="361"/>
                      </a:moveTo>
                      <a:cubicBezTo>
                        <a:pt x="915" y="349"/>
                        <a:pt x="915" y="349"/>
                        <a:pt x="915" y="349"/>
                      </a:cubicBezTo>
                      <a:cubicBezTo>
                        <a:pt x="904" y="354"/>
                        <a:pt x="904" y="354"/>
                        <a:pt x="904" y="354"/>
                      </a:cubicBezTo>
                      <a:cubicBezTo>
                        <a:pt x="916" y="367"/>
                        <a:pt x="916" y="367"/>
                        <a:pt x="916" y="367"/>
                      </a:cubicBezTo>
                      <a:lnTo>
                        <a:pt x="927" y="361"/>
                      </a:lnTo>
                      <a:close/>
                      <a:moveTo>
                        <a:pt x="844" y="511"/>
                      </a:moveTo>
                      <a:cubicBezTo>
                        <a:pt x="854" y="511"/>
                        <a:pt x="864" y="512"/>
                        <a:pt x="856" y="502"/>
                      </a:cubicBezTo>
                      <a:cubicBezTo>
                        <a:pt x="848" y="491"/>
                        <a:pt x="844" y="511"/>
                        <a:pt x="844" y="511"/>
                      </a:cubicBezTo>
                      <a:close/>
                      <a:moveTo>
                        <a:pt x="1097" y="687"/>
                      </a:moveTo>
                      <a:cubicBezTo>
                        <a:pt x="1084" y="681"/>
                        <a:pt x="1060" y="676"/>
                        <a:pt x="1060" y="676"/>
                      </a:cubicBezTo>
                      <a:cubicBezTo>
                        <a:pt x="1060" y="676"/>
                        <a:pt x="1015" y="646"/>
                        <a:pt x="1013" y="644"/>
                      </a:cubicBezTo>
                      <a:cubicBezTo>
                        <a:pt x="1011" y="642"/>
                        <a:pt x="988" y="650"/>
                        <a:pt x="977" y="646"/>
                      </a:cubicBezTo>
                      <a:cubicBezTo>
                        <a:pt x="967" y="642"/>
                        <a:pt x="968" y="628"/>
                        <a:pt x="968" y="628"/>
                      </a:cubicBezTo>
                      <a:cubicBezTo>
                        <a:pt x="919" y="595"/>
                        <a:pt x="919" y="595"/>
                        <a:pt x="919" y="595"/>
                      </a:cubicBezTo>
                      <a:cubicBezTo>
                        <a:pt x="911" y="574"/>
                        <a:pt x="911" y="574"/>
                        <a:pt x="911" y="574"/>
                      </a:cubicBezTo>
                      <a:cubicBezTo>
                        <a:pt x="911" y="574"/>
                        <a:pt x="840" y="529"/>
                        <a:pt x="839" y="528"/>
                      </a:cubicBezTo>
                      <a:cubicBezTo>
                        <a:pt x="837" y="527"/>
                        <a:pt x="806" y="498"/>
                        <a:pt x="810" y="491"/>
                      </a:cubicBezTo>
                      <a:cubicBezTo>
                        <a:pt x="814" y="484"/>
                        <a:pt x="831" y="475"/>
                        <a:pt x="831" y="475"/>
                      </a:cubicBezTo>
                      <a:cubicBezTo>
                        <a:pt x="831" y="475"/>
                        <a:pt x="825" y="465"/>
                        <a:pt x="832" y="459"/>
                      </a:cubicBezTo>
                      <a:cubicBezTo>
                        <a:pt x="839" y="454"/>
                        <a:pt x="862" y="424"/>
                        <a:pt x="870" y="420"/>
                      </a:cubicBezTo>
                      <a:cubicBezTo>
                        <a:pt x="878" y="416"/>
                        <a:pt x="890" y="378"/>
                        <a:pt x="889" y="366"/>
                      </a:cubicBezTo>
                      <a:cubicBezTo>
                        <a:pt x="888" y="354"/>
                        <a:pt x="866" y="352"/>
                        <a:pt x="869" y="338"/>
                      </a:cubicBezTo>
                      <a:cubicBezTo>
                        <a:pt x="872" y="325"/>
                        <a:pt x="882" y="320"/>
                        <a:pt x="882" y="317"/>
                      </a:cubicBezTo>
                      <a:cubicBezTo>
                        <a:pt x="882" y="315"/>
                        <a:pt x="869" y="296"/>
                        <a:pt x="884" y="297"/>
                      </a:cubicBezTo>
                      <a:cubicBezTo>
                        <a:pt x="898" y="297"/>
                        <a:pt x="900" y="294"/>
                        <a:pt x="900" y="294"/>
                      </a:cubicBezTo>
                      <a:cubicBezTo>
                        <a:pt x="916" y="287"/>
                        <a:pt x="916" y="287"/>
                        <a:pt x="916" y="287"/>
                      </a:cubicBezTo>
                      <a:cubicBezTo>
                        <a:pt x="917" y="293"/>
                        <a:pt x="917" y="293"/>
                        <a:pt x="917" y="293"/>
                      </a:cubicBezTo>
                      <a:cubicBezTo>
                        <a:pt x="930" y="278"/>
                        <a:pt x="930" y="278"/>
                        <a:pt x="930" y="278"/>
                      </a:cubicBezTo>
                      <a:cubicBezTo>
                        <a:pt x="930" y="278"/>
                        <a:pt x="939" y="298"/>
                        <a:pt x="940" y="296"/>
                      </a:cubicBezTo>
                      <a:cubicBezTo>
                        <a:pt x="941" y="295"/>
                        <a:pt x="963" y="278"/>
                        <a:pt x="963" y="273"/>
                      </a:cubicBezTo>
                      <a:cubicBezTo>
                        <a:pt x="963" y="269"/>
                        <a:pt x="970" y="261"/>
                        <a:pt x="970" y="261"/>
                      </a:cubicBezTo>
                      <a:cubicBezTo>
                        <a:pt x="955" y="245"/>
                        <a:pt x="955" y="245"/>
                        <a:pt x="955" y="245"/>
                      </a:cubicBezTo>
                      <a:cubicBezTo>
                        <a:pt x="993" y="199"/>
                        <a:pt x="993" y="199"/>
                        <a:pt x="993" y="199"/>
                      </a:cubicBezTo>
                      <a:cubicBezTo>
                        <a:pt x="993" y="199"/>
                        <a:pt x="1021" y="184"/>
                        <a:pt x="1019" y="182"/>
                      </a:cubicBezTo>
                      <a:cubicBezTo>
                        <a:pt x="1018" y="181"/>
                        <a:pt x="1005" y="160"/>
                        <a:pt x="1005" y="160"/>
                      </a:cubicBezTo>
                      <a:cubicBezTo>
                        <a:pt x="976" y="173"/>
                        <a:pt x="976" y="173"/>
                        <a:pt x="976" y="173"/>
                      </a:cubicBezTo>
                      <a:cubicBezTo>
                        <a:pt x="976" y="173"/>
                        <a:pt x="972" y="136"/>
                        <a:pt x="967" y="131"/>
                      </a:cubicBezTo>
                      <a:cubicBezTo>
                        <a:pt x="962" y="126"/>
                        <a:pt x="951" y="124"/>
                        <a:pt x="944" y="129"/>
                      </a:cubicBezTo>
                      <a:cubicBezTo>
                        <a:pt x="937" y="133"/>
                        <a:pt x="919" y="153"/>
                        <a:pt x="919" y="153"/>
                      </a:cubicBezTo>
                      <a:cubicBezTo>
                        <a:pt x="940" y="166"/>
                        <a:pt x="940" y="166"/>
                        <a:pt x="940" y="166"/>
                      </a:cubicBezTo>
                      <a:cubicBezTo>
                        <a:pt x="940" y="166"/>
                        <a:pt x="933" y="192"/>
                        <a:pt x="925" y="192"/>
                      </a:cubicBezTo>
                      <a:cubicBezTo>
                        <a:pt x="916" y="192"/>
                        <a:pt x="899" y="196"/>
                        <a:pt x="897" y="193"/>
                      </a:cubicBezTo>
                      <a:cubicBezTo>
                        <a:pt x="894" y="190"/>
                        <a:pt x="887" y="177"/>
                        <a:pt x="887" y="177"/>
                      </a:cubicBezTo>
                      <a:cubicBezTo>
                        <a:pt x="897" y="170"/>
                        <a:pt x="897" y="170"/>
                        <a:pt x="897" y="170"/>
                      </a:cubicBezTo>
                      <a:cubicBezTo>
                        <a:pt x="884" y="152"/>
                        <a:pt x="884" y="152"/>
                        <a:pt x="884" y="152"/>
                      </a:cubicBezTo>
                      <a:cubicBezTo>
                        <a:pt x="884" y="152"/>
                        <a:pt x="864" y="173"/>
                        <a:pt x="858" y="171"/>
                      </a:cubicBezTo>
                      <a:cubicBezTo>
                        <a:pt x="852" y="170"/>
                        <a:pt x="849" y="147"/>
                        <a:pt x="847" y="147"/>
                      </a:cubicBezTo>
                      <a:cubicBezTo>
                        <a:pt x="846" y="147"/>
                        <a:pt x="818" y="132"/>
                        <a:pt x="810" y="142"/>
                      </a:cubicBezTo>
                      <a:cubicBezTo>
                        <a:pt x="801" y="152"/>
                        <a:pt x="802" y="170"/>
                        <a:pt x="802" y="170"/>
                      </a:cubicBezTo>
                      <a:cubicBezTo>
                        <a:pt x="768" y="169"/>
                        <a:pt x="768" y="169"/>
                        <a:pt x="768" y="169"/>
                      </a:cubicBezTo>
                      <a:cubicBezTo>
                        <a:pt x="748" y="144"/>
                        <a:pt x="748" y="144"/>
                        <a:pt x="748" y="144"/>
                      </a:cubicBezTo>
                      <a:cubicBezTo>
                        <a:pt x="729" y="125"/>
                        <a:pt x="729" y="125"/>
                        <a:pt x="729" y="125"/>
                      </a:cubicBezTo>
                      <a:cubicBezTo>
                        <a:pt x="729" y="125"/>
                        <a:pt x="712" y="140"/>
                        <a:pt x="709" y="140"/>
                      </a:cubicBezTo>
                      <a:cubicBezTo>
                        <a:pt x="707" y="140"/>
                        <a:pt x="696" y="143"/>
                        <a:pt x="692" y="140"/>
                      </a:cubicBezTo>
                      <a:cubicBezTo>
                        <a:pt x="687" y="136"/>
                        <a:pt x="675" y="127"/>
                        <a:pt x="673" y="127"/>
                      </a:cubicBezTo>
                      <a:cubicBezTo>
                        <a:pt x="672" y="128"/>
                        <a:pt x="662" y="139"/>
                        <a:pt x="662" y="137"/>
                      </a:cubicBezTo>
                      <a:cubicBezTo>
                        <a:pt x="661" y="135"/>
                        <a:pt x="657" y="116"/>
                        <a:pt x="651" y="114"/>
                      </a:cubicBezTo>
                      <a:cubicBezTo>
                        <a:pt x="646" y="111"/>
                        <a:pt x="631" y="119"/>
                        <a:pt x="630" y="119"/>
                      </a:cubicBezTo>
                      <a:cubicBezTo>
                        <a:pt x="628" y="118"/>
                        <a:pt x="614" y="113"/>
                        <a:pt x="615" y="110"/>
                      </a:cubicBezTo>
                      <a:cubicBezTo>
                        <a:pt x="617" y="107"/>
                        <a:pt x="644" y="106"/>
                        <a:pt x="631" y="99"/>
                      </a:cubicBezTo>
                      <a:cubicBezTo>
                        <a:pt x="618" y="92"/>
                        <a:pt x="586" y="108"/>
                        <a:pt x="586" y="108"/>
                      </a:cubicBezTo>
                      <a:cubicBezTo>
                        <a:pt x="586" y="108"/>
                        <a:pt x="559" y="97"/>
                        <a:pt x="555" y="93"/>
                      </a:cubicBezTo>
                      <a:cubicBezTo>
                        <a:pt x="551" y="89"/>
                        <a:pt x="534" y="100"/>
                        <a:pt x="527" y="91"/>
                      </a:cubicBezTo>
                      <a:cubicBezTo>
                        <a:pt x="519" y="81"/>
                        <a:pt x="513" y="57"/>
                        <a:pt x="506" y="51"/>
                      </a:cubicBezTo>
                      <a:cubicBezTo>
                        <a:pt x="498" y="46"/>
                        <a:pt x="493" y="42"/>
                        <a:pt x="493" y="42"/>
                      </a:cubicBezTo>
                      <a:cubicBezTo>
                        <a:pt x="493" y="42"/>
                        <a:pt x="471" y="70"/>
                        <a:pt x="467" y="66"/>
                      </a:cubicBezTo>
                      <a:cubicBezTo>
                        <a:pt x="463" y="62"/>
                        <a:pt x="451" y="48"/>
                        <a:pt x="449" y="44"/>
                      </a:cubicBezTo>
                      <a:cubicBezTo>
                        <a:pt x="448" y="40"/>
                        <a:pt x="463" y="31"/>
                        <a:pt x="461" y="22"/>
                      </a:cubicBezTo>
                      <a:cubicBezTo>
                        <a:pt x="458" y="14"/>
                        <a:pt x="452" y="0"/>
                        <a:pt x="452" y="0"/>
                      </a:cubicBezTo>
                      <a:cubicBezTo>
                        <a:pt x="443" y="11"/>
                        <a:pt x="443" y="11"/>
                        <a:pt x="443" y="11"/>
                      </a:cubicBezTo>
                      <a:cubicBezTo>
                        <a:pt x="443" y="11"/>
                        <a:pt x="440" y="37"/>
                        <a:pt x="434" y="32"/>
                      </a:cubicBezTo>
                      <a:cubicBezTo>
                        <a:pt x="428" y="27"/>
                        <a:pt x="418" y="14"/>
                        <a:pt x="416" y="16"/>
                      </a:cubicBezTo>
                      <a:cubicBezTo>
                        <a:pt x="413" y="17"/>
                        <a:pt x="412" y="26"/>
                        <a:pt x="411" y="24"/>
                      </a:cubicBezTo>
                      <a:cubicBezTo>
                        <a:pt x="409" y="22"/>
                        <a:pt x="396" y="16"/>
                        <a:pt x="394" y="16"/>
                      </a:cubicBezTo>
                      <a:cubicBezTo>
                        <a:pt x="392" y="16"/>
                        <a:pt x="391" y="29"/>
                        <a:pt x="389" y="29"/>
                      </a:cubicBezTo>
                      <a:cubicBezTo>
                        <a:pt x="388" y="29"/>
                        <a:pt x="382" y="18"/>
                        <a:pt x="377" y="21"/>
                      </a:cubicBezTo>
                      <a:cubicBezTo>
                        <a:pt x="372" y="25"/>
                        <a:pt x="361" y="35"/>
                        <a:pt x="374" y="43"/>
                      </a:cubicBezTo>
                      <a:cubicBezTo>
                        <a:pt x="386" y="50"/>
                        <a:pt x="388" y="55"/>
                        <a:pt x="399" y="39"/>
                      </a:cubicBezTo>
                      <a:cubicBezTo>
                        <a:pt x="419" y="71"/>
                        <a:pt x="419" y="71"/>
                        <a:pt x="419" y="71"/>
                      </a:cubicBezTo>
                      <a:cubicBezTo>
                        <a:pt x="419" y="71"/>
                        <a:pt x="425" y="51"/>
                        <a:pt x="434" y="56"/>
                      </a:cubicBezTo>
                      <a:cubicBezTo>
                        <a:pt x="443" y="61"/>
                        <a:pt x="464" y="87"/>
                        <a:pt x="464" y="87"/>
                      </a:cubicBezTo>
                      <a:cubicBezTo>
                        <a:pt x="451" y="93"/>
                        <a:pt x="451" y="93"/>
                        <a:pt x="451" y="93"/>
                      </a:cubicBezTo>
                      <a:cubicBezTo>
                        <a:pt x="462" y="115"/>
                        <a:pt x="462" y="115"/>
                        <a:pt x="462" y="115"/>
                      </a:cubicBezTo>
                      <a:cubicBezTo>
                        <a:pt x="462" y="115"/>
                        <a:pt x="448" y="133"/>
                        <a:pt x="462" y="144"/>
                      </a:cubicBezTo>
                      <a:cubicBezTo>
                        <a:pt x="476" y="155"/>
                        <a:pt x="440" y="149"/>
                        <a:pt x="440" y="149"/>
                      </a:cubicBezTo>
                      <a:cubicBezTo>
                        <a:pt x="422" y="141"/>
                        <a:pt x="422" y="141"/>
                        <a:pt x="422" y="141"/>
                      </a:cubicBezTo>
                      <a:cubicBezTo>
                        <a:pt x="434" y="165"/>
                        <a:pt x="434" y="165"/>
                        <a:pt x="434" y="165"/>
                      </a:cubicBezTo>
                      <a:cubicBezTo>
                        <a:pt x="429" y="177"/>
                        <a:pt x="429" y="177"/>
                        <a:pt x="429" y="177"/>
                      </a:cubicBezTo>
                      <a:cubicBezTo>
                        <a:pt x="429" y="177"/>
                        <a:pt x="415" y="155"/>
                        <a:pt x="411" y="153"/>
                      </a:cubicBezTo>
                      <a:cubicBezTo>
                        <a:pt x="407" y="151"/>
                        <a:pt x="397" y="171"/>
                        <a:pt x="388" y="171"/>
                      </a:cubicBezTo>
                      <a:cubicBezTo>
                        <a:pt x="380" y="171"/>
                        <a:pt x="372" y="169"/>
                        <a:pt x="372" y="169"/>
                      </a:cubicBezTo>
                      <a:cubicBezTo>
                        <a:pt x="364" y="160"/>
                        <a:pt x="364" y="160"/>
                        <a:pt x="364" y="160"/>
                      </a:cubicBezTo>
                      <a:cubicBezTo>
                        <a:pt x="353" y="169"/>
                        <a:pt x="353" y="169"/>
                        <a:pt x="353" y="169"/>
                      </a:cubicBezTo>
                      <a:cubicBezTo>
                        <a:pt x="300" y="166"/>
                        <a:pt x="300" y="166"/>
                        <a:pt x="300" y="166"/>
                      </a:cubicBezTo>
                      <a:cubicBezTo>
                        <a:pt x="288" y="138"/>
                        <a:pt x="288" y="138"/>
                        <a:pt x="288" y="138"/>
                      </a:cubicBezTo>
                      <a:cubicBezTo>
                        <a:pt x="282" y="165"/>
                        <a:pt x="282" y="165"/>
                        <a:pt x="282" y="165"/>
                      </a:cubicBezTo>
                      <a:cubicBezTo>
                        <a:pt x="282" y="165"/>
                        <a:pt x="277" y="151"/>
                        <a:pt x="267" y="150"/>
                      </a:cubicBezTo>
                      <a:cubicBezTo>
                        <a:pt x="256" y="149"/>
                        <a:pt x="258" y="176"/>
                        <a:pt x="257" y="177"/>
                      </a:cubicBezTo>
                      <a:cubicBezTo>
                        <a:pt x="255" y="178"/>
                        <a:pt x="241" y="202"/>
                        <a:pt x="241" y="202"/>
                      </a:cubicBezTo>
                      <a:cubicBezTo>
                        <a:pt x="243" y="217"/>
                        <a:pt x="243" y="217"/>
                        <a:pt x="243" y="217"/>
                      </a:cubicBezTo>
                      <a:cubicBezTo>
                        <a:pt x="243" y="217"/>
                        <a:pt x="220" y="194"/>
                        <a:pt x="220" y="193"/>
                      </a:cubicBezTo>
                      <a:cubicBezTo>
                        <a:pt x="219" y="191"/>
                        <a:pt x="211" y="179"/>
                        <a:pt x="209" y="179"/>
                      </a:cubicBezTo>
                      <a:cubicBezTo>
                        <a:pt x="208" y="180"/>
                        <a:pt x="202" y="206"/>
                        <a:pt x="201" y="209"/>
                      </a:cubicBezTo>
                      <a:cubicBezTo>
                        <a:pt x="199" y="212"/>
                        <a:pt x="211" y="231"/>
                        <a:pt x="211" y="231"/>
                      </a:cubicBezTo>
                      <a:cubicBezTo>
                        <a:pt x="211" y="231"/>
                        <a:pt x="189" y="214"/>
                        <a:pt x="185" y="217"/>
                      </a:cubicBezTo>
                      <a:cubicBezTo>
                        <a:pt x="180" y="221"/>
                        <a:pt x="171" y="226"/>
                        <a:pt x="171" y="227"/>
                      </a:cubicBezTo>
                      <a:cubicBezTo>
                        <a:pt x="170" y="229"/>
                        <a:pt x="169" y="257"/>
                        <a:pt x="169" y="257"/>
                      </a:cubicBezTo>
                      <a:cubicBezTo>
                        <a:pt x="146" y="257"/>
                        <a:pt x="146" y="257"/>
                        <a:pt x="146" y="257"/>
                      </a:cubicBezTo>
                      <a:cubicBezTo>
                        <a:pt x="145" y="292"/>
                        <a:pt x="145" y="292"/>
                        <a:pt x="145" y="292"/>
                      </a:cubicBezTo>
                      <a:cubicBezTo>
                        <a:pt x="145" y="292"/>
                        <a:pt x="170" y="306"/>
                        <a:pt x="168" y="306"/>
                      </a:cubicBezTo>
                      <a:cubicBezTo>
                        <a:pt x="166" y="306"/>
                        <a:pt x="130" y="335"/>
                        <a:pt x="130" y="335"/>
                      </a:cubicBezTo>
                      <a:cubicBezTo>
                        <a:pt x="115" y="320"/>
                        <a:pt x="115" y="320"/>
                        <a:pt x="115" y="320"/>
                      </a:cubicBezTo>
                      <a:cubicBezTo>
                        <a:pt x="115" y="320"/>
                        <a:pt x="101" y="339"/>
                        <a:pt x="101" y="355"/>
                      </a:cubicBezTo>
                      <a:cubicBezTo>
                        <a:pt x="102" y="371"/>
                        <a:pt x="94" y="396"/>
                        <a:pt x="94" y="396"/>
                      </a:cubicBezTo>
                      <a:cubicBezTo>
                        <a:pt x="94" y="396"/>
                        <a:pt x="33" y="439"/>
                        <a:pt x="51" y="452"/>
                      </a:cubicBezTo>
                      <a:cubicBezTo>
                        <a:pt x="69" y="465"/>
                        <a:pt x="85" y="475"/>
                        <a:pt x="85" y="475"/>
                      </a:cubicBezTo>
                      <a:cubicBezTo>
                        <a:pt x="85" y="475"/>
                        <a:pt x="99" y="470"/>
                        <a:pt x="103" y="467"/>
                      </a:cubicBezTo>
                      <a:cubicBezTo>
                        <a:pt x="98" y="471"/>
                        <a:pt x="81" y="487"/>
                        <a:pt x="87" y="491"/>
                      </a:cubicBezTo>
                      <a:cubicBezTo>
                        <a:pt x="94" y="495"/>
                        <a:pt x="98" y="501"/>
                        <a:pt x="101" y="501"/>
                      </a:cubicBezTo>
                      <a:cubicBezTo>
                        <a:pt x="105" y="501"/>
                        <a:pt x="127" y="493"/>
                        <a:pt x="127" y="493"/>
                      </a:cubicBezTo>
                      <a:cubicBezTo>
                        <a:pt x="127" y="493"/>
                        <a:pt x="117" y="518"/>
                        <a:pt x="81" y="507"/>
                      </a:cubicBezTo>
                      <a:cubicBezTo>
                        <a:pt x="99" y="552"/>
                        <a:pt x="99" y="552"/>
                        <a:pt x="99" y="552"/>
                      </a:cubicBezTo>
                      <a:cubicBezTo>
                        <a:pt x="99" y="552"/>
                        <a:pt x="57" y="507"/>
                        <a:pt x="50" y="507"/>
                      </a:cubicBezTo>
                      <a:cubicBezTo>
                        <a:pt x="43" y="508"/>
                        <a:pt x="41" y="548"/>
                        <a:pt x="41" y="548"/>
                      </a:cubicBezTo>
                      <a:cubicBezTo>
                        <a:pt x="30" y="556"/>
                        <a:pt x="30" y="556"/>
                        <a:pt x="30" y="556"/>
                      </a:cubicBezTo>
                      <a:cubicBezTo>
                        <a:pt x="30" y="556"/>
                        <a:pt x="33" y="525"/>
                        <a:pt x="20" y="519"/>
                      </a:cubicBezTo>
                      <a:cubicBezTo>
                        <a:pt x="9" y="514"/>
                        <a:pt x="12" y="510"/>
                        <a:pt x="0" y="508"/>
                      </a:cubicBezTo>
                      <a:cubicBezTo>
                        <a:pt x="57" y="1927"/>
                        <a:pt x="57" y="1927"/>
                        <a:pt x="57" y="1927"/>
                      </a:cubicBezTo>
                      <a:cubicBezTo>
                        <a:pt x="270" y="1923"/>
                        <a:pt x="759" y="1914"/>
                        <a:pt x="806" y="1914"/>
                      </a:cubicBezTo>
                      <a:cubicBezTo>
                        <a:pt x="866" y="1914"/>
                        <a:pt x="1083" y="1914"/>
                        <a:pt x="1083" y="1914"/>
                      </a:cubicBezTo>
                      <a:cubicBezTo>
                        <a:pt x="1131" y="727"/>
                        <a:pt x="1131" y="727"/>
                        <a:pt x="1131" y="727"/>
                      </a:cubicBezTo>
                      <a:cubicBezTo>
                        <a:pt x="1116" y="710"/>
                        <a:pt x="1107" y="692"/>
                        <a:pt x="1097" y="687"/>
                      </a:cubicBez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18452" name="Freeform 20" descr="© INSCALE GmbH, 05.05.2010&#10;http://www.presentationload.com/"/>
                <p:cNvSpPr>
                  <a:spLocks noChangeAspect="1" noEditPoints="1"/>
                </p:cNvSpPr>
                <p:nvPr/>
              </p:nvSpPr>
              <p:spPr bwMode="auto">
                <a:xfrm>
                  <a:off x="3843" y="2024"/>
                  <a:ext cx="770" cy="876"/>
                </a:xfrm>
                <a:custGeom>
                  <a:avLst/>
                  <a:gdLst/>
                  <a:ahLst/>
                  <a:cxnLst>
                    <a:cxn ang="0">
                      <a:pos x="694" y="1084"/>
                    </a:cxn>
                    <a:cxn ang="0">
                      <a:pos x="713" y="1086"/>
                    </a:cxn>
                    <a:cxn ang="0">
                      <a:pos x="683" y="1086"/>
                    </a:cxn>
                    <a:cxn ang="0">
                      <a:pos x="943" y="1224"/>
                    </a:cxn>
                    <a:cxn ang="0">
                      <a:pos x="831" y="1241"/>
                    </a:cxn>
                    <a:cxn ang="0">
                      <a:pos x="844" y="1269"/>
                    </a:cxn>
                    <a:cxn ang="0">
                      <a:pos x="904" y="1268"/>
                    </a:cxn>
                    <a:cxn ang="0">
                      <a:pos x="943" y="1262"/>
                    </a:cxn>
                    <a:cxn ang="0">
                      <a:pos x="959" y="1244"/>
                    </a:cxn>
                    <a:cxn ang="0">
                      <a:pos x="979" y="1239"/>
                    </a:cxn>
                    <a:cxn ang="0">
                      <a:pos x="983" y="1260"/>
                    </a:cxn>
                    <a:cxn ang="0">
                      <a:pos x="979" y="1239"/>
                    </a:cxn>
                    <a:cxn ang="0">
                      <a:pos x="996" y="0"/>
                    </a:cxn>
                    <a:cxn ang="0">
                      <a:pos x="0" y="13"/>
                    </a:cxn>
                    <a:cxn ang="0">
                      <a:pos x="129" y="713"/>
                    </a:cxn>
                    <a:cxn ang="0">
                      <a:pos x="265" y="697"/>
                    </a:cxn>
                    <a:cxn ang="0">
                      <a:pos x="403" y="765"/>
                    </a:cxn>
                    <a:cxn ang="0">
                      <a:pos x="485" y="787"/>
                    </a:cxn>
                    <a:cxn ang="0">
                      <a:pos x="514" y="781"/>
                    </a:cxn>
                    <a:cxn ang="0">
                      <a:pos x="547" y="792"/>
                    </a:cxn>
                    <a:cxn ang="0">
                      <a:pos x="554" y="829"/>
                    </a:cxn>
                    <a:cxn ang="0">
                      <a:pos x="600" y="843"/>
                    </a:cxn>
                    <a:cxn ang="0">
                      <a:pos x="585" y="865"/>
                    </a:cxn>
                    <a:cxn ang="0">
                      <a:pos x="609" y="910"/>
                    </a:cxn>
                    <a:cxn ang="0">
                      <a:pos x="659" y="944"/>
                    </a:cxn>
                    <a:cxn ang="0">
                      <a:pos x="688" y="1000"/>
                    </a:cxn>
                    <a:cxn ang="0">
                      <a:pos x="716" y="1054"/>
                    </a:cxn>
                    <a:cxn ang="0">
                      <a:pos x="724" y="1098"/>
                    </a:cxn>
                    <a:cxn ang="0">
                      <a:pos x="746" y="1136"/>
                    </a:cxn>
                    <a:cxn ang="0">
                      <a:pos x="766" y="1086"/>
                    </a:cxn>
                    <a:cxn ang="0">
                      <a:pos x="796" y="1062"/>
                    </a:cxn>
                    <a:cxn ang="0">
                      <a:pos x="865" y="998"/>
                    </a:cxn>
                    <a:cxn ang="0">
                      <a:pos x="925" y="943"/>
                    </a:cxn>
                    <a:cxn ang="0">
                      <a:pos x="973" y="885"/>
                    </a:cxn>
                    <a:cxn ang="0">
                      <a:pos x="989" y="863"/>
                    </a:cxn>
                    <a:cxn ang="0">
                      <a:pos x="974" y="923"/>
                    </a:cxn>
                    <a:cxn ang="0">
                      <a:pos x="930" y="1050"/>
                    </a:cxn>
                    <a:cxn ang="0">
                      <a:pos x="895" y="1135"/>
                    </a:cxn>
                    <a:cxn ang="0">
                      <a:pos x="906" y="1182"/>
                    </a:cxn>
                    <a:cxn ang="0">
                      <a:pos x="931" y="1182"/>
                    </a:cxn>
                    <a:cxn ang="0">
                      <a:pos x="957" y="1159"/>
                    </a:cxn>
                    <a:cxn ang="0">
                      <a:pos x="982" y="1075"/>
                    </a:cxn>
                    <a:cxn ang="0">
                      <a:pos x="1006" y="1036"/>
                    </a:cxn>
                    <a:cxn ang="0">
                      <a:pos x="1018" y="1076"/>
                    </a:cxn>
                    <a:cxn ang="0">
                      <a:pos x="1051" y="1138"/>
                    </a:cxn>
                    <a:cxn ang="0">
                      <a:pos x="1030" y="1195"/>
                    </a:cxn>
                    <a:cxn ang="0">
                      <a:pos x="1036" y="1235"/>
                    </a:cxn>
                    <a:cxn ang="0">
                      <a:pos x="1095" y="1200"/>
                    </a:cxn>
                    <a:cxn ang="0">
                      <a:pos x="1112" y="1241"/>
                    </a:cxn>
                    <a:cxn ang="0">
                      <a:pos x="1155" y="1316"/>
                    </a:cxn>
                    <a:cxn ang="0">
                      <a:pos x="1145" y="1411"/>
                    </a:cxn>
                    <a:cxn ang="0">
                      <a:pos x="1241" y="1556"/>
                    </a:cxn>
                    <a:cxn ang="0">
                      <a:pos x="1369" y="25"/>
                    </a:cxn>
                  </a:cxnLst>
                  <a:rect l="0" t="0" r="r" b="b"/>
                  <a:pathLst>
                    <a:path w="1369" h="1556">
                      <a:moveTo>
                        <a:pt x="683" y="1086"/>
                      </a:moveTo>
                      <a:cubicBezTo>
                        <a:pt x="694" y="1084"/>
                        <a:pt x="694" y="1084"/>
                        <a:pt x="694" y="1084"/>
                      </a:cubicBezTo>
                      <a:cubicBezTo>
                        <a:pt x="705" y="1095"/>
                        <a:pt x="705" y="1095"/>
                        <a:pt x="705" y="1095"/>
                      </a:cubicBezTo>
                      <a:cubicBezTo>
                        <a:pt x="713" y="1086"/>
                        <a:pt x="713" y="1086"/>
                        <a:pt x="713" y="1086"/>
                      </a:cubicBezTo>
                      <a:cubicBezTo>
                        <a:pt x="691" y="1070"/>
                        <a:pt x="691" y="1070"/>
                        <a:pt x="691" y="1070"/>
                      </a:cubicBezTo>
                      <a:lnTo>
                        <a:pt x="683" y="1086"/>
                      </a:lnTo>
                      <a:close/>
                      <a:moveTo>
                        <a:pt x="947" y="1239"/>
                      </a:moveTo>
                      <a:cubicBezTo>
                        <a:pt x="943" y="1224"/>
                        <a:pt x="943" y="1224"/>
                        <a:pt x="943" y="1224"/>
                      </a:cubicBezTo>
                      <a:cubicBezTo>
                        <a:pt x="911" y="1203"/>
                        <a:pt x="910" y="1220"/>
                        <a:pt x="887" y="1228"/>
                      </a:cubicBezTo>
                      <a:cubicBezTo>
                        <a:pt x="864" y="1236"/>
                        <a:pt x="831" y="1241"/>
                        <a:pt x="831" y="1241"/>
                      </a:cubicBezTo>
                      <a:cubicBezTo>
                        <a:pt x="830" y="1262"/>
                        <a:pt x="830" y="1262"/>
                        <a:pt x="830" y="1262"/>
                      </a:cubicBezTo>
                      <a:cubicBezTo>
                        <a:pt x="844" y="1269"/>
                        <a:pt x="844" y="1269"/>
                        <a:pt x="844" y="1269"/>
                      </a:cubicBezTo>
                      <a:cubicBezTo>
                        <a:pt x="844" y="1269"/>
                        <a:pt x="867" y="1280"/>
                        <a:pt x="880" y="1280"/>
                      </a:cubicBezTo>
                      <a:cubicBezTo>
                        <a:pt x="894" y="1280"/>
                        <a:pt x="896" y="1269"/>
                        <a:pt x="904" y="1268"/>
                      </a:cubicBezTo>
                      <a:cubicBezTo>
                        <a:pt x="912" y="1266"/>
                        <a:pt x="919" y="1282"/>
                        <a:pt x="931" y="1284"/>
                      </a:cubicBezTo>
                      <a:cubicBezTo>
                        <a:pt x="943" y="1285"/>
                        <a:pt x="943" y="1262"/>
                        <a:pt x="943" y="1262"/>
                      </a:cubicBezTo>
                      <a:cubicBezTo>
                        <a:pt x="961" y="1260"/>
                        <a:pt x="961" y="1260"/>
                        <a:pt x="961" y="1260"/>
                      </a:cubicBezTo>
                      <a:cubicBezTo>
                        <a:pt x="961" y="1260"/>
                        <a:pt x="959" y="1248"/>
                        <a:pt x="959" y="1244"/>
                      </a:cubicBezTo>
                      <a:cubicBezTo>
                        <a:pt x="959" y="1240"/>
                        <a:pt x="947" y="1239"/>
                        <a:pt x="947" y="1239"/>
                      </a:cubicBezTo>
                      <a:close/>
                      <a:moveTo>
                        <a:pt x="979" y="1239"/>
                      </a:moveTo>
                      <a:cubicBezTo>
                        <a:pt x="968" y="1249"/>
                        <a:pt x="968" y="1249"/>
                        <a:pt x="968" y="1249"/>
                      </a:cubicBezTo>
                      <a:cubicBezTo>
                        <a:pt x="983" y="1260"/>
                        <a:pt x="983" y="1260"/>
                        <a:pt x="983" y="1260"/>
                      </a:cubicBezTo>
                      <a:cubicBezTo>
                        <a:pt x="996" y="1256"/>
                        <a:pt x="996" y="1256"/>
                        <a:pt x="996" y="1256"/>
                      </a:cubicBezTo>
                      <a:cubicBezTo>
                        <a:pt x="996" y="1256"/>
                        <a:pt x="992" y="1239"/>
                        <a:pt x="979" y="1239"/>
                      </a:cubicBezTo>
                      <a:close/>
                      <a:moveTo>
                        <a:pt x="1016" y="15"/>
                      </a:moveTo>
                      <a:cubicBezTo>
                        <a:pt x="1016" y="15"/>
                        <a:pt x="1008" y="9"/>
                        <a:pt x="996" y="0"/>
                      </a:cubicBezTo>
                      <a:cubicBezTo>
                        <a:pt x="749" y="0"/>
                        <a:pt x="749" y="0"/>
                        <a:pt x="749" y="0"/>
                      </a:cubicBezTo>
                      <a:cubicBezTo>
                        <a:pt x="702" y="0"/>
                        <a:pt x="213" y="9"/>
                        <a:pt x="0" y="13"/>
                      </a:cubicBezTo>
                      <a:cubicBezTo>
                        <a:pt x="28" y="725"/>
                        <a:pt x="28" y="725"/>
                        <a:pt x="28" y="725"/>
                      </a:cubicBezTo>
                      <a:cubicBezTo>
                        <a:pt x="48" y="720"/>
                        <a:pt x="116" y="713"/>
                        <a:pt x="129" y="713"/>
                      </a:cubicBezTo>
                      <a:cubicBezTo>
                        <a:pt x="143" y="713"/>
                        <a:pt x="239" y="715"/>
                        <a:pt x="240" y="713"/>
                      </a:cubicBezTo>
                      <a:cubicBezTo>
                        <a:pt x="241" y="712"/>
                        <a:pt x="243" y="692"/>
                        <a:pt x="265" y="697"/>
                      </a:cubicBezTo>
                      <a:cubicBezTo>
                        <a:pt x="287" y="702"/>
                        <a:pt x="379" y="766"/>
                        <a:pt x="379" y="766"/>
                      </a:cubicBezTo>
                      <a:cubicBezTo>
                        <a:pt x="379" y="766"/>
                        <a:pt x="402" y="767"/>
                        <a:pt x="403" y="765"/>
                      </a:cubicBezTo>
                      <a:cubicBezTo>
                        <a:pt x="404" y="764"/>
                        <a:pt x="403" y="751"/>
                        <a:pt x="417" y="753"/>
                      </a:cubicBezTo>
                      <a:cubicBezTo>
                        <a:pt x="430" y="755"/>
                        <a:pt x="485" y="787"/>
                        <a:pt x="485" y="787"/>
                      </a:cubicBezTo>
                      <a:cubicBezTo>
                        <a:pt x="497" y="796"/>
                        <a:pt x="497" y="796"/>
                        <a:pt x="497" y="796"/>
                      </a:cubicBezTo>
                      <a:cubicBezTo>
                        <a:pt x="514" y="781"/>
                        <a:pt x="514" y="781"/>
                        <a:pt x="514" y="781"/>
                      </a:cubicBezTo>
                      <a:cubicBezTo>
                        <a:pt x="527" y="799"/>
                        <a:pt x="527" y="799"/>
                        <a:pt x="527" y="799"/>
                      </a:cubicBezTo>
                      <a:cubicBezTo>
                        <a:pt x="527" y="799"/>
                        <a:pt x="527" y="777"/>
                        <a:pt x="547" y="792"/>
                      </a:cubicBezTo>
                      <a:cubicBezTo>
                        <a:pt x="566" y="807"/>
                        <a:pt x="566" y="814"/>
                        <a:pt x="564" y="814"/>
                      </a:cubicBezTo>
                      <a:cubicBezTo>
                        <a:pt x="562" y="814"/>
                        <a:pt x="545" y="828"/>
                        <a:pt x="554" y="829"/>
                      </a:cubicBezTo>
                      <a:cubicBezTo>
                        <a:pt x="562" y="830"/>
                        <a:pt x="582" y="819"/>
                        <a:pt x="582" y="819"/>
                      </a:cubicBezTo>
                      <a:cubicBezTo>
                        <a:pt x="582" y="819"/>
                        <a:pt x="601" y="840"/>
                        <a:pt x="600" y="843"/>
                      </a:cubicBezTo>
                      <a:cubicBezTo>
                        <a:pt x="599" y="846"/>
                        <a:pt x="579" y="853"/>
                        <a:pt x="579" y="853"/>
                      </a:cubicBezTo>
                      <a:cubicBezTo>
                        <a:pt x="579" y="853"/>
                        <a:pt x="592" y="859"/>
                        <a:pt x="585" y="865"/>
                      </a:cubicBezTo>
                      <a:cubicBezTo>
                        <a:pt x="577" y="872"/>
                        <a:pt x="576" y="877"/>
                        <a:pt x="576" y="877"/>
                      </a:cubicBezTo>
                      <a:cubicBezTo>
                        <a:pt x="609" y="910"/>
                        <a:pt x="609" y="910"/>
                        <a:pt x="609" y="910"/>
                      </a:cubicBezTo>
                      <a:cubicBezTo>
                        <a:pt x="609" y="910"/>
                        <a:pt x="623" y="900"/>
                        <a:pt x="637" y="910"/>
                      </a:cubicBezTo>
                      <a:cubicBezTo>
                        <a:pt x="651" y="921"/>
                        <a:pt x="659" y="939"/>
                        <a:pt x="659" y="944"/>
                      </a:cubicBezTo>
                      <a:cubicBezTo>
                        <a:pt x="659" y="949"/>
                        <a:pt x="663" y="973"/>
                        <a:pt x="663" y="973"/>
                      </a:cubicBezTo>
                      <a:cubicBezTo>
                        <a:pt x="663" y="973"/>
                        <a:pt x="677" y="994"/>
                        <a:pt x="688" y="1000"/>
                      </a:cubicBezTo>
                      <a:cubicBezTo>
                        <a:pt x="699" y="1006"/>
                        <a:pt x="708" y="1019"/>
                        <a:pt x="704" y="1024"/>
                      </a:cubicBezTo>
                      <a:cubicBezTo>
                        <a:pt x="700" y="1030"/>
                        <a:pt x="717" y="1052"/>
                        <a:pt x="716" y="1054"/>
                      </a:cubicBezTo>
                      <a:cubicBezTo>
                        <a:pt x="715" y="1055"/>
                        <a:pt x="714" y="1076"/>
                        <a:pt x="719" y="1078"/>
                      </a:cubicBezTo>
                      <a:cubicBezTo>
                        <a:pt x="724" y="1080"/>
                        <a:pt x="724" y="1098"/>
                        <a:pt x="724" y="1098"/>
                      </a:cubicBezTo>
                      <a:cubicBezTo>
                        <a:pt x="724" y="1098"/>
                        <a:pt x="717" y="1102"/>
                        <a:pt x="717" y="1104"/>
                      </a:cubicBezTo>
                      <a:cubicBezTo>
                        <a:pt x="717" y="1106"/>
                        <a:pt x="742" y="1142"/>
                        <a:pt x="746" y="1136"/>
                      </a:cubicBezTo>
                      <a:cubicBezTo>
                        <a:pt x="750" y="1130"/>
                        <a:pt x="773" y="1115"/>
                        <a:pt x="772" y="1111"/>
                      </a:cubicBezTo>
                      <a:cubicBezTo>
                        <a:pt x="771" y="1108"/>
                        <a:pt x="758" y="1091"/>
                        <a:pt x="766" y="1086"/>
                      </a:cubicBezTo>
                      <a:cubicBezTo>
                        <a:pt x="774" y="1081"/>
                        <a:pt x="788" y="1085"/>
                        <a:pt x="789" y="1082"/>
                      </a:cubicBezTo>
                      <a:cubicBezTo>
                        <a:pt x="789" y="1078"/>
                        <a:pt x="796" y="1065"/>
                        <a:pt x="796" y="1062"/>
                      </a:cubicBezTo>
                      <a:cubicBezTo>
                        <a:pt x="796" y="1060"/>
                        <a:pt x="815" y="1029"/>
                        <a:pt x="824" y="1021"/>
                      </a:cubicBezTo>
                      <a:cubicBezTo>
                        <a:pt x="834" y="1013"/>
                        <a:pt x="853" y="998"/>
                        <a:pt x="865" y="998"/>
                      </a:cubicBezTo>
                      <a:cubicBezTo>
                        <a:pt x="877" y="998"/>
                        <a:pt x="886" y="990"/>
                        <a:pt x="896" y="986"/>
                      </a:cubicBezTo>
                      <a:cubicBezTo>
                        <a:pt x="906" y="982"/>
                        <a:pt x="920" y="953"/>
                        <a:pt x="925" y="943"/>
                      </a:cubicBezTo>
                      <a:cubicBezTo>
                        <a:pt x="929" y="934"/>
                        <a:pt x="937" y="921"/>
                        <a:pt x="942" y="911"/>
                      </a:cubicBezTo>
                      <a:cubicBezTo>
                        <a:pt x="947" y="901"/>
                        <a:pt x="973" y="895"/>
                        <a:pt x="973" y="885"/>
                      </a:cubicBezTo>
                      <a:cubicBezTo>
                        <a:pt x="973" y="874"/>
                        <a:pt x="970" y="851"/>
                        <a:pt x="973" y="847"/>
                      </a:cubicBezTo>
                      <a:cubicBezTo>
                        <a:pt x="976" y="842"/>
                        <a:pt x="989" y="855"/>
                        <a:pt x="989" y="863"/>
                      </a:cubicBezTo>
                      <a:cubicBezTo>
                        <a:pt x="989" y="870"/>
                        <a:pt x="1002" y="903"/>
                        <a:pt x="996" y="911"/>
                      </a:cubicBezTo>
                      <a:cubicBezTo>
                        <a:pt x="990" y="919"/>
                        <a:pt x="974" y="915"/>
                        <a:pt x="974" y="923"/>
                      </a:cubicBezTo>
                      <a:cubicBezTo>
                        <a:pt x="975" y="931"/>
                        <a:pt x="991" y="954"/>
                        <a:pt x="988" y="961"/>
                      </a:cubicBezTo>
                      <a:cubicBezTo>
                        <a:pt x="984" y="968"/>
                        <a:pt x="925" y="1039"/>
                        <a:pt x="930" y="1050"/>
                      </a:cubicBezTo>
                      <a:cubicBezTo>
                        <a:pt x="935" y="1061"/>
                        <a:pt x="940" y="1129"/>
                        <a:pt x="930" y="1134"/>
                      </a:cubicBezTo>
                      <a:cubicBezTo>
                        <a:pt x="919" y="1140"/>
                        <a:pt x="910" y="1129"/>
                        <a:pt x="895" y="1135"/>
                      </a:cubicBezTo>
                      <a:cubicBezTo>
                        <a:pt x="881" y="1141"/>
                        <a:pt x="866" y="1158"/>
                        <a:pt x="879" y="1168"/>
                      </a:cubicBezTo>
                      <a:cubicBezTo>
                        <a:pt x="892" y="1177"/>
                        <a:pt x="905" y="1184"/>
                        <a:pt x="906" y="1182"/>
                      </a:cubicBezTo>
                      <a:cubicBezTo>
                        <a:pt x="907" y="1179"/>
                        <a:pt x="931" y="1157"/>
                        <a:pt x="931" y="1157"/>
                      </a:cubicBezTo>
                      <a:cubicBezTo>
                        <a:pt x="931" y="1157"/>
                        <a:pt x="931" y="1176"/>
                        <a:pt x="931" y="1182"/>
                      </a:cubicBezTo>
                      <a:cubicBezTo>
                        <a:pt x="931" y="1187"/>
                        <a:pt x="938" y="1203"/>
                        <a:pt x="948" y="1203"/>
                      </a:cubicBezTo>
                      <a:cubicBezTo>
                        <a:pt x="958" y="1203"/>
                        <a:pt x="957" y="1175"/>
                        <a:pt x="957" y="1159"/>
                      </a:cubicBezTo>
                      <a:cubicBezTo>
                        <a:pt x="957" y="1143"/>
                        <a:pt x="977" y="1126"/>
                        <a:pt x="977" y="1112"/>
                      </a:cubicBezTo>
                      <a:cubicBezTo>
                        <a:pt x="977" y="1098"/>
                        <a:pt x="977" y="1080"/>
                        <a:pt x="982" y="1075"/>
                      </a:cubicBezTo>
                      <a:cubicBezTo>
                        <a:pt x="988" y="1070"/>
                        <a:pt x="993" y="1074"/>
                        <a:pt x="993" y="1061"/>
                      </a:cubicBezTo>
                      <a:cubicBezTo>
                        <a:pt x="993" y="1049"/>
                        <a:pt x="1002" y="1041"/>
                        <a:pt x="1006" y="1036"/>
                      </a:cubicBezTo>
                      <a:cubicBezTo>
                        <a:pt x="1010" y="1031"/>
                        <a:pt x="1026" y="1054"/>
                        <a:pt x="1026" y="1054"/>
                      </a:cubicBezTo>
                      <a:cubicBezTo>
                        <a:pt x="1026" y="1054"/>
                        <a:pt x="1019" y="1065"/>
                        <a:pt x="1018" y="1076"/>
                      </a:cubicBezTo>
                      <a:cubicBezTo>
                        <a:pt x="1017" y="1087"/>
                        <a:pt x="1031" y="1105"/>
                        <a:pt x="1034" y="1112"/>
                      </a:cubicBezTo>
                      <a:cubicBezTo>
                        <a:pt x="1037" y="1118"/>
                        <a:pt x="1051" y="1125"/>
                        <a:pt x="1051" y="1138"/>
                      </a:cubicBezTo>
                      <a:cubicBezTo>
                        <a:pt x="1050" y="1151"/>
                        <a:pt x="1042" y="1162"/>
                        <a:pt x="1039" y="1163"/>
                      </a:cubicBezTo>
                      <a:cubicBezTo>
                        <a:pt x="1036" y="1165"/>
                        <a:pt x="1038" y="1187"/>
                        <a:pt x="1030" y="1195"/>
                      </a:cubicBezTo>
                      <a:cubicBezTo>
                        <a:pt x="1021" y="1203"/>
                        <a:pt x="988" y="1215"/>
                        <a:pt x="994" y="1226"/>
                      </a:cubicBezTo>
                      <a:cubicBezTo>
                        <a:pt x="1000" y="1236"/>
                        <a:pt x="1012" y="1238"/>
                        <a:pt x="1036" y="1235"/>
                      </a:cubicBezTo>
                      <a:cubicBezTo>
                        <a:pt x="1060" y="1231"/>
                        <a:pt x="1045" y="1227"/>
                        <a:pt x="1057" y="1220"/>
                      </a:cubicBezTo>
                      <a:cubicBezTo>
                        <a:pt x="1069" y="1214"/>
                        <a:pt x="1077" y="1203"/>
                        <a:pt x="1095" y="1200"/>
                      </a:cubicBezTo>
                      <a:cubicBezTo>
                        <a:pt x="1114" y="1196"/>
                        <a:pt x="1137" y="1181"/>
                        <a:pt x="1127" y="1196"/>
                      </a:cubicBezTo>
                      <a:cubicBezTo>
                        <a:pt x="1116" y="1211"/>
                        <a:pt x="1110" y="1225"/>
                        <a:pt x="1112" y="1241"/>
                      </a:cubicBezTo>
                      <a:cubicBezTo>
                        <a:pt x="1114" y="1257"/>
                        <a:pt x="1122" y="1261"/>
                        <a:pt x="1131" y="1270"/>
                      </a:cubicBezTo>
                      <a:cubicBezTo>
                        <a:pt x="1140" y="1279"/>
                        <a:pt x="1153" y="1305"/>
                        <a:pt x="1155" y="1316"/>
                      </a:cubicBezTo>
                      <a:cubicBezTo>
                        <a:pt x="1157" y="1327"/>
                        <a:pt x="1179" y="1379"/>
                        <a:pt x="1169" y="1388"/>
                      </a:cubicBezTo>
                      <a:cubicBezTo>
                        <a:pt x="1158" y="1398"/>
                        <a:pt x="1145" y="1409"/>
                        <a:pt x="1145" y="1411"/>
                      </a:cubicBezTo>
                      <a:cubicBezTo>
                        <a:pt x="1145" y="1414"/>
                        <a:pt x="1138" y="1442"/>
                        <a:pt x="1189" y="1486"/>
                      </a:cubicBezTo>
                      <a:cubicBezTo>
                        <a:pt x="1232" y="1543"/>
                        <a:pt x="1241" y="1556"/>
                        <a:pt x="1241" y="1556"/>
                      </a:cubicBezTo>
                      <a:cubicBezTo>
                        <a:pt x="1278" y="1555"/>
                        <a:pt x="1278" y="1555"/>
                        <a:pt x="1278" y="1555"/>
                      </a:cubicBezTo>
                      <a:cubicBezTo>
                        <a:pt x="1369" y="25"/>
                        <a:pt x="1369" y="25"/>
                        <a:pt x="1369" y="25"/>
                      </a:cubicBezTo>
                      <a:lnTo>
                        <a:pt x="1016" y="15"/>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18453" name="Freeform 21" descr="© INSCALE GmbH, 05.05.2010&#10;http://www.presentationload.com/"/>
                <p:cNvSpPr>
                  <a:spLocks noChangeAspect="1" noEditPoints="1"/>
                </p:cNvSpPr>
                <p:nvPr/>
              </p:nvSpPr>
              <p:spPr bwMode="auto">
                <a:xfrm>
                  <a:off x="4562" y="2612"/>
                  <a:ext cx="513" cy="450"/>
                </a:xfrm>
                <a:custGeom>
                  <a:avLst/>
                  <a:gdLst/>
                  <a:ahLst/>
                  <a:cxnLst>
                    <a:cxn ang="0">
                      <a:pos x="527" y="691"/>
                    </a:cxn>
                    <a:cxn ang="0">
                      <a:pos x="517" y="672"/>
                    </a:cxn>
                    <a:cxn ang="0">
                      <a:pos x="279" y="716"/>
                    </a:cxn>
                    <a:cxn ang="0">
                      <a:pos x="266" y="756"/>
                    </a:cxn>
                    <a:cxn ang="0">
                      <a:pos x="274" y="799"/>
                    </a:cxn>
                    <a:cxn ang="0">
                      <a:pos x="293" y="765"/>
                    </a:cxn>
                    <a:cxn ang="0">
                      <a:pos x="738" y="410"/>
                    </a:cxn>
                    <a:cxn ang="0">
                      <a:pos x="726" y="345"/>
                    </a:cxn>
                    <a:cxn ang="0">
                      <a:pos x="721" y="304"/>
                    </a:cxn>
                    <a:cxn ang="0">
                      <a:pos x="679" y="305"/>
                    </a:cxn>
                    <a:cxn ang="0">
                      <a:pos x="649" y="310"/>
                    </a:cxn>
                    <a:cxn ang="0">
                      <a:pos x="631" y="340"/>
                    </a:cxn>
                    <a:cxn ang="0">
                      <a:pos x="585" y="290"/>
                    </a:cxn>
                    <a:cxn ang="0">
                      <a:pos x="514" y="288"/>
                    </a:cxn>
                    <a:cxn ang="0">
                      <a:pos x="472" y="275"/>
                    </a:cxn>
                    <a:cxn ang="0">
                      <a:pos x="420" y="293"/>
                    </a:cxn>
                    <a:cxn ang="0">
                      <a:pos x="366" y="261"/>
                    </a:cxn>
                    <a:cxn ang="0">
                      <a:pos x="312" y="193"/>
                    </a:cxn>
                    <a:cxn ang="0">
                      <a:pos x="285" y="166"/>
                    </a:cxn>
                    <a:cxn ang="0">
                      <a:pos x="266" y="114"/>
                    </a:cxn>
                    <a:cxn ang="0">
                      <a:pos x="193" y="110"/>
                    </a:cxn>
                    <a:cxn ang="0">
                      <a:pos x="169" y="73"/>
                    </a:cxn>
                    <a:cxn ang="0">
                      <a:pos x="128" y="8"/>
                    </a:cxn>
                    <a:cxn ang="0">
                      <a:pos x="81" y="25"/>
                    </a:cxn>
                    <a:cxn ang="0">
                      <a:pos x="30" y="0"/>
                    </a:cxn>
                    <a:cxn ang="0">
                      <a:pos x="6" y="509"/>
                    </a:cxn>
                    <a:cxn ang="0">
                      <a:pos x="49" y="561"/>
                    </a:cxn>
                    <a:cxn ang="0">
                      <a:pos x="112" y="560"/>
                    </a:cxn>
                    <a:cxn ang="0">
                      <a:pos x="199" y="611"/>
                    </a:cxn>
                    <a:cxn ang="0">
                      <a:pos x="258" y="603"/>
                    </a:cxn>
                    <a:cxn ang="0">
                      <a:pos x="324" y="575"/>
                    </a:cxn>
                    <a:cxn ang="0">
                      <a:pos x="373" y="550"/>
                    </a:cxn>
                    <a:cxn ang="0">
                      <a:pos x="370" y="513"/>
                    </a:cxn>
                    <a:cxn ang="0">
                      <a:pos x="417" y="556"/>
                    </a:cxn>
                    <a:cxn ang="0">
                      <a:pos x="407" y="595"/>
                    </a:cxn>
                    <a:cxn ang="0">
                      <a:pos x="448" y="587"/>
                    </a:cxn>
                    <a:cxn ang="0">
                      <a:pos x="458" y="627"/>
                    </a:cxn>
                    <a:cxn ang="0">
                      <a:pos x="488" y="657"/>
                    </a:cxn>
                    <a:cxn ang="0">
                      <a:pos x="557" y="645"/>
                    </a:cxn>
                    <a:cxn ang="0">
                      <a:pos x="691" y="555"/>
                    </a:cxn>
                    <a:cxn ang="0">
                      <a:pos x="770" y="550"/>
                    </a:cxn>
                    <a:cxn ang="0">
                      <a:pos x="890" y="535"/>
                    </a:cxn>
                    <a:cxn ang="0">
                      <a:pos x="738" y="410"/>
                    </a:cxn>
                  </a:cxnLst>
                  <a:rect l="0" t="0" r="r" b="b"/>
                  <a:pathLst>
                    <a:path w="912" h="799">
                      <a:moveTo>
                        <a:pt x="517" y="672"/>
                      </a:moveTo>
                      <a:cubicBezTo>
                        <a:pt x="517" y="672"/>
                        <a:pt x="520" y="690"/>
                        <a:pt x="527" y="691"/>
                      </a:cubicBezTo>
                      <a:cubicBezTo>
                        <a:pt x="533" y="692"/>
                        <a:pt x="537" y="676"/>
                        <a:pt x="540" y="668"/>
                      </a:cubicBezTo>
                      <a:cubicBezTo>
                        <a:pt x="543" y="660"/>
                        <a:pt x="523" y="660"/>
                        <a:pt x="517" y="672"/>
                      </a:cubicBezTo>
                      <a:close/>
                      <a:moveTo>
                        <a:pt x="291" y="734"/>
                      </a:moveTo>
                      <a:cubicBezTo>
                        <a:pt x="279" y="716"/>
                        <a:pt x="279" y="716"/>
                        <a:pt x="279" y="716"/>
                      </a:cubicBezTo>
                      <a:cubicBezTo>
                        <a:pt x="279" y="716"/>
                        <a:pt x="269" y="730"/>
                        <a:pt x="266" y="736"/>
                      </a:cubicBezTo>
                      <a:cubicBezTo>
                        <a:pt x="263" y="743"/>
                        <a:pt x="266" y="752"/>
                        <a:pt x="266" y="756"/>
                      </a:cubicBezTo>
                      <a:cubicBezTo>
                        <a:pt x="266" y="760"/>
                        <a:pt x="262" y="772"/>
                        <a:pt x="262" y="772"/>
                      </a:cubicBezTo>
                      <a:cubicBezTo>
                        <a:pt x="274" y="799"/>
                        <a:pt x="274" y="799"/>
                        <a:pt x="274" y="799"/>
                      </a:cubicBezTo>
                      <a:cubicBezTo>
                        <a:pt x="295" y="775"/>
                        <a:pt x="295" y="775"/>
                        <a:pt x="295" y="775"/>
                      </a:cubicBezTo>
                      <a:cubicBezTo>
                        <a:pt x="293" y="765"/>
                        <a:pt x="293" y="765"/>
                        <a:pt x="293" y="765"/>
                      </a:cubicBezTo>
                      <a:lnTo>
                        <a:pt x="291" y="734"/>
                      </a:lnTo>
                      <a:close/>
                      <a:moveTo>
                        <a:pt x="738" y="410"/>
                      </a:moveTo>
                      <a:cubicBezTo>
                        <a:pt x="754" y="383"/>
                        <a:pt x="754" y="383"/>
                        <a:pt x="754" y="383"/>
                      </a:cubicBezTo>
                      <a:cubicBezTo>
                        <a:pt x="726" y="345"/>
                        <a:pt x="726" y="345"/>
                        <a:pt x="726" y="345"/>
                      </a:cubicBezTo>
                      <a:cubicBezTo>
                        <a:pt x="734" y="329"/>
                        <a:pt x="734" y="329"/>
                        <a:pt x="734" y="329"/>
                      </a:cubicBezTo>
                      <a:cubicBezTo>
                        <a:pt x="721" y="304"/>
                        <a:pt x="721" y="304"/>
                        <a:pt x="721" y="304"/>
                      </a:cubicBezTo>
                      <a:cubicBezTo>
                        <a:pt x="698" y="307"/>
                        <a:pt x="698" y="307"/>
                        <a:pt x="698" y="307"/>
                      </a:cubicBezTo>
                      <a:cubicBezTo>
                        <a:pt x="679" y="305"/>
                        <a:pt x="679" y="305"/>
                        <a:pt x="679" y="305"/>
                      </a:cubicBezTo>
                      <a:cubicBezTo>
                        <a:pt x="670" y="312"/>
                        <a:pt x="670" y="312"/>
                        <a:pt x="670" y="312"/>
                      </a:cubicBezTo>
                      <a:cubicBezTo>
                        <a:pt x="649" y="310"/>
                        <a:pt x="649" y="310"/>
                        <a:pt x="649" y="310"/>
                      </a:cubicBezTo>
                      <a:cubicBezTo>
                        <a:pt x="648" y="329"/>
                        <a:pt x="648" y="329"/>
                        <a:pt x="648" y="329"/>
                      </a:cubicBezTo>
                      <a:cubicBezTo>
                        <a:pt x="631" y="340"/>
                        <a:pt x="631" y="340"/>
                        <a:pt x="631" y="340"/>
                      </a:cubicBezTo>
                      <a:cubicBezTo>
                        <a:pt x="629" y="312"/>
                        <a:pt x="629" y="312"/>
                        <a:pt x="629" y="312"/>
                      </a:cubicBezTo>
                      <a:cubicBezTo>
                        <a:pt x="629" y="312"/>
                        <a:pt x="588" y="290"/>
                        <a:pt x="585" y="290"/>
                      </a:cubicBezTo>
                      <a:cubicBezTo>
                        <a:pt x="582" y="290"/>
                        <a:pt x="569" y="299"/>
                        <a:pt x="553" y="300"/>
                      </a:cubicBezTo>
                      <a:cubicBezTo>
                        <a:pt x="536" y="301"/>
                        <a:pt x="514" y="288"/>
                        <a:pt x="514" y="288"/>
                      </a:cubicBezTo>
                      <a:cubicBezTo>
                        <a:pt x="502" y="271"/>
                        <a:pt x="502" y="271"/>
                        <a:pt x="502" y="271"/>
                      </a:cubicBezTo>
                      <a:cubicBezTo>
                        <a:pt x="472" y="275"/>
                        <a:pt x="472" y="275"/>
                        <a:pt x="472" y="275"/>
                      </a:cubicBezTo>
                      <a:cubicBezTo>
                        <a:pt x="472" y="275"/>
                        <a:pt x="451" y="261"/>
                        <a:pt x="431" y="261"/>
                      </a:cubicBezTo>
                      <a:cubicBezTo>
                        <a:pt x="411" y="261"/>
                        <a:pt x="420" y="293"/>
                        <a:pt x="420" y="293"/>
                      </a:cubicBezTo>
                      <a:cubicBezTo>
                        <a:pt x="402" y="294"/>
                        <a:pt x="402" y="294"/>
                        <a:pt x="402" y="294"/>
                      </a:cubicBezTo>
                      <a:cubicBezTo>
                        <a:pt x="366" y="261"/>
                        <a:pt x="366" y="261"/>
                        <a:pt x="366" y="261"/>
                      </a:cubicBezTo>
                      <a:cubicBezTo>
                        <a:pt x="366" y="244"/>
                        <a:pt x="366" y="244"/>
                        <a:pt x="366" y="244"/>
                      </a:cubicBezTo>
                      <a:cubicBezTo>
                        <a:pt x="312" y="193"/>
                        <a:pt x="312" y="193"/>
                        <a:pt x="312" y="193"/>
                      </a:cubicBezTo>
                      <a:cubicBezTo>
                        <a:pt x="287" y="190"/>
                        <a:pt x="287" y="190"/>
                        <a:pt x="287" y="190"/>
                      </a:cubicBezTo>
                      <a:cubicBezTo>
                        <a:pt x="285" y="166"/>
                        <a:pt x="285" y="166"/>
                        <a:pt x="285" y="166"/>
                      </a:cubicBezTo>
                      <a:cubicBezTo>
                        <a:pt x="265" y="163"/>
                        <a:pt x="265" y="163"/>
                        <a:pt x="265" y="163"/>
                      </a:cubicBezTo>
                      <a:cubicBezTo>
                        <a:pt x="266" y="114"/>
                        <a:pt x="266" y="114"/>
                        <a:pt x="266" y="114"/>
                      </a:cubicBezTo>
                      <a:cubicBezTo>
                        <a:pt x="212" y="85"/>
                        <a:pt x="212" y="85"/>
                        <a:pt x="212" y="85"/>
                      </a:cubicBezTo>
                      <a:cubicBezTo>
                        <a:pt x="212" y="85"/>
                        <a:pt x="198" y="106"/>
                        <a:pt x="193" y="110"/>
                      </a:cubicBezTo>
                      <a:cubicBezTo>
                        <a:pt x="187" y="115"/>
                        <a:pt x="182" y="80"/>
                        <a:pt x="182" y="80"/>
                      </a:cubicBezTo>
                      <a:cubicBezTo>
                        <a:pt x="169" y="73"/>
                        <a:pt x="169" y="73"/>
                        <a:pt x="169" y="73"/>
                      </a:cubicBezTo>
                      <a:cubicBezTo>
                        <a:pt x="172" y="48"/>
                        <a:pt x="172" y="48"/>
                        <a:pt x="172" y="48"/>
                      </a:cubicBezTo>
                      <a:cubicBezTo>
                        <a:pt x="128" y="8"/>
                        <a:pt x="128" y="8"/>
                        <a:pt x="128" y="8"/>
                      </a:cubicBezTo>
                      <a:cubicBezTo>
                        <a:pt x="96" y="11"/>
                        <a:pt x="96" y="11"/>
                        <a:pt x="96" y="11"/>
                      </a:cubicBezTo>
                      <a:cubicBezTo>
                        <a:pt x="81" y="25"/>
                        <a:pt x="81" y="25"/>
                        <a:pt x="81" y="25"/>
                      </a:cubicBezTo>
                      <a:cubicBezTo>
                        <a:pt x="50" y="3"/>
                        <a:pt x="50" y="3"/>
                        <a:pt x="50" y="3"/>
                      </a:cubicBezTo>
                      <a:cubicBezTo>
                        <a:pt x="30" y="0"/>
                        <a:pt x="30" y="0"/>
                        <a:pt x="30" y="0"/>
                      </a:cubicBezTo>
                      <a:cubicBezTo>
                        <a:pt x="0" y="510"/>
                        <a:pt x="0" y="510"/>
                        <a:pt x="0" y="510"/>
                      </a:cubicBezTo>
                      <a:cubicBezTo>
                        <a:pt x="6" y="509"/>
                        <a:pt x="6" y="509"/>
                        <a:pt x="6" y="509"/>
                      </a:cubicBezTo>
                      <a:cubicBezTo>
                        <a:pt x="6" y="509"/>
                        <a:pt x="29" y="550"/>
                        <a:pt x="33" y="552"/>
                      </a:cubicBezTo>
                      <a:cubicBezTo>
                        <a:pt x="36" y="553"/>
                        <a:pt x="42" y="562"/>
                        <a:pt x="49" y="561"/>
                      </a:cubicBezTo>
                      <a:cubicBezTo>
                        <a:pt x="56" y="560"/>
                        <a:pt x="58" y="525"/>
                        <a:pt x="71" y="528"/>
                      </a:cubicBezTo>
                      <a:cubicBezTo>
                        <a:pt x="83" y="532"/>
                        <a:pt x="108" y="560"/>
                        <a:pt x="112" y="560"/>
                      </a:cubicBezTo>
                      <a:cubicBezTo>
                        <a:pt x="116" y="560"/>
                        <a:pt x="150" y="559"/>
                        <a:pt x="152" y="560"/>
                      </a:cubicBezTo>
                      <a:cubicBezTo>
                        <a:pt x="154" y="560"/>
                        <a:pt x="193" y="611"/>
                        <a:pt x="199" y="611"/>
                      </a:cubicBezTo>
                      <a:cubicBezTo>
                        <a:pt x="204" y="610"/>
                        <a:pt x="241" y="621"/>
                        <a:pt x="242" y="620"/>
                      </a:cubicBezTo>
                      <a:cubicBezTo>
                        <a:pt x="242" y="618"/>
                        <a:pt x="245" y="603"/>
                        <a:pt x="258" y="603"/>
                      </a:cubicBezTo>
                      <a:cubicBezTo>
                        <a:pt x="272" y="602"/>
                        <a:pt x="286" y="616"/>
                        <a:pt x="292" y="611"/>
                      </a:cubicBezTo>
                      <a:cubicBezTo>
                        <a:pt x="298" y="607"/>
                        <a:pt x="309" y="583"/>
                        <a:pt x="324" y="575"/>
                      </a:cubicBezTo>
                      <a:cubicBezTo>
                        <a:pt x="338" y="566"/>
                        <a:pt x="351" y="568"/>
                        <a:pt x="359" y="564"/>
                      </a:cubicBezTo>
                      <a:cubicBezTo>
                        <a:pt x="366" y="560"/>
                        <a:pt x="374" y="551"/>
                        <a:pt x="373" y="550"/>
                      </a:cubicBezTo>
                      <a:cubicBezTo>
                        <a:pt x="371" y="549"/>
                        <a:pt x="350" y="544"/>
                        <a:pt x="349" y="540"/>
                      </a:cubicBezTo>
                      <a:cubicBezTo>
                        <a:pt x="348" y="536"/>
                        <a:pt x="352" y="518"/>
                        <a:pt x="370" y="513"/>
                      </a:cubicBezTo>
                      <a:cubicBezTo>
                        <a:pt x="387" y="508"/>
                        <a:pt x="414" y="512"/>
                        <a:pt x="414" y="519"/>
                      </a:cubicBezTo>
                      <a:cubicBezTo>
                        <a:pt x="414" y="526"/>
                        <a:pt x="432" y="549"/>
                        <a:pt x="417" y="556"/>
                      </a:cubicBezTo>
                      <a:cubicBezTo>
                        <a:pt x="402" y="563"/>
                        <a:pt x="376" y="580"/>
                        <a:pt x="381" y="583"/>
                      </a:cubicBezTo>
                      <a:cubicBezTo>
                        <a:pt x="386" y="587"/>
                        <a:pt x="402" y="598"/>
                        <a:pt x="407" y="595"/>
                      </a:cubicBezTo>
                      <a:cubicBezTo>
                        <a:pt x="413" y="592"/>
                        <a:pt x="430" y="560"/>
                        <a:pt x="440" y="564"/>
                      </a:cubicBezTo>
                      <a:cubicBezTo>
                        <a:pt x="450" y="568"/>
                        <a:pt x="460" y="577"/>
                        <a:pt x="448" y="587"/>
                      </a:cubicBezTo>
                      <a:cubicBezTo>
                        <a:pt x="436" y="597"/>
                        <a:pt x="424" y="605"/>
                        <a:pt x="432" y="609"/>
                      </a:cubicBezTo>
                      <a:cubicBezTo>
                        <a:pt x="440" y="613"/>
                        <a:pt x="458" y="627"/>
                        <a:pt x="458" y="627"/>
                      </a:cubicBezTo>
                      <a:cubicBezTo>
                        <a:pt x="469" y="625"/>
                        <a:pt x="469" y="625"/>
                        <a:pt x="469" y="625"/>
                      </a:cubicBezTo>
                      <a:cubicBezTo>
                        <a:pt x="469" y="625"/>
                        <a:pt x="474" y="661"/>
                        <a:pt x="488" y="657"/>
                      </a:cubicBezTo>
                      <a:cubicBezTo>
                        <a:pt x="501" y="654"/>
                        <a:pt x="499" y="635"/>
                        <a:pt x="522" y="636"/>
                      </a:cubicBezTo>
                      <a:cubicBezTo>
                        <a:pt x="545" y="637"/>
                        <a:pt x="547" y="647"/>
                        <a:pt x="557" y="645"/>
                      </a:cubicBezTo>
                      <a:cubicBezTo>
                        <a:pt x="566" y="644"/>
                        <a:pt x="594" y="630"/>
                        <a:pt x="597" y="627"/>
                      </a:cubicBezTo>
                      <a:cubicBezTo>
                        <a:pt x="600" y="624"/>
                        <a:pt x="673" y="559"/>
                        <a:pt x="691" y="555"/>
                      </a:cubicBezTo>
                      <a:cubicBezTo>
                        <a:pt x="710" y="551"/>
                        <a:pt x="748" y="538"/>
                        <a:pt x="748" y="538"/>
                      </a:cubicBezTo>
                      <a:cubicBezTo>
                        <a:pt x="748" y="538"/>
                        <a:pt x="768" y="550"/>
                        <a:pt x="770" y="550"/>
                      </a:cubicBezTo>
                      <a:cubicBezTo>
                        <a:pt x="773" y="549"/>
                        <a:pt x="845" y="562"/>
                        <a:pt x="856" y="554"/>
                      </a:cubicBezTo>
                      <a:cubicBezTo>
                        <a:pt x="866" y="547"/>
                        <a:pt x="890" y="535"/>
                        <a:pt x="890" y="535"/>
                      </a:cubicBezTo>
                      <a:cubicBezTo>
                        <a:pt x="912" y="534"/>
                        <a:pt x="912" y="534"/>
                        <a:pt x="912" y="534"/>
                      </a:cubicBezTo>
                      <a:lnTo>
                        <a:pt x="738" y="410"/>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18454" name="Freeform 22" descr="© INSCALE GmbH, 05.05.2010&#10;http://www.presentationload.com/"/>
                <p:cNvSpPr>
                  <a:spLocks noChangeAspect="1" noEditPoints="1"/>
                </p:cNvSpPr>
                <p:nvPr/>
              </p:nvSpPr>
              <p:spPr bwMode="auto">
                <a:xfrm>
                  <a:off x="4579" y="2251"/>
                  <a:ext cx="803" cy="661"/>
                </a:xfrm>
                <a:custGeom>
                  <a:avLst/>
                  <a:gdLst/>
                  <a:ahLst/>
                  <a:cxnLst>
                    <a:cxn ang="0">
                      <a:pos x="1395" y="59"/>
                    </a:cxn>
                    <a:cxn ang="0">
                      <a:pos x="1359" y="67"/>
                    </a:cxn>
                    <a:cxn ang="0">
                      <a:pos x="1251" y="67"/>
                    </a:cxn>
                    <a:cxn ang="0">
                      <a:pos x="1207" y="111"/>
                    </a:cxn>
                    <a:cxn ang="0">
                      <a:pos x="1167" y="107"/>
                    </a:cxn>
                    <a:cxn ang="0">
                      <a:pos x="1083" y="75"/>
                    </a:cxn>
                    <a:cxn ang="0">
                      <a:pos x="1019" y="47"/>
                    </a:cxn>
                    <a:cxn ang="0">
                      <a:pos x="915" y="83"/>
                    </a:cxn>
                    <a:cxn ang="0">
                      <a:pos x="0" y="643"/>
                    </a:cxn>
                    <a:cxn ang="0">
                      <a:pos x="51" y="668"/>
                    </a:cxn>
                    <a:cxn ang="0">
                      <a:pos x="98" y="651"/>
                    </a:cxn>
                    <a:cxn ang="0">
                      <a:pos x="139" y="716"/>
                    </a:cxn>
                    <a:cxn ang="0">
                      <a:pos x="163" y="753"/>
                    </a:cxn>
                    <a:cxn ang="0">
                      <a:pos x="236" y="757"/>
                    </a:cxn>
                    <a:cxn ang="0">
                      <a:pos x="255" y="809"/>
                    </a:cxn>
                    <a:cxn ang="0">
                      <a:pos x="282" y="836"/>
                    </a:cxn>
                    <a:cxn ang="0">
                      <a:pos x="336" y="904"/>
                    </a:cxn>
                    <a:cxn ang="0">
                      <a:pos x="390" y="936"/>
                    </a:cxn>
                    <a:cxn ang="0">
                      <a:pos x="442" y="918"/>
                    </a:cxn>
                    <a:cxn ang="0">
                      <a:pos x="484" y="931"/>
                    </a:cxn>
                    <a:cxn ang="0">
                      <a:pos x="555" y="933"/>
                    </a:cxn>
                    <a:cxn ang="0">
                      <a:pos x="601" y="983"/>
                    </a:cxn>
                    <a:cxn ang="0">
                      <a:pos x="619" y="953"/>
                    </a:cxn>
                    <a:cxn ang="0">
                      <a:pos x="649" y="948"/>
                    </a:cxn>
                    <a:cxn ang="0">
                      <a:pos x="691" y="947"/>
                    </a:cxn>
                    <a:cxn ang="0">
                      <a:pos x="696" y="988"/>
                    </a:cxn>
                    <a:cxn ang="0">
                      <a:pos x="708" y="1053"/>
                    </a:cxn>
                    <a:cxn ang="0">
                      <a:pos x="888" y="1177"/>
                    </a:cxn>
                    <a:cxn ang="0">
                      <a:pos x="884" y="1105"/>
                    </a:cxn>
                    <a:cxn ang="0">
                      <a:pos x="924" y="983"/>
                    </a:cxn>
                    <a:cxn ang="0">
                      <a:pos x="989" y="886"/>
                    </a:cxn>
                    <a:cxn ang="0">
                      <a:pos x="1015" y="873"/>
                    </a:cxn>
                    <a:cxn ang="0">
                      <a:pos x="1025" y="828"/>
                    </a:cxn>
                    <a:cxn ang="0">
                      <a:pos x="1056" y="768"/>
                    </a:cxn>
                    <a:cxn ang="0">
                      <a:pos x="1091" y="691"/>
                    </a:cxn>
                    <a:cxn ang="0">
                      <a:pos x="1175" y="614"/>
                    </a:cxn>
                    <a:cxn ang="0">
                      <a:pos x="1215" y="582"/>
                    </a:cxn>
                    <a:cxn ang="0">
                      <a:pos x="1239" y="562"/>
                    </a:cxn>
                    <a:cxn ang="0">
                      <a:pos x="1296" y="463"/>
                    </a:cxn>
                    <a:cxn ang="0">
                      <a:pos x="1322" y="357"/>
                    </a:cxn>
                    <a:cxn ang="0">
                      <a:pos x="1388" y="190"/>
                    </a:cxn>
                    <a:cxn ang="0">
                      <a:pos x="1423" y="99"/>
                    </a:cxn>
                    <a:cxn ang="0">
                      <a:pos x="1427" y="59"/>
                    </a:cxn>
                    <a:cxn ang="0">
                      <a:pos x="831" y="943"/>
                    </a:cxn>
                    <a:cxn ang="0">
                      <a:pos x="803" y="948"/>
                    </a:cxn>
                    <a:cxn ang="0">
                      <a:pos x="791" y="932"/>
                    </a:cxn>
                    <a:cxn ang="0">
                      <a:pos x="800" y="881"/>
                    </a:cxn>
                    <a:cxn ang="0">
                      <a:pos x="842" y="881"/>
                    </a:cxn>
                    <a:cxn ang="0">
                      <a:pos x="837" y="914"/>
                    </a:cxn>
                  </a:cxnLst>
                  <a:rect l="0" t="0" r="r" b="b"/>
                  <a:pathLst>
                    <a:path w="1429" h="1177">
                      <a:moveTo>
                        <a:pt x="1427" y="59"/>
                      </a:moveTo>
                      <a:cubicBezTo>
                        <a:pt x="1395" y="59"/>
                        <a:pt x="1395" y="59"/>
                        <a:pt x="1395" y="59"/>
                      </a:cubicBezTo>
                      <a:cubicBezTo>
                        <a:pt x="1391" y="75"/>
                        <a:pt x="1391" y="75"/>
                        <a:pt x="1391" y="75"/>
                      </a:cubicBezTo>
                      <a:cubicBezTo>
                        <a:pt x="1359" y="67"/>
                        <a:pt x="1359" y="67"/>
                        <a:pt x="1359" y="67"/>
                      </a:cubicBezTo>
                      <a:cubicBezTo>
                        <a:pt x="1311" y="51"/>
                        <a:pt x="1311" y="51"/>
                        <a:pt x="1311" y="51"/>
                      </a:cubicBezTo>
                      <a:cubicBezTo>
                        <a:pt x="1251" y="67"/>
                        <a:pt x="1251" y="67"/>
                        <a:pt x="1251" y="67"/>
                      </a:cubicBezTo>
                      <a:cubicBezTo>
                        <a:pt x="1251" y="67"/>
                        <a:pt x="1243" y="95"/>
                        <a:pt x="1239" y="111"/>
                      </a:cubicBezTo>
                      <a:cubicBezTo>
                        <a:pt x="1235" y="127"/>
                        <a:pt x="1207" y="111"/>
                        <a:pt x="1207" y="111"/>
                      </a:cubicBezTo>
                      <a:cubicBezTo>
                        <a:pt x="1171" y="139"/>
                        <a:pt x="1171" y="139"/>
                        <a:pt x="1171" y="139"/>
                      </a:cubicBezTo>
                      <a:cubicBezTo>
                        <a:pt x="1167" y="107"/>
                        <a:pt x="1167" y="107"/>
                        <a:pt x="1167" y="107"/>
                      </a:cubicBezTo>
                      <a:cubicBezTo>
                        <a:pt x="1127" y="71"/>
                        <a:pt x="1127" y="71"/>
                        <a:pt x="1127" y="71"/>
                      </a:cubicBezTo>
                      <a:cubicBezTo>
                        <a:pt x="1083" y="75"/>
                        <a:pt x="1083" y="75"/>
                        <a:pt x="1083" y="75"/>
                      </a:cubicBezTo>
                      <a:cubicBezTo>
                        <a:pt x="1059" y="47"/>
                        <a:pt x="1059" y="47"/>
                        <a:pt x="1059" y="47"/>
                      </a:cubicBezTo>
                      <a:cubicBezTo>
                        <a:pt x="1019" y="47"/>
                        <a:pt x="1019" y="47"/>
                        <a:pt x="1019" y="47"/>
                      </a:cubicBezTo>
                      <a:cubicBezTo>
                        <a:pt x="979" y="39"/>
                        <a:pt x="979" y="39"/>
                        <a:pt x="979" y="39"/>
                      </a:cubicBezTo>
                      <a:cubicBezTo>
                        <a:pt x="915" y="83"/>
                        <a:pt x="915" y="83"/>
                        <a:pt x="915" y="83"/>
                      </a:cubicBezTo>
                      <a:cubicBezTo>
                        <a:pt x="39" y="0"/>
                        <a:pt x="39" y="0"/>
                        <a:pt x="39" y="0"/>
                      </a:cubicBezTo>
                      <a:cubicBezTo>
                        <a:pt x="0" y="643"/>
                        <a:pt x="0" y="643"/>
                        <a:pt x="0" y="643"/>
                      </a:cubicBezTo>
                      <a:cubicBezTo>
                        <a:pt x="20" y="646"/>
                        <a:pt x="20" y="646"/>
                        <a:pt x="20" y="646"/>
                      </a:cubicBezTo>
                      <a:cubicBezTo>
                        <a:pt x="51" y="668"/>
                        <a:pt x="51" y="668"/>
                        <a:pt x="51" y="668"/>
                      </a:cubicBezTo>
                      <a:cubicBezTo>
                        <a:pt x="66" y="654"/>
                        <a:pt x="66" y="654"/>
                        <a:pt x="66" y="654"/>
                      </a:cubicBezTo>
                      <a:cubicBezTo>
                        <a:pt x="98" y="651"/>
                        <a:pt x="98" y="651"/>
                        <a:pt x="98" y="651"/>
                      </a:cubicBezTo>
                      <a:cubicBezTo>
                        <a:pt x="142" y="691"/>
                        <a:pt x="142" y="691"/>
                        <a:pt x="142" y="691"/>
                      </a:cubicBezTo>
                      <a:cubicBezTo>
                        <a:pt x="139" y="716"/>
                        <a:pt x="139" y="716"/>
                        <a:pt x="139" y="716"/>
                      </a:cubicBezTo>
                      <a:cubicBezTo>
                        <a:pt x="152" y="723"/>
                        <a:pt x="152" y="723"/>
                        <a:pt x="152" y="723"/>
                      </a:cubicBezTo>
                      <a:cubicBezTo>
                        <a:pt x="152" y="723"/>
                        <a:pt x="157" y="758"/>
                        <a:pt x="163" y="753"/>
                      </a:cubicBezTo>
                      <a:cubicBezTo>
                        <a:pt x="168" y="749"/>
                        <a:pt x="182" y="728"/>
                        <a:pt x="182" y="728"/>
                      </a:cubicBezTo>
                      <a:cubicBezTo>
                        <a:pt x="236" y="757"/>
                        <a:pt x="236" y="757"/>
                        <a:pt x="236" y="757"/>
                      </a:cubicBezTo>
                      <a:cubicBezTo>
                        <a:pt x="235" y="806"/>
                        <a:pt x="235" y="806"/>
                        <a:pt x="235" y="806"/>
                      </a:cubicBezTo>
                      <a:cubicBezTo>
                        <a:pt x="255" y="809"/>
                        <a:pt x="255" y="809"/>
                        <a:pt x="255" y="809"/>
                      </a:cubicBezTo>
                      <a:cubicBezTo>
                        <a:pt x="257" y="833"/>
                        <a:pt x="257" y="833"/>
                        <a:pt x="257" y="833"/>
                      </a:cubicBezTo>
                      <a:cubicBezTo>
                        <a:pt x="282" y="836"/>
                        <a:pt x="282" y="836"/>
                        <a:pt x="282" y="836"/>
                      </a:cubicBezTo>
                      <a:cubicBezTo>
                        <a:pt x="336" y="887"/>
                        <a:pt x="336" y="887"/>
                        <a:pt x="336" y="887"/>
                      </a:cubicBezTo>
                      <a:cubicBezTo>
                        <a:pt x="336" y="904"/>
                        <a:pt x="336" y="904"/>
                        <a:pt x="336" y="904"/>
                      </a:cubicBezTo>
                      <a:cubicBezTo>
                        <a:pt x="372" y="937"/>
                        <a:pt x="372" y="937"/>
                        <a:pt x="372" y="937"/>
                      </a:cubicBezTo>
                      <a:cubicBezTo>
                        <a:pt x="390" y="936"/>
                        <a:pt x="390" y="936"/>
                        <a:pt x="390" y="936"/>
                      </a:cubicBezTo>
                      <a:cubicBezTo>
                        <a:pt x="390" y="936"/>
                        <a:pt x="381" y="904"/>
                        <a:pt x="401" y="904"/>
                      </a:cubicBezTo>
                      <a:cubicBezTo>
                        <a:pt x="421" y="904"/>
                        <a:pt x="442" y="918"/>
                        <a:pt x="442" y="918"/>
                      </a:cubicBezTo>
                      <a:cubicBezTo>
                        <a:pt x="472" y="914"/>
                        <a:pt x="472" y="914"/>
                        <a:pt x="472" y="914"/>
                      </a:cubicBezTo>
                      <a:cubicBezTo>
                        <a:pt x="484" y="931"/>
                        <a:pt x="484" y="931"/>
                        <a:pt x="484" y="931"/>
                      </a:cubicBezTo>
                      <a:cubicBezTo>
                        <a:pt x="484" y="931"/>
                        <a:pt x="506" y="944"/>
                        <a:pt x="523" y="943"/>
                      </a:cubicBezTo>
                      <a:cubicBezTo>
                        <a:pt x="539" y="942"/>
                        <a:pt x="552" y="933"/>
                        <a:pt x="555" y="933"/>
                      </a:cubicBezTo>
                      <a:cubicBezTo>
                        <a:pt x="558" y="933"/>
                        <a:pt x="599" y="955"/>
                        <a:pt x="599" y="955"/>
                      </a:cubicBezTo>
                      <a:cubicBezTo>
                        <a:pt x="601" y="983"/>
                        <a:pt x="601" y="983"/>
                        <a:pt x="601" y="983"/>
                      </a:cubicBezTo>
                      <a:cubicBezTo>
                        <a:pt x="618" y="972"/>
                        <a:pt x="618" y="972"/>
                        <a:pt x="618" y="972"/>
                      </a:cubicBezTo>
                      <a:cubicBezTo>
                        <a:pt x="619" y="953"/>
                        <a:pt x="619" y="953"/>
                        <a:pt x="619" y="953"/>
                      </a:cubicBezTo>
                      <a:cubicBezTo>
                        <a:pt x="640" y="955"/>
                        <a:pt x="640" y="955"/>
                        <a:pt x="640" y="955"/>
                      </a:cubicBezTo>
                      <a:cubicBezTo>
                        <a:pt x="649" y="948"/>
                        <a:pt x="649" y="948"/>
                        <a:pt x="649" y="948"/>
                      </a:cubicBezTo>
                      <a:cubicBezTo>
                        <a:pt x="668" y="950"/>
                        <a:pt x="668" y="950"/>
                        <a:pt x="668" y="950"/>
                      </a:cubicBezTo>
                      <a:cubicBezTo>
                        <a:pt x="691" y="947"/>
                        <a:pt x="691" y="947"/>
                        <a:pt x="691" y="947"/>
                      </a:cubicBezTo>
                      <a:cubicBezTo>
                        <a:pt x="704" y="972"/>
                        <a:pt x="704" y="972"/>
                        <a:pt x="704" y="972"/>
                      </a:cubicBezTo>
                      <a:cubicBezTo>
                        <a:pt x="696" y="988"/>
                        <a:pt x="696" y="988"/>
                        <a:pt x="696" y="988"/>
                      </a:cubicBezTo>
                      <a:cubicBezTo>
                        <a:pt x="724" y="1026"/>
                        <a:pt x="724" y="1026"/>
                        <a:pt x="724" y="1026"/>
                      </a:cubicBezTo>
                      <a:cubicBezTo>
                        <a:pt x="708" y="1053"/>
                        <a:pt x="708" y="1053"/>
                        <a:pt x="708" y="1053"/>
                      </a:cubicBezTo>
                      <a:cubicBezTo>
                        <a:pt x="882" y="1177"/>
                        <a:pt x="882" y="1177"/>
                        <a:pt x="882" y="1177"/>
                      </a:cubicBezTo>
                      <a:cubicBezTo>
                        <a:pt x="888" y="1177"/>
                        <a:pt x="888" y="1177"/>
                        <a:pt x="888" y="1177"/>
                      </a:cubicBezTo>
                      <a:cubicBezTo>
                        <a:pt x="888" y="1177"/>
                        <a:pt x="899" y="1137"/>
                        <a:pt x="895" y="1130"/>
                      </a:cubicBezTo>
                      <a:cubicBezTo>
                        <a:pt x="891" y="1122"/>
                        <a:pt x="884" y="1115"/>
                        <a:pt x="884" y="1105"/>
                      </a:cubicBezTo>
                      <a:cubicBezTo>
                        <a:pt x="884" y="1094"/>
                        <a:pt x="910" y="1043"/>
                        <a:pt x="913" y="1033"/>
                      </a:cubicBezTo>
                      <a:cubicBezTo>
                        <a:pt x="917" y="1022"/>
                        <a:pt x="924" y="1004"/>
                        <a:pt x="924" y="983"/>
                      </a:cubicBezTo>
                      <a:cubicBezTo>
                        <a:pt x="924" y="963"/>
                        <a:pt x="954" y="931"/>
                        <a:pt x="967" y="915"/>
                      </a:cubicBezTo>
                      <a:cubicBezTo>
                        <a:pt x="980" y="900"/>
                        <a:pt x="989" y="886"/>
                        <a:pt x="989" y="886"/>
                      </a:cubicBezTo>
                      <a:cubicBezTo>
                        <a:pt x="1008" y="886"/>
                        <a:pt x="1008" y="886"/>
                        <a:pt x="1008" y="886"/>
                      </a:cubicBezTo>
                      <a:cubicBezTo>
                        <a:pt x="1015" y="873"/>
                        <a:pt x="1015" y="873"/>
                        <a:pt x="1015" y="873"/>
                      </a:cubicBezTo>
                      <a:cubicBezTo>
                        <a:pt x="1015" y="873"/>
                        <a:pt x="1003" y="854"/>
                        <a:pt x="1005" y="851"/>
                      </a:cubicBezTo>
                      <a:cubicBezTo>
                        <a:pt x="1007" y="847"/>
                        <a:pt x="1022" y="839"/>
                        <a:pt x="1025" y="828"/>
                      </a:cubicBezTo>
                      <a:cubicBezTo>
                        <a:pt x="1029" y="818"/>
                        <a:pt x="1028" y="799"/>
                        <a:pt x="1030" y="793"/>
                      </a:cubicBezTo>
                      <a:cubicBezTo>
                        <a:pt x="1033" y="787"/>
                        <a:pt x="1049" y="775"/>
                        <a:pt x="1056" y="768"/>
                      </a:cubicBezTo>
                      <a:cubicBezTo>
                        <a:pt x="1062" y="760"/>
                        <a:pt x="1071" y="747"/>
                        <a:pt x="1075" y="735"/>
                      </a:cubicBezTo>
                      <a:cubicBezTo>
                        <a:pt x="1078" y="723"/>
                        <a:pt x="1085" y="698"/>
                        <a:pt x="1091" y="691"/>
                      </a:cubicBezTo>
                      <a:cubicBezTo>
                        <a:pt x="1098" y="684"/>
                        <a:pt x="1150" y="622"/>
                        <a:pt x="1150" y="622"/>
                      </a:cubicBezTo>
                      <a:cubicBezTo>
                        <a:pt x="1150" y="622"/>
                        <a:pt x="1172" y="616"/>
                        <a:pt x="1175" y="614"/>
                      </a:cubicBezTo>
                      <a:cubicBezTo>
                        <a:pt x="1178" y="612"/>
                        <a:pt x="1196" y="596"/>
                        <a:pt x="1196" y="596"/>
                      </a:cubicBezTo>
                      <a:cubicBezTo>
                        <a:pt x="1196" y="596"/>
                        <a:pt x="1215" y="586"/>
                        <a:pt x="1215" y="582"/>
                      </a:cubicBezTo>
                      <a:cubicBezTo>
                        <a:pt x="1215" y="579"/>
                        <a:pt x="1216" y="566"/>
                        <a:pt x="1216" y="566"/>
                      </a:cubicBezTo>
                      <a:cubicBezTo>
                        <a:pt x="1239" y="562"/>
                        <a:pt x="1239" y="562"/>
                        <a:pt x="1239" y="562"/>
                      </a:cubicBezTo>
                      <a:cubicBezTo>
                        <a:pt x="1239" y="562"/>
                        <a:pt x="1245" y="528"/>
                        <a:pt x="1247" y="525"/>
                      </a:cubicBezTo>
                      <a:cubicBezTo>
                        <a:pt x="1248" y="522"/>
                        <a:pt x="1293" y="471"/>
                        <a:pt x="1296" y="463"/>
                      </a:cubicBezTo>
                      <a:cubicBezTo>
                        <a:pt x="1298" y="454"/>
                        <a:pt x="1317" y="408"/>
                        <a:pt x="1327" y="398"/>
                      </a:cubicBezTo>
                      <a:cubicBezTo>
                        <a:pt x="1337" y="388"/>
                        <a:pt x="1317" y="369"/>
                        <a:pt x="1322" y="357"/>
                      </a:cubicBezTo>
                      <a:cubicBezTo>
                        <a:pt x="1326" y="344"/>
                        <a:pt x="1373" y="255"/>
                        <a:pt x="1373" y="254"/>
                      </a:cubicBezTo>
                      <a:cubicBezTo>
                        <a:pt x="1373" y="252"/>
                        <a:pt x="1380" y="202"/>
                        <a:pt x="1388" y="190"/>
                      </a:cubicBezTo>
                      <a:cubicBezTo>
                        <a:pt x="1396" y="178"/>
                        <a:pt x="1423" y="147"/>
                        <a:pt x="1423" y="145"/>
                      </a:cubicBezTo>
                      <a:cubicBezTo>
                        <a:pt x="1424" y="144"/>
                        <a:pt x="1425" y="111"/>
                        <a:pt x="1423" y="99"/>
                      </a:cubicBezTo>
                      <a:cubicBezTo>
                        <a:pt x="1421" y="87"/>
                        <a:pt x="1428" y="78"/>
                        <a:pt x="1429" y="70"/>
                      </a:cubicBezTo>
                      <a:cubicBezTo>
                        <a:pt x="1429" y="68"/>
                        <a:pt x="1428" y="64"/>
                        <a:pt x="1427" y="59"/>
                      </a:cubicBezTo>
                      <a:close/>
                      <a:moveTo>
                        <a:pt x="837" y="914"/>
                      </a:moveTo>
                      <a:cubicBezTo>
                        <a:pt x="835" y="917"/>
                        <a:pt x="833" y="928"/>
                        <a:pt x="831" y="943"/>
                      </a:cubicBezTo>
                      <a:cubicBezTo>
                        <a:pt x="829" y="957"/>
                        <a:pt x="825" y="970"/>
                        <a:pt x="825" y="970"/>
                      </a:cubicBezTo>
                      <a:cubicBezTo>
                        <a:pt x="803" y="948"/>
                        <a:pt x="803" y="948"/>
                        <a:pt x="803" y="948"/>
                      </a:cubicBezTo>
                      <a:cubicBezTo>
                        <a:pt x="803" y="933"/>
                        <a:pt x="803" y="933"/>
                        <a:pt x="803" y="933"/>
                      </a:cubicBezTo>
                      <a:cubicBezTo>
                        <a:pt x="791" y="932"/>
                        <a:pt x="791" y="932"/>
                        <a:pt x="791" y="932"/>
                      </a:cubicBezTo>
                      <a:cubicBezTo>
                        <a:pt x="800" y="896"/>
                        <a:pt x="800" y="896"/>
                        <a:pt x="800" y="896"/>
                      </a:cubicBezTo>
                      <a:cubicBezTo>
                        <a:pt x="800" y="881"/>
                        <a:pt x="800" y="881"/>
                        <a:pt x="800" y="881"/>
                      </a:cubicBezTo>
                      <a:cubicBezTo>
                        <a:pt x="816" y="877"/>
                        <a:pt x="816" y="877"/>
                        <a:pt x="816" y="877"/>
                      </a:cubicBezTo>
                      <a:cubicBezTo>
                        <a:pt x="831" y="853"/>
                        <a:pt x="842" y="881"/>
                        <a:pt x="842" y="881"/>
                      </a:cubicBezTo>
                      <a:cubicBezTo>
                        <a:pt x="863" y="886"/>
                        <a:pt x="863" y="886"/>
                        <a:pt x="863" y="886"/>
                      </a:cubicBezTo>
                      <a:cubicBezTo>
                        <a:pt x="863" y="886"/>
                        <a:pt x="840" y="911"/>
                        <a:pt x="837" y="914"/>
                      </a:cubicBez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18455" name="Freeform 23" descr="© INSCALE GmbH, 05.05.2010&#10;http://www.presentationload.com/"/>
                <p:cNvSpPr>
                  <a:spLocks noChangeAspect="1" noEditPoints="1"/>
                </p:cNvSpPr>
                <p:nvPr/>
              </p:nvSpPr>
              <p:spPr bwMode="auto">
                <a:xfrm>
                  <a:off x="4403" y="850"/>
                  <a:ext cx="1172" cy="1478"/>
                </a:xfrm>
                <a:custGeom>
                  <a:avLst/>
                  <a:gdLst/>
                  <a:ahLst/>
                  <a:cxnLst>
                    <a:cxn ang="0">
                      <a:pos x="638" y="132"/>
                    </a:cxn>
                    <a:cxn ang="0">
                      <a:pos x="1113" y="1095"/>
                    </a:cxn>
                    <a:cxn ang="0">
                      <a:pos x="1189" y="644"/>
                    </a:cxn>
                    <a:cxn ang="0">
                      <a:pos x="1321" y="1319"/>
                    </a:cxn>
                    <a:cxn ang="0">
                      <a:pos x="1023" y="862"/>
                    </a:cxn>
                    <a:cxn ang="0">
                      <a:pos x="1367" y="1374"/>
                    </a:cxn>
                    <a:cxn ang="0">
                      <a:pos x="932" y="637"/>
                    </a:cxn>
                    <a:cxn ang="0">
                      <a:pos x="1037" y="829"/>
                    </a:cxn>
                    <a:cxn ang="0">
                      <a:pos x="1014" y="713"/>
                    </a:cxn>
                    <a:cxn ang="0">
                      <a:pos x="1043" y="910"/>
                    </a:cxn>
                    <a:cxn ang="0">
                      <a:pos x="1007" y="670"/>
                    </a:cxn>
                    <a:cxn ang="0">
                      <a:pos x="1754" y="1704"/>
                    </a:cxn>
                    <a:cxn ang="0">
                      <a:pos x="1753" y="1806"/>
                    </a:cxn>
                    <a:cxn ang="0">
                      <a:pos x="1715" y="1673"/>
                    </a:cxn>
                    <a:cxn ang="0">
                      <a:pos x="1366" y="1510"/>
                    </a:cxn>
                    <a:cxn ang="0">
                      <a:pos x="1347" y="1162"/>
                    </a:cxn>
                    <a:cxn ang="0">
                      <a:pos x="1506" y="1688"/>
                    </a:cxn>
                    <a:cxn ang="0">
                      <a:pos x="1564" y="1494"/>
                    </a:cxn>
                    <a:cxn ang="0">
                      <a:pos x="878" y="213"/>
                    </a:cxn>
                    <a:cxn ang="0">
                      <a:pos x="1736" y="2453"/>
                    </a:cxn>
                    <a:cxn ang="0">
                      <a:pos x="1723" y="2339"/>
                    </a:cxn>
                    <a:cxn ang="0">
                      <a:pos x="1649" y="2071"/>
                    </a:cxn>
                    <a:cxn ang="0">
                      <a:pos x="1548" y="1928"/>
                    </a:cxn>
                    <a:cxn ang="0">
                      <a:pos x="1506" y="1759"/>
                    </a:cxn>
                    <a:cxn ang="0">
                      <a:pos x="1408" y="1788"/>
                    </a:cxn>
                    <a:cxn ang="0">
                      <a:pos x="1329" y="1521"/>
                    </a:cxn>
                    <a:cxn ang="0">
                      <a:pos x="1238" y="1422"/>
                    </a:cxn>
                    <a:cxn ang="0">
                      <a:pos x="1131" y="1334"/>
                    </a:cxn>
                    <a:cxn ang="0">
                      <a:pos x="1063" y="1129"/>
                    </a:cxn>
                    <a:cxn ang="0">
                      <a:pos x="998" y="922"/>
                    </a:cxn>
                    <a:cxn ang="0">
                      <a:pos x="970" y="735"/>
                    </a:cxn>
                    <a:cxn ang="0">
                      <a:pos x="846" y="677"/>
                    </a:cxn>
                    <a:cxn ang="0">
                      <a:pos x="771" y="461"/>
                    </a:cxn>
                    <a:cxn ang="0">
                      <a:pos x="718" y="328"/>
                    </a:cxn>
                    <a:cxn ang="0">
                      <a:pos x="660" y="204"/>
                    </a:cxn>
                    <a:cxn ang="0">
                      <a:pos x="583" y="426"/>
                    </a:cxn>
                    <a:cxn ang="0">
                      <a:pos x="524" y="578"/>
                    </a:cxn>
                    <a:cxn ang="0">
                      <a:pos x="425" y="1024"/>
                    </a:cxn>
                    <a:cxn ang="0">
                      <a:pos x="171" y="946"/>
                    </a:cxn>
                    <a:cxn ang="0">
                      <a:pos x="351" y="2490"/>
                    </a:cxn>
                    <a:cxn ang="0">
                      <a:pos x="1483" y="2629"/>
                    </a:cxn>
                    <a:cxn ang="0">
                      <a:pos x="1739" y="2549"/>
                    </a:cxn>
                    <a:cxn ang="0">
                      <a:pos x="775" y="333"/>
                    </a:cxn>
                    <a:cxn ang="0">
                      <a:pos x="656" y="12"/>
                    </a:cxn>
                    <a:cxn ang="0">
                      <a:pos x="1770" y="1403"/>
                    </a:cxn>
                    <a:cxn ang="0">
                      <a:pos x="1903" y="1741"/>
                    </a:cxn>
                    <a:cxn ang="0">
                      <a:pos x="1760" y="1648"/>
                    </a:cxn>
                    <a:cxn ang="0">
                      <a:pos x="1765" y="2156"/>
                    </a:cxn>
                    <a:cxn ang="0">
                      <a:pos x="1760" y="2196"/>
                    </a:cxn>
                    <a:cxn ang="0">
                      <a:pos x="229" y="898"/>
                    </a:cxn>
                    <a:cxn ang="0">
                      <a:pos x="826" y="411"/>
                    </a:cxn>
                    <a:cxn ang="0">
                      <a:pos x="837" y="505"/>
                    </a:cxn>
                    <a:cxn ang="0">
                      <a:pos x="781" y="262"/>
                    </a:cxn>
                    <a:cxn ang="0">
                      <a:pos x="795" y="470"/>
                    </a:cxn>
                    <a:cxn ang="0">
                      <a:pos x="826" y="529"/>
                    </a:cxn>
                    <a:cxn ang="0">
                      <a:pos x="869" y="165"/>
                    </a:cxn>
                    <a:cxn ang="0">
                      <a:pos x="890" y="57"/>
                    </a:cxn>
                    <a:cxn ang="0">
                      <a:pos x="906" y="39"/>
                    </a:cxn>
                    <a:cxn ang="0">
                      <a:pos x="871" y="618"/>
                    </a:cxn>
                  </a:cxnLst>
                  <a:rect l="0" t="0" r="r" b="b"/>
                  <a:pathLst>
                    <a:path w="2083" h="2629">
                      <a:moveTo>
                        <a:pt x="641" y="162"/>
                      </a:moveTo>
                      <a:cubicBezTo>
                        <a:pt x="636" y="162"/>
                        <a:pt x="633" y="173"/>
                        <a:pt x="633" y="173"/>
                      </a:cubicBezTo>
                      <a:cubicBezTo>
                        <a:pt x="633" y="173"/>
                        <a:pt x="653" y="181"/>
                        <a:pt x="654" y="177"/>
                      </a:cubicBezTo>
                      <a:cubicBezTo>
                        <a:pt x="656" y="173"/>
                        <a:pt x="661" y="165"/>
                        <a:pt x="654" y="160"/>
                      </a:cubicBezTo>
                      <a:cubicBezTo>
                        <a:pt x="648" y="154"/>
                        <a:pt x="649" y="144"/>
                        <a:pt x="649" y="137"/>
                      </a:cubicBezTo>
                      <a:cubicBezTo>
                        <a:pt x="649" y="130"/>
                        <a:pt x="650" y="129"/>
                        <a:pt x="653" y="118"/>
                      </a:cubicBezTo>
                      <a:cubicBezTo>
                        <a:pt x="656" y="108"/>
                        <a:pt x="653" y="96"/>
                        <a:pt x="646" y="104"/>
                      </a:cubicBezTo>
                      <a:cubicBezTo>
                        <a:pt x="640" y="112"/>
                        <a:pt x="646" y="128"/>
                        <a:pt x="638" y="132"/>
                      </a:cubicBezTo>
                      <a:cubicBezTo>
                        <a:pt x="630" y="136"/>
                        <a:pt x="633" y="145"/>
                        <a:pt x="637" y="148"/>
                      </a:cubicBezTo>
                      <a:cubicBezTo>
                        <a:pt x="641" y="150"/>
                        <a:pt x="646" y="162"/>
                        <a:pt x="641" y="162"/>
                      </a:cubicBezTo>
                      <a:close/>
                      <a:moveTo>
                        <a:pt x="1133" y="1145"/>
                      </a:moveTo>
                      <a:cubicBezTo>
                        <a:pt x="1143" y="1135"/>
                        <a:pt x="1116" y="1139"/>
                        <a:pt x="1116" y="1139"/>
                      </a:cubicBezTo>
                      <a:cubicBezTo>
                        <a:pt x="1116" y="1139"/>
                        <a:pt x="1124" y="1156"/>
                        <a:pt x="1133" y="1145"/>
                      </a:cubicBezTo>
                      <a:close/>
                      <a:moveTo>
                        <a:pt x="1104" y="1124"/>
                      </a:moveTo>
                      <a:cubicBezTo>
                        <a:pt x="1109" y="1112"/>
                        <a:pt x="1109" y="1112"/>
                        <a:pt x="1109" y="1112"/>
                      </a:cubicBezTo>
                      <a:cubicBezTo>
                        <a:pt x="1113" y="1095"/>
                        <a:pt x="1113" y="1095"/>
                        <a:pt x="1113" y="1095"/>
                      </a:cubicBezTo>
                      <a:cubicBezTo>
                        <a:pt x="1107" y="1092"/>
                        <a:pt x="1085" y="1113"/>
                        <a:pt x="1088" y="1124"/>
                      </a:cubicBezTo>
                      <a:cubicBezTo>
                        <a:pt x="1091" y="1135"/>
                        <a:pt x="1104" y="1124"/>
                        <a:pt x="1104" y="1124"/>
                      </a:cubicBezTo>
                      <a:close/>
                      <a:moveTo>
                        <a:pt x="1189" y="644"/>
                      </a:moveTo>
                      <a:cubicBezTo>
                        <a:pt x="1168" y="617"/>
                        <a:pt x="1168" y="617"/>
                        <a:pt x="1168" y="617"/>
                      </a:cubicBezTo>
                      <a:cubicBezTo>
                        <a:pt x="1168" y="632"/>
                        <a:pt x="1168" y="632"/>
                        <a:pt x="1168" y="632"/>
                      </a:cubicBezTo>
                      <a:cubicBezTo>
                        <a:pt x="1148" y="634"/>
                        <a:pt x="1148" y="634"/>
                        <a:pt x="1148" y="634"/>
                      </a:cubicBezTo>
                      <a:cubicBezTo>
                        <a:pt x="1172" y="654"/>
                        <a:pt x="1172" y="654"/>
                        <a:pt x="1172" y="654"/>
                      </a:cubicBezTo>
                      <a:lnTo>
                        <a:pt x="1189" y="644"/>
                      </a:lnTo>
                      <a:close/>
                      <a:moveTo>
                        <a:pt x="1290" y="996"/>
                      </a:moveTo>
                      <a:cubicBezTo>
                        <a:pt x="1315" y="984"/>
                        <a:pt x="1315" y="984"/>
                        <a:pt x="1315" y="984"/>
                      </a:cubicBezTo>
                      <a:cubicBezTo>
                        <a:pt x="1315" y="984"/>
                        <a:pt x="1296" y="963"/>
                        <a:pt x="1286" y="967"/>
                      </a:cubicBezTo>
                      <a:cubicBezTo>
                        <a:pt x="1294" y="983"/>
                        <a:pt x="1294" y="983"/>
                        <a:pt x="1294" y="983"/>
                      </a:cubicBezTo>
                      <a:lnTo>
                        <a:pt x="1290" y="996"/>
                      </a:lnTo>
                      <a:close/>
                      <a:moveTo>
                        <a:pt x="1286" y="1353"/>
                      </a:moveTo>
                      <a:cubicBezTo>
                        <a:pt x="1288" y="1342"/>
                        <a:pt x="1305" y="1329"/>
                        <a:pt x="1305" y="1329"/>
                      </a:cubicBezTo>
                      <a:cubicBezTo>
                        <a:pt x="1321" y="1319"/>
                        <a:pt x="1321" y="1319"/>
                        <a:pt x="1321" y="1319"/>
                      </a:cubicBezTo>
                      <a:cubicBezTo>
                        <a:pt x="1306" y="1313"/>
                        <a:pt x="1306" y="1313"/>
                        <a:pt x="1306" y="1313"/>
                      </a:cubicBezTo>
                      <a:cubicBezTo>
                        <a:pt x="1298" y="1305"/>
                        <a:pt x="1298" y="1305"/>
                        <a:pt x="1298" y="1305"/>
                      </a:cubicBezTo>
                      <a:cubicBezTo>
                        <a:pt x="1292" y="1323"/>
                        <a:pt x="1292" y="1323"/>
                        <a:pt x="1292" y="1323"/>
                      </a:cubicBezTo>
                      <a:cubicBezTo>
                        <a:pt x="1292" y="1323"/>
                        <a:pt x="1260" y="1343"/>
                        <a:pt x="1266" y="1358"/>
                      </a:cubicBezTo>
                      <a:cubicBezTo>
                        <a:pt x="1266" y="1358"/>
                        <a:pt x="1285" y="1363"/>
                        <a:pt x="1286" y="1353"/>
                      </a:cubicBezTo>
                      <a:close/>
                      <a:moveTo>
                        <a:pt x="1023" y="862"/>
                      </a:moveTo>
                      <a:cubicBezTo>
                        <a:pt x="1026" y="850"/>
                        <a:pt x="1002" y="849"/>
                        <a:pt x="1002" y="849"/>
                      </a:cubicBezTo>
                      <a:cubicBezTo>
                        <a:pt x="1002" y="849"/>
                        <a:pt x="1020" y="874"/>
                        <a:pt x="1023" y="862"/>
                      </a:cubicBezTo>
                      <a:close/>
                      <a:moveTo>
                        <a:pt x="936" y="158"/>
                      </a:moveTo>
                      <a:cubicBezTo>
                        <a:pt x="943" y="158"/>
                        <a:pt x="944" y="140"/>
                        <a:pt x="944" y="132"/>
                      </a:cubicBezTo>
                      <a:cubicBezTo>
                        <a:pt x="944" y="124"/>
                        <a:pt x="954" y="112"/>
                        <a:pt x="950" y="108"/>
                      </a:cubicBezTo>
                      <a:cubicBezTo>
                        <a:pt x="946" y="104"/>
                        <a:pt x="934" y="116"/>
                        <a:pt x="932" y="121"/>
                      </a:cubicBezTo>
                      <a:cubicBezTo>
                        <a:pt x="931" y="126"/>
                        <a:pt x="930" y="158"/>
                        <a:pt x="936" y="158"/>
                      </a:cubicBezTo>
                      <a:close/>
                      <a:moveTo>
                        <a:pt x="1337" y="1366"/>
                      </a:moveTo>
                      <a:cubicBezTo>
                        <a:pt x="1357" y="1363"/>
                        <a:pt x="1357" y="1363"/>
                        <a:pt x="1357" y="1363"/>
                      </a:cubicBezTo>
                      <a:cubicBezTo>
                        <a:pt x="1357" y="1363"/>
                        <a:pt x="1354" y="1374"/>
                        <a:pt x="1367" y="1374"/>
                      </a:cubicBezTo>
                      <a:cubicBezTo>
                        <a:pt x="1381" y="1374"/>
                        <a:pt x="1395" y="1374"/>
                        <a:pt x="1395" y="1374"/>
                      </a:cubicBezTo>
                      <a:cubicBezTo>
                        <a:pt x="1371" y="1363"/>
                        <a:pt x="1371" y="1363"/>
                        <a:pt x="1371" y="1363"/>
                      </a:cubicBezTo>
                      <a:cubicBezTo>
                        <a:pt x="1342" y="1350"/>
                        <a:pt x="1342" y="1350"/>
                        <a:pt x="1342" y="1350"/>
                      </a:cubicBezTo>
                      <a:cubicBezTo>
                        <a:pt x="1342" y="1350"/>
                        <a:pt x="1342" y="1339"/>
                        <a:pt x="1337" y="1334"/>
                      </a:cubicBezTo>
                      <a:cubicBezTo>
                        <a:pt x="1331" y="1329"/>
                        <a:pt x="1333" y="1354"/>
                        <a:pt x="1333" y="1354"/>
                      </a:cubicBezTo>
                      <a:lnTo>
                        <a:pt x="1337" y="1366"/>
                      </a:lnTo>
                      <a:close/>
                      <a:moveTo>
                        <a:pt x="943" y="621"/>
                      </a:moveTo>
                      <a:cubicBezTo>
                        <a:pt x="943" y="621"/>
                        <a:pt x="930" y="633"/>
                        <a:pt x="932" y="637"/>
                      </a:cubicBezTo>
                      <a:cubicBezTo>
                        <a:pt x="935" y="641"/>
                        <a:pt x="943" y="654"/>
                        <a:pt x="943" y="654"/>
                      </a:cubicBezTo>
                      <a:cubicBezTo>
                        <a:pt x="943" y="654"/>
                        <a:pt x="918" y="653"/>
                        <a:pt x="919" y="657"/>
                      </a:cubicBezTo>
                      <a:cubicBezTo>
                        <a:pt x="920" y="661"/>
                        <a:pt x="935" y="664"/>
                        <a:pt x="946" y="662"/>
                      </a:cubicBezTo>
                      <a:cubicBezTo>
                        <a:pt x="956" y="661"/>
                        <a:pt x="966" y="656"/>
                        <a:pt x="955" y="644"/>
                      </a:cubicBezTo>
                      <a:cubicBezTo>
                        <a:pt x="944" y="632"/>
                        <a:pt x="963" y="617"/>
                        <a:pt x="943" y="621"/>
                      </a:cubicBezTo>
                      <a:close/>
                      <a:moveTo>
                        <a:pt x="1037" y="797"/>
                      </a:moveTo>
                      <a:cubicBezTo>
                        <a:pt x="1032" y="811"/>
                        <a:pt x="1028" y="822"/>
                        <a:pt x="1028" y="822"/>
                      </a:cubicBezTo>
                      <a:cubicBezTo>
                        <a:pt x="1028" y="822"/>
                        <a:pt x="1037" y="814"/>
                        <a:pt x="1037" y="829"/>
                      </a:cubicBezTo>
                      <a:cubicBezTo>
                        <a:pt x="1037" y="843"/>
                        <a:pt x="1035" y="870"/>
                        <a:pt x="1035" y="870"/>
                      </a:cubicBezTo>
                      <a:cubicBezTo>
                        <a:pt x="1035" y="870"/>
                        <a:pt x="1053" y="873"/>
                        <a:pt x="1052" y="850"/>
                      </a:cubicBezTo>
                      <a:cubicBezTo>
                        <a:pt x="1051" y="827"/>
                        <a:pt x="1044" y="813"/>
                        <a:pt x="1044" y="813"/>
                      </a:cubicBezTo>
                      <a:cubicBezTo>
                        <a:pt x="1044" y="813"/>
                        <a:pt x="1052" y="773"/>
                        <a:pt x="1049" y="758"/>
                      </a:cubicBezTo>
                      <a:cubicBezTo>
                        <a:pt x="1047" y="743"/>
                        <a:pt x="1053" y="714"/>
                        <a:pt x="1045" y="714"/>
                      </a:cubicBezTo>
                      <a:cubicBezTo>
                        <a:pt x="1037" y="714"/>
                        <a:pt x="1033" y="718"/>
                        <a:pt x="1033" y="718"/>
                      </a:cubicBezTo>
                      <a:cubicBezTo>
                        <a:pt x="1033" y="718"/>
                        <a:pt x="1043" y="782"/>
                        <a:pt x="1037" y="797"/>
                      </a:cubicBezTo>
                      <a:close/>
                      <a:moveTo>
                        <a:pt x="1014" y="713"/>
                      </a:moveTo>
                      <a:cubicBezTo>
                        <a:pt x="1014" y="713"/>
                        <a:pt x="1006" y="718"/>
                        <a:pt x="1011" y="722"/>
                      </a:cubicBezTo>
                      <a:cubicBezTo>
                        <a:pt x="1016" y="726"/>
                        <a:pt x="1024" y="736"/>
                        <a:pt x="1024" y="736"/>
                      </a:cubicBezTo>
                      <a:lnTo>
                        <a:pt x="1014" y="713"/>
                      </a:lnTo>
                      <a:close/>
                      <a:moveTo>
                        <a:pt x="1049" y="879"/>
                      </a:moveTo>
                      <a:cubicBezTo>
                        <a:pt x="1044" y="877"/>
                        <a:pt x="1032" y="883"/>
                        <a:pt x="1032" y="883"/>
                      </a:cubicBezTo>
                      <a:cubicBezTo>
                        <a:pt x="1043" y="890"/>
                        <a:pt x="1043" y="890"/>
                        <a:pt x="1043" y="890"/>
                      </a:cubicBezTo>
                      <a:cubicBezTo>
                        <a:pt x="1036" y="900"/>
                        <a:pt x="1036" y="900"/>
                        <a:pt x="1036" y="900"/>
                      </a:cubicBezTo>
                      <a:cubicBezTo>
                        <a:pt x="1043" y="910"/>
                        <a:pt x="1043" y="910"/>
                        <a:pt x="1043" y="910"/>
                      </a:cubicBezTo>
                      <a:cubicBezTo>
                        <a:pt x="1035" y="915"/>
                        <a:pt x="1035" y="915"/>
                        <a:pt x="1035" y="915"/>
                      </a:cubicBezTo>
                      <a:cubicBezTo>
                        <a:pt x="1035" y="915"/>
                        <a:pt x="1061" y="920"/>
                        <a:pt x="1056" y="907"/>
                      </a:cubicBezTo>
                      <a:cubicBezTo>
                        <a:pt x="1051" y="894"/>
                        <a:pt x="1055" y="882"/>
                        <a:pt x="1049" y="879"/>
                      </a:cubicBezTo>
                      <a:close/>
                      <a:moveTo>
                        <a:pt x="968" y="658"/>
                      </a:moveTo>
                      <a:cubicBezTo>
                        <a:pt x="986" y="680"/>
                        <a:pt x="986" y="680"/>
                        <a:pt x="986" y="680"/>
                      </a:cubicBezTo>
                      <a:cubicBezTo>
                        <a:pt x="1012" y="688"/>
                        <a:pt x="1012" y="688"/>
                        <a:pt x="1012" y="688"/>
                      </a:cubicBezTo>
                      <a:cubicBezTo>
                        <a:pt x="1012" y="688"/>
                        <a:pt x="1022" y="702"/>
                        <a:pt x="1028" y="701"/>
                      </a:cubicBezTo>
                      <a:cubicBezTo>
                        <a:pt x="1035" y="700"/>
                        <a:pt x="1016" y="672"/>
                        <a:pt x="1007" y="670"/>
                      </a:cubicBezTo>
                      <a:cubicBezTo>
                        <a:pt x="998" y="669"/>
                        <a:pt x="971" y="652"/>
                        <a:pt x="971" y="652"/>
                      </a:cubicBezTo>
                      <a:lnTo>
                        <a:pt x="968" y="658"/>
                      </a:lnTo>
                      <a:close/>
                      <a:moveTo>
                        <a:pt x="971" y="98"/>
                      </a:moveTo>
                      <a:cubicBezTo>
                        <a:pt x="968" y="93"/>
                        <a:pt x="967" y="117"/>
                        <a:pt x="967" y="117"/>
                      </a:cubicBezTo>
                      <a:cubicBezTo>
                        <a:pt x="967" y="117"/>
                        <a:pt x="974" y="104"/>
                        <a:pt x="971" y="98"/>
                      </a:cubicBezTo>
                      <a:close/>
                      <a:moveTo>
                        <a:pt x="1784" y="1774"/>
                      </a:moveTo>
                      <a:cubicBezTo>
                        <a:pt x="1761" y="1705"/>
                        <a:pt x="1761" y="1705"/>
                        <a:pt x="1761" y="1705"/>
                      </a:cubicBezTo>
                      <a:cubicBezTo>
                        <a:pt x="1754" y="1704"/>
                        <a:pt x="1754" y="1704"/>
                        <a:pt x="1754" y="1704"/>
                      </a:cubicBezTo>
                      <a:cubicBezTo>
                        <a:pt x="1774" y="1776"/>
                        <a:pt x="1774" y="1776"/>
                        <a:pt x="1774" y="1776"/>
                      </a:cubicBezTo>
                      <a:lnTo>
                        <a:pt x="1784" y="1774"/>
                      </a:lnTo>
                      <a:close/>
                      <a:moveTo>
                        <a:pt x="1736" y="1180"/>
                      </a:moveTo>
                      <a:cubicBezTo>
                        <a:pt x="1737" y="1170"/>
                        <a:pt x="1748" y="1161"/>
                        <a:pt x="1748" y="1161"/>
                      </a:cubicBezTo>
                      <a:cubicBezTo>
                        <a:pt x="1709" y="1180"/>
                        <a:pt x="1709" y="1180"/>
                        <a:pt x="1709" y="1180"/>
                      </a:cubicBezTo>
                      <a:cubicBezTo>
                        <a:pt x="1709" y="1180"/>
                        <a:pt x="1734" y="1189"/>
                        <a:pt x="1736" y="1180"/>
                      </a:cubicBezTo>
                      <a:close/>
                      <a:moveTo>
                        <a:pt x="1773" y="1785"/>
                      </a:moveTo>
                      <a:cubicBezTo>
                        <a:pt x="1770" y="1780"/>
                        <a:pt x="1742" y="1778"/>
                        <a:pt x="1753" y="1806"/>
                      </a:cubicBezTo>
                      <a:cubicBezTo>
                        <a:pt x="1758" y="1820"/>
                        <a:pt x="1776" y="1790"/>
                        <a:pt x="1773" y="1785"/>
                      </a:cubicBezTo>
                      <a:close/>
                      <a:moveTo>
                        <a:pt x="1793" y="1157"/>
                      </a:moveTo>
                      <a:cubicBezTo>
                        <a:pt x="1786" y="1151"/>
                        <a:pt x="1777" y="1166"/>
                        <a:pt x="1777" y="1166"/>
                      </a:cubicBezTo>
                      <a:cubicBezTo>
                        <a:pt x="1781" y="1166"/>
                        <a:pt x="1800" y="1164"/>
                        <a:pt x="1793" y="1157"/>
                      </a:cubicBezTo>
                      <a:close/>
                      <a:moveTo>
                        <a:pt x="1800" y="1132"/>
                      </a:moveTo>
                      <a:cubicBezTo>
                        <a:pt x="1786" y="1129"/>
                        <a:pt x="1786" y="1127"/>
                        <a:pt x="1801" y="1145"/>
                      </a:cubicBezTo>
                      <a:cubicBezTo>
                        <a:pt x="1801" y="1145"/>
                        <a:pt x="1813" y="1135"/>
                        <a:pt x="1800" y="1132"/>
                      </a:cubicBezTo>
                      <a:close/>
                      <a:moveTo>
                        <a:pt x="1715" y="1673"/>
                      </a:moveTo>
                      <a:cubicBezTo>
                        <a:pt x="1718" y="1664"/>
                        <a:pt x="1712" y="1651"/>
                        <a:pt x="1712" y="1651"/>
                      </a:cubicBezTo>
                      <a:cubicBezTo>
                        <a:pt x="1688" y="1671"/>
                        <a:pt x="1688" y="1671"/>
                        <a:pt x="1688" y="1671"/>
                      </a:cubicBezTo>
                      <a:cubicBezTo>
                        <a:pt x="1688" y="1671"/>
                        <a:pt x="1711" y="1683"/>
                        <a:pt x="1715" y="1673"/>
                      </a:cubicBezTo>
                      <a:close/>
                      <a:moveTo>
                        <a:pt x="1385" y="1506"/>
                      </a:moveTo>
                      <a:cubicBezTo>
                        <a:pt x="1375" y="1488"/>
                        <a:pt x="1370" y="1455"/>
                        <a:pt x="1370" y="1455"/>
                      </a:cubicBezTo>
                      <a:cubicBezTo>
                        <a:pt x="1354" y="1463"/>
                        <a:pt x="1354" y="1463"/>
                        <a:pt x="1354" y="1463"/>
                      </a:cubicBezTo>
                      <a:cubicBezTo>
                        <a:pt x="1366" y="1491"/>
                        <a:pt x="1366" y="1491"/>
                        <a:pt x="1366" y="1491"/>
                      </a:cubicBezTo>
                      <a:cubicBezTo>
                        <a:pt x="1366" y="1510"/>
                        <a:pt x="1366" y="1510"/>
                        <a:pt x="1366" y="1510"/>
                      </a:cubicBezTo>
                      <a:cubicBezTo>
                        <a:pt x="1366" y="1510"/>
                        <a:pt x="1394" y="1523"/>
                        <a:pt x="1385" y="1506"/>
                      </a:cubicBezTo>
                      <a:close/>
                      <a:moveTo>
                        <a:pt x="1387" y="1430"/>
                      </a:moveTo>
                      <a:cubicBezTo>
                        <a:pt x="1391" y="1433"/>
                        <a:pt x="1401" y="1413"/>
                        <a:pt x="1401" y="1413"/>
                      </a:cubicBezTo>
                      <a:cubicBezTo>
                        <a:pt x="1397" y="1398"/>
                        <a:pt x="1397" y="1398"/>
                        <a:pt x="1397" y="1398"/>
                      </a:cubicBezTo>
                      <a:cubicBezTo>
                        <a:pt x="1397" y="1398"/>
                        <a:pt x="1375" y="1421"/>
                        <a:pt x="1387" y="1430"/>
                      </a:cubicBezTo>
                      <a:close/>
                      <a:moveTo>
                        <a:pt x="1366" y="1135"/>
                      </a:moveTo>
                      <a:cubicBezTo>
                        <a:pt x="1358" y="1124"/>
                        <a:pt x="1334" y="1158"/>
                        <a:pt x="1334" y="1158"/>
                      </a:cubicBezTo>
                      <a:cubicBezTo>
                        <a:pt x="1341" y="1160"/>
                        <a:pt x="1347" y="1162"/>
                        <a:pt x="1347" y="1162"/>
                      </a:cubicBezTo>
                      <a:cubicBezTo>
                        <a:pt x="1347" y="1162"/>
                        <a:pt x="1374" y="1145"/>
                        <a:pt x="1366" y="1135"/>
                      </a:cubicBezTo>
                      <a:close/>
                      <a:moveTo>
                        <a:pt x="1462" y="1432"/>
                      </a:moveTo>
                      <a:cubicBezTo>
                        <a:pt x="1468" y="1423"/>
                        <a:pt x="1451" y="1398"/>
                        <a:pt x="1451" y="1398"/>
                      </a:cubicBezTo>
                      <a:cubicBezTo>
                        <a:pt x="1451" y="1398"/>
                        <a:pt x="1448" y="1411"/>
                        <a:pt x="1446" y="1415"/>
                      </a:cubicBezTo>
                      <a:cubicBezTo>
                        <a:pt x="1443" y="1419"/>
                        <a:pt x="1417" y="1406"/>
                        <a:pt x="1411" y="1421"/>
                      </a:cubicBezTo>
                      <a:cubicBezTo>
                        <a:pt x="1426" y="1430"/>
                        <a:pt x="1426" y="1430"/>
                        <a:pt x="1426" y="1430"/>
                      </a:cubicBezTo>
                      <a:cubicBezTo>
                        <a:pt x="1426" y="1430"/>
                        <a:pt x="1455" y="1442"/>
                        <a:pt x="1462" y="1432"/>
                      </a:cubicBezTo>
                      <a:close/>
                      <a:moveTo>
                        <a:pt x="1506" y="1688"/>
                      </a:moveTo>
                      <a:cubicBezTo>
                        <a:pt x="1515" y="1685"/>
                        <a:pt x="1479" y="1668"/>
                        <a:pt x="1479" y="1668"/>
                      </a:cubicBezTo>
                      <a:cubicBezTo>
                        <a:pt x="1482" y="1689"/>
                        <a:pt x="1496" y="1691"/>
                        <a:pt x="1506" y="1688"/>
                      </a:cubicBezTo>
                      <a:close/>
                      <a:moveTo>
                        <a:pt x="1676" y="1664"/>
                      </a:moveTo>
                      <a:cubicBezTo>
                        <a:pt x="1677" y="1643"/>
                        <a:pt x="1677" y="1643"/>
                        <a:pt x="1677" y="1643"/>
                      </a:cubicBezTo>
                      <a:cubicBezTo>
                        <a:pt x="1677" y="1643"/>
                        <a:pt x="1643" y="1633"/>
                        <a:pt x="1627" y="1673"/>
                      </a:cubicBezTo>
                      <a:cubicBezTo>
                        <a:pt x="1664" y="1652"/>
                        <a:pt x="1664" y="1652"/>
                        <a:pt x="1664" y="1652"/>
                      </a:cubicBezTo>
                      <a:lnTo>
                        <a:pt x="1676" y="1664"/>
                      </a:lnTo>
                      <a:close/>
                      <a:moveTo>
                        <a:pt x="1564" y="1494"/>
                      </a:moveTo>
                      <a:cubicBezTo>
                        <a:pt x="1580" y="1507"/>
                        <a:pt x="1580" y="1507"/>
                        <a:pt x="1580" y="1507"/>
                      </a:cubicBezTo>
                      <a:cubicBezTo>
                        <a:pt x="1580" y="1507"/>
                        <a:pt x="1571" y="1464"/>
                        <a:pt x="1564" y="1494"/>
                      </a:cubicBezTo>
                      <a:close/>
                      <a:moveTo>
                        <a:pt x="874" y="251"/>
                      </a:moveTo>
                      <a:cubicBezTo>
                        <a:pt x="867" y="255"/>
                        <a:pt x="853" y="295"/>
                        <a:pt x="853" y="295"/>
                      </a:cubicBezTo>
                      <a:cubicBezTo>
                        <a:pt x="886" y="278"/>
                        <a:pt x="886" y="278"/>
                        <a:pt x="886" y="278"/>
                      </a:cubicBezTo>
                      <a:cubicBezTo>
                        <a:pt x="867" y="273"/>
                        <a:pt x="867" y="273"/>
                        <a:pt x="867" y="273"/>
                      </a:cubicBezTo>
                      <a:cubicBezTo>
                        <a:pt x="867" y="273"/>
                        <a:pt x="887" y="265"/>
                        <a:pt x="886" y="254"/>
                      </a:cubicBezTo>
                      <a:cubicBezTo>
                        <a:pt x="885" y="243"/>
                        <a:pt x="877" y="217"/>
                        <a:pt x="878" y="213"/>
                      </a:cubicBezTo>
                      <a:cubicBezTo>
                        <a:pt x="879" y="209"/>
                        <a:pt x="881" y="194"/>
                        <a:pt x="877" y="190"/>
                      </a:cubicBezTo>
                      <a:cubicBezTo>
                        <a:pt x="873" y="186"/>
                        <a:pt x="866" y="190"/>
                        <a:pt x="866" y="206"/>
                      </a:cubicBezTo>
                      <a:cubicBezTo>
                        <a:pt x="866" y="222"/>
                        <a:pt x="881" y="247"/>
                        <a:pt x="874" y="251"/>
                      </a:cubicBezTo>
                      <a:close/>
                      <a:moveTo>
                        <a:pt x="878" y="605"/>
                      </a:moveTo>
                      <a:cubicBezTo>
                        <a:pt x="878" y="605"/>
                        <a:pt x="919" y="625"/>
                        <a:pt x="928" y="618"/>
                      </a:cubicBezTo>
                      <a:cubicBezTo>
                        <a:pt x="938" y="612"/>
                        <a:pt x="938" y="607"/>
                        <a:pt x="931" y="607"/>
                      </a:cubicBezTo>
                      <a:cubicBezTo>
                        <a:pt x="924" y="607"/>
                        <a:pt x="878" y="596"/>
                        <a:pt x="878" y="605"/>
                      </a:cubicBezTo>
                      <a:close/>
                      <a:moveTo>
                        <a:pt x="1736" y="2453"/>
                      </a:moveTo>
                      <a:cubicBezTo>
                        <a:pt x="1732" y="2461"/>
                        <a:pt x="1748" y="2474"/>
                        <a:pt x="1748" y="2474"/>
                      </a:cubicBezTo>
                      <a:cubicBezTo>
                        <a:pt x="1758" y="2459"/>
                        <a:pt x="1758" y="2459"/>
                        <a:pt x="1758" y="2459"/>
                      </a:cubicBezTo>
                      <a:cubicBezTo>
                        <a:pt x="1756" y="2446"/>
                        <a:pt x="1756" y="2446"/>
                        <a:pt x="1756" y="2446"/>
                      </a:cubicBezTo>
                      <a:cubicBezTo>
                        <a:pt x="1752" y="2413"/>
                        <a:pt x="1740" y="2445"/>
                        <a:pt x="1736" y="2453"/>
                      </a:cubicBezTo>
                      <a:close/>
                      <a:moveTo>
                        <a:pt x="1728" y="2408"/>
                      </a:moveTo>
                      <a:cubicBezTo>
                        <a:pt x="1728" y="2408"/>
                        <a:pt x="1719" y="2386"/>
                        <a:pt x="1726" y="2374"/>
                      </a:cubicBezTo>
                      <a:cubicBezTo>
                        <a:pt x="1733" y="2362"/>
                        <a:pt x="1733" y="2362"/>
                        <a:pt x="1733" y="2362"/>
                      </a:cubicBezTo>
                      <a:cubicBezTo>
                        <a:pt x="1733" y="2362"/>
                        <a:pt x="1717" y="2347"/>
                        <a:pt x="1723" y="2339"/>
                      </a:cubicBezTo>
                      <a:cubicBezTo>
                        <a:pt x="1728" y="2331"/>
                        <a:pt x="1728" y="2300"/>
                        <a:pt x="1728" y="2298"/>
                      </a:cubicBezTo>
                      <a:cubicBezTo>
                        <a:pt x="1728" y="2296"/>
                        <a:pt x="1750" y="2267"/>
                        <a:pt x="1750" y="2267"/>
                      </a:cubicBezTo>
                      <a:cubicBezTo>
                        <a:pt x="1750" y="2267"/>
                        <a:pt x="1738" y="2250"/>
                        <a:pt x="1734" y="2243"/>
                      </a:cubicBezTo>
                      <a:cubicBezTo>
                        <a:pt x="1730" y="2237"/>
                        <a:pt x="1704" y="2236"/>
                        <a:pt x="1719" y="2220"/>
                      </a:cubicBezTo>
                      <a:cubicBezTo>
                        <a:pt x="1734" y="2204"/>
                        <a:pt x="1739" y="2193"/>
                        <a:pt x="1731" y="2182"/>
                      </a:cubicBezTo>
                      <a:cubicBezTo>
                        <a:pt x="1723" y="2170"/>
                        <a:pt x="1709" y="2169"/>
                        <a:pt x="1699" y="2155"/>
                      </a:cubicBezTo>
                      <a:cubicBezTo>
                        <a:pt x="1689" y="2140"/>
                        <a:pt x="1688" y="2106"/>
                        <a:pt x="1688" y="2106"/>
                      </a:cubicBezTo>
                      <a:cubicBezTo>
                        <a:pt x="1688" y="2106"/>
                        <a:pt x="1655" y="2097"/>
                        <a:pt x="1649" y="2071"/>
                      </a:cubicBezTo>
                      <a:cubicBezTo>
                        <a:pt x="1643" y="2046"/>
                        <a:pt x="1643" y="2029"/>
                        <a:pt x="1641" y="2026"/>
                      </a:cubicBezTo>
                      <a:cubicBezTo>
                        <a:pt x="1639" y="2024"/>
                        <a:pt x="1612" y="1991"/>
                        <a:pt x="1612" y="1991"/>
                      </a:cubicBezTo>
                      <a:cubicBezTo>
                        <a:pt x="1587" y="2001"/>
                        <a:pt x="1587" y="2001"/>
                        <a:pt x="1587" y="2001"/>
                      </a:cubicBezTo>
                      <a:cubicBezTo>
                        <a:pt x="1573" y="1974"/>
                        <a:pt x="1573" y="1974"/>
                        <a:pt x="1573" y="1974"/>
                      </a:cubicBezTo>
                      <a:cubicBezTo>
                        <a:pt x="1573" y="1974"/>
                        <a:pt x="1583" y="1965"/>
                        <a:pt x="1582" y="1962"/>
                      </a:cubicBezTo>
                      <a:cubicBezTo>
                        <a:pt x="1581" y="1958"/>
                        <a:pt x="1567" y="1926"/>
                        <a:pt x="1567" y="1926"/>
                      </a:cubicBezTo>
                      <a:cubicBezTo>
                        <a:pt x="1567" y="1926"/>
                        <a:pt x="1574" y="1965"/>
                        <a:pt x="1566" y="1957"/>
                      </a:cubicBezTo>
                      <a:cubicBezTo>
                        <a:pt x="1558" y="1950"/>
                        <a:pt x="1548" y="1928"/>
                        <a:pt x="1548" y="1928"/>
                      </a:cubicBezTo>
                      <a:cubicBezTo>
                        <a:pt x="1548" y="1928"/>
                        <a:pt x="1532" y="1926"/>
                        <a:pt x="1529" y="1923"/>
                      </a:cubicBezTo>
                      <a:cubicBezTo>
                        <a:pt x="1527" y="1921"/>
                        <a:pt x="1527" y="1902"/>
                        <a:pt x="1529" y="1892"/>
                      </a:cubicBezTo>
                      <a:cubicBezTo>
                        <a:pt x="1531" y="1882"/>
                        <a:pt x="1541" y="1879"/>
                        <a:pt x="1539" y="1865"/>
                      </a:cubicBezTo>
                      <a:cubicBezTo>
                        <a:pt x="1537" y="1850"/>
                        <a:pt x="1533" y="1841"/>
                        <a:pt x="1535" y="1835"/>
                      </a:cubicBezTo>
                      <a:cubicBezTo>
                        <a:pt x="1536" y="1830"/>
                        <a:pt x="1550" y="1820"/>
                        <a:pt x="1544" y="1813"/>
                      </a:cubicBezTo>
                      <a:cubicBezTo>
                        <a:pt x="1539" y="1806"/>
                        <a:pt x="1548" y="1791"/>
                        <a:pt x="1538" y="1781"/>
                      </a:cubicBezTo>
                      <a:cubicBezTo>
                        <a:pt x="1528" y="1770"/>
                        <a:pt x="1506" y="1747"/>
                        <a:pt x="1504" y="1747"/>
                      </a:cubicBezTo>
                      <a:cubicBezTo>
                        <a:pt x="1503" y="1747"/>
                        <a:pt x="1506" y="1759"/>
                        <a:pt x="1506" y="1759"/>
                      </a:cubicBezTo>
                      <a:cubicBezTo>
                        <a:pt x="1506" y="1759"/>
                        <a:pt x="1531" y="1783"/>
                        <a:pt x="1530" y="1789"/>
                      </a:cubicBezTo>
                      <a:cubicBezTo>
                        <a:pt x="1530" y="1796"/>
                        <a:pt x="1525" y="1803"/>
                        <a:pt x="1518" y="1800"/>
                      </a:cubicBezTo>
                      <a:cubicBezTo>
                        <a:pt x="1511" y="1796"/>
                        <a:pt x="1477" y="1773"/>
                        <a:pt x="1474" y="1767"/>
                      </a:cubicBezTo>
                      <a:cubicBezTo>
                        <a:pt x="1471" y="1762"/>
                        <a:pt x="1456" y="1728"/>
                        <a:pt x="1449" y="1727"/>
                      </a:cubicBezTo>
                      <a:cubicBezTo>
                        <a:pt x="1441" y="1725"/>
                        <a:pt x="1439" y="1741"/>
                        <a:pt x="1439" y="1741"/>
                      </a:cubicBezTo>
                      <a:cubicBezTo>
                        <a:pt x="1439" y="1741"/>
                        <a:pt x="1457" y="1792"/>
                        <a:pt x="1450" y="1790"/>
                      </a:cubicBezTo>
                      <a:cubicBezTo>
                        <a:pt x="1444" y="1788"/>
                        <a:pt x="1426" y="1763"/>
                        <a:pt x="1426" y="1763"/>
                      </a:cubicBezTo>
                      <a:cubicBezTo>
                        <a:pt x="1426" y="1763"/>
                        <a:pt x="1413" y="1794"/>
                        <a:pt x="1408" y="1788"/>
                      </a:cubicBezTo>
                      <a:cubicBezTo>
                        <a:pt x="1404" y="1781"/>
                        <a:pt x="1394" y="1780"/>
                        <a:pt x="1397" y="1768"/>
                      </a:cubicBezTo>
                      <a:cubicBezTo>
                        <a:pt x="1400" y="1756"/>
                        <a:pt x="1406" y="1743"/>
                        <a:pt x="1404" y="1738"/>
                      </a:cubicBezTo>
                      <a:cubicBezTo>
                        <a:pt x="1402" y="1732"/>
                        <a:pt x="1409" y="1717"/>
                        <a:pt x="1404" y="1711"/>
                      </a:cubicBezTo>
                      <a:cubicBezTo>
                        <a:pt x="1400" y="1705"/>
                        <a:pt x="1394" y="1707"/>
                        <a:pt x="1394" y="1693"/>
                      </a:cubicBezTo>
                      <a:cubicBezTo>
                        <a:pt x="1395" y="1678"/>
                        <a:pt x="1403" y="1661"/>
                        <a:pt x="1401" y="1654"/>
                      </a:cubicBezTo>
                      <a:cubicBezTo>
                        <a:pt x="1398" y="1646"/>
                        <a:pt x="1382" y="1636"/>
                        <a:pt x="1380" y="1623"/>
                      </a:cubicBezTo>
                      <a:cubicBezTo>
                        <a:pt x="1378" y="1610"/>
                        <a:pt x="1373" y="1578"/>
                        <a:pt x="1368" y="1572"/>
                      </a:cubicBezTo>
                      <a:cubicBezTo>
                        <a:pt x="1363" y="1566"/>
                        <a:pt x="1331" y="1528"/>
                        <a:pt x="1329" y="1521"/>
                      </a:cubicBezTo>
                      <a:cubicBezTo>
                        <a:pt x="1326" y="1513"/>
                        <a:pt x="1326" y="1498"/>
                        <a:pt x="1338" y="1499"/>
                      </a:cubicBezTo>
                      <a:cubicBezTo>
                        <a:pt x="1350" y="1500"/>
                        <a:pt x="1356" y="1510"/>
                        <a:pt x="1356" y="1510"/>
                      </a:cubicBezTo>
                      <a:cubicBezTo>
                        <a:pt x="1356" y="1510"/>
                        <a:pt x="1348" y="1483"/>
                        <a:pt x="1340" y="1474"/>
                      </a:cubicBezTo>
                      <a:cubicBezTo>
                        <a:pt x="1332" y="1465"/>
                        <a:pt x="1312" y="1442"/>
                        <a:pt x="1312" y="1442"/>
                      </a:cubicBezTo>
                      <a:cubicBezTo>
                        <a:pt x="1312" y="1442"/>
                        <a:pt x="1312" y="1467"/>
                        <a:pt x="1302" y="1465"/>
                      </a:cubicBezTo>
                      <a:cubicBezTo>
                        <a:pt x="1291" y="1463"/>
                        <a:pt x="1292" y="1442"/>
                        <a:pt x="1285" y="1436"/>
                      </a:cubicBezTo>
                      <a:cubicBezTo>
                        <a:pt x="1279" y="1430"/>
                        <a:pt x="1257" y="1415"/>
                        <a:pt x="1257" y="1415"/>
                      </a:cubicBezTo>
                      <a:cubicBezTo>
                        <a:pt x="1257" y="1415"/>
                        <a:pt x="1238" y="1425"/>
                        <a:pt x="1238" y="1422"/>
                      </a:cubicBezTo>
                      <a:cubicBezTo>
                        <a:pt x="1238" y="1418"/>
                        <a:pt x="1240" y="1393"/>
                        <a:pt x="1237" y="1393"/>
                      </a:cubicBezTo>
                      <a:cubicBezTo>
                        <a:pt x="1235" y="1392"/>
                        <a:pt x="1213" y="1408"/>
                        <a:pt x="1213" y="1408"/>
                      </a:cubicBezTo>
                      <a:cubicBezTo>
                        <a:pt x="1213" y="1408"/>
                        <a:pt x="1210" y="1369"/>
                        <a:pt x="1207" y="1363"/>
                      </a:cubicBezTo>
                      <a:cubicBezTo>
                        <a:pt x="1203" y="1358"/>
                        <a:pt x="1194" y="1341"/>
                        <a:pt x="1194" y="1341"/>
                      </a:cubicBezTo>
                      <a:cubicBezTo>
                        <a:pt x="1194" y="1341"/>
                        <a:pt x="1179" y="1360"/>
                        <a:pt x="1176" y="1358"/>
                      </a:cubicBezTo>
                      <a:cubicBezTo>
                        <a:pt x="1174" y="1357"/>
                        <a:pt x="1146" y="1339"/>
                        <a:pt x="1146" y="1339"/>
                      </a:cubicBezTo>
                      <a:cubicBezTo>
                        <a:pt x="1153" y="1321"/>
                        <a:pt x="1153" y="1321"/>
                        <a:pt x="1153" y="1321"/>
                      </a:cubicBezTo>
                      <a:cubicBezTo>
                        <a:pt x="1153" y="1321"/>
                        <a:pt x="1136" y="1339"/>
                        <a:pt x="1131" y="1334"/>
                      </a:cubicBezTo>
                      <a:cubicBezTo>
                        <a:pt x="1127" y="1329"/>
                        <a:pt x="1105" y="1309"/>
                        <a:pt x="1093" y="1298"/>
                      </a:cubicBezTo>
                      <a:cubicBezTo>
                        <a:pt x="1080" y="1287"/>
                        <a:pt x="1060" y="1263"/>
                        <a:pt x="1060" y="1261"/>
                      </a:cubicBezTo>
                      <a:cubicBezTo>
                        <a:pt x="1060" y="1259"/>
                        <a:pt x="1076" y="1241"/>
                        <a:pt x="1076" y="1241"/>
                      </a:cubicBezTo>
                      <a:cubicBezTo>
                        <a:pt x="1076" y="1241"/>
                        <a:pt x="1083" y="1215"/>
                        <a:pt x="1078" y="1208"/>
                      </a:cubicBezTo>
                      <a:cubicBezTo>
                        <a:pt x="1072" y="1200"/>
                        <a:pt x="1069" y="1188"/>
                        <a:pt x="1068" y="1188"/>
                      </a:cubicBezTo>
                      <a:cubicBezTo>
                        <a:pt x="1066" y="1188"/>
                        <a:pt x="1050" y="1192"/>
                        <a:pt x="1050" y="1192"/>
                      </a:cubicBezTo>
                      <a:cubicBezTo>
                        <a:pt x="1050" y="1192"/>
                        <a:pt x="1041" y="1161"/>
                        <a:pt x="1043" y="1158"/>
                      </a:cubicBezTo>
                      <a:cubicBezTo>
                        <a:pt x="1044" y="1155"/>
                        <a:pt x="1063" y="1149"/>
                        <a:pt x="1063" y="1129"/>
                      </a:cubicBezTo>
                      <a:cubicBezTo>
                        <a:pt x="1063" y="1109"/>
                        <a:pt x="1057" y="1076"/>
                        <a:pt x="1057" y="1074"/>
                      </a:cubicBezTo>
                      <a:cubicBezTo>
                        <a:pt x="1057" y="1073"/>
                        <a:pt x="1050" y="1070"/>
                        <a:pt x="1048" y="1058"/>
                      </a:cubicBezTo>
                      <a:cubicBezTo>
                        <a:pt x="1046" y="1045"/>
                        <a:pt x="1038" y="1029"/>
                        <a:pt x="1038" y="1028"/>
                      </a:cubicBezTo>
                      <a:cubicBezTo>
                        <a:pt x="1038" y="1026"/>
                        <a:pt x="1050" y="1014"/>
                        <a:pt x="1050" y="1014"/>
                      </a:cubicBezTo>
                      <a:cubicBezTo>
                        <a:pt x="1050" y="1014"/>
                        <a:pt x="1030" y="1023"/>
                        <a:pt x="1030" y="1020"/>
                      </a:cubicBezTo>
                      <a:cubicBezTo>
                        <a:pt x="1030" y="1017"/>
                        <a:pt x="1015" y="994"/>
                        <a:pt x="1011" y="984"/>
                      </a:cubicBezTo>
                      <a:cubicBezTo>
                        <a:pt x="1008" y="975"/>
                        <a:pt x="996" y="961"/>
                        <a:pt x="992" y="947"/>
                      </a:cubicBezTo>
                      <a:cubicBezTo>
                        <a:pt x="988" y="934"/>
                        <a:pt x="998" y="922"/>
                        <a:pt x="998" y="922"/>
                      </a:cubicBezTo>
                      <a:cubicBezTo>
                        <a:pt x="992" y="910"/>
                        <a:pt x="992" y="910"/>
                        <a:pt x="992" y="910"/>
                      </a:cubicBezTo>
                      <a:cubicBezTo>
                        <a:pt x="992" y="910"/>
                        <a:pt x="1002" y="912"/>
                        <a:pt x="999" y="900"/>
                      </a:cubicBezTo>
                      <a:cubicBezTo>
                        <a:pt x="997" y="887"/>
                        <a:pt x="996" y="882"/>
                        <a:pt x="992" y="877"/>
                      </a:cubicBezTo>
                      <a:cubicBezTo>
                        <a:pt x="988" y="872"/>
                        <a:pt x="988" y="840"/>
                        <a:pt x="985" y="824"/>
                      </a:cubicBezTo>
                      <a:cubicBezTo>
                        <a:pt x="983" y="808"/>
                        <a:pt x="992" y="796"/>
                        <a:pt x="992" y="796"/>
                      </a:cubicBezTo>
                      <a:cubicBezTo>
                        <a:pt x="982" y="783"/>
                        <a:pt x="982" y="783"/>
                        <a:pt x="982" y="783"/>
                      </a:cubicBezTo>
                      <a:cubicBezTo>
                        <a:pt x="994" y="761"/>
                        <a:pt x="994" y="761"/>
                        <a:pt x="994" y="761"/>
                      </a:cubicBezTo>
                      <a:cubicBezTo>
                        <a:pt x="994" y="761"/>
                        <a:pt x="979" y="739"/>
                        <a:pt x="970" y="735"/>
                      </a:cubicBezTo>
                      <a:cubicBezTo>
                        <a:pt x="960" y="731"/>
                        <a:pt x="949" y="725"/>
                        <a:pt x="949" y="725"/>
                      </a:cubicBezTo>
                      <a:cubicBezTo>
                        <a:pt x="948" y="712"/>
                        <a:pt x="948" y="712"/>
                        <a:pt x="948" y="712"/>
                      </a:cubicBezTo>
                      <a:cubicBezTo>
                        <a:pt x="918" y="691"/>
                        <a:pt x="918" y="691"/>
                        <a:pt x="918" y="691"/>
                      </a:cubicBezTo>
                      <a:cubicBezTo>
                        <a:pt x="918" y="691"/>
                        <a:pt x="912" y="658"/>
                        <a:pt x="908" y="654"/>
                      </a:cubicBezTo>
                      <a:cubicBezTo>
                        <a:pt x="903" y="651"/>
                        <a:pt x="898" y="647"/>
                        <a:pt x="898" y="647"/>
                      </a:cubicBezTo>
                      <a:cubicBezTo>
                        <a:pt x="898" y="647"/>
                        <a:pt x="880" y="667"/>
                        <a:pt x="878" y="667"/>
                      </a:cubicBezTo>
                      <a:cubicBezTo>
                        <a:pt x="877" y="667"/>
                        <a:pt x="864" y="656"/>
                        <a:pt x="864" y="656"/>
                      </a:cubicBezTo>
                      <a:cubicBezTo>
                        <a:pt x="864" y="656"/>
                        <a:pt x="856" y="672"/>
                        <a:pt x="846" y="677"/>
                      </a:cubicBezTo>
                      <a:cubicBezTo>
                        <a:pt x="836" y="682"/>
                        <a:pt x="827" y="690"/>
                        <a:pt x="821" y="684"/>
                      </a:cubicBezTo>
                      <a:cubicBezTo>
                        <a:pt x="816" y="678"/>
                        <a:pt x="798" y="661"/>
                        <a:pt x="801" y="653"/>
                      </a:cubicBezTo>
                      <a:cubicBezTo>
                        <a:pt x="803" y="644"/>
                        <a:pt x="801" y="618"/>
                        <a:pt x="798" y="616"/>
                      </a:cubicBezTo>
                      <a:cubicBezTo>
                        <a:pt x="796" y="613"/>
                        <a:pt x="786" y="595"/>
                        <a:pt x="786" y="583"/>
                      </a:cubicBezTo>
                      <a:cubicBezTo>
                        <a:pt x="786" y="572"/>
                        <a:pt x="805" y="560"/>
                        <a:pt x="804" y="553"/>
                      </a:cubicBezTo>
                      <a:cubicBezTo>
                        <a:pt x="804" y="547"/>
                        <a:pt x="792" y="530"/>
                        <a:pt x="792" y="530"/>
                      </a:cubicBezTo>
                      <a:cubicBezTo>
                        <a:pt x="792" y="530"/>
                        <a:pt x="798" y="493"/>
                        <a:pt x="792" y="480"/>
                      </a:cubicBezTo>
                      <a:cubicBezTo>
                        <a:pt x="787" y="468"/>
                        <a:pt x="771" y="464"/>
                        <a:pt x="771" y="461"/>
                      </a:cubicBezTo>
                      <a:cubicBezTo>
                        <a:pt x="772" y="457"/>
                        <a:pt x="785" y="446"/>
                        <a:pt x="782" y="435"/>
                      </a:cubicBezTo>
                      <a:cubicBezTo>
                        <a:pt x="779" y="423"/>
                        <a:pt x="764" y="422"/>
                        <a:pt x="764" y="422"/>
                      </a:cubicBezTo>
                      <a:cubicBezTo>
                        <a:pt x="759" y="403"/>
                        <a:pt x="759" y="403"/>
                        <a:pt x="759" y="403"/>
                      </a:cubicBezTo>
                      <a:cubicBezTo>
                        <a:pt x="759" y="403"/>
                        <a:pt x="739" y="398"/>
                        <a:pt x="737" y="385"/>
                      </a:cubicBezTo>
                      <a:cubicBezTo>
                        <a:pt x="735" y="373"/>
                        <a:pt x="754" y="365"/>
                        <a:pt x="756" y="356"/>
                      </a:cubicBezTo>
                      <a:cubicBezTo>
                        <a:pt x="759" y="347"/>
                        <a:pt x="764" y="347"/>
                        <a:pt x="764" y="347"/>
                      </a:cubicBezTo>
                      <a:cubicBezTo>
                        <a:pt x="733" y="341"/>
                        <a:pt x="733" y="341"/>
                        <a:pt x="733" y="341"/>
                      </a:cubicBezTo>
                      <a:cubicBezTo>
                        <a:pt x="733" y="341"/>
                        <a:pt x="718" y="335"/>
                        <a:pt x="718" y="328"/>
                      </a:cubicBezTo>
                      <a:cubicBezTo>
                        <a:pt x="718" y="321"/>
                        <a:pt x="717" y="280"/>
                        <a:pt x="717" y="280"/>
                      </a:cubicBezTo>
                      <a:cubicBezTo>
                        <a:pt x="717" y="280"/>
                        <a:pt x="728" y="274"/>
                        <a:pt x="726" y="271"/>
                      </a:cubicBezTo>
                      <a:cubicBezTo>
                        <a:pt x="725" y="268"/>
                        <a:pt x="713" y="253"/>
                        <a:pt x="713" y="253"/>
                      </a:cubicBezTo>
                      <a:cubicBezTo>
                        <a:pt x="715" y="221"/>
                        <a:pt x="715" y="221"/>
                        <a:pt x="715" y="221"/>
                      </a:cubicBezTo>
                      <a:cubicBezTo>
                        <a:pt x="715" y="221"/>
                        <a:pt x="694" y="203"/>
                        <a:pt x="687" y="205"/>
                      </a:cubicBezTo>
                      <a:cubicBezTo>
                        <a:pt x="680" y="206"/>
                        <a:pt x="707" y="191"/>
                        <a:pt x="699" y="184"/>
                      </a:cubicBezTo>
                      <a:cubicBezTo>
                        <a:pt x="691" y="177"/>
                        <a:pt x="681" y="172"/>
                        <a:pt x="675" y="177"/>
                      </a:cubicBezTo>
                      <a:cubicBezTo>
                        <a:pt x="669" y="182"/>
                        <a:pt x="662" y="203"/>
                        <a:pt x="660" y="204"/>
                      </a:cubicBezTo>
                      <a:cubicBezTo>
                        <a:pt x="658" y="205"/>
                        <a:pt x="634" y="207"/>
                        <a:pt x="634" y="207"/>
                      </a:cubicBezTo>
                      <a:cubicBezTo>
                        <a:pt x="634" y="207"/>
                        <a:pt x="656" y="233"/>
                        <a:pt x="628" y="269"/>
                      </a:cubicBezTo>
                      <a:cubicBezTo>
                        <a:pt x="600" y="305"/>
                        <a:pt x="594" y="337"/>
                        <a:pt x="594" y="337"/>
                      </a:cubicBezTo>
                      <a:cubicBezTo>
                        <a:pt x="593" y="352"/>
                        <a:pt x="593" y="352"/>
                        <a:pt x="593" y="352"/>
                      </a:cubicBezTo>
                      <a:cubicBezTo>
                        <a:pt x="581" y="351"/>
                        <a:pt x="581" y="351"/>
                        <a:pt x="581" y="351"/>
                      </a:cubicBezTo>
                      <a:cubicBezTo>
                        <a:pt x="554" y="411"/>
                        <a:pt x="554" y="411"/>
                        <a:pt x="554" y="411"/>
                      </a:cubicBezTo>
                      <a:cubicBezTo>
                        <a:pt x="554" y="411"/>
                        <a:pt x="563" y="403"/>
                        <a:pt x="569" y="408"/>
                      </a:cubicBezTo>
                      <a:cubicBezTo>
                        <a:pt x="574" y="414"/>
                        <a:pt x="583" y="426"/>
                        <a:pt x="583" y="426"/>
                      </a:cubicBezTo>
                      <a:cubicBezTo>
                        <a:pt x="583" y="426"/>
                        <a:pt x="607" y="410"/>
                        <a:pt x="609" y="417"/>
                      </a:cubicBezTo>
                      <a:cubicBezTo>
                        <a:pt x="611" y="423"/>
                        <a:pt x="594" y="439"/>
                        <a:pt x="594" y="439"/>
                      </a:cubicBezTo>
                      <a:cubicBezTo>
                        <a:pt x="589" y="457"/>
                        <a:pt x="589" y="457"/>
                        <a:pt x="589" y="457"/>
                      </a:cubicBezTo>
                      <a:cubicBezTo>
                        <a:pt x="589" y="457"/>
                        <a:pt x="584" y="432"/>
                        <a:pt x="579" y="432"/>
                      </a:cubicBezTo>
                      <a:cubicBezTo>
                        <a:pt x="574" y="432"/>
                        <a:pt x="553" y="459"/>
                        <a:pt x="550" y="460"/>
                      </a:cubicBezTo>
                      <a:cubicBezTo>
                        <a:pt x="546" y="460"/>
                        <a:pt x="549" y="491"/>
                        <a:pt x="552" y="492"/>
                      </a:cubicBezTo>
                      <a:cubicBezTo>
                        <a:pt x="554" y="493"/>
                        <a:pt x="558" y="508"/>
                        <a:pt x="555" y="509"/>
                      </a:cubicBezTo>
                      <a:cubicBezTo>
                        <a:pt x="552" y="511"/>
                        <a:pt x="516" y="563"/>
                        <a:pt x="524" y="578"/>
                      </a:cubicBezTo>
                      <a:cubicBezTo>
                        <a:pt x="532" y="592"/>
                        <a:pt x="543" y="607"/>
                        <a:pt x="540" y="615"/>
                      </a:cubicBezTo>
                      <a:cubicBezTo>
                        <a:pt x="538" y="623"/>
                        <a:pt x="525" y="670"/>
                        <a:pt x="524" y="684"/>
                      </a:cubicBezTo>
                      <a:cubicBezTo>
                        <a:pt x="523" y="698"/>
                        <a:pt x="541" y="735"/>
                        <a:pt x="541" y="735"/>
                      </a:cubicBezTo>
                      <a:cubicBezTo>
                        <a:pt x="541" y="735"/>
                        <a:pt x="511" y="768"/>
                        <a:pt x="506" y="801"/>
                      </a:cubicBezTo>
                      <a:cubicBezTo>
                        <a:pt x="501" y="834"/>
                        <a:pt x="499" y="867"/>
                        <a:pt x="499" y="867"/>
                      </a:cubicBezTo>
                      <a:cubicBezTo>
                        <a:pt x="499" y="867"/>
                        <a:pt x="485" y="902"/>
                        <a:pt x="479" y="917"/>
                      </a:cubicBezTo>
                      <a:cubicBezTo>
                        <a:pt x="472" y="931"/>
                        <a:pt x="455" y="965"/>
                        <a:pt x="442" y="970"/>
                      </a:cubicBezTo>
                      <a:cubicBezTo>
                        <a:pt x="430" y="974"/>
                        <a:pt x="425" y="1024"/>
                        <a:pt x="425" y="1024"/>
                      </a:cubicBezTo>
                      <a:cubicBezTo>
                        <a:pt x="425" y="1024"/>
                        <a:pt x="382" y="1055"/>
                        <a:pt x="371" y="1057"/>
                      </a:cubicBezTo>
                      <a:cubicBezTo>
                        <a:pt x="360" y="1058"/>
                        <a:pt x="323" y="1065"/>
                        <a:pt x="320" y="1063"/>
                      </a:cubicBezTo>
                      <a:cubicBezTo>
                        <a:pt x="316" y="1061"/>
                        <a:pt x="291" y="1045"/>
                        <a:pt x="285" y="1042"/>
                      </a:cubicBezTo>
                      <a:cubicBezTo>
                        <a:pt x="279" y="1039"/>
                        <a:pt x="265" y="1037"/>
                        <a:pt x="264" y="1035"/>
                      </a:cubicBezTo>
                      <a:cubicBezTo>
                        <a:pt x="264" y="1033"/>
                        <a:pt x="255" y="1012"/>
                        <a:pt x="246" y="1011"/>
                      </a:cubicBezTo>
                      <a:cubicBezTo>
                        <a:pt x="238" y="1010"/>
                        <a:pt x="219" y="1007"/>
                        <a:pt x="216" y="998"/>
                      </a:cubicBezTo>
                      <a:cubicBezTo>
                        <a:pt x="213" y="989"/>
                        <a:pt x="235" y="979"/>
                        <a:pt x="205" y="959"/>
                      </a:cubicBezTo>
                      <a:cubicBezTo>
                        <a:pt x="175" y="940"/>
                        <a:pt x="173" y="947"/>
                        <a:pt x="171" y="946"/>
                      </a:cubicBezTo>
                      <a:cubicBezTo>
                        <a:pt x="170" y="945"/>
                        <a:pt x="153" y="930"/>
                        <a:pt x="153" y="930"/>
                      </a:cubicBezTo>
                      <a:cubicBezTo>
                        <a:pt x="153" y="930"/>
                        <a:pt x="121" y="937"/>
                        <a:pt x="95" y="918"/>
                      </a:cubicBezTo>
                      <a:cubicBezTo>
                        <a:pt x="89" y="913"/>
                        <a:pt x="83" y="907"/>
                        <a:pt x="78" y="901"/>
                      </a:cubicBezTo>
                      <a:cubicBezTo>
                        <a:pt x="30" y="2088"/>
                        <a:pt x="30" y="2088"/>
                        <a:pt x="30" y="2088"/>
                      </a:cubicBezTo>
                      <a:cubicBezTo>
                        <a:pt x="30" y="2088"/>
                        <a:pt x="18" y="2088"/>
                        <a:pt x="0" y="2088"/>
                      </a:cubicBezTo>
                      <a:cubicBezTo>
                        <a:pt x="12" y="2097"/>
                        <a:pt x="20" y="2103"/>
                        <a:pt x="20" y="2103"/>
                      </a:cubicBezTo>
                      <a:cubicBezTo>
                        <a:pt x="373" y="2113"/>
                        <a:pt x="373" y="2113"/>
                        <a:pt x="373" y="2113"/>
                      </a:cubicBezTo>
                      <a:cubicBezTo>
                        <a:pt x="351" y="2490"/>
                        <a:pt x="351" y="2490"/>
                        <a:pt x="351" y="2490"/>
                      </a:cubicBezTo>
                      <a:cubicBezTo>
                        <a:pt x="1227" y="2573"/>
                        <a:pt x="1227" y="2573"/>
                        <a:pt x="1227" y="2573"/>
                      </a:cubicBezTo>
                      <a:cubicBezTo>
                        <a:pt x="1291" y="2529"/>
                        <a:pt x="1291" y="2529"/>
                        <a:pt x="1291" y="2529"/>
                      </a:cubicBezTo>
                      <a:cubicBezTo>
                        <a:pt x="1331" y="2537"/>
                        <a:pt x="1331" y="2537"/>
                        <a:pt x="1331" y="2537"/>
                      </a:cubicBezTo>
                      <a:cubicBezTo>
                        <a:pt x="1371" y="2537"/>
                        <a:pt x="1371" y="2537"/>
                        <a:pt x="1371" y="2537"/>
                      </a:cubicBezTo>
                      <a:cubicBezTo>
                        <a:pt x="1395" y="2565"/>
                        <a:pt x="1395" y="2565"/>
                        <a:pt x="1395" y="2565"/>
                      </a:cubicBezTo>
                      <a:cubicBezTo>
                        <a:pt x="1439" y="2561"/>
                        <a:pt x="1439" y="2561"/>
                        <a:pt x="1439" y="2561"/>
                      </a:cubicBezTo>
                      <a:cubicBezTo>
                        <a:pt x="1479" y="2597"/>
                        <a:pt x="1479" y="2597"/>
                        <a:pt x="1479" y="2597"/>
                      </a:cubicBezTo>
                      <a:cubicBezTo>
                        <a:pt x="1483" y="2629"/>
                        <a:pt x="1483" y="2629"/>
                        <a:pt x="1483" y="2629"/>
                      </a:cubicBezTo>
                      <a:cubicBezTo>
                        <a:pt x="1519" y="2601"/>
                        <a:pt x="1519" y="2601"/>
                        <a:pt x="1519" y="2601"/>
                      </a:cubicBezTo>
                      <a:cubicBezTo>
                        <a:pt x="1519" y="2601"/>
                        <a:pt x="1547" y="2617"/>
                        <a:pt x="1551" y="2601"/>
                      </a:cubicBezTo>
                      <a:cubicBezTo>
                        <a:pt x="1555" y="2585"/>
                        <a:pt x="1563" y="2557"/>
                        <a:pt x="1563" y="2557"/>
                      </a:cubicBezTo>
                      <a:cubicBezTo>
                        <a:pt x="1623" y="2541"/>
                        <a:pt x="1623" y="2541"/>
                        <a:pt x="1623" y="2541"/>
                      </a:cubicBezTo>
                      <a:cubicBezTo>
                        <a:pt x="1671" y="2557"/>
                        <a:pt x="1671" y="2557"/>
                        <a:pt x="1671" y="2557"/>
                      </a:cubicBezTo>
                      <a:cubicBezTo>
                        <a:pt x="1703" y="2565"/>
                        <a:pt x="1703" y="2565"/>
                        <a:pt x="1703" y="2565"/>
                      </a:cubicBezTo>
                      <a:cubicBezTo>
                        <a:pt x="1707" y="2549"/>
                        <a:pt x="1707" y="2549"/>
                        <a:pt x="1707" y="2549"/>
                      </a:cubicBezTo>
                      <a:cubicBezTo>
                        <a:pt x="1739" y="2549"/>
                        <a:pt x="1739" y="2549"/>
                        <a:pt x="1739" y="2549"/>
                      </a:cubicBezTo>
                      <a:cubicBezTo>
                        <a:pt x="1737" y="2541"/>
                        <a:pt x="1733" y="2530"/>
                        <a:pt x="1733" y="2524"/>
                      </a:cubicBezTo>
                      <a:cubicBezTo>
                        <a:pt x="1732" y="2515"/>
                        <a:pt x="1737" y="2495"/>
                        <a:pt x="1740" y="2488"/>
                      </a:cubicBezTo>
                      <a:cubicBezTo>
                        <a:pt x="1743" y="2481"/>
                        <a:pt x="1710" y="2426"/>
                        <a:pt x="1710" y="2426"/>
                      </a:cubicBezTo>
                      <a:lnTo>
                        <a:pt x="1728" y="2408"/>
                      </a:lnTo>
                      <a:close/>
                      <a:moveTo>
                        <a:pt x="790" y="348"/>
                      </a:moveTo>
                      <a:cubicBezTo>
                        <a:pt x="790" y="348"/>
                        <a:pt x="790" y="338"/>
                        <a:pt x="789" y="325"/>
                      </a:cubicBezTo>
                      <a:cubicBezTo>
                        <a:pt x="787" y="311"/>
                        <a:pt x="762" y="326"/>
                        <a:pt x="762" y="326"/>
                      </a:cubicBezTo>
                      <a:cubicBezTo>
                        <a:pt x="775" y="333"/>
                        <a:pt x="775" y="333"/>
                        <a:pt x="775" y="333"/>
                      </a:cubicBezTo>
                      <a:lnTo>
                        <a:pt x="790" y="348"/>
                      </a:lnTo>
                      <a:close/>
                      <a:moveTo>
                        <a:pt x="660" y="72"/>
                      </a:moveTo>
                      <a:cubicBezTo>
                        <a:pt x="669" y="61"/>
                        <a:pt x="686" y="43"/>
                        <a:pt x="678" y="44"/>
                      </a:cubicBezTo>
                      <a:cubicBezTo>
                        <a:pt x="670" y="45"/>
                        <a:pt x="670" y="53"/>
                        <a:pt x="658" y="59"/>
                      </a:cubicBezTo>
                      <a:cubicBezTo>
                        <a:pt x="646" y="64"/>
                        <a:pt x="642" y="85"/>
                        <a:pt x="642" y="85"/>
                      </a:cubicBezTo>
                      <a:cubicBezTo>
                        <a:pt x="642" y="85"/>
                        <a:pt x="650" y="82"/>
                        <a:pt x="660" y="72"/>
                      </a:cubicBezTo>
                      <a:close/>
                      <a:moveTo>
                        <a:pt x="678" y="12"/>
                      </a:moveTo>
                      <a:cubicBezTo>
                        <a:pt x="672" y="0"/>
                        <a:pt x="656" y="5"/>
                        <a:pt x="656" y="12"/>
                      </a:cubicBezTo>
                      <a:cubicBezTo>
                        <a:pt x="656" y="12"/>
                        <a:pt x="685" y="24"/>
                        <a:pt x="678" y="12"/>
                      </a:cubicBezTo>
                      <a:close/>
                      <a:moveTo>
                        <a:pt x="241" y="978"/>
                      </a:moveTo>
                      <a:cubicBezTo>
                        <a:pt x="241" y="978"/>
                        <a:pt x="242" y="983"/>
                        <a:pt x="253" y="983"/>
                      </a:cubicBezTo>
                      <a:cubicBezTo>
                        <a:pt x="263" y="983"/>
                        <a:pt x="269" y="978"/>
                        <a:pt x="269" y="978"/>
                      </a:cubicBezTo>
                      <a:cubicBezTo>
                        <a:pt x="258" y="966"/>
                        <a:pt x="258" y="966"/>
                        <a:pt x="258" y="966"/>
                      </a:cubicBezTo>
                      <a:lnTo>
                        <a:pt x="241" y="978"/>
                      </a:lnTo>
                      <a:close/>
                      <a:moveTo>
                        <a:pt x="1786" y="1395"/>
                      </a:moveTo>
                      <a:cubicBezTo>
                        <a:pt x="1770" y="1403"/>
                        <a:pt x="1770" y="1403"/>
                        <a:pt x="1770" y="1403"/>
                      </a:cubicBezTo>
                      <a:cubicBezTo>
                        <a:pt x="1774" y="1419"/>
                        <a:pt x="1774" y="1419"/>
                        <a:pt x="1774" y="1419"/>
                      </a:cubicBezTo>
                      <a:cubicBezTo>
                        <a:pt x="1792" y="1401"/>
                        <a:pt x="1792" y="1401"/>
                        <a:pt x="1792" y="1401"/>
                      </a:cubicBezTo>
                      <a:cubicBezTo>
                        <a:pt x="1806" y="1389"/>
                        <a:pt x="1806" y="1389"/>
                        <a:pt x="1806" y="1389"/>
                      </a:cubicBezTo>
                      <a:cubicBezTo>
                        <a:pt x="1789" y="1387"/>
                        <a:pt x="1789" y="1387"/>
                        <a:pt x="1789" y="1387"/>
                      </a:cubicBezTo>
                      <a:lnTo>
                        <a:pt x="1786" y="1395"/>
                      </a:lnTo>
                      <a:close/>
                      <a:moveTo>
                        <a:pt x="1866" y="1766"/>
                      </a:moveTo>
                      <a:cubicBezTo>
                        <a:pt x="1873" y="1773"/>
                        <a:pt x="1873" y="1773"/>
                        <a:pt x="1873" y="1773"/>
                      </a:cubicBezTo>
                      <a:cubicBezTo>
                        <a:pt x="1903" y="1741"/>
                        <a:pt x="1903" y="1741"/>
                        <a:pt x="1903" y="1741"/>
                      </a:cubicBezTo>
                      <a:cubicBezTo>
                        <a:pt x="1893" y="1738"/>
                        <a:pt x="1893" y="1738"/>
                        <a:pt x="1893" y="1738"/>
                      </a:cubicBezTo>
                      <a:lnTo>
                        <a:pt x="1866" y="1766"/>
                      </a:lnTo>
                      <a:close/>
                      <a:moveTo>
                        <a:pt x="2062" y="1825"/>
                      </a:moveTo>
                      <a:cubicBezTo>
                        <a:pt x="2058" y="1825"/>
                        <a:pt x="2043" y="1833"/>
                        <a:pt x="2043" y="1833"/>
                      </a:cubicBezTo>
                      <a:cubicBezTo>
                        <a:pt x="2043" y="1833"/>
                        <a:pt x="2036" y="1839"/>
                        <a:pt x="2058" y="1839"/>
                      </a:cubicBezTo>
                      <a:cubicBezTo>
                        <a:pt x="2079" y="1839"/>
                        <a:pt x="2083" y="1822"/>
                        <a:pt x="2083" y="1822"/>
                      </a:cubicBezTo>
                      <a:cubicBezTo>
                        <a:pt x="2083" y="1822"/>
                        <a:pt x="2066" y="1825"/>
                        <a:pt x="2062" y="1825"/>
                      </a:cubicBezTo>
                      <a:close/>
                      <a:moveTo>
                        <a:pt x="1760" y="1648"/>
                      </a:moveTo>
                      <a:cubicBezTo>
                        <a:pt x="1760" y="1648"/>
                        <a:pt x="1772" y="1653"/>
                        <a:pt x="1772" y="1661"/>
                      </a:cubicBezTo>
                      <a:cubicBezTo>
                        <a:pt x="1772" y="1669"/>
                        <a:pt x="1774" y="1681"/>
                        <a:pt x="1774" y="1681"/>
                      </a:cubicBezTo>
                      <a:cubicBezTo>
                        <a:pt x="1774" y="1681"/>
                        <a:pt x="1784" y="1671"/>
                        <a:pt x="1784" y="1665"/>
                      </a:cubicBezTo>
                      <a:cubicBezTo>
                        <a:pt x="1784" y="1660"/>
                        <a:pt x="1798" y="1652"/>
                        <a:pt x="1790" y="1637"/>
                      </a:cubicBezTo>
                      <a:cubicBezTo>
                        <a:pt x="1782" y="1623"/>
                        <a:pt x="1760" y="1648"/>
                        <a:pt x="1760" y="1648"/>
                      </a:cubicBezTo>
                      <a:close/>
                      <a:moveTo>
                        <a:pt x="1781" y="2115"/>
                      </a:moveTo>
                      <a:cubicBezTo>
                        <a:pt x="1776" y="2106"/>
                        <a:pt x="1762" y="2117"/>
                        <a:pt x="1762" y="2121"/>
                      </a:cubicBezTo>
                      <a:cubicBezTo>
                        <a:pt x="1762" y="2125"/>
                        <a:pt x="1768" y="2141"/>
                        <a:pt x="1765" y="2156"/>
                      </a:cubicBezTo>
                      <a:cubicBezTo>
                        <a:pt x="1762" y="2171"/>
                        <a:pt x="1745" y="2157"/>
                        <a:pt x="1745" y="2168"/>
                      </a:cubicBezTo>
                      <a:cubicBezTo>
                        <a:pt x="1745" y="2179"/>
                        <a:pt x="1766" y="2180"/>
                        <a:pt x="1766" y="2180"/>
                      </a:cubicBezTo>
                      <a:cubicBezTo>
                        <a:pt x="1790" y="2149"/>
                        <a:pt x="1790" y="2149"/>
                        <a:pt x="1790" y="2149"/>
                      </a:cubicBezTo>
                      <a:cubicBezTo>
                        <a:pt x="1778" y="2129"/>
                        <a:pt x="1778" y="2129"/>
                        <a:pt x="1778" y="2129"/>
                      </a:cubicBezTo>
                      <a:lnTo>
                        <a:pt x="1781" y="2115"/>
                      </a:lnTo>
                      <a:close/>
                      <a:moveTo>
                        <a:pt x="1733" y="2219"/>
                      </a:moveTo>
                      <a:cubicBezTo>
                        <a:pt x="1732" y="2228"/>
                        <a:pt x="1744" y="2229"/>
                        <a:pt x="1744" y="2229"/>
                      </a:cubicBezTo>
                      <a:cubicBezTo>
                        <a:pt x="1760" y="2196"/>
                        <a:pt x="1760" y="2196"/>
                        <a:pt x="1760" y="2196"/>
                      </a:cubicBezTo>
                      <a:cubicBezTo>
                        <a:pt x="1760" y="2196"/>
                        <a:pt x="1756" y="2188"/>
                        <a:pt x="1748" y="2180"/>
                      </a:cubicBezTo>
                      <a:cubicBezTo>
                        <a:pt x="1740" y="2172"/>
                        <a:pt x="1734" y="2209"/>
                        <a:pt x="1733" y="2219"/>
                      </a:cubicBezTo>
                      <a:close/>
                      <a:moveTo>
                        <a:pt x="243" y="932"/>
                      </a:moveTo>
                      <a:cubicBezTo>
                        <a:pt x="259" y="908"/>
                        <a:pt x="259" y="908"/>
                        <a:pt x="259" y="908"/>
                      </a:cubicBezTo>
                      <a:cubicBezTo>
                        <a:pt x="289" y="906"/>
                        <a:pt x="289" y="906"/>
                        <a:pt x="289" y="906"/>
                      </a:cubicBezTo>
                      <a:cubicBezTo>
                        <a:pt x="289" y="906"/>
                        <a:pt x="282" y="888"/>
                        <a:pt x="275" y="888"/>
                      </a:cubicBezTo>
                      <a:cubicBezTo>
                        <a:pt x="269" y="888"/>
                        <a:pt x="259" y="895"/>
                        <a:pt x="259" y="895"/>
                      </a:cubicBezTo>
                      <a:cubicBezTo>
                        <a:pt x="259" y="895"/>
                        <a:pt x="243" y="884"/>
                        <a:pt x="229" y="898"/>
                      </a:cubicBezTo>
                      <a:cubicBezTo>
                        <a:pt x="214" y="911"/>
                        <a:pt x="212" y="947"/>
                        <a:pt x="212" y="947"/>
                      </a:cubicBezTo>
                      <a:cubicBezTo>
                        <a:pt x="219" y="932"/>
                        <a:pt x="219" y="932"/>
                        <a:pt x="219" y="932"/>
                      </a:cubicBezTo>
                      <a:lnTo>
                        <a:pt x="243" y="932"/>
                      </a:lnTo>
                      <a:close/>
                      <a:moveTo>
                        <a:pt x="851" y="536"/>
                      </a:moveTo>
                      <a:cubicBezTo>
                        <a:pt x="853" y="501"/>
                        <a:pt x="853" y="501"/>
                        <a:pt x="853" y="501"/>
                      </a:cubicBezTo>
                      <a:cubicBezTo>
                        <a:pt x="853" y="501"/>
                        <a:pt x="838" y="479"/>
                        <a:pt x="833" y="467"/>
                      </a:cubicBezTo>
                      <a:cubicBezTo>
                        <a:pt x="827" y="455"/>
                        <a:pt x="833" y="434"/>
                        <a:pt x="833" y="430"/>
                      </a:cubicBezTo>
                      <a:cubicBezTo>
                        <a:pt x="833" y="426"/>
                        <a:pt x="826" y="411"/>
                        <a:pt x="826" y="411"/>
                      </a:cubicBezTo>
                      <a:cubicBezTo>
                        <a:pt x="846" y="386"/>
                        <a:pt x="846" y="386"/>
                        <a:pt x="846" y="386"/>
                      </a:cubicBezTo>
                      <a:cubicBezTo>
                        <a:pt x="846" y="386"/>
                        <a:pt x="845" y="380"/>
                        <a:pt x="837" y="380"/>
                      </a:cubicBezTo>
                      <a:cubicBezTo>
                        <a:pt x="829" y="380"/>
                        <a:pt x="835" y="362"/>
                        <a:pt x="835" y="362"/>
                      </a:cubicBezTo>
                      <a:cubicBezTo>
                        <a:pt x="826" y="348"/>
                        <a:pt x="830" y="386"/>
                        <a:pt x="830" y="386"/>
                      </a:cubicBezTo>
                      <a:cubicBezTo>
                        <a:pt x="813" y="408"/>
                        <a:pt x="813" y="408"/>
                        <a:pt x="813" y="408"/>
                      </a:cubicBezTo>
                      <a:cubicBezTo>
                        <a:pt x="813" y="408"/>
                        <a:pt x="819" y="418"/>
                        <a:pt x="825" y="430"/>
                      </a:cubicBezTo>
                      <a:cubicBezTo>
                        <a:pt x="830" y="442"/>
                        <a:pt x="822" y="458"/>
                        <a:pt x="822" y="467"/>
                      </a:cubicBezTo>
                      <a:cubicBezTo>
                        <a:pt x="822" y="476"/>
                        <a:pt x="830" y="481"/>
                        <a:pt x="837" y="505"/>
                      </a:cubicBezTo>
                      <a:cubicBezTo>
                        <a:pt x="843" y="529"/>
                        <a:pt x="851" y="536"/>
                        <a:pt x="851" y="536"/>
                      </a:cubicBezTo>
                      <a:close/>
                      <a:moveTo>
                        <a:pt x="843" y="315"/>
                      </a:moveTo>
                      <a:cubicBezTo>
                        <a:pt x="830" y="340"/>
                        <a:pt x="830" y="340"/>
                        <a:pt x="830" y="340"/>
                      </a:cubicBezTo>
                      <a:cubicBezTo>
                        <a:pt x="843" y="329"/>
                        <a:pt x="843" y="329"/>
                        <a:pt x="843" y="329"/>
                      </a:cubicBezTo>
                      <a:lnTo>
                        <a:pt x="843" y="315"/>
                      </a:lnTo>
                      <a:close/>
                      <a:moveTo>
                        <a:pt x="778" y="282"/>
                      </a:moveTo>
                      <a:cubicBezTo>
                        <a:pt x="787" y="287"/>
                        <a:pt x="799" y="287"/>
                        <a:pt x="799" y="287"/>
                      </a:cubicBezTo>
                      <a:cubicBezTo>
                        <a:pt x="781" y="262"/>
                        <a:pt x="781" y="262"/>
                        <a:pt x="781" y="262"/>
                      </a:cubicBezTo>
                      <a:cubicBezTo>
                        <a:pt x="781" y="262"/>
                        <a:pt x="769" y="277"/>
                        <a:pt x="778" y="282"/>
                      </a:cubicBezTo>
                      <a:close/>
                      <a:moveTo>
                        <a:pt x="795" y="470"/>
                      </a:moveTo>
                      <a:cubicBezTo>
                        <a:pt x="810" y="460"/>
                        <a:pt x="810" y="460"/>
                        <a:pt x="810" y="460"/>
                      </a:cubicBezTo>
                      <a:cubicBezTo>
                        <a:pt x="810" y="460"/>
                        <a:pt x="823" y="452"/>
                        <a:pt x="810" y="435"/>
                      </a:cubicBezTo>
                      <a:cubicBezTo>
                        <a:pt x="797" y="418"/>
                        <a:pt x="774" y="406"/>
                        <a:pt x="773" y="412"/>
                      </a:cubicBezTo>
                      <a:cubicBezTo>
                        <a:pt x="773" y="412"/>
                        <a:pt x="798" y="431"/>
                        <a:pt x="798" y="435"/>
                      </a:cubicBezTo>
                      <a:cubicBezTo>
                        <a:pt x="798" y="439"/>
                        <a:pt x="802" y="444"/>
                        <a:pt x="799" y="452"/>
                      </a:cubicBezTo>
                      <a:cubicBezTo>
                        <a:pt x="797" y="460"/>
                        <a:pt x="795" y="470"/>
                        <a:pt x="795" y="470"/>
                      </a:cubicBezTo>
                      <a:close/>
                      <a:moveTo>
                        <a:pt x="783" y="400"/>
                      </a:moveTo>
                      <a:cubicBezTo>
                        <a:pt x="789" y="396"/>
                        <a:pt x="759" y="382"/>
                        <a:pt x="759" y="382"/>
                      </a:cubicBezTo>
                      <a:cubicBezTo>
                        <a:pt x="759" y="382"/>
                        <a:pt x="778" y="404"/>
                        <a:pt x="783" y="400"/>
                      </a:cubicBezTo>
                      <a:close/>
                      <a:moveTo>
                        <a:pt x="877" y="588"/>
                      </a:moveTo>
                      <a:cubicBezTo>
                        <a:pt x="883" y="581"/>
                        <a:pt x="855" y="537"/>
                        <a:pt x="850" y="551"/>
                      </a:cubicBezTo>
                      <a:cubicBezTo>
                        <a:pt x="850" y="551"/>
                        <a:pt x="870" y="595"/>
                        <a:pt x="877" y="588"/>
                      </a:cubicBezTo>
                      <a:close/>
                      <a:moveTo>
                        <a:pt x="821" y="548"/>
                      </a:moveTo>
                      <a:cubicBezTo>
                        <a:pt x="826" y="529"/>
                        <a:pt x="826" y="529"/>
                        <a:pt x="826" y="529"/>
                      </a:cubicBezTo>
                      <a:cubicBezTo>
                        <a:pt x="811" y="509"/>
                        <a:pt x="814" y="557"/>
                        <a:pt x="814" y="557"/>
                      </a:cubicBezTo>
                      <a:lnTo>
                        <a:pt x="821" y="548"/>
                      </a:lnTo>
                      <a:close/>
                      <a:moveTo>
                        <a:pt x="869" y="165"/>
                      </a:moveTo>
                      <a:cubicBezTo>
                        <a:pt x="871" y="174"/>
                        <a:pt x="877" y="156"/>
                        <a:pt x="877" y="141"/>
                      </a:cubicBezTo>
                      <a:cubicBezTo>
                        <a:pt x="877" y="126"/>
                        <a:pt x="894" y="86"/>
                        <a:pt x="903" y="81"/>
                      </a:cubicBezTo>
                      <a:cubicBezTo>
                        <a:pt x="912" y="76"/>
                        <a:pt x="918" y="65"/>
                        <a:pt x="918" y="65"/>
                      </a:cubicBezTo>
                      <a:cubicBezTo>
                        <a:pt x="903" y="60"/>
                        <a:pt x="886" y="94"/>
                        <a:pt x="877" y="105"/>
                      </a:cubicBezTo>
                      <a:cubicBezTo>
                        <a:pt x="867" y="116"/>
                        <a:pt x="866" y="156"/>
                        <a:pt x="869" y="165"/>
                      </a:cubicBezTo>
                      <a:close/>
                      <a:moveTo>
                        <a:pt x="877" y="20"/>
                      </a:moveTo>
                      <a:cubicBezTo>
                        <a:pt x="878" y="5"/>
                        <a:pt x="865" y="31"/>
                        <a:pt x="863" y="37"/>
                      </a:cubicBezTo>
                      <a:cubicBezTo>
                        <a:pt x="863" y="37"/>
                        <a:pt x="875" y="35"/>
                        <a:pt x="877" y="20"/>
                      </a:cubicBezTo>
                      <a:close/>
                      <a:moveTo>
                        <a:pt x="815" y="104"/>
                      </a:moveTo>
                      <a:cubicBezTo>
                        <a:pt x="819" y="104"/>
                        <a:pt x="839" y="96"/>
                        <a:pt x="839" y="96"/>
                      </a:cubicBezTo>
                      <a:cubicBezTo>
                        <a:pt x="854" y="113"/>
                        <a:pt x="854" y="113"/>
                        <a:pt x="854" y="113"/>
                      </a:cubicBezTo>
                      <a:cubicBezTo>
                        <a:pt x="854" y="113"/>
                        <a:pt x="858" y="102"/>
                        <a:pt x="869" y="90"/>
                      </a:cubicBezTo>
                      <a:cubicBezTo>
                        <a:pt x="879" y="78"/>
                        <a:pt x="894" y="56"/>
                        <a:pt x="890" y="57"/>
                      </a:cubicBezTo>
                      <a:cubicBezTo>
                        <a:pt x="886" y="59"/>
                        <a:pt x="869" y="76"/>
                        <a:pt x="869" y="76"/>
                      </a:cubicBezTo>
                      <a:cubicBezTo>
                        <a:pt x="862" y="56"/>
                        <a:pt x="862" y="56"/>
                        <a:pt x="862" y="56"/>
                      </a:cubicBezTo>
                      <a:cubicBezTo>
                        <a:pt x="862" y="56"/>
                        <a:pt x="862" y="70"/>
                        <a:pt x="858" y="73"/>
                      </a:cubicBezTo>
                      <a:cubicBezTo>
                        <a:pt x="854" y="76"/>
                        <a:pt x="841" y="84"/>
                        <a:pt x="841" y="84"/>
                      </a:cubicBezTo>
                      <a:cubicBezTo>
                        <a:pt x="794" y="84"/>
                        <a:pt x="794" y="84"/>
                        <a:pt x="794" y="84"/>
                      </a:cubicBezTo>
                      <a:cubicBezTo>
                        <a:pt x="794" y="84"/>
                        <a:pt x="811" y="104"/>
                        <a:pt x="815" y="104"/>
                      </a:cubicBezTo>
                      <a:close/>
                      <a:moveTo>
                        <a:pt x="910" y="51"/>
                      </a:moveTo>
                      <a:cubicBezTo>
                        <a:pt x="916" y="49"/>
                        <a:pt x="906" y="39"/>
                        <a:pt x="906" y="39"/>
                      </a:cubicBezTo>
                      <a:cubicBezTo>
                        <a:pt x="906" y="39"/>
                        <a:pt x="903" y="52"/>
                        <a:pt x="910" y="51"/>
                      </a:cubicBezTo>
                      <a:close/>
                      <a:moveTo>
                        <a:pt x="881" y="315"/>
                      </a:moveTo>
                      <a:cubicBezTo>
                        <a:pt x="874" y="305"/>
                        <a:pt x="859" y="314"/>
                        <a:pt x="859" y="314"/>
                      </a:cubicBezTo>
                      <a:cubicBezTo>
                        <a:pt x="866" y="322"/>
                        <a:pt x="866" y="322"/>
                        <a:pt x="866" y="322"/>
                      </a:cubicBezTo>
                      <a:cubicBezTo>
                        <a:pt x="869" y="336"/>
                        <a:pt x="869" y="336"/>
                        <a:pt x="869" y="336"/>
                      </a:cubicBezTo>
                      <a:cubicBezTo>
                        <a:pt x="869" y="336"/>
                        <a:pt x="887" y="326"/>
                        <a:pt x="881" y="315"/>
                      </a:cubicBezTo>
                      <a:close/>
                      <a:moveTo>
                        <a:pt x="847" y="628"/>
                      </a:moveTo>
                      <a:cubicBezTo>
                        <a:pt x="871" y="618"/>
                        <a:pt x="871" y="618"/>
                        <a:pt x="871" y="618"/>
                      </a:cubicBezTo>
                      <a:cubicBezTo>
                        <a:pt x="857" y="610"/>
                        <a:pt x="857" y="610"/>
                        <a:pt x="857" y="610"/>
                      </a:cubicBezTo>
                      <a:lnTo>
                        <a:pt x="847" y="628"/>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grpSp>
        </p:grpSp>
        <p:sp>
          <p:nvSpPr>
            <p:cNvPr id="18475" name="Oval 43" descr="© INSCALE GmbH, 05.05.2010&#10;http://www.presentationload.com/"/>
            <p:cNvSpPr>
              <a:spLocks noChangeArrowheads="1"/>
            </p:cNvSpPr>
            <p:nvPr>
              <p:custDataLst>
                <p:tags r:id="rId2"/>
              </p:custDataLst>
            </p:nvPr>
          </p:nvSpPr>
          <p:spPr bwMode="auto">
            <a:xfrm>
              <a:off x="6361113" y="838200"/>
              <a:ext cx="2514600" cy="2508250"/>
            </a:xfrm>
            <a:prstGeom prst="ellipse">
              <a:avLst/>
            </a:prstGeom>
            <a:gradFill rotWithShape="1">
              <a:gsLst>
                <a:gs pos="0">
                  <a:srgbClr val="C0C0C0">
                    <a:gamma/>
                    <a:tint val="0"/>
                    <a:invGamma/>
                  </a:srgbClr>
                </a:gs>
                <a:gs pos="100000">
                  <a:srgbClr val="C0C0C0"/>
                </a:gs>
              </a:gsLst>
              <a:path path="shape">
                <a:fillToRect l="50000" t="50000" r="50000" b="50000"/>
              </a:path>
            </a:gradFill>
            <a:ln w="28575">
              <a:solidFill>
                <a:schemeClr val="bg1"/>
              </a:solidFill>
              <a:round/>
              <a:headEnd/>
              <a:tailEnd/>
            </a:ln>
            <a:effectLst/>
          </p:spPr>
          <p:txBody>
            <a:bodyPr wrap="none" anchor="ctr"/>
            <a:lstStyle/>
            <a:p>
              <a:endParaRPr lang="en-GB"/>
            </a:p>
          </p:txBody>
        </p:sp>
        <p:sp>
          <p:nvSpPr>
            <p:cNvPr id="18476" name="Freeform 44" descr="© INSCALE GmbH, 05.05.2010&#10;http://www.presentationload.com/"/>
            <p:cNvSpPr>
              <a:spLocks noChangeAspect="1" noEditPoints="1"/>
            </p:cNvSpPr>
            <p:nvPr/>
          </p:nvSpPr>
          <p:spPr bwMode="auto">
            <a:xfrm>
              <a:off x="6994526" y="1041400"/>
              <a:ext cx="1316038" cy="2109788"/>
            </a:xfrm>
            <a:custGeom>
              <a:avLst/>
              <a:gdLst/>
              <a:ahLst/>
              <a:cxnLst>
                <a:cxn ang="0">
                  <a:pos x="29" y="1896"/>
                </a:cxn>
                <a:cxn ang="0">
                  <a:pos x="179" y="1217"/>
                </a:cxn>
                <a:cxn ang="0">
                  <a:pos x="53" y="1854"/>
                </a:cxn>
                <a:cxn ang="0">
                  <a:pos x="558" y="718"/>
                </a:cxn>
                <a:cxn ang="0">
                  <a:pos x="57" y="1900"/>
                </a:cxn>
                <a:cxn ang="0">
                  <a:pos x="81" y="1968"/>
                </a:cxn>
                <a:cxn ang="0">
                  <a:pos x="182" y="2260"/>
                </a:cxn>
                <a:cxn ang="0">
                  <a:pos x="1769" y="300"/>
                </a:cxn>
                <a:cxn ang="0">
                  <a:pos x="1705" y="333"/>
                </a:cxn>
                <a:cxn ang="0">
                  <a:pos x="1652" y="356"/>
                </a:cxn>
                <a:cxn ang="0">
                  <a:pos x="1573" y="193"/>
                </a:cxn>
                <a:cxn ang="0">
                  <a:pos x="1467" y="236"/>
                </a:cxn>
                <a:cxn ang="0">
                  <a:pos x="1402" y="271"/>
                </a:cxn>
                <a:cxn ang="0">
                  <a:pos x="1328" y="296"/>
                </a:cxn>
                <a:cxn ang="0">
                  <a:pos x="1321" y="362"/>
                </a:cxn>
                <a:cxn ang="0">
                  <a:pos x="1302" y="412"/>
                </a:cxn>
                <a:cxn ang="0">
                  <a:pos x="1221" y="471"/>
                </a:cxn>
                <a:cxn ang="0">
                  <a:pos x="1244" y="519"/>
                </a:cxn>
                <a:cxn ang="0">
                  <a:pos x="1165" y="532"/>
                </a:cxn>
                <a:cxn ang="0">
                  <a:pos x="1115" y="563"/>
                </a:cxn>
                <a:cxn ang="0">
                  <a:pos x="1125" y="614"/>
                </a:cxn>
                <a:cxn ang="0">
                  <a:pos x="1044" y="540"/>
                </a:cxn>
                <a:cxn ang="0">
                  <a:pos x="995" y="620"/>
                </a:cxn>
                <a:cxn ang="0">
                  <a:pos x="951" y="810"/>
                </a:cxn>
                <a:cxn ang="0">
                  <a:pos x="785" y="1007"/>
                </a:cxn>
                <a:cxn ang="0">
                  <a:pos x="655" y="1027"/>
                </a:cxn>
                <a:cxn ang="0">
                  <a:pos x="531" y="1111"/>
                </a:cxn>
                <a:cxn ang="0">
                  <a:pos x="390" y="1156"/>
                </a:cxn>
                <a:cxn ang="0">
                  <a:pos x="314" y="1164"/>
                </a:cxn>
                <a:cxn ang="0">
                  <a:pos x="225" y="1270"/>
                </a:cxn>
                <a:cxn ang="0">
                  <a:pos x="81" y="1445"/>
                </a:cxn>
                <a:cxn ang="0">
                  <a:pos x="37" y="1429"/>
                </a:cxn>
                <a:cxn ang="0">
                  <a:pos x="29" y="1614"/>
                </a:cxn>
                <a:cxn ang="0">
                  <a:pos x="99" y="1786"/>
                </a:cxn>
                <a:cxn ang="0">
                  <a:pos x="152" y="1903"/>
                </a:cxn>
                <a:cxn ang="0">
                  <a:pos x="120" y="1928"/>
                </a:cxn>
                <a:cxn ang="0">
                  <a:pos x="180" y="2134"/>
                </a:cxn>
                <a:cxn ang="0">
                  <a:pos x="428" y="2585"/>
                </a:cxn>
                <a:cxn ang="0">
                  <a:pos x="446" y="2698"/>
                </a:cxn>
                <a:cxn ang="0">
                  <a:pos x="387" y="2802"/>
                </a:cxn>
                <a:cxn ang="0">
                  <a:pos x="548" y="2954"/>
                </a:cxn>
                <a:cxn ang="0">
                  <a:pos x="712" y="2952"/>
                </a:cxn>
                <a:cxn ang="0">
                  <a:pos x="810" y="2867"/>
                </a:cxn>
                <a:cxn ang="0">
                  <a:pos x="968" y="2789"/>
                </a:cxn>
                <a:cxn ang="0">
                  <a:pos x="1146" y="2773"/>
                </a:cxn>
                <a:cxn ang="0">
                  <a:pos x="1273" y="2757"/>
                </a:cxn>
                <a:cxn ang="0">
                  <a:pos x="1463" y="2571"/>
                </a:cxn>
                <a:cxn ang="0">
                  <a:pos x="1680" y="2520"/>
                </a:cxn>
                <a:cxn ang="0">
                  <a:pos x="153" y="2242"/>
                </a:cxn>
                <a:cxn ang="0">
                  <a:pos x="1382" y="150"/>
                </a:cxn>
                <a:cxn ang="0">
                  <a:pos x="1376" y="211"/>
                </a:cxn>
                <a:cxn ang="0">
                  <a:pos x="1250" y="347"/>
                </a:cxn>
                <a:cxn ang="0">
                  <a:pos x="1421" y="202"/>
                </a:cxn>
                <a:cxn ang="0">
                  <a:pos x="1215" y="396"/>
                </a:cxn>
                <a:cxn ang="0">
                  <a:pos x="1197" y="401"/>
                </a:cxn>
                <a:cxn ang="0">
                  <a:pos x="1009" y="0"/>
                </a:cxn>
                <a:cxn ang="0">
                  <a:pos x="1044" y="417"/>
                </a:cxn>
                <a:cxn ang="0">
                  <a:pos x="1113" y="424"/>
                </a:cxn>
              </a:cxnLst>
              <a:rect l="0" t="0" r="r" b="b"/>
              <a:pathLst>
                <a:path w="1854" h="2969">
                  <a:moveTo>
                    <a:pt x="1270" y="283"/>
                  </a:moveTo>
                  <a:cubicBezTo>
                    <a:pt x="1280" y="283"/>
                    <a:pt x="1282" y="260"/>
                    <a:pt x="1262" y="264"/>
                  </a:cubicBezTo>
                  <a:cubicBezTo>
                    <a:pt x="1262" y="264"/>
                    <a:pt x="1259" y="283"/>
                    <a:pt x="1270" y="283"/>
                  </a:cubicBezTo>
                  <a:close/>
                  <a:moveTo>
                    <a:pt x="5" y="1867"/>
                  </a:moveTo>
                  <a:cubicBezTo>
                    <a:pt x="10" y="1876"/>
                    <a:pt x="29" y="1896"/>
                    <a:pt x="29" y="1896"/>
                  </a:cubicBezTo>
                  <a:cubicBezTo>
                    <a:pt x="2" y="1839"/>
                    <a:pt x="2" y="1839"/>
                    <a:pt x="2" y="1839"/>
                  </a:cubicBezTo>
                  <a:cubicBezTo>
                    <a:pt x="2" y="1839"/>
                    <a:pt x="0" y="1858"/>
                    <a:pt x="5" y="1867"/>
                  </a:cubicBezTo>
                  <a:close/>
                  <a:moveTo>
                    <a:pt x="198" y="1195"/>
                  </a:moveTo>
                  <a:cubicBezTo>
                    <a:pt x="183" y="1198"/>
                    <a:pt x="183" y="1198"/>
                    <a:pt x="183" y="1198"/>
                  </a:cubicBezTo>
                  <a:cubicBezTo>
                    <a:pt x="179" y="1217"/>
                    <a:pt x="179" y="1217"/>
                    <a:pt x="179" y="1217"/>
                  </a:cubicBezTo>
                  <a:cubicBezTo>
                    <a:pt x="179" y="1217"/>
                    <a:pt x="186" y="1218"/>
                    <a:pt x="192" y="1218"/>
                  </a:cubicBezTo>
                  <a:cubicBezTo>
                    <a:pt x="199" y="1218"/>
                    <a:pt x="198" y="1195"/>
                    <a:pt x="198" y="1195"/>
                  </a:cubicBezTo>
                  <a:close/>
                  <a:moveTo>
                    <a:pt x="97" y="1870"/>
                  </a:moveTo>
                  <a:cubicBezTo>
                    <a:pt x="62" y="1839"/>
                    <a:pt x="62" y="1839"/>
                    <a:pt x="62" y="1839"/>
                  </a:cubicBezTo>
                  <a:cubicBezTo>
                    <a:pt x="53" y="1854"/>
                    <a:pt x="53" y="1854"/>
                    <a:pt x="53" y="1854"/>
                  </a:cubicBezTo>
                  <a:cubicBezTo>
                    <a:pt x="93" y="1910"/>
                    <a:pt x="93" y="1910"/>
                    <a:pt x="93" y="1910"/>
                  </a:cubicBezTo>
                  <a:lnTo>
                    <a:pt x="97" y="1870"/>
                  </a:lnTo>
                  <a:close/>
                  <a:moveTo>
                    <a:pt x="552" y="751"/>
                  </a:moveTo>
                  <a:cubicBezTo>
                    <a:pt x="552" y="751"/>
                    <a:pt x="574" y="739"/>
                    <a:pt x="570" y="729"/>
                  </a:cubicBezTo>
                  <a:cubicBezTo>
                    <a:pt x="566" y="718"/>
                    <a:pt x="558" y="718"/>
                    <a:pt x="558" y="718"/>
                  </a:cubicBezTo>
                  <a:cubicBezTo>
                    <a:pt x="558" y="718"/>
                    <a:pt x="533" y="747"/>
                    <a:pt x="552" y="751"/>
                  </a:cubicBezTo>
                  <a:close/>
                  <a:moveTo>
                    <a:pt x="609" y="717"/>
                  </a:moveTo>
                  <a:cubicBezTo>
                    <a:pt x="613" y="709"/>
                    <a:pt x="613" y="695"/>
                    <a:pt x="601" y="698"/>
                  </a:cubicBezTo>
                  <a:cubicBezTo>
                    <a:pt x="597" y="699"/>
                    <a:pt x="605" y="725"/>
                    <a:pt x="609" y="717"/>
                  </a:cubicBezTo>
                  <a:close/>
                  <a:moveTo>
                    <a:pt x="57" y="1900"/>
                  </a:moveTo>
                  <a:cubicBezTo>
                    <a:pt x="39" y="1892"/>
                    <a:pt x="41" y="1906"/>
                    <a:pt x="41" y="1906"/>
                  </a:cubicBezTo>
                  <a:cubicBezTo>
                    <a:pt x="41" y="1924"/>
                    <a:pt x="41" y="1924"/>
                    <a:pt x="41" y="1924"/>
                  </a:cubicBezTo>
                  <a:cubicBezTo>
                    <a:pt x="59" y="1927"/>
                    <a:pt x="59" y="1927"/>
                    <a:pt x="59" y="1927"/>
                  </a:cubicBezTo>
                  <a:cubicBezTo>
                    <a:pt x="59" y="1944"/>
                    <a:pt x="59" y="1944"/>
                    <a:pt x="59" y="1944"/>
                  </a:cubicBezTo>
                  <a:cubicBezTo>
                    <a:pt x="81" y="1968"/>
                    <a:pt x="81" y="1968"/>
                    <a:pt x="81" y="1968"/>
                  </a:cubicBezTo>
                  <a:cubicBezTo>
                    <a:pt x="95" y="1954"/>
                    <a:pt x="95" y="1954"/>
                    <a:pt x="95" y="1954"/>
                  </a:cubicBezTo>
                  <a:cubicBezTo>
                    <a:pt x="95" y="1954"/>
                    <a:pt x="74" y="1908"/>
                    <a:pt x="57" y="1900"/>
                  </a:cubicBezTo>
                  <a:close/>
                  <a:moveTo>
                    <a:pt x="180" y="2242"/>
                  </a:moveTo>
                  <a:cubicBezTo>
                    <a:pt x="171" y="2250"/>
                    <a:pt x="171" y="2250"/>
                    <a:pt x="171" y="2250"/>
                  </a:cubicBezTo>
                  <a:cubicBezTo>
                    <a:pt x="182" y="2260"/>
                    <a:pt x="182" y="2260"/>
                    <a:pt x="182" y="2260"/>
                  </a:cubicBezTo>
                  <a:cubicBezTo>
                    <a:pt x="182" y="2274"/>
                    <a:pt x="182" y="2274"/>
                    <a:pt x="182" y="2274"/>
                  </a:cubicBezTo>
                  <a:cubicBezTo>
                    <a:pt x="204" y="2268"/>
                    <a:pt x="204" y="2268"/>
                    <a:pt x="204" y="2268"/>
                  </a:cubicBezTo>
                  <a:cubicBezTo>
                    <a:pt x="191" y="2254"/>
                    <a:pt x="191" y="2254"/>
                    <a:pt x="191" y="2254"/>
                  </a:cubicBezTo>
                  <a:lnTo>
                    <a:pt x="180" y="2242"/>
                  </a:lnTo>
                  <a:close/>
                  <a:moveTo>
                    <a:pt x="1769" y="300"/>
                  </a:moveTo>
                  <a:cubicBezTo>
                    <a:pt x="1767" y="300"/>
                    <a:pt x="1765" y="300"/>
                    <a:pt x="1762" y="300"/>
                  </a:cubicBezTo>
                  <a:cubicBezTo>
                    <a:pt x="1741" y="300"/>
                    <a:pt x="1724" y="292"/>
                    <a:pt x="1722" y="291"/>
                  </a:cubicBezTo>
                  <a:cubicBezTo>
                    <a:pt x="1719" y="290"/>
                    <a:pt x="1699" y="309"/>
                    <a:pt x="1699" y="309"/>
                  </a:cubicBezTo>
                  <a:cubicBezTo>
                    <a:pt x="1710" y="328"/>
                    <a:pt x="1710" y="328"/>
                    <a:pt x="1710" y="328"/>
                  </a:cubicBezTo>
                  <a:cubicBezTo>
                    <a:pt x="1710" y="328"/>
                    <a:pt x="1707" y="333"/>
                    <a:pt x="1705" y="333"/>
                  </a:cubicBezTo>
                  <a:cubicBezTo>
                    <a:pt x="1704" y="333"/>
                    <a:pt x="1688" y="322"/>
                    <a:pt x="1688" y="322"/>
                  </a:cubicBezTo>
                  <a:cubicBezTo>
                    <a:pt x="1688" y="322"/>
                    <a:pt x="1669" y="331"/>
                    <a:pt x="1673" y="340"/>
                  </a:cubicBezTo>
                  <a:cubicBezTo>
                    <a:pt x="1677" y="348"/>
                    <a:pt x="1695" y="367"/>
                    <a:pt x="1690" y="369"/>
                  </a:cubicBezTo>
                  <a:cubicBezTo>
                    <a:pt x="1685" y="372"/>
                    <a:pt x="1666" y="382"/>
                    <a:pt x="1666" y="382"/>
                  </a:cubicBezTo>
                  <a:cubicBezTo>
                    <a:pt x="1666" y="382"/>
                    <a:pt x="1648" y="365"/>
                    <a:pt x="1652" y="356"/>
                  </a:cubicBezTo>
                  <a:cubicBezTo>
                    <a:pt x="1656" y="348"/>
                    <a:pt x="1664" y="350"/>
                    <a:pt x="1663" y="337"/>
                  </a:cubicBezTo>
                  <a:cubicBezTo>
                    <a:pt x="1662" y="324"/>
                    <a:pt x="1655" y="325"/>
                    <a:pt x="1660" y="316"/>
                  </a:cubicBezTo>
                  <a:cubicBezTo>
                    <a:pt x="1665" y="307"/>
                    <a:pt x="1678" y="293"/>
                    <a:pt x="1677" y="291"/>
                  </a:cubicBezTo>
                  <a:cubicBezTo>
                    <a:pt x="1676" y="288"/>
                    <a:pt x="1640" y="274"/>
                    <a:pt x="1631" y="261"/>
                  </a:cubicBezTo>
                  <a:cubicBezTo>
                    <a:pt x="1622" y="248"/>
                    <a:pt x="1584" y="198"/>
                    <a:pt x="1573" y="193"/>
                  </a:cubicBezTo>
                  <a:cubicBezTo>
                    <a:pt x="1561" y="188"/>
                    <a:pt x="1538" y="197"/>
                    <a:pt x="1538" y="197"/>
                  </a:cubicBezTo>
                  <a:cubicBezTo>
                    <a:pt x="1514" y="171"/>
                    <a:pt x="1514" y="171"/>
                    <a:pt x="1514" y="171"/>
                  </a:cubicBezTo>
                  <a:cubicBezTo>
                    <a:pt x="1489" y="179"/>
                    <a:pt x="1489" y="179"/>
                    <a:pt x="1489" y="179"/>
                  </a:cubicBezTo>
                  <a:cubicBezTo>
                    <a:pt x="1500" y="204"/>
                    <a:pt x="1500" y="204"/>
                    <a:pt x="1500" y="204"/>
                  </a:cubicBezTo>
                  <a:cubicBezTo>
                    <a:pt x="1467" y="236"/>
                    <a:pt x="1467" y="236"/>
                    <a:pt x="1467" y="236"/>
                  </a:cubicBezTo>
                  <a:cubicBezTo>
                    <a:pt x="1467" y="236"/>
                    <a:pt x="1449" y="215"/>
                    <a:pt x="1451" y="206"/>
                  </a:cubicBezTo>
                  <a:cubicBezTo>
                    <a:pt x="1446" y="213"/>
                    <a:pt x="1434" y="229"/>
                    <a:pt x="1434" y="234"/>
                  </a:cubicBezTo>
                  <a:cubicBezTo>
                    <a:pt x="1434" y="241"/>
                    <a:pt x="1417" y="230"/>
                    <a:pt x="1417" y="230"/>
                  </a:cubicBezTo>
                  <a:cubicBezTo>
                    <a:pt x="1390" y="256"/>
                    <a:pt x="1390" y="256"/>
                    <a:pt x="1390" y="256"/>
                  </a:cubicBezTo>
                  <a:cubicBezTo>
                    <a:pt x="1402" y="271"/>
                    <a:pt x="1402" y="271"/>
                    <a:pt x="1402" y="271"/>
                  </a:cubicBezTo>
                  <a:cubicBezTo>
                    <a:pt x="1388" y="285"/>
                    <a:pt x="1388" y="285"/>
                    <a:pt x="1388" y="285"/>
                  </a:cubicBezTo>
                  <a:cubicBezTo>
                    <a:pt x="1361" y="253"/>
                    <a:pt x="1361" y="253"/>
                    <a:pt x="1361" y="253"/>
                  </a:cubicBezTo>
                  <a:cubicBezTo>
                    <a:pt x="1356" y="294"/>
                    <a:pt x="1356" y="294"/>
                    <a:pt x="1356" y="294"/>
                  </a:cubicBezTo>
                  <a:cubicBezTo>
                    <a:pt x="1356" y="294"/>
                    <a:pt x="1342" y="279"/>
                    <a:pt x="1340" y="279"/>
                  </a:cubicBezTo>
                  <a:cubicBezTo>
                    <a:pt x="1339" y="279"/>
                    <a:pt x="1328" y="296"/>
                    <a:pt x="1328" y="296"/>
                  </a:cubicBezTo>
                  <a:cubicBezTo>
                    <a:pt x="1314" y="290"/>
                    <a:pt x="1314" y="290"/>
                    <a:pt x="1314" y="290"/>
                  </a:cubicBezTo>
                  <a:cubicBezTo>
                    <a:pt x="1296" y="315"/>
                    <a:pt x="1296" y="315"/>
                    <a:pt x="1296" y="315"/>
                  </a:cubicBezTo>
                  <a:cubicBezTo>
                    <a:pt x="1296" y="315"/>
                    <a:pt x="1302" y="334"/>
                    <a:pt x="1311" y="339"/>
                  </a:cubicBezTo>
                  <a:cubicBezTo>
                    <a:pt x="1319" y="343"/>
                    <a:pt x="1325" y="351"/>
                    <a:pt x="1325" y="351"/>
                  </a:cubicBezTo>
                  <a:cubicBezTo>
                    <a:pt x="1321" y="362"/>
                    <a:pt x="1321" y="362"/>
                    <a:pt x="1321" y="362"/>
                  </a:cubicBezTo>
                  <a:cubicBezTo>
                    <a:pt x="1321" y="362"/>
                    <a:pt x="1308" y="367"/>
                    <a:pt x="1299" y="361"/>
                  </a:cubicBezTo>
                  <a:cubicBezTo>
                    <a:pt x="1291" y="354"/>
                    <a:pt x="1283" y="347"/>
                    <a:pt x="1281" y="347"/>
                  </a:cubicBezTo>
                  <a:cubicBezTo>
                    <a:pt x="1279" y="347"/>
                    <a:pt x="1276" y="370"/>
                    <a:pt x="1276" y="370"/>
                  </a:cubicBezTo>
                  <a:cubicBezTo>
                    <a:pt x="1293" y="390"/>
                    <a:pt x="1293" y="390"/>
                    <a:pt x="1293" y="390"/>
                  </a:cubicBezTo>
                  <a:cubicBezTo>
                    <a:pt x="1302" y="412"/>
                    <a:pt x="1302" y="412"/>
                    <a:pt x="1302" y="412"/>
                  </a:cubicBezTo>
                  <a:cubicBezTo>
                    <a:pt x="1285" y="406"/>
                    <a:pt x="1285" y="406"/>
                    <a:pt x="1285" y="406"/>
                  </a:cubicBezTo>
                  <a:cubicBezTo>
                    <a:pt x="1261" y="378"/>
                    <a:pt x="1261" y="378"/>
                    <a:pt x="1261" y="378"/>
                  </a:cubicBezTo>
                  <a:cubicBezTo>
                    <a:pt x="1261" y="378"/>
                    <a:pt x="1245" y="395"/>
                    <a:pt x="1237" y="404"/>
                  </a:cubicBezTo>
                  <a:cubicBezTo>
                    <a:pt x="1228" y="414"/>
                    <a:pt x="1215" y="406"/>
                    <a:pt x="1212" y="418"/>
                  </a:cubicBezTo>
                  <a:cubicBezTo>
                    <a:pt x="1208" y="430"/>
                    <a:pt x="1210" y="472"/>
                    <a:pt x="1221" y="471"/>
                  </a:cubicBezTo>
                  <a:cubicBezTo>
                    <a:pt x="1231" y="471"/>
                    <a:pt x="1245" y="453"/>
                    <a:pt x="1245" y="453"/>
                  </a:cubicBezTo>
                  <a:cubicBezTo>
                    <a:pt x="1245" y="453"/>
                    <a:pt x="1242" y="478"/>
                    <a:pt x="1233" y="488"/>
                  </a:cubicBezTo>
                  <a:cubicBezTo>
                    <a:pt x="1224" y="498"/>
                    <a:pt x="1213" y="491"/>
                    <a:pt x="1212" y="502"/>
                  </a:cubicBezTo>
                  <a:cubicBezTo>
                    <a:pt x="1212" y="512"/>
                    <a:pt x="1213" y="520"/>
                    <a:pt x="1216" y="520"/>
                  </a:cubicBezTo>
                  <a:cubicBezTo>
                    <a:pt x="1218" y="520"/>
                    <a:pt x="1232" y="516"/>
                    <a:pt x="1244" y="519"/>
                  </a:cubicBezTo>
                  <a:cubicBezTo>
                    <a:pt x="1256" y="522"/>
                    <a:pt x="1279" y="532"/>
                    <a:pt x="1279" y="532"/>
                  </a:cubicBezTo>
                  <a:cubicBezTo>
                    <a:pt x="1279" y="532"/>
                    <a:pt x="1214" y="538"/>
                    <a:pt x="1203" y="536"/>
                  </a:cubicBezTo>
                  <a:cubicBezTo>
                    <a:pt x="1193" y="533"/>
                    <a:pt x="1201" y="517"/>
                    <a:pt x="1185" y="517"/>
                  </a:cubicBezTo>
                  <a:cubicBezTo>
                    <a:pt x="1169" y="518"/>
                    <a:pt x="1164" y="518"/>
                    <a:pt x="1161" y="520"/>
                  </a:cubicBezTo>
                  <a:cubicBezTo>
                    <a:pt x="1157" y="521"/>
                    <a:pt x="1165" y="532"/>
                    <a:pt x="1165" y="532"/>
                  </a:cubicBezTo>
                  <a:cubicBezTo>
                    <a:pt x="1147" y="532"/>
                    <a:pt x="1147" y="532"/>
                    <a:pt x="1147" y="532"/>
                  </a:cubicBezTo>
                  <a:cubicBezTo>
                    <a:pt x="1147" y="532"/>
                    <a:pt x="1136" y="504"/>
                    <a:pt x="1132" y="504"/>
                  </a:cubicBezTo>
                  <a:cubicBezTo>
                    <a:pt x="1127" y="504"/>
                    <a:pt x="1111" y="508"/>
                    <a:pt x="1113" y="516"/>
                  </a:cubicBezTo>
                  <a:cubicBezTo>
                    <a:pt x="1115" y="525"/>
                    <a:pt x="1135" y="532"/>
                    <a:pt x="1130" y="535"/>
                  </a:cubicBezTo>
                  <a:cubicBezTo>
                    <a:pt x="1126" y="538"/>
                    <a:pt x="1114" y="560"/>
                    <a:pt x="1115" y="563"/>
                  </a:cubicBezTo>
                  <a:cubicBezTo>
                    <a:pt x="1115" y="566"/>
                    <a:pt x="1134" y="599"/>
                    <a:pt x="1144" y="598"/>
                  </a:cubicBezTo>
                  <a:cubicBezTo>
                    <a:pt x="1153" y="598"/>
                    <a:pt x="1163" y="590"/>
                    <a:pt x="1163" y="590"/>
                  </a:cubicBezTo>
                  <a:cubicBezTo>
                    <a:pt x="1154" y="608"/>
                    <a:pt x="1154" y="608"/>
                    <a:pt x="1154" y="608"/>
                  </a:cubicBezTo>
                  <a:cubicBezTo>
                    <a:pt x="1166" y="639"/>
                    <a:pt x="1166" y="639"/>
                    <a:pt x="1166" y="639"/>
                  </a:cubicBezTo>
                  <a:cubicBezTo>
                    <a:pt x="1125" y="614"/>
                    <a:pt x="1125" y="614"/>
                    <a:pt x="1125" y="614"/>
                  </a:cubicBezTo>
                  <a:cubicBezTo>
                    <a:pt x="1125" y="614"/>
                    <a:pt x="1114" y="626"/>
                    <a:pt x="1125" y="642"/>
                  </a:cubicBezTo>
                  <a:cubicBezTo>
                    <a:pt x="1135" y="658"/>
                    <a:pt x="1124" y="687"/>
                    <a:pt x="1124" y="687"/>
                  </a:cubicBezTo>
                  <a:cubicBezTo>
                    <a:pt x="1044" y="571"/>
                    <a:pt x="1044" y="571"/>
                    <a:pt x="1044" y="571"/>
                  </a:cubicBezTo>
                  <a:cubicBezTo>
                    <a:pt x="1044" y="571"/>
                    <a:pt x="1044" y="556"/>
                    <a:pt x="1048" y="554"/>
                  </a:cubicBezTo>
                  <a:cubicBezTo>
                    <a:pt x="1051" y="551"/>
                    <a:pt x="1046" y="540"/>
                    <a:pt x="1044" y="540"/>
                  </a:cubicBezTo>
                  <a:cubicBezTo>
                    <a:pt x="1042" y="540"/>
                    <a:pt x="1037" y="560"/>
                    <a:pt x="1028" y="565"/>
                  </a:cubicBezTo>
                  <a:cubicBezTo>
                    <a:pt x="1019" y="571"/>
                    <a:pt x="1012" y="580"/>
                    <a:pt x="1012" y="582"/>
                  </a:cubicBezTo>
                  <a:cubicBezTo>
                    <a:pt x="1012" y="585"/>
                    <a:pt x="1023" y="596"/>
                    <a:pt x="1021" y="596"/>
                  </a:cubicBezTo>
                  <a:cubicBezTo>
                    <a:pt x="1020" y="596"/>
                    <a:pt x="1005" y="591"/>
                    <a:pt x="998" y="600"/>
                  </a:cubicBezTo>
                  <a:cubicBezTo>
                    <a:pt x="992" y="610"/>
                    <a:pt x="995" y="620"/>
                    <a:pt x="995" y="620"/>
                  </a:cubicBezTo>
                  <a:cubicBezTo>
                    <a:pt x="995" y="620"/>
                    <a:pt x="961" y="623"/>
                    <a:pt x="954" y="657"/>
                  </a:cubicBezTo>
                  <a:cubicBezTo>
                    <a:pt x="947" y="692"/>
                    <a:pt x="961" y="733"/>
                    <a:pt x="961" y="733"/>
                  </a:cubicBezTo>
                  <a:cubicBezTo>
                    <a:pt x="961" y="733"/>
                    <a:pt x="983" y="755"/>
                    <a:pt x="983" y="761"/>
                  </a:cubicBezTo>
                  <a:cubicBezTo>
                    <a:pt x="983" y="766"/>
                    <a:pt x="969" y="775"/>
                    <a:pt x="963" y="783"/>
                  </a:cubicBezTo>
                  <a:cubicBezTo>
                    <a:pt x="957" y="791"/>
                    <a:pt x="951" y="810"/>
                    <a:pt x="951" y="810"/>
                  </a:cubicBezTo>
                  <a:cubicBezTo>
                    <a:pt x="951" y="810"/>
                    <a:pt x="932" y="810"/>
                    <a:pt x="922" y="822"/>
                  </a:cubicBezTo>
                  <a:cubicBezTo>
                    <a:pt x="913" y="834"/>
                    <a:pt x="916" y="853"/>
                    <a:pt x="914" y="853"/>
                  </a:cubicBezTo>
                  <a:cubicBezTo>
                    <a:pt x="913" y="853"/>
                    <a:pt x="899" y="854"/>
                    <a:pt x="899" y="854"/>
                  </a:cubicBezTo>
                  <a:cubicBezTo>
                    <a:pt x="899" y="854"/>
                    <a:pt x="889" y="922"/>
                    <a:pt x="875" y="937"/>
                  </a:cubicBezTo>
                  <a:cubicBezTo>
                    <a:pt x="861" y="952"/>
                    <a:pt x="807" y="992"/>
                    <a:pt x="785" y="1007"/>
                  </a:cubicBezTo>
                  <a:cubicBezTo>
                    <a:pt x="763" y="1021"/>
                    <a:pt x="699" y="1036"/>
                    <a:pt x="697" y="1036"/>
                  </a:cubicBezTo>
                  <a:cubicBezTo>
                    <a:pt x="696" y="1037"/>
                    <a:pt x="675" y="1055"/>
                    <a:pt x="672" y="1053"/>
                  </a:cubicBezTo>
                  <a:cubicBezTo>
                    <a:pt x="670" y="1052"/>
                    <a:pt x="656" y="1043"/>
                    <a:pt x="646" y="1043"/>
                  </a:cubicBezTo>
                  <a:cubicBezTo>
                    <a:pt x="635" y="1043"/>
                    <a:pt x="628" y="1035"/>
                    <a:pt x="629" y="1033"/>
                  </a:cubicBezTo>
                  <a:cubicBezTo>
                    <a:pt x="630" y="1031"/>
                    <a:pt x="655" y="1027"/>
                    <a:pt x="655" y="1027"/>
                  </a:cubicBezTo>
                  <a:cubicBezTo>
                    <a:pt x="655" y="1027"/>
                    <a:pt x="628" y="1024"/>
                    <a:pt x="623" y="1032"/>
                  </a:cubicBezTo>
                  <a:cubicBezTo>
                    <a:pt x="618" y="1040"/>
                    <a:pt x="607" y="1058"/>
                    <a:pt x="604" y="1058"/>
                  </a:cubicBezTo>
                  <a:cubicBezTo>
                    <a:pt x="601" y="1058"/>
                    <a:pt x="600" y="1089"/>
                    <a:pt x="581" y="1092"/>
                  </a:cubicBezTo>
                  <a:cubicBezTo>
                    <a:pt x="562" y="1094"/>
                    <a:pt x="547" y="1098"/>
                    <a:pt x="547" y="1098"/>
                  </a:cubicBezTo>
                  <a:cubicBezTo>
                    <a:pt x="547" y="1098"/>
                    <a:pt x="534" y="1111"/>
                    <a:pt x="531" y="1111"/>
                  </a:cubicBezTo>
                  <a:cubicBezTo>
                    <a:pt x="528" y="1111"/>
                    <a:pt x="508" y="1109"/>
                    <a:pt x="508" y="1109"/>
                  </a:cubicBezTo>
                  <a:cubicBezTo>
                    <a:pt x="508" y="1109"/>
                    <a:pt x="480" y="1146"/>
                    <a:pt x="466" y="1152"/>
                  </a:cubicBezTo>
                  <a:cubicBezTo>
                    <a:pt x="452" y="1158"/>
                    <a:pt x="430" y="1168"/>
                    <a:pt x="430" y="1168"/>
                  </a:cubicBezTo>
                  <a:cubicBezTo>
                    <a:pt x="430" y="1168"/>
                    <a:pt x="414" y="1169"/>
                    <a:pt x="407" y="1168"/>
                  </a:cubicBezTo>
                  <a:cubicBezTo>
                    <a:pt x="400" y="1166"/>
                    <a:pt x="402" y="1153"/>
                    <a:pt x="390" y="1156"/>
                  </a:cubicBezTo>
                  <a:cubicBezTo>
                    <a:pt x="378" y="1159"/>
                    <a:pt x="362" y="1177"/>
                    <a:pt x="361" y="1172"/>
                  </a:cubicBezTo>
                  <a:cubicBezTo>
                    <a:pt x="359" y="1167"/>
                    <a:pt x="354" y="1147"/>
                    <a:pt x="359" y="1142"/>
                  </a:cubicBezTo>
                  <a:cubicBezTo>
                    <a:pt x="364" y="1136"/>
                    <a:pt x="355" y="1128"/>
                    <a:pt x="355" y="1128"/>
                  </a:cubicBezTo>
                  <a:cubicBezTo>
                    <a:pt x="355" y="1128"/>
                    <a:pt x="354" y="1148"/>
                    <a:pt x="346" y="1155"/>
                  </a:cubicBezTo>
                  <a:cubicBezTo>
                    <a:pt x="338" y="1161"/>
                    <a:pt x="312" y="1164"/>
                    <a:pt x="314" y="1164"/>
                  </a:cubicBezTo>
                  <a:cubicBezTo>
                    <a:pt x="316" y="1164"/>
                    <a:pt x="340" y="1169"/>
                    <a:pt x="331" y="1177"/>
                  </a:cubicBezTo>
                  <a:cubicBezTo>
                    <a:pt x="321" y="1184"/>
                    <a:pt x="309" y="1191"/>
                    <a:pt x="303" y="1194"/>
                  </a:cubicBezTo>
                  <a:cubicBezTo>
                    <a:pt x="297" y="1197"/>
                    <a:pt x="287" y="1204"/>
                    <a:pt x="286" y="1205"/>
                  </a:cubicBezTo>
                  <a:cubicBezTo>
                    <a:pt x="286" y="1207"/>
                    <a:pt x="269" y="1227"/>
                    <a:pt x="258" y="1233"/>
                  </a:cubicBezTo>
                  <a:cubicBezTo>
                    <a:pt x="247" y="1239"/>
                    <a:pt x="229" y="1267"/>
                    <a:pt x="225" y="1270"/>
                  </a:cubicBezTo>
                  <a:cubicBezTo>
                    <a:pt x="221" y="1272"/>
                    <a:pt x="210" y="1294"/>
                    <a:pt x="207" y="1297"/>
                  </a:cubicBezTo>
                  <a:cubicBezTo>
                    <a:pt x="203" y="1299"/>
                    <a:pt x="157" y="1326"/>
                    <a:pt x="140" y="1340"/>
                  </a:cubicBezTo>
                  <a:cubicBezTo>
                    <a:pt x="124" y="1354"/>
                    <a:pt x="107" y="1382"/>
                    <a:pt x="107" y="1391"/>
                  </a:cubicBezTo>
                  <a:cubicBezTo>
                    <a:pt x="107" y="1401"/>
                    <a:pt x="101" y="1438"/>
                    <a:pt x="101" y="1438"/>
                  </a:cubicBezTo>
                  <a:cubicBezTo>
                    <a:pt x="101" y="1438"/>
                    <a:pt x="86" y="1444"/>
                    <a:pt x="81" y="1445"/>
                  </a:cubicBezTo>
                  <a:cubicBezTo>
                    <a:pt x="76" y="1446"/>
                    <a:pt x="76" y="1434"/>
                    <a:pt x="73" y="1427"/>
                  </a:cubicBezTo>
                  <a:cubicBezTo>
                    <a:pt x="69" y="1420"/>
                    <a:pt x="64" y="1409"/>
                    <a:pt x="64" y="1405"/>
                  </a:cubicBezTo>
                  <a:cubicBezTo>
                    <a:pt x="64" y="1401"/>
                    <a:pt x="65" y="1356"/>
                    <a:pt x="65" y="1356"/>
                  </a:cubicBezTo>
                  <a:cubicBezTo>
                    <a:pt x="65" y="1356"/>
                    <a:pt x="64" y="1341"/>
                    <a:pt x="46" y="1366"/>
                  </a:cubicBezTo>
                  <a:cubicBezTo>
                    <a:pt x="29" y="1392"/>
                    <a:pt x="37" y="1429"/>
                    <a:pt x="37" y="1429"/>
                  </a:cubicBezTo>
                  <a:cubicBezTo>
                    <a:pt x="37" y="1429"/>
                    <a:pt x="12" y="1451"/>
                    <a:pt x="20" y="1466"/>
                  </a:cubicBezTo>
                  <a:cubicBezTo>
                    <a:pt x="28" y="1481"/>
                    <a:pt x="47" y="1506"/>
                    <a:pt x="47" y="1506"/>
                  </a:cubicBezTo>
                  <a:cubicBezTo>
                    <a:pt x="44" y="1532"/>
                    <a:pt x="44" y="1532"/>
                    <a:pt x="44" y="1532"/>
                  </a:cubicBezTo>
                  <a:cubicBezTo>
                    <a:pt x="44" y="1532"/>
                    <a:pt x="56" y="1548"/>
                    <a:pt x="54" y="1562"/>
                  </a:cubicBezTo>
                  <a:cubicBezTo>
                    <a:pt x="52" y="1576"/>
                    <a:pt x="31" y="1605"/>
                    <a:pt x="29" y="1614"/>
                  </a:cubicBezTo>
                  <a:cubicBezTo>
                    <a:pt x="26" y="1622"/>
                    <a:pt x="25" y="1698"/>
                    <a:pt x="25" y="1698"/>
                  </a:cubicBezTo>
                  <a:cubicBezTo>
                    <a:pt x="25" y="1698"/>
                    <a:pt x="64" y="1737"/>
                    <a:pt x="65" y="1746"/>
                  </a:cubicBezTo>
                  <a:cubicBezTo>
                    <a:pt x="66" y="1755"/>
                    <a:pt x="66" y="1767"/>
                    <a:pt x="69" y="1770"/>
                  </a:cubicBezTo>
                  <a:cubicBezTo>
                    <a:pt x="72" y="1773"/>
                    <a:pt x="89" y="1791"/>
                    <a:pt x="89" y="1791"/>
                  </a:cubicBezTo>
                  <a:cubicBezTo>
                    <a:pt x="99" y="1786"/>
                    <a:pt x="99" y="1786"/>
                    <a:pt x="99" y="1786"/>
                  </a:cubicBezTo>
                  <a:cubicBezTo>
                    <a:pt x="109" y="1804"/>
                    <a:pt x="109" y="1804"/>
                    <a:pt x="109" y="1804"/>
                  </a:cubicBezTo>
                  <a:cubicBezTo>
                    <a:pt x="108" y="1818"/>
                    <a:pt x="108" y="1818"/>
                    <a:pt x="108" y="1818"/>
                  </a:cubicBezTo>
                  <a:cubicBezTo>
                    <a:pt x="108" y="1818"/>
                    <a:pt x="162" y="1857"/>
                    <a:pt x="160" y="1866"/>
                  </a:cubicBezTo>
                  <a:cubicBezTo>
                    <a:pt x="158" y="1875"/>
                    <a:pt x="148" y="1882"/>
                    <a:pt x="148" y="1882"/>
                  </a:cubicBezTo>
                  <a:cubicBezTo>
                    <a:pt x="148" y="1882"/>
                    <a:pt x="154" y="1897"/>
                    <a:pt x="152" y="1903"/>
                  </a:cubicBezTo>
                  <a:cubicBezTo>
                    <a:pt x="150" y="1910"/>
                    <a:pt x="162" y="1919"/>
                    <a:pt x="162" y="1919"/>
                  </a:cubicBezTo>
                  <a:cubicBezTo>
                    <a:pt x="162" y="1919"/>
                    <a:pt x="148" y="1940"/>
                    <a:pt x="148" y="1938"/>
                  </a:cubicBezTo>
                  <a:cubicBezTo>
                    <a:pt x="148" y="1937"/>
                    <a:pt x="120" y="1897"/>
                    <a:pt x="118" y="1892"/>
                  </a:cubicBezTo>
                  <a:cubicBezTo>
                    <a:pt x="115" y="1887"/>
                    <a:pt x="107" y="1913"/>
                    <a:pt x="107" y="1913"/>
                  </a:cubicBezTo>
                  <a:cubicBezTo>
                    <a:pt x="120" y="1928"/>
                    <a:pt x="120" y="1928"/>
                    <a:pt x="120" y="1928"/>
                  </a:cubicBezTo>
                  <a:cubicBezTo>
                    <a:pt x="120" y="1928"/>
                    <a:pt x="129" y="1953"/>
                    <a:pt x="118" y="1959"/>
                  </a:cubicBezTo>
                  <a:cubicBezTo>
                    <a:pt x="107" y="1964"/>
                    <a:pt x="97" y="1966"/>
                    <a:pt x="97" y="1971"/>
                  </a:cubicBezTo>
                  <a:cubicBezTo>
                    <a:pt x="97" y="1976"/>
                    <a:pt x="95" y="1976"/>
                    <a:pt x="95" y="1976"/>
                  </a:cubicBezTo>
                  <a:cubicBezTo>
                    <a:pt x="95" y="1976"/>
                    <a:pt x="172" y="2057"/>
                    <a:pt x="175" y="2082"/>
                  </a:cubicBezTo>
                  <a:cubicBezTo>
                    <a:pt x="178" y="2107"/>
                    <a:pt x="174" y="2129"/>
                    <a:pt x="180" y="2134"/>
                  </a:cubicBezTo>
                  <a:cubicBezTo>
                    <a:pt x="186" y="2140"/>
                    <a:pt x="244" y="2185"/>
                    <a:pt x="250" y="2201"/>
                  </a:cubicBezTo>
                  <a:cubicBezTo>
                    <a:pt x="255" y="2217"/>
                    <a:pt x="245" y="2223"/>
                    <a:pt x="255" y="2233"/>
                  </a:cubicBezTo>
                  <a:cubicBezTo>
                    <a:pt x="266" y="2243"/>
                    <a:pt x="297" y="2275"/>
                    <a:pt x="299" y="2289"/>
                  </a:cubicBezTo>
                  <a:cubicBezTo>
                    <a:pt x="301" y="2303"/>
                    <a:pt x="315" y="2402"/>
                    <a:pt x="331" y="2430"/>
                  </a:cubicBezTo>
                  <a:cubicBezTo>
                    <a:pt x="347" y="2457"/>
                    <a:pt x="428" y="2575"/>
                    <a:pt x="428" y="2585"/>
                  </a:cubicBezTo>
                  <a:cubicBezTo>
                    <a:pt x="429" y="2595"/>
                    <a:pt x="435" y="2622"/>
                    <a:pt x="435" y="2622"/>
                  </a:cubicBezTo>
                  <a:cubicBezTo>
                    <a:pt x="435" y="2622"/>
                    <a:pt x="422" y="2627"/>
                    <a:pt x="423" y="2628"/>
                  </a:cubicBezTo>
                  <a:cubicBezTo>
                    <a:pt x="425" y="2629"/>
                    <a:pt x="443" y="2659"/>
                    <a:pt x="443" y="2659"/>
                  </a:cubicBezTo>
                  <a:cubicBezTo>
                    <a:pt x="433" y="2683"/>
                    <a:pt x="433" y="2683"/>
                    <a:pt x="433" y="2683"/>
                  </a:cubicBezTo>
                  <a:cubicBezTo>
                    <a:pt x="446" y="2698"/>
                    <a:pt x="446" y="2698"/>
                    <a:pt x="446" y="2698"/>
                  </a:cubicBezTo>
                  <a:cubicBezTo>
                    <a:pt x="434" y="2705"/>
                    <a:pt x="434" y="2705"/>
                    <a:pt x="434" y="2705"/>
                  </a:cubicBezTo>
                  <a:cubicBezTo>
                    <a:pt x="434" y="2705"/>
                    <a:pt x="445" y="2727"/>
                    <a:pt x="448" y="2736"/>
                  </a:cubicBezTo>
                  <a:cubicBezTo>
                    <a:pt x="451" y="2745"/>
                    <a:pt x="455" y="2779"/>
                    <a:pt x="439" y="2796"/>
                  </a:cubicBezTo>
                  <a:cubicBezTo>
                    <a:pt x="424" y="2812"/>
                    <a:pt x="417" y="2823"/>
                    <a:pt x="409" y="2819"/>
                  </a:cubicBezTo>
                  <a:cubicBezTo>
                    <a:pt x="400" y="2816"/>
                    <a:pt x="387" y="2802"/>
                    <a:pt x="387" y="2802"/>
                  </a:cubicBezTo>
                  <a:cubicBezTo>
                    <a:pt x="383" y="2825"/>
                    <a:pt x="383" y="2825"/>
                    <a:pt x="383" y="2825"/>
                  </a:cubicBezTo>
                  <a:cubicBezTo>
                    <a:pt x="383" y="2825"/>
                    <a:pt x="390" y="2908"/>
                    <a:pt x="405" y="2906"/>
                  </a:cubicBezTo>
                  <a:cubicBezTo>
                    <a:pt x="419" y="2905"/>
                    <a:pt x="410" y="2888"/>
                    <a:pt x="428" y="2896"/>
                  </a:cubicBezTo>
                  <a:cubicBezTo>
                    <a:pt x="447" y="2905"/>
                    <a:pt x="514" y="2955"/>
                    <a:pt x="514" y="2955"/>
                  </a:cubicBezTo>
                  <a:cubicBezTo>
                    <a:pt x="514" y="2955"/>
                    <a:pt x="537" y="2950"/>
                    <a:pt x="548" y="2954"/>
                  </a:cubicBezTo>
                  <a:cubicBezTo>
                    <a:pt x="559" y="2958"/>
                    <a:pt x="557" y="2966"/>
                    <a:pt x="576" y="2966"/>
                  </a:cubicBezTo>
                  <a:cubicBezTo>
                    <a:pt x="596" y="2966"/>
                    <a:pt x="619" y="2966"/>
                    <a:pt x="621" y="2965"/>
                  </a:cubicBezTo>
                  <a:cubicBezTo>
                    <a:pt x="623" y="2965"/>
                    <a:pt x="646" y="2957"/>
                    <a:pt x="655" y="2959"/>
                  </a:cubicBezTo>
                  <a:cubicBezTo>
                    <a:pt x="664" y="2960"/>
                    <a:pt x="680" y="2969"/>
                    <a:pt x="685" y="2967"/>
                  </a:cubicBezTo>
                  <a:cubicBezTo>
                    <a:pt x="690" y="2966"/>
                    <a:pt x="693" y="2954"/>
                    <a:pt x="712" y="2952"/>
                  </a:cubicBezTo>
                  <a:cubicBezTo>
                    <a:pt x="732" y="2950"/>
                    <a:pt x="737" y="2954"/>
                    <a:pt x="740" y="2950"/>
                  </a:cubicBezTo>
                  <a:cubicBezTo>
                    <a:pt x="742" y="2946"/>
                    <a:pt x="759" y="2934"/>
                    <a:pt x="763" y="2929"/>
                  </a:cubicBezTo>
                  <a:cubicBezTo>
                    <a:pt x="766" y="2925"/>
                    <a:pt x="767" y="2909"/>
                    <a:pt x="767" y="2909"/>
                  </a:cubicBezTo>
                  <a:cubicBezTo>
                    <a:pt x="767" y="2909"/>
                    <a:pt x="774" y="2911"/>
                    <a:pt x="786" y="2896"/>
                  </a:cubicBezTo>
                  <a:cubicBezTo>
                    <a:pt x="798" y="2881"/>
                    <a:pt x="785" y="2874"/>
                    <a:pt x="810" y="2867"/>
                  </a:cubicBezTo>
                  <a:cubicBezTo>
                    <a:pt x="835" y="2861"/>
                    <a:pt x="845" y="2872"/>
                    <a:pt x="849" y="2869"/>
                  </a:cubicBezTo>
                  <a:cubicBezTo>
                    <a:pt x="852" y="2866"/>
                    <a:pt x="869" y="2853"/>
                    <a:pt x="869" y="2851"/>
                  </a:cubicBezTo>
                  <a:cubicBezTo>
                    <a:pt x="869" y="2850"/>
                    <a:pt x="859" y="2843"/>
                    <a:pt x="870" y="2828"/>
                  </a:cubicBezTo>
                  <a:cubicBezTo>
                    <a:pt x="882" y="2814"/>
                    <a:pt x="910" y="2790"/>
                    <a:pt x="910" y="2790"/>
                  </a:cubicBezTo>
                  <a:cubicBezTo>
                    <a:pt x="910" y="2790"/>
                    <a:pt x="967" y="2791"/>
                    <a:pt x="968" y="2789"/>
                  </a:cubicBezTo>
                  <a:cubicBezTo>
                    <a:pt x="969" y="2786"/>
                    <a:pt x="999" y="2767"/>
                    <a:pt x="1014" y="2767"/>
                  </a:cubicBezTo>
                  <a:cubicBezTo>
                    <a:pt x="1029" y="2767"/>
                    <a:pt x="1060" y="2757"/>
                    <a:pt x="1071" y="2756"/>
                  </a:cubicBezTo>
                  <a:cubicBezTo>
                    <a:pt x="1083" y="2755"/>
                    <a:pt x="1084" y="2764"/>
                    <a:pt x="1098" y="2764"/>
                  </a:cubicBezTo>
                  <a:cubicBezTo>
                    <a:pt x="1112" y="2763"/>
                    <a:pt x="1133" y="2760"/>
                    <a:pt x="1133" y="2760"/>
                  </a:cubicBezTo>
                  <a:cubicBezTo>
                    <a:pt x="1133" y="2760"/>
                    <a:pt x="1138" y="2773"/>
                    <a:pt x="1146" y="2773"/>
                  </a:cubicBezTo>
                  <a:cubicBezTo>
                    <a:pt x="1155" y="2773"/>
                    <a:pt x="1151" y="2763"/>
                    <a:pt x="1168" y="2763"/>
                  </a:cubicBezTo>
                  <a:cubicBezTo>
                    <a:pt x="1185" y="2762"/>
                    <a:pt x="1220" y="2753"/>
                    <a:pt x="1220" y="2753"/>
                  </a:cubicBezTo>
                  <a:cubicBezTo>
                    <a:pt x="1239" y="2746"/>
                    <a:pt x="1239" y="2746"/>
                    <a:pt x="1239" y="2746"/>
                  </a:cubicBezTo>
                  <a:cubicBezTo>
                    <a:pt x="1239" y="2746"/>
                    <a:pt x="1257" y="2778"/>
                    <a:pt x="1258" y="2776"/>
                  </a:cubicBezTo>
                  <a:cubicBezTo>
                    <a:pt x="1258" y="2774"/>
                    <a:pt x="1273" y="2758"/>
                    <a:pt x="1273" y="2757"/>
                  </a:cubicBezTo>
                  <a:cubicBezTo>
                    <a:pt x="1273" y="2755"/>
                    <a:pt x="1299" y="2750"/>
                    <a:pt x="1299" y="2750"/>
                  </a:cubicBezTo>
                  <a:cubicBezTo>
                    <a:pt x="1330" y="2701"/>
                    <a:pt x="1330" y="2701"/>
                    <a:pt x="1330" y="2701"/>
                  </a:cubicBezTo>
                  <a:cubicBezTo>
                    <a:pt x="1330" y="2701"/>
                    <a:pt x="1338" y="2636"/>
                    <a:pt x="1358" y="2627"/>
                  </a:cubicBezTo>
                  <a:cubicBezTo>
                    <a:pt x="1377" y="2618"/>
                    <a:pt x="1393" y="2625"/>
                    <a:pt x="1413" y="2610"/>
                  </a:cubicBezTo>
                  <a:cubicBezTo>
                    <a:pt x="1433" y="2595"/>
                    <a:pt x="1450" y="2573"/>
                    <a:pt x="1463" y="2571"/>
                  </a:cubicBezTo>
                  <a:cubicBezTo>
                    <a:pt x="1475" y="2568"/>
                    <a:pt x="1483" y="2567"/>
                    <a:pt x="1486" y="2564"/>
                  </a:cubicBezTo>
                  <a:cubicBezTo>
                    <a:pt x="1489" y="2561"/>
                    <a:pt x="1531" y="2525"/>
                    <a:pt x="1531" y="2525"/>
                  </a:cubicBezTo>
                  <a:cubicBezTo>
                    <a:pt x="1563" y="2520"/>
                    <a:pt x="1563" y="2520"/>
                    <a:pt x="1563" y="2520"/>
                  </a:cubicBezTo>
                  <a:cubicBezTo>
                    <a:pt x="1580" y="2523"/>
                    <a:pt x="1580" y="2523"/>
                    <a:pt x="1580" y="2523"/>
                  </a:cubicBezTo>
                  <a:cubicBezTo>
                    <a:pt x="1580" y="2523"/>
                    <a:pt x="1669" y="2528"/>
                    <a:pt x="1680" y="2520"/>
                  </a:cubicBezTo>
                  <a:cubicBezTo>
                    <a:pt x="1690" y="2512"/>
                    <a:pt x="1728" y="2494"/>
                    <a:pt x="1738" y="2491"/>
                  </a:cubicBezTo>
                  <a:cubicBezTo>
                    <a:pt x="1749" y="2489"/>
                    <a:pt x="1762" y="2490"/>
                    <a:pt x="1774" y="2482"/>
                  </a:cubicBezTo>
                  <a:cubicBezTo>
                    <a:pt x="1786" y="2474"/>
                    <a:pt x="1834" y="2435"/>
                    <a:pt x="1854" y="2431"/>
                  </a:cubicBezTo>
                  <a:lnTo>
                    <a:pt x="1769" y="300"/>
                  </a:lnTo>
                  <a:close/>
                  <a:moveTo>
                    <a:pt x="153" y="2242"/>
                  </a:moveTo>
                  <a:cubicBezTo>
                    <a:pt x="170" y="2229"/>
                    <a:pt x="170" y="2229"/>
                    <a:pt x="170" y="2229"/>
                  </a:cubicBezTo>
                  <a:cubicBezTo>
                    <a:pt x="160" y="2213"/>
                    <a:pt x="160" y="2213"/>
                    <a:pt x="160" y="2213"/>
                  </a:cubicBezTo>
                  <a:lnTo>
                    <a:pt x="153" y="2242"/>
                  </a:lnTo>
                  <a:close/>
                  <a:moveTo>
                    <a:pt x="1400" y="159"/>
                  </a:moveTo>
                  <a:cubicBezTo>
                    <a:pt x="1400" y="150"/>
                    <a:pt x="1393" y="139"/>
                    <a:pt x="1382" y="150"/>
                  </a:cubicBezTo>
                  <a:cubicBezTo>
                    <a:pt x="1382" y="150"/>
                    <a:pt x="1400" y="169"/>
                    <a:pt x="1400" y="159"/>
                  </a:cubicBezTo>
                  <a:close/>
                  <a:moveTo>
                    <a:pt x="1371" y="199"/>
                  </a:moveTo>
                  <a:cubicBezTo>
                    <a:pt x="1371" y="187"/>
                    <a:pt x="1371" y="187"/>
                    <a:pt x="1371" y="187"/>
                  </a:cubicBezTo>
                  <a:cubicBezTo>
                    <a:pt x="1354" y="199"/>
                    <a:pt x="1354" y="199"/>
                    <a:pt x="1354" y="199"/>
                  </a:cubicBezTo>
                  <a:cubicBezTo>
                    <a:pt x="1376" y="211"/>
                    <a:pt x="1376" y="211"/>
                    <a:pt x="1376" y="211"/>
                  </a:cubicBezTo>
                  <a:lnTo>
                    <a:pt x="1371" y="199"/>
                  </a:lnTo>
                  <a:close/>
                  <a:moveTo>
                    <a:pt x="1264" y="350"/>
                  </a:moveTo>
                  <a:cubicBezTo>
                    <a:pt x="1278" y="347"/>
                    <a:pt x="1263" y="336"/>
                    <a:pt x="1260" y="343"/>
                  </a:cubicBezTo>
                  <a:cubicBezTo>
                    <a:pt x="1260" y="343"/>
                    <a:pt x="1251" y="352"/>
                    <a:pt x="1264" y="350"/>
                  </a:cubicBezTo>
                  <a:close/>
                  <a:moveTo>
                    <a:pt x="1250" y="347"/>
                  </a:moveTo>
                  <a:cubicBezTo>
                    <a:pt x="1254" y="346"/>
                    <a:pt x="1245" y="328"/>
                    <a:pt x="1239" y="335"/>
                  </a:cubicBezTo>
                  <a:cubicBezTo>
                    <a:pt x="1239" y="335"/>
                    <a:pt x="1246" y="348"/>
                    <a:pt x="1250" y="347"/>
                  </a:cubicBezTo>
                  <a:close/>
                  <a:moveTo>
                    <a:pt x="1401" y="219"/>
                  </a:moveTo>
                  <a:cubicBezTo>
                    <a:pt x="1420" y="219"/>
                    <a:pt x="1420" y="219"/>
                    <a:pt x="1420" y="219"/>
                  </a:cubicBezTo>
                  <a:cubicBezTo>
                    <a:pt x="1421" y="202"/>
                    <a:pt x="1421" y="202"/>
                    <a:pt x="1421" y="202"/>
                  </a:cubicBezTo>
                  <a:cubicBezTo>
                    <a:pt x="1404" y="195"/>
                    <a:pt x="1404" y="195"/>
                    <a:pt x="1404" y="195"/>
                  </a:cubicBezTo>
                  <a:cubicBezTo>
                    <a:pt x="1392" y="210"/>
                    <a:pt x="1392" y="210"/>
                    <a:pt x="1392" y="210"/>
                  </a:cubicBezTo>
                  <a:lnTo>
                    <a:pt x="1401" y="219"/>
                  </a:lnTo>
                  <a:close/>
                  <a:moveTo>
                    <a:pt x="1206" y="389"/>
                  </a:moveTo>
                  <a:cubicBezTo>
                    <a:pt x="1206" y="389"/>
                    <a:pt x="1202" y="396"/>
                    <a:pt x="1215" y="396"/>
                  </a:cubicBezTo>
                  <a:cubicBezTo>
                    <a:pt x="1229" y="396"/>
                    <a:pt x="1235" y="388"/>
                    <a:pt x="1235" y="388"/>
                  </a:cubicBezTo>
                  <a:cubicBezTo>
                    <a:pt x="1211" y="377"/>
                    <a:pt x="1211" y="377"/>
                    <a:pt x="1211" y="377"/>
                  </a:cubicBezTo>
                  <a:cubicBezTo>
                    <a:pt x="1195" y="389"/>
                    <a:pt x="1195" y="389"/>
                    <a:pt x="1195" y="389"/>
                  </a:cubicBezTo>
                  <a:cubicBezTo>
                    <a:pt x="1185" y="389"/>
                    <a:pt x="1185" y="389"/>
                    <a:pt x="1185" y="389"/>
                  </a:cubicBezTo>
                  <a:cubicBezTo>
                    <a:pt x="1197" y="401"/>
                    <a:pt x="1197" y="401"/>
                    <a:pt x="1197" y="401"/>
                  </a:cubicBezTo>
                  <a:lnTo>
                    <a:pt x="1206" y="389"/>
                  </a:lnTo>
                  <a:close/>
                  <a:moveTo>
                    <a:pt x="1009" y="0"/>
                  </a:moveTo>
                  <a:cubicBezTo>
                    <a:pt x="986" y="13"/>
                    <a:pt x="986" y="13"/>
                    <a:pt x="986" y="13"/>
                  </a:cubicBezTo>
                  <a:cubicBezTo>
                    <a:pt x="1008" y="18"/>
                    <a:pt x="1008" y="18"/>
                    <a:pt x="1008" y="18"/>
                  </a:cubicBezTo>
                  <a:lnTo>
                    <a:pt x="1009" y="0"/>
                  </a:lnTo>
                  <a:close/>
                  <a:moveTo>
                    <a:pt x="1045" y="433"/>
                  </a:moveTo>
                  <a:cubicBezTo>
                    <a:pt x="1049" y="433"/>
                    <a:pt x="1060" y="445"/>
                    <a:pt x="1060" y="445"/>
                  </a:cubicBezTo>
                  <a:cubicBezTo>
                    <a:pt x="1066" y="425"/>
                    <a:pt x="1066" y="425"/>
                    <a:pt x="1066" y="425"/>
                  </a:cubicBezTo>
                  <a:cubicBezTo>
                    <a:pt x="1054" y="425"/>
                    <a:pt x="1054" y="425"/>
                    <a:pt x="1054" y="425"/>
                  </a:cubicBezTo>
                  <a:cubicBezTo>
                    <a:pt x="1044" y="417"/>
                    <a:pt x="1044" y="417"/>
                    <a:pt x="1044" y="417"/>
                  </a:cubicBezTo>
                  <a:cubicBezTo>
                    <a:pt x="1044" y="417"/>
                    <a:pt x="1041" y="433"/>
                    <a:pt x="1045" y="433"/>
                  </a:cubicBezTo>
                  <a:close/>
                  <a:moveTo>
                    <a:pt x="1078" y="48"/>
                  </a:moveTo>
                  <a:cubicBezTo>
                    <a:pt x="1085" y="42"/>
                    <a:pt x="1066" y="37"/>
                    <a:pt x="1066" y="37"/>
                  </a:cubicBezTo>
                  <a:cubicBezTo>
                    <a:pt x="1062" y="44"/>
                    <a:pt x="1072" y="53"/>
                    <a:pt x="1078" y="48"/>
                  </a:cubicBezTo>
                  <a:close/>
                  <a:moveTo>
                    <a:pt x="1113" y="424"/>
                  </a:moveTo>
                  <a:cubicBezTo>
                    <a:pt x="1113" y="417"/>
                    <a:pt x="1105" y="416"/>
                    <a:pt x="1098" y="416"/>
                  </a:cubicBezTo>
                  <a:cubicBezTo>
                    <a:pt x="1092" y="416"/>
                    <a:pt x="1113" y="431"/>
                    <a:pt x="1113" y="424"/>
                  </a:cubicBezTo>
                  <a:close/>
                </a:path>
              </a:pathLst>
            </a:custGeom>
            <a:gradFill rotWithShape="1">
              <a:gsLst>
                <a:gs pos="0">
                  <a:srgbClr val="9B2219">
                    <a:gamma/>
                    <a:tint val="68627"/>
                    <a:invGamma/>
                  </a:srgbClr>
                </a:gs>
                <a:gs pos="100000">
                  <a:srgbClr val="9B2219"/>
                </a:gs>
              </a:gsLst>
              <a:lin ang="5400000" scaled="1"/>
            </a:gradFill>
            <a:ln w="3175" cap="flat" cmpd="sng">
              <a:prstDash val="solid"/>
              <a:miter lim="800000"/>
              <a:headEnd type="none" w="med" len="med"/>
              <a:tailEnd type="none" w="med" len="med"/>
            </a:ln>
            <a:effectLst/>
            <a:scene3d>
              <a:camera prst="legacyObliqueBottom"/>
              <a:lightRig rig="legacyFlat4" dir="b"/>
            </a:scene3d>
            <a:sp3d extrusionH="125400" prstMaterial="legacyMatte">
              <a:bevelT w="13500" h="13500" prst="angle"/>
              <a:bevelB w="13500" h="13500" prst="angle"/>
              <a:extrusionClr>
                <a:srgbClr val="9B2219"/>
              </a:extrusionClr>
            </a:sp3d>
          </p:spPr>
          <p:txBody>
            <a:bodyPr>
              <a:flatTx/>
            </a:bodyPr>
            <a:lstStyle/>
            <a:p>
              <a:pPr>
                <a:spcBef>
                  <a:spcPct val="20000"/>
                </a:spcBef>
              </a:pPr>
              <a:endParaRPr lang="en-GB" sz="1200">
                <a:solidFill>
                  <a:srgbClr val="FFFFFF"/>
                </a:solidFill>
              </a:endParaRPr>
            </a:p>
          </p:txBody>
        </p:sp>
        <p:sp>
          <p:nvSpPr>
            <p:cNvPr id="18480" name="Freeform 48" descr="© INSCALE GmbH, 05.05.2010&#10;http://www.presentationload.com/"/>
            <p:cNvSpPr>
              <a:spLocks/>
            </p:cNvSpPr>
            <p:nvPr/>
          </p:nvSpPr>
          <p:spPr bwMode="auto">
            <a:xfrm rot="20893477" flipH="1">
              <a:off x="5067300" y="1838325"/>
              <a:ext cx="1585913" cy="679450"/>
            </a:xfrm>
            <a:custGeom>
              <a:avLst/>
              <a:gdLst/>
              <a:ahLst/>
              <a:cxnLst>
                <a:cxn ang="0">
                  <a:pos x="631" y="282"/>
                </a:cxn>
                <a:cxn ang="0">
                  <a:pos x="112" y="57"/>
                </a:cxn>
                <a:cxn ang="0">
                  <a:pos x="100" y="0"/>
                </a:cxn>
                <a:cxn ang="0">
                  <a:pos x="0" y="169"/>
                </a:cxn>
                <a:cxn ang="0">
                  <a:pos x="147" y="306"/>
                </a:cxn>
                <a:cxn ang="0">
                  <a:pos x="135" y="238"/>
                </a:cxn>
                <a:cxn ang="0">
                  <a:pos x="631" y="282"/>
                </a:cxn>
              </a:cxnLst>
              <a:rect l="0" t="0" r="r" b="b"/>
              <a:pathLst>
                <a:path w="631" h="306">
                  <a:moveTo>
                    <a:pt x="631" y="282"/>
                  </a:moveTo>
                  <a:cubicBezTo>
                    <a:pt x="631" y="282"/>
                    <a:pt x="328" y="32"/>
                    <a:pt x="112" y="57"/>
                  </a:cubicBezTo>
                  <a:cubicBezTo>
                    <a:pt x="100" y="0"/>
                    <a:pt x="100" y="0"/>
                    <a:pt x="100" y="0"/>
                  </a:cubicBezTo>
                  <a:cubicBezTo>
                    <a:pt x="0" y="169"/>
                    <a:pt x="0" y="169"/>
                    <a:pt x="0" y="169"/>
                  </a:cubicBezTo>
                  <a:cubicBezTo>
                    <a:pt x="147" y="306"/>
                    <a:pt x="147" y="306"/>
                    <a:pt x="147" y="306"/>
                  </a:cubicBezTo>
                  <a:cubicBezTo>
                    <a:pt x="135" y="238"/>
                    <a:pt x="135" y="238"/>
                    <a:pt x="135" y="238"/>
                  </a:cubicBezTo>
                  <a:cubicBezTo>
                    <a:pt x="135" y="238"/>
                    <a:pt x="162" y="161"/>
                    <a:pt x="631" y="282"/>
                  </a:cubicBezTo>
                  <a:close/>
                </a:path>
              </a:pathLst>
            </a:custGeom>
            <a:gradFill rotWithShape="1">
              <a:gsLst>
                <a:gs pos="0">
                  <a:srgbClr val="FFFFFF">
                    <a:gamma/>
                    <a:shade val="88235"/>
                    <a:invGamma/>
                  </a:srgbClr>
                </a:gs>
                <a:gs pos="50000">
                  <a:srgbClr val="FFFFFF"/>
                </a:gs>
                <a:gs pos="100000">
                  <a:srgbClr val="FFFFFF">
                    <a:gamma/>
                    <a:shade val="88235"/>
                    <a:invGamma/>
                  </a:srgbClr>
                </a:gs>
              </a:gsLst>
              <a:lin ang="0" scaled="1"/>
            </a:gradFill>
            <a:ln w="9525" cap="flat" cmpd="sng">
              <a:solidFill>
                <a:schemeClr val="tx2"/>
              </a:solidFill>
              <a:prstDash val="solid"/>
              <a:round/>
              <a:headEnd type="none" w="med" len="med"/>
              <a:tailEnd type="none" w="med" len="med"/>
            </a:ln>
            <a:effectLst>
              <a:outerShdw dist="91581" dir="3378596" algn="ctr" rotWithShape="0">
                <a:schemeClr val="tx2">
                  <a:alpha val="50000"/>
                </a:schemeClr>
              </a:outerShdw>
            </a:effectLst>
          </p:spPr>
          <p:txBody>
            <a:bodyPr/>
            <a:lstStyle/>
            <a:p>
              <a:endParaRPr lang="en-GB"/>
            </a:p>
          </p:txBody>
        </p:sp>
      </p:grpSp>
      <p:sp>
        <p:nvSpPr>
          <p:cNvPr id="2" name="_ID630127630" descr="© INSCALE GmbH, 05.05.2010&#10;http://www.presentationload.com/"/>
          <p:cNvSpPr/>
          <p:nvPr/>
        </p:nvSpPr>
        <p:spPr>
          <a:xfrm>
            <a:off x="0" y="6245352"/>
            <a:ext cx="914400" cy="612648"/>
          </a:xfrm>
          <a:prstGeom prst="flowChartInputOutpu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eaLnBrk="0" hangingPunct="0">
              <a:defRPr/>
            </a:pPr>
            <a:r>
              <a:rPr lang="de-DE" sz="2800" kern="0" dirty="0" smtClean="0">
                <a:solidFill>
                  <a:schemeClr val="tx2"/>
                </a:solidFill>
                <a:latin typeface="Myriad Pro" pitchFamily="34" charset="0"/>
                <a:ea typeface="+mj-ea"/>
                <a:cs typeface="+mj-cs"/>
              </a:rPr>
              <a:t>Regionen hervorheben</a:t>
            </a:r>
          </a:p>
        </p:txBody>
      </p:sp>
      <p:sp>
        <p:nvSpPr>
          <p:cNvPr id="27" name="Textfeld 2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7</a:t>
            </a:r>
            <a:endParaRPr lang="de-DE" sz="900" dirty="0">
              <a:solidFill>
                <a:schemeClr val="bg1">
                  <a:lumMod val="50000"/>
                </a:schemeClr>
              </a:solidFill>
            </a:endParaRPr>
          </a:p>
        </p:txBody>
      </p:sp>
      <p:sp>
        <p:nvSpPr>
          <p:cNvPr id="35" name="Freeform 15" descr="© INSCALE GmbH, 05.05.2010&#10;http://www.presentationload.com/"/>
          <p:cNvSpPr>
            <a:spLocks noEditPoints="1"/>
          </p:cNvSpPr>
          <p:nvPr/>
        </p:nvSpPr>
        <p:spPr bwMode="auto">
          <a:xfrm>
            <a:off x="295908" y="1058228"/>
            <a:ext cx="2629615" cy="2366009"/>
          </a:xfrm>
          <a:custGeom>
            <a:avLst/>
            <a:gdLst/>
            <a:ahLst/>
            <a:cxnLst>
              <a:cxn ang="0">
                <a:pos x="3211" y="1361"/>
              </a:cxn>
              <a:cxn ang="0">
                <a:pos x="2928" y="1708"/>
              </a:cxn>
              <a:cxn ang="0">
                <a:pos x="4797" y="462"/>
              </a:cxn>
              <a:cxn ang="0">
                <a:pos x="6419" y="502"/>
              </a:cxn>
              <a:cxn ang="0">
                <a:pos x="6497" y="1249"/>
              </a:cxn>
              <a:cxn ang="0">
                <a:pos x="6504" y="1834"/>
              </a:cxn>
              <a:cxn ang="0">
                <a:pos x="8143" y="415"/>
              </a:cxn>
              <a:cxn ang="0">
                <a:pos x="8431" y="661"/>
              </a:cxn>
              <a:cxn ang="0">
                <a:pos x="8469" y="197"/>
              </a:cxn>
              <a:cxn ang="0">
                <a:pos x="8445" y="938"/>
              </a:cxn>
              <a:cxn ang="0">
                <a:pos x="9354" y="1533"/>
              </a:cxn>
              <a:cxn ang="0">
                <a:pos x="8544" y="1240"/>
              </a:cxn>
              <a:cxn ang="0">
                <a:pos x="8876" y="1542"/>
              </a:cxn>
              <a:cxn ang="0">
                <a:pos x="10771" y="2732"/>
              </a:cxn>
              <a:cxn ang="0">
                <a:pos x="9040" y="1867"/>
              </a:cxn>
              <a:cxn ang="0">
                <a:pos x="9263" y="2683"/>
              </a:cxn>
              <a:cxn ang="0">
                <a:pos x="9818" y="3409"/>
              </a:cxn>
              <a:cxn ang="0">
                <a:pos x="10506" y="3870"/>
              </a:cxn>
              <a:cxn ang="0">
                <a:pos x="10979" y="4138"/>
              </a:cxn>
              <a:cxn ang="0">
                <a:pos x="10694" y="5222"/>
              </a:cxn>
              <a:cxn ang="0">
                <a:pos x="7883" y="9148"/>
              </a:cxn>
              <a:cxn ang="0">
                <a:pos x="8893" y="9363"/>
              </a:cxn>
              <a:cxn ang="0">
                <a:pos x="8068" y="9462"/>
              </a:cxn>
              <a:cxn ang="0">
                <a:pos x="8600" y="10174"/>
              </a:cxn>
              <a:cxn ang="0">
                <a:pos x="8733" y="10184"/>
              </a:cxn>
              <a:cxn ang="0">
                <a:pos x="6354" y="7768"/>
              </a:cxn>
              <a:cxn ang="0">
                <a:pos x="10666" y="5112"/>
              </a:cxn>
              <a:cxn ang="0">
                <a:pos x="10167" y="4217"/>
              </a:cxn>
              <a:cxn ang="0">
                <a:pos x="9555" y="3315"/>
              </a:cxn>
              <a:cxn ang="0">
                <a:pos x="9071" y="2376"/>
              </a:cxn>
              <a:cxn ang="0">
                <a:pos x="8534" y="1603"/>
              </a:cxn>
              <a:cxn ang="0">
                <a:pos x="8246" y="432"/>
              </a:cxn>
              <a:cxn ang="0">
                <a:pos x="7876" y="1722"/>
              </a:cxn>
              <a:cxn ang="0">
                <a:pos x="6298" y="1802"/>
              </a:cxn>
              <a:cxn ang="0">
                <a:pos x="6497" y="783"/>
              </a:cxn>
              <a:cxn ang="0">
                <a:pos x="5694" y="729"/>
              </a:cxn>
              <a:cxn ang="0">
                <a:pos x="5019" y="509"/>
              </a:cxn>
              <a:cxn ang="0">
                <a:pos x="4745" y="823"/>
              </a:cxn>
              <a:cxn ang="0">
                <a:pos x="4382" y="1582"/>
              </a:cxn>
              <a:cxn ang="0">
                <a:pos x="3822" y="1507"/>
              </a:cxn>
              <a:cxn ang="0">
                <a:pos x="3094" y="1744"/>
              </a:cxn>
              <a:cxn ang="0">
                <a:pos x="2686" y="2142"/>
              </a:cxn>
              <a:cxn ang="0">
                <a:pos x="2251" y="2612"/>
              </a:cxn>
              <a:cxn ang="0">
                <a:pos x="1007" y="3632"/>
              </a:cxn>
              <a:cxn ang="0">
                <a:pos x="108" y="4095"/>
              </a:cxn>
              <a:cxn ang="0">
                <a:pos x="281" y="5412"/>
              </a:cxn>
              <a:cxn ang="0">
                <a:pos x="897" y="7513"/>
              </a:cxn>
              <a:cxn ang="0">
                <a:pos x="2508" y="7351"/>
              </a:cxn>
              <a:cxn ang="0">
                <a:pos x="4344" y="6590"/>
              </a:cxn>
              <a:cxn ang="0">
                <a:pos x="5820" y="7103"/>
              </a:cxn>
              <a:cxn ang="0">
                <a:pos x="6612" y="7026"/>
              </a:cxn>
              <a:cxn ang="0">
                <a:pos x="6689" y="7691"/>
              </a:cxn>
              <a:cxn ang="0">
                <a:pos x="7876" y="8752"/>
              </a:cxn>
              <a:cxn ang="0">
                <a:pos x="9021" y="8600"/>
              </a:cxn>
              <a:cxn ang="0">
                <a:pos x="10141" y="7229"/>
              </a:cxn>
              <a:cxn ang="0">
                <a:pos x="6068" y="6597"/>
              </a:cxn>
              <a:cxn ang="0">
                <a:pos x="6171" y="6611"/>
              </a:cxn>
              <a:cxn ang="0">
                <a:pos x="6450" y="5876"/>
              </a:cxn>
              <a:cxn ang="0">
                <a:pos x="6607" y="6260"/>
              </a:cxn>
              <a:cxn ang="0">
                <a:pos x="426" y="6222"/>
              </a:cxn>
              <a:cxn ang="0">
                <a:pos x="464" y="3695"/>
              </a:cxn>
            </a:cxnLst>
            <a:rect l="0" t="0" r="r" b="b"/>
            <a:pathLst>
              <a:path w="11488" h="10334">
                <a:moveTo>
                  <a:pt x="2363" y="895"/>
                </a:moveTo>
                <a:cubicBezTo>
                  <a:pt x="2312" y="926"/>
                  <a:pt x="2312" y="926"/>
                  <a:pt x="2312" y="926"/>
                </a:cubicBezTo>
                <a:cubicBezTo>
                  <a:pt x="2361" y="938"/>
                  <a:pt x="2361" y="938"/>
                  <a:pt x="2361" y="938"/>
                </a:cubicBezTo>
                <a:lnTo>
                  <a:pt x="2363" y="895"/>
                </a:lnTo>
                <a:close/>
                <a:moveTo>
                  <a:pt x="2524" y="1008"/>
                </a:moveTo>
                <a:cubicBezTo>
                  <a:pt x="2541" y="994"/>
                  <a:pt x="2496" y="982"/>
                  <a:pt x="2496" y="982"/>
                </a:cubicBezTo>
                <a:cubicBezTo>
                  <a:pt x="2487" y="999"/>
                  <a:pt x="2511" y="1019"/>
                  <a:pt x="2524" y="1008"/>
                </a:cubicBezTo>
                <a:close/>
                <a:moveTo>
                  <a:pt x="3279" y="1268"/>
                </a:moveTo>
                <a:cubicBezTo>
                  <a:pt x="3279" y="1247"/>
                  <a:pt x="3263" y="1221"/>
                  <a:pt x="3236" y="1247"/>
                </a:cubicBezTo>
                <a:cubicBezTo>
                  <a:pt x="3236" y="1247"/>
                  <a:pt x="3279" y="1291"/>
                  <a:pt x="3279" y="1268"/>
                </a:cubicBezTo>
                <a:close/>
                <a:moveTo>
                  <a:pt x="3281" y="1406"/>
                </a:moveTo>
                <a:cubicBezTo>
                  <a:pt x="3325" y="1406"/>
                  <a:pt x="3325" y="1406"/>
                  <a:pt x="3325" y="1406"/>
                </a:cubicBezTo>
                <a:cubicBezTo>
                  <a:pt x="3330" y="1368"/>
                  <a:pt x="3330" y="1368"/>
                  <a:pt x="3330" y="1368"/>
                </a:cubicBezTo>
                <a:cubicBezTo>
                  <a:pt x="3288" y="1352"/>
                  <a:pt x="3288" y="1352"/>
                  <a:pt x="3288" y="1352"/>
                </a:cubicBezTo>
                <a:cubicBezTo>
                  <a:pt x="3260" y="1387"/>
                  <a:pt x="3260" y="1387"/>
                  <a:pt x="3260" y="1387"/>
                </a:cubicBezTo>
                <a:lnTo>
                  <a:pt x="3281" y="1406"/>
                </a:lnTo>
                <a:close/>
                <a:moveTo>
                  <a:pt x="3211" y="1361"/>
                </a:moveTo>
                <a:cubicBezTo>
                  <a:pt x="3211" y="1333"/>
                  <a:pt x="3211" y="1333"/>
                  <a:pt x="3211" y="1333"/>
                </a:cubicBezTo>
                <a:cubicBezTo>
                  <a:pt x="3171" y="1361"/>
                  <a:pt x="3171" y="1361"/>
                  <a:pt x="3171" y="1361"/>
                </a:cubicBezTo>
                <a:cubicBezTo>
                  <a:pt x="3223" y="1390"/>
                  <a:pt x="3223" y="1390"/>
                  <a:pt x="3223" y="1390"/>
                </a:cubicBezTo>
                <a:lnTo>
                  <a:pt x="3211" y="1361"/>
                </a:lnTo>
                <a:close/>
                <a:moveTo>
                  <a:pt x="2974" y="1558"/>
                </a:moveTo>
                <a:cubicBezTo>
                  <a:pt x="3000" y="1558"/>
                  <a:pt x="3002" y="1505"/>
                  <a:pt x="2956" y="1514"/>
                </a:cubicBezTo>
                <a:cubicBezTo>
                  <a:pt x="2956" y="1514"/>
                  <a:pt x="2949" y="1558"/>
                  <a:pt x="2974" y="1558"/>
                </a:cubicBezTo>
                <a:close/>
                <a:moveTo>
                  <a:pt x="2447" y="1910"/>
                </a:moveTo>
                <a:cubicBezTo>
                  <a:pt x="2457" y="1910"/>
                  <a:pt x="2483" y="1938"/>
                  <a:pt x="2483" y="1938"/>
                </a:cubicBezTo>
                <a:cubicBezTo>
                  <a:pt x="2496" y="1891"/>
                  <a:pt x="2496" y="1891"/>
                  <a:pt x="2496" y="1891"/>
                </a:cubicBezTo>
                <a:cubicBezTo>
                  <a:pt x="2468" y="1891"/>
                  <a:pt x="2468" y="1891"/>
                  <a:pt x="2468" y="1891"/>
                </a:cubicBezTo>
                <a:cubicBezTo>
                  <a:pt x="2445" y="1872"/>
                  <a:pt x="2445" y="1872"/>
                  <a:pt x="2445" y="1872"/>
                </a:cubicBezTo>
                <a:cubicBezTo>
                  <a:pt x="2445" y="1872"/>
                  <a:pt x="2438" y="1910"/>
                  <a:pt x="2447" y="1910"/>
                </a:cubicBezTo>
                <a:close/>
                <a:moveTo>
                  <a:pt x="2607" y="1889"/>
                </a:moveTo>
                <a:cubicBezTo>
                  <a:pt x="2607" y="1872"/>
                  <a:pt x="2588" y="1870"/>
                  <a:pt x="2572" y="1870"/>
                </a:cubicBezTo>
                <a:cubicBezTo>
                  <a:pt x="2557" y="1870"/>
                  <a:pt x="2607" y="1905"/>
                  <a:pt x="2607" y="1889"/>
                </a:cubicBezTo>
                <a:close/>
                <a:moveTo>
                  <a:pt x="2824" y="1806"/>
                </a:moveTo>
                <a:cubicBezTo>
                  <a:pt x="2824" y="1806"/>
                  <a:pt x="2815" y="1823"/>
                  <a:pt x="2846" y="1823"/>
                </a:cubicBezTo>
                <a:cubicBezTo>
                  <a:pt x="2879" y="1823"/>
                  <a:pt x="2892" y="1804"/>
                  <a:pt x="2892" y="1804"/>
                </a:cubicBezTo>
                <a:cubicBezTo>
                  <a:pt x="2836" y="1778"/>
                  <a:pt x="2836" y="1778"/>
                  <a:pt x="2836" y="1778"/>
                </a:cubicBezTo>
                <a:cubicBezTo>
                  <a:pt x="2799" y="1806"/>
                  <a:pt x="2799" y="1806"/>
                  <a:pt x="2799" y="1806"/>
                </a:cubicBezTo>
                <a:cubicBezTo>
                  <a:pt x="2775" y="1806"/>
                  <a:pt x="2775" y="1806"/>
                  <a:pt x="2775" y="1806"/>
                </a:cubicBezTo>
                <a:cubicBezTo>
                  <a:pt x="2803" y="1834"/>
                  <a:pt x="2803" y="1834"/>
                  <a:pt x="2803" y="1834"/>
                </a:cubicBezTo>
                <a:lnTo>
                  <a:pt x="2824" y="1806"/>
                </a:lnTo>
                <a:close/>
                <a:moveTo>
                  <a:pt x="2928" y="1708"/>
                </a:moveTo>
                <a:cubicBezTo>
                  <a:pt x="2937" y="1706"/>
                  <a:pt x="2916" y="1664"/>
                  <a:pt x="2902" y="1680"/>
                </a:cubicBezTo>
                <a:cubicBezTo>
                  <a:pt x="2902" y="1680"/>
                  <a:pt x="2918" y="1711"/>
                  <a:pt x="2928" y="1708"/>
                </a:cubicBezTo>
                <a:close/>
                <a:moveTo>
                  <a:pt x="2963" y="1713"/>
                </a:moveTo>
                <a:cubicBezTo>
                  <a:pt x="2993" y="1708"/>
                  <a:pt x="2958" y="1683"/>
                  <a:pt x="2953" y="1699"/>
                </a:cubicBezTo>
                <a:cubicBezTo>
                  <a:pt x="2953" y="1699"/>
                  <a:pt x="2930" y="1720"/>
                  <a:pt x="2963" y="1713"/>
                </a:cubicBezTo>
                <a:close/>
                <a:moveTo>
                  <a:pt x="4438" y="663"/>
                </a:moveTo>
                <a:cubicBezTo>
                  <a:pt x="4497" y="673"/>
                  <a:pt x="4513" y="659"/>
                  <a:pt x="4532" y="659"/>
                </a:cubicBezTo>
                <a:cubicBezTo>
                  <a:pt x="4550" y="659"/>
                  <a:pt x="4614" y="682"/>
                  <a:pt x="4614" y="668"/>
                </a:cubicBezTo>
                <a:cubicBezTo>
                  <a:pt x="4614" y="652"/>
                  <a:pt x="4590" y="626"/>
                  <a:pt x="4570" y="612"/>
                </a:cubicBezTo>
                <a:cubicBezTo>
                  <a:pt x="4548" y="595"/>
                  <a:pt x="4522" y="528"/>
                  <a:pt x="4522" y="528"/>
                </a:cubicBezTo>
                <a:cubicBezTo>
                  <a:pt x="4473" y="558"/>
                  <a:pt x="4473" y="558"/>
                  <a:pt x="4473" y="558"/>
                </a:cubicBezTo>
                <a:cubicBezTo>
                  <a:pt x="4497" y="617"/>
                  <a:pt x="4497" y="617"/>
                  <a:pt x="4497" y="617"/>
                </a:cubicBezTo>
                <a:cubicBezTo>
                  <a:pt x="4497" y="617"/>
                  <a:pt x="4380" y="654"/>
                  <a:pt x="4438" y="663"/>
                </a:cubicBezTo>
                <a:close/>
                <a:moveTo>
                  <a:pt x="4626" y="640"/>
                </a:moveTo>
                <a:cubicBezTo>
                  <a:pt x="4738" y="706"/>
                  <a:pt x="4738" y="706"/>
                  <a:pt x="4738" y="706"/>
                </a:cubicBezTo>
                <a:cubicBezTo>
                  <a:pt x="4846" y="598"/>
                  <a:pt x="4846" y="598"/>
                  <a:pt x="4846" y="598"/>
                </a:cubicBezTo>
                <a:cubicBezTo>
                  <a:pt x="4871" y="579"/>
                  <a:pt x="4871" y="579"/>
                  <a:pt x="4871" y="579"/>
                </a:cubicBezTo>
                <a:cubicBezTo>
                  <a:pt x="4871" y="551"/>
                  <a:pt x="4871" y="551"/>
                  <a:pt x="4871" y="551"/>
                </a:cubicBezTo>
                <a:cubicBezTo>
                  <a:pt x="4893" y="537"/>
                  <a:pt x="4893" y="537"/>
                  <a:pt x="4893" y="537"/>
                </a:cubicBezTo>
                <a:cubicBezTo>
                  <a:pt x="4893" y="537"/>
                  <a:pt x="4878" y="523"/>
                  <a:pt x="4855" y="500"/>
                </a:cubicBezTo>
                <a:cubicBezTo>
                  <a:pt x="4834" y="473"/>
                  <a:pt x="4797" y="462"/>
                  <a:pt x="4797" y="462"/>
                </a:cubicBezTo>
                <a:cubicBezTo>
                  <a:pt x="4804" y="532"/>
                  <a:pt x="4804" y="532"/>
                  <a:pt x="4804" y="532"/>
                </a:cubicBezTo>
                <a:cubicBezTo>
                  <a:pt x="4804" y="532"/>
                  <a:pt x="4780" y="481"/>
                  <a:pt x="4766" y="500"/>
                </a:cubicBezTo>
                <a:cubicBezTo>
                  <a:pt x="4749" y="518"/>
                  <a:pt x="4743" y="542"/>
                  <a:pt x="4743" y="542"/>
                </a:cubicBezTo>
                <a:cubicBezTo>
                  <a:pt x="4743" y="542"/>
                  <a:pt x="4731" y="504"/>
                  <a:pt x="4710" y="502"/>
                </a:cubicBezTo>
                <a:cubicBezTo>
                  <a:pt x="4687" y="500"/>
                  <a:pt x="4632" y="546"/>
                  <a:pt x="4632" y="546"/>
                </a:cubicBezTo>
                <a:cubicBezTo>
                  <a:pt x="4543" y="483"/>
                  <a:pt x="4543" y="483"/>
                  <a:pt x="4543" y="483"/>
                </a:cubicBezTo>
                <a:cubicBezTo>
                  <a:pt x="4543" y="483"/>
                  <a:pt x="4543" y="539"/>
                  <a:pt x="4562" y="565"/>
                </a:cubicBezTo>
                <a:cubicBezTo>
                  <a:pt x="4581" y="589"/>
                  <a:pt x="4626" y="640"/>
                  <a:pt x="4626" y="640"/>
                </a:cubicBezTo>
                <a:close/>
                <a:moveTo>
                  <a:pt x="6139" y="701"/>
                </a:moveTo>
                <a:cubicBezTo>
                  <a:pt x="6173" y="727"/>
                  <a:pt x="6173" y="727"/>
                  <a:pt x="6173" y="727"/>
                </a:cubicBezTo>
                <a:cubicBezTo>
                  <a:pt x="6209" y="717"/>
                  <a:pt x="6209" y="717"/>
                  <a:pt x="6209" y="717"/>
                </a:cubicBezTo>
                <a:cubicBezTo>
                  <a:pt x="6185" y="692"/>
                  <a:pt x="6185" y="692"/>
                  <a:pt x="6185" y="692"/>
                </a:cubicBezTo>
                <a:cubicBezTo>
                  <a:pt x="6185" y="692"/>
                  <a:pt x="6270" y="612"/>
                  <a:pt x="6251" y="612"/>
                </a:cubicBezTo>
                <a:cubicBezTo>
                  <a:pt x="6232" y="612"/>
                  <a:pt x="6192" y="673"/>
                  <a:pt x="6164" y="680"/>
                </a:cubicBezTo>
                <a:cubicBezTo>
                  <a:pt x="6136" y="687"/>
                  <a:pt x="6106" y="710"/>
                  <a:pt x="6106" y="710"/>
                </a:cubicBezTo>
                <a:cubicBezTo>
                  <a:pt x="6124" y="724"/>
                  <a:pt x="6124" y="724"/>
                  <a:pt x="6124" y="724"/>
                </a:cubicBezTo>
                <a:lnTo>
                  <a:pt x="6139" y="701"/>
                </a:lnTo>
                <a:close/>
                <a:moveTo>
                  <a:pt x="6290" y="621"/>
                </a:moveTo>
                <a:cubicBezTo>
                  <a:pt x="6290" y="621"/>
                  <a:pt x="6391" y="579"/>
                  <a:pt x="6431" y="528"/>
                </a:cubicBezTo>
                <a:cubicBezTo>
                  <a:pt x="6473" y="473"/>
                  <a:pt x="6476" y="417"/>
                  <a:pt x="6476" y="417"/>
                </a:cubicBezTo>
                <a:cubicBezTo>
                  <a:pt x="6476" y="417"/>
                  <a:pt x="6448" y="473"/>
                  <a:pt x="6419" y="502"/>
                </a:cubicBezTo>
                <a:cubicBezTo>
                  <a:pt x="6391" y="530"/>
                  <a:pt x="6258" y="602"/>
                  <a:pt x="6290" y="621"/>
                </a:cubicBezTo>
                <a:close/>
                <a:moveTo>
                  <a:pt x="6389" y="661"/>
                </a:moveTo>
                <a:cubicBezTo>
                  <a:pt x="6399" y="673"/>
                  <a:pt x="6448" y="649"/>
                  <a:pt x="6431" y="640"/>
                </a:cubicBezTo>
                <a:cubicBezTo>
                  <a:pt x="6417" y="631"/>
                  <a:pt x="6370" y="642"/>
                  <a:pt x="6389" y="661"/>
                </a:cubicBezTo>
                <a:close/>
                <a:moveTo>
                  <a:pt x="6314" y="1254"/>
                </a:moveTo>
                <a:cubicBezTo>
                  <a:pt x="6286" y="1226"/>
                  <a:pt x="6286" y="1226"/>
                  <a:pt x="6286" y="1226"/>
                </a:cubicBezTo>
                <a:cubicBezTo>
                  <a:pt x="6260" y="1238"/>
                  <a:pt x="6260" y="1238"/>
                  <a:pt x="6260" y="1238"/>
                </a:cubicBezTo>
                <a:cubicBezTo>
                  <a:pt x="6289" y="1268"/>
                  <a:pt x="6289" y="1268"/>
                  <a:pt x="6289" y="1268"/>
                </a:cubicBezTo>
                <a:lnTo>
                  <a:pt x="6314" y="1254"/>
                </a:lnTo>
                <a:close/>
                <a:moveTo>
                  <a:pt x="6272" y="1146"/>
                </a:moveTo>
                <a:cubicBezTo>
                  <a:pt x="6249" y="1125"/>
                  <a:pt x="6241" y="1134"/>
                  <a:pt x="6241" y="1134"/>
                </a:cubicBezTo>
                <a:cubicBezTo>
                  <a:pt x="6241" y="1134"/>
                  <a:pt x="6286" y="1169"/>
                  <a:pt x="6277" y="1181"/>
                </a:cubicBezTo>
                <a:cubicBezTo>
                  <a:pt x="6281" y="1177"/>
                  <a:pt x="6293" y="1165"/>
                  <a:pt x="6272" y="1146"/>
                </a:cubicBezTo>
                <a:close/>
                <a:moveTo>
                  <a:pt x="6351" y="1397"/>
                </a:moveTo>
                <a:cubicBezTo>
                  <a:pt x="6370" y="1401"/>
                  <a:pt x="6399" y="1416"/>
                  <a:pt x="6399" y="1416"/>
                </a:cubicBezTo>
                <a:cubicBezTo>
                  <a:pt x="6459" y="1416"/>
                  <a:pt x="6459" y="1416"/>
                  <a:pt x="6459" y="1416"/>
                </a:cubicBezTo>
                <a:cubicBezTo>
                  <a:pt x="6459" y="1416"/>
                  <a:pt x="6492" y="1427"/>
                  <a:pt x="6495" y="1406"/>
                </a:cubicBezTo>
                <a:cubicBezTo>
                  <a:pt x="6497" y="1385"/>
                  <a:pt x="6492" y="1361"/>
                  <a:pt x="6492" y="1361"/>
                </a:cubicBezTo>
                <a:cubicBezTo>
                  <a:pt x="6457" y="1390"/>
                  <a:pt x="6457" y="1390"/>
                  <a:pt x="6457" y="1390"/>
                </a:cubicBezTo>
                <a:cubicBezTo>
                  <a:pt x="6419" y="1357"/>
                  <a:pt x="6419" y="1357"/>
                  <a:pt x="6419" y="1357"/>
                </a:cubicBezTo>
                <a:cubicBezTo>
                  <a:pt x="6497" y="1249"/>
                  <a:pt x="6497" y="1249"/>
                  <a:pt x="6497" y="1249"/>
                </a:cubicBezTo>
                <a:cubicBezTo>
                  <a:pt x="6440" y="1282"/>
                  <a:pt x="6440" y="1282"/>
                  <a:pt x="6440" y="1282"/>
                </a:cubicBezTo>
                <a:cubicBezTo>
                  <a:pt x="6422" y="1230"/>
                  <a:pt x="6422" y="1230"/>
                  <a:pt x="6422" y="1230"/>
                </a:cubicBezTo>
                <a:cubicBezTo>
                  <a:pt x="6373" y="1238"/>
                  <a:pt x="6373" y="1238"/>
                  <a:pt x="6373" y="1238"/>
                </a:cubicBezTo>
                <a:cubicBezTo>
                  <a:pt x="6370" y="1275"/>
                  <a:pt x="6370" y="1275"/>
                  <a:pt x="6370" y="1275"/>
                </a:cubicBezTo>
                <a:cubicBezTo>
                  <a:pt x="6345" y="1275"/>
                  <a:pt x="6345" y="1275"/>
                  <a:pt x="6345" y="1275"/>
                </a:cubicBezTo>
                <a:cubicBezTo>
                  <a:pt x="6345" y="1275"/>
                  <a:pt x="6361" y="1359"/>
                  <a:pt x="6338" y="1378"/>
                </a:cubicBezTo>
                <a:cubicBezTo>
                  <a:pt x="6317" y="1397"/>
                  <a:pt x="6314" y="1408"/>
                  <a:pt x="6314" y="1408"/>
                </a:cubicBezTo>
                <a:cubicBezTo>
                  <a:pt x="6314" y="1408"/>
                  <a:pt x="6333" y="1390"/>
                  <a:pt x="6351" y="1397"/>
                </a:cubicBezTo>
                <a:close/>
                <a:moveTo>
                  <a:pt x="6120" y="1605"/>
                </a:moveTo>
                <a:cubicBezTo>
                  <a:pt x="6143" y="1605"/>
                  <a:pt x="6167" y="1607"/>
                  <a:pt x="6148" y="1584"/>
                </a:cubicBezTo>
                <a:cubicBezTo>
                  <a:pt x="6129" y="1558"/>
                  <a:pt x="6120" y="1605"/>
                  <a:pt x="6120" y="1605"/>
                </a:cubicBezTo>
                <a:close/>
                <a:moveTo>
                  <a:pt x="6431" y="1839"/>
                </a:moveTo>
                <a:cubicBezTo>
                  <a:pt x="6431" y="1839"/>
                  <a:pt x="6476" y="1806"/>
                  <a:pt x="6478" y="1793"/>
                </a:cubicBezTo>
                <a:cubicBezTo>
                  <a:pt x="6483" y="1776"/>
                  <a:pt x="6438" y="1793"/>
                  <a:pt x="6438" y="1793"/>
                </a:cubicBezTo>
                <a:cubicBezTo>
                  <a:pt x="6399" y="1821"/>
                  <a:pt x="6399" y="1821"/>
                  <a:pt x="6399" y="1821"/>
                </a:cubicBezTo>
                <a:cubicBezTo>
                  <a:pt x="6389" y="1774"/>
                  <a:pt x="6389" y="1774"/>
                  <a:pt x="6389" y="1774"/>
                </a:cubicBezTo>
                <a:cubicBezTo>
                  <a:pt x="6361" y="1811"/>
                  <a:pt x="6361" y="1811"/>
                  <a:pt x="6361" y="1811"/>
                </a:cubicBezTo>
                <a:cubicBezTo>
                  <a:pt x="6389" y="1870"/>
                  <a:pt x="6431" y="1839"/>
                  <a:pt x="6431" y="1839"/>
                </a:cubicBezTo>
                <a:close/>
                <a:moveTo>
                  <a:pt x="6523" y="1802"/>
                </a:moveTo>
                <a:cubicBezTo>
                  <a:pt x="6501" y="1795"/>
                  <a:pt x="6492" y="1821"/>
                  <a:pt x="6476" y="1839"/>
                </a:cubicBezTo>
                <a:cubicBezTo>
                  <a:pt x="6476" y="1839"/>
                  <a:pt x="6495" y="1839"/>
                  <a:pt x="6504" y="1834"/>
                </a:cubicBezTo>
                <a:cubicBezTo>
                  <a:pt x="6513" y="1833"/>
                  <a:pt x="6544" y="1806"/>
                  <a:pt x="6523" y="1802"/>
                </a:cubicBezTo>
                <a:close/>
                <a:moveTo>
                  <a:pt x="6525" y="1900"/>
                </a:moveTo>
                <a:cubicBezTo>
                  <a:pt x="6544" y="1907"/>
                  <a:pt x="6534" y="1863"/>
                  <a:pt x="6534" y="1863"/>
                </a:cubicBezTo>
                <a:cubicBezTo>
                  <a:pt x="6492" y="1863"/>
                  <a:pt x="6506" y="1895"/>
                  <a:pt x="6525" y="1900"/>
                </a:cubicBezTo>
                <a:close/>
                <a:moveTo>
                  <a:pt x="7180" y="2184"/>
                </a:moveTo>
                <a:cubicBezTo>
                  <a:pt x="7216" y="2128"/>
                  <a:pt x="7216" y="2128"/>
                  <a:pt x="7216" y="2128"/>
                </a:cubicBezTo>
                <a:cubicBezTo>
                  <a:pt x="7286" y="2123"/>
                  <a:pt x="7286" y="2123"/>
                  <a:pt x="7286" y="2123"/>
                </a:cubicBezTo>
                <a:cubicBezTo>
                  <a:pt x="7286" y="2123"/>
                  <a:pt x="7269" y="2081"/>
                  <a:pt x="7253" y="2081"/>
                </a:cubicBezTo>
                <a:cubicBezTo>
                  <a:pt x="7239" y="2081"/>
                  <a:pt x="7216" y="2097"/>
                  <a:pt x="7216" y="2097"/>
                </a:cubicBezTo>
                <a:cubicBezTo>
                  <a:pt x="7216" y="2097"/>
                  <a:pt x="7180" y="2071"/>
                  <a:pt x="7146" y="2104"/>
                </a:cubicBezTo>
                <a:cubicBezTo>
                  <a:pt x="7111" y="2134"/>
                  <a:pt x="7106" y="2219"/>
                  <a:pt x="7106" y="2219"/>
                </a:cubicBezTo>
                <a:cubicBezTo>
                  <a:pt x="7124" y="2184"/>
                  <a:pt x="7124" y="2184"/>
                  <a:pt x="7124" y="2184"/>
                </a:cubicBezTo>
                <a:lnTo>
                  <a:pt x="7180" y="2184"/>
                </a:lnTo>
                <a:close/>
                <a:moveTo>
                  <a:pt x="7174" y="2291"/>
                </a:moveTo>
                <a:cubicBezTo>
                  <a:pt x="7174" y="2291"/>
                  <a:pt x="7176" y="2303"/>
                  <a:pt x="7202" y="2303"/>
                </a:cubicBezTo>
                <a:cubicBezTo>
                  <a:pt x="7225" y="2303"/>
                  <a:pt x="7239" y="2291"/>
                  <a:pt x="7239" y="2291"/>
                </a:cubicBezTo>
                <a:cubicBezTo>
                  <a:pt x="7213" y="2263"/>
                  <a:pt x="7213" y="2263"/>
                  <a:pt x="7213" y="2263"/>
                </a:cubicBezTo>
                <a:lnTo>
                  <a:pt x="7174" y="2291"/>
                </a:lnTo>
                <a:close/>
                <a:moveTo>
                  <a:pt x="8110" y="380"/>
                </a:moveTo>
                <a:cubicBezTo>
                  <a:pt x="8099" y="380"/>
                  <a:pt x="8092" y="406"/>
                  <a:pt x="8092" y="406"/>
                </a:cubicBezTo>
                <a:cubicBezTo>
                  <a:pt x="8092" y="406"/>
                  <a:pt x="8139" y="424"/>
                  <a:pt x="8143" y="415"/>
                </a:cubicBezTo>
                <a:cubicBezTo>
                  <a:pt x="8146" y="406"/>
                  <a:pt x="8157" y="387"/>
                  <a:pt x="8143" y="375"/>
                </a:cubicBezTo>
                <a:cubicBezTo>
                  <a:pt x="8127" y="361"/>
                  <a:pt x="8129" y="338"/>
                  <a:pt x="8129" y="322"/>
                </a:cubicBezTo>
                <a:cubicBezTo>
                  <a:pt x="8129" y="305"/>
                  <a:pt x="8134" y="303"/>
                  <a:pt x="8139" y="277"/>
                </a:cubicBezTo>
                <a:cubicBezTo>
                  <a:pt x="8146" y="254"/>
                  <a:pt x="8139" y="225"/>
                  <a:pt x="8125" y="244"/>
                </a:cubicBezTo>
                <a:cubicBezTo>
                  <a:pt x="8108" y="263"/>
                  <a:pt x="8125" y="300"/>
                  <a:pt x="8106" y="310"/>
                </a:cubicBezTo>
                <a:cubicBezTo>
                  <a:pt x="8087" y="319"/>
                  <a:pt x="8092" y="340"/>
                  <a:pt x="8101" y="347"/>
                </a:cubicBezTo>
                <a:cubicBezTo>
                  <a:pt x="8110" y="352"/>
                  <a:pt x="8125" y="380"/>
                  <a:pt x="8110" y="380"/>
                </a:cubicBezTo>
                <a:close/>
                <a:moveTo>
                  <a:pt x="8155" y="169"/>
                </a:moveTo>
                <a:cubicBezTo>
                  <a:pt x="8176" y="144"/>
                  <a:pt x="8216" y="101"/>
                  <a:pt x="8197" y="104"/>
                </a:cubicBezTo>
                <a:cubicBezTo>
                  <a:pt x="8179" y="106"/>
                  <a:pt x="8179" y="125"/>
                  <a:pt x="8153" y="136"/>
                </a:cubicBezTo>
                <a:cubicBezTo>
                  <a:pt x="8125" y="150"/>
                  <a:pt x="8115" y="200"/>
                  <a:pt x="8115" y="200"/>
                </a:cubicBezTo>
                <a:cubicBezTo>
                  <a:pt x="8115" y="200"/>
                  <a:pt x="8134" y="193"/>
                  <a:pt x="8155" y="169"/>
                </a:cubicBezTo>
                <a:close/>
                <a:moveTo>
                  <a:pt x="8804" y="371"/>
                </a:moveTo>
                <a:cubicBezTo>
                  <a:pt x="8818" y="371"/>
                  <a:pt x="8820" y="328"/>
                  <a:pt x="8820" y="310"/>
                </a:cubicBezTo>
                <a:cubicBezTo>
                  <a:pt x="8820" y="291"/>
                  <a:pt x="8843" y="263"/>
                  <a:pt x="8834" y="254"/>
                </a:cubicBezTo>
                <a:cubicBezTo>
                  <a:pt x="8825" y="244"/>
                  <a:pt x="8797" y="272"/>
                  <a:pt x="8794" y="284"/>
                </a:cubicBezTo>
                <a:cubicBezTo>
                  <a:pt x="8790" y="295"/>
                  <a:pt x="8787" y="371"/>
                  <a:pt x="8804" y="371"/>
                </a:cubicBezTo>
                <a:close/>
                <a:moveTo>
                  <a:pt x="8883" y="230"/>
                </a:moveTo>
                <a:cubicBezTo>
                  <a:pt x="8876" y="218"/>
                  <a:pt x="8874" y="274"/>
                  <a:pt x="8874" y="274"/>
                </a:cubicBezTo>
                <a:cubicBezTo>
                  <a:pt x="8874" y="274"/>
                  <a:pt x="8890" y="244"/>
                  <a:pt x="8883" y="230"/>
                </a:cubicBezTo>
                <a:close/>
                <a:moveTo>
                  <a:pt x="8431" y="661"/>
                </a:moveTo>
                <a:cubicBezTo>
                  <a:pt x="8455" y="673"/>
                  <a:pt x="8483" y="673"/>
                  <a:pt x="8483" y="673"/>
                </a:cubicBezTo>
                <a:cubicBezTo>
                  <a:pt x="8438" y="614"/>
                  <a:pt x="8438" y="614"/>
                  <a:pt x="8438" y="614"/>
                </a:cubicBezTo>
                <a:cubicBezTo>
                  <a:pt x="8438" y="614"/>
                  <a:pt x="8410" y="649"/>
                  <a:pt x="8431" y="661"/>
                </a:cubicBezTo>
                <a:close/>
                <a:moveTo>
                  <a:pt x="8459" y="816"/>
                </a:moveTo>
                <a:cubicBezTo>
                  <a:pt x="8459" y="816"/>
                  <a:pt x="8459" y="792"/>
                  <a:pt x="8457" y="760"/>
                </a:cubicBezTo>
                <a:cubicBezTo>
                  <a:pt x="8455" y="729"/>
                  <a:pt x="8394" y="764"/>
                  <a:pt x="8394" y="764"/>
                </a:cubicBezTo>
                <a:cubicBezTo>
                  <a:pt x="8426" y="778"/>
                  <a:pt x="8426" y="778"/>
                  <a:pt x="8426" y="778"/>
                </a:cubicBezTo>
                <a:lnTo>
                  <a:pt x="8459" y="816"/>
                </a:lnTo>
                <a:close/>
                <a:moveTo>
                  <a:pt x="8197" y="28"/>
                </a:moveTo>
                <a:cubicBezTo>
                  <a:pt x="8183" y="0"/>
                  <a:pt x="8146" y="12"/>
                  <a:pt x="8146" y="28"/>
                </a:cubicBezTo>
                <a:cubicBezTo>
                  <a:pt x="8146" y="28"/>
                  <a:pt x="8214" y="56"/>
                  <a:pt x="8197" y="28"/>
                </a:cubicBezTo>
                <a:close/>
                <a:moveTo>
                  <a:pt x="8518" y="244"/>
                </a:moveTo>
                <a:cubicBezTo>
                  <a:pt x="8527" y="244"/>
                  <a:pt x="8574" y="225"/>
                  <a:pt x="8574" y="225"/>
                </a:cubicBezTo>
                <a:cubicBezTo>
                  <a:pt x="8609" y="265"/>
                  <a:pt x="8609" y="265"/>
                  <a:pt x="8609" y="265"/>
                </a:cubicBezTo>
                <a:cubicBezTo>
                  <a:pt x="8609" y="265"/>
                  <a:pt x="8619" y="239"/>
                  <a:pt x="8644" y="211"/>
                </a:cubicBezTo>
                <a:cubicBezTo>
                  <a:pt x="8668" y="183"/>
                  <a:pt x="8703" y="132"/>
                  <a:pt x="8693" y="134"/>
                </a:cubicBezTo>
                <a:cubicBezTo>
                  <a:pt x="8684" y="136"/>
                  <a:pt x="8644" y="178"/>
                  <a:pt x="8644" y="178"/>
                </a:cubicBezTo>
                <a:cubicBezTo>
                  <a:pt x="8628" y="132"/>
                  <a:pt x="8628" y="132"/>
                  <a:pt x="8628" y="132"/>
                </a:cubicBezTo>
                <a:cubicBezTo>
                  <a:pt x="8628" y="132"/>
                  <a:pt x="8628" y="165"/>
                  <a:pt x="8619" y="172"/>
                </a:cubicBezTo>
                <a:cubicBezTo>
                  <a:pt x="8609" y="178"/>
                  <a:pt x="8579" y="197"/>
                  <a:pt x="8579" y="197"/>
                </a:cubicBezTo>
                <a:cubicBezTo>
                  <a:pt x="8469" y="197"/>
                  <a:pt x="8469" y="197"/>
                  <a:pt x="8469" y="197"/>
                </a:cubicBezTo>
                <a:cubicBezTo>
                  <a:pt x="8469" y="197"/>
                  <a:pt x="8509" y="244"/>
                  <a:pt x="8518" y="244"/>
                </a:cubicBezTo>
                <a:close/>
                <a:moveTo>
                  <a:pt x="8663" y="47"/>
                </a:moveTo>
                <a:cubicBezTo>
                  <a:pt x="8665" y="12"/>
                  <a:pt x="8635" y="73"/>
                  <a:pt x="8631" y="87"/>
                </a:cubicBezTo>
                <a:cubicBezTo>
                  <a:pt x="8631" y="87"/>
                  <a:pt x="8659" y="83"/>
                  <a:pt x="8663" y="47"/>
                </a:cubicBezTo>
                <a:close/>
                <a:moveTo>
                  <a:pt x="8741" y="117"/>
                </a:moveTo>
                <a:cubicBezTo>
                  <a:pt x="8757" y="116"/>
                  <a:pt x="8731" y="92"/>
                  <a:pt x="8731" y="92"/>
                </a:cubicBezTo>
                <a:cubicBezTo>
                  <a:pt x="8731" y="92"/>
                  <a:pt x="8724" y="122"/>
                  <a:pt x="8741" y="117"/>
                </a:cubicBezTo>
                <a:close/>
                <a:moveTo>
                  <a:pt x="8644" y="387"/>
                </a:moveTo>
                <a:cubicBezTo>
                  <a:pt x="8649" y="408"/>
                  <a:pt x="8663" y="366"/>
                  <a:pt x="8663" y="331"/>
                </a:cubicBezTo>
                <a:cubicBezTo>
                  <a:pt x="8663" y="295"/>
                  <a:pt x="8703" y="202"/>
                  <a:pt x="8724" y="190"/>
                </a:cubicBezTo>
                <a:cubicBezTo>
                  <a:pt x="8748" y="178"/>
                  <a:pt x="8759" y="153"/>
                  <a:pt x="8759" y="153"/>
                </a:cubicBezTo>
                <a:cubicBezTo>
                  <a:pt x="8724" y="141"/>
                  <a:pt x="8684" y="221"/>
                  <a:pt x="8663" y="246"/>
                </a:cubicBezTo>
                <a:cubicBezTo>
                  <a:pt x="8640" y="272"/>
                  <a:pt x="8637" y="366"/>
                  <a:pt x="8644" y="387"/>
                </a:cubicBezTo>
                <a:close/>
                <a:moveTo>
                  <a:pt x="8474" y="1099"/>
                </a:moveTo>
                <a:cubicBezTo>
                  <a:pt x="8506" y="1078"/>
                  <a:pt x="8506" y="1078"/>
                  <a:pt x="8506" y="1078"/>
                </a:cubicBezTo>
                <a:cubicBezTo>
                  <a:pt x="8506" y="1078"/>
                  <a:pt x="8537" y="1059"/>
                  <a:pt x="8506" y="1019"/>
                </a:cubicBezTo>
                <a:cubicBezTo>
                  <a:pt x="8476" y="980"/>
                  <a:pt x="8422" y="951"/>
                  <a:pt x="8420" y="966"/>
                </a:cubicBezTo>
                <a:cubicBezTo>
                  <a:pt x="8420" y="966"/>
                  <a:pt x="8478" y="1010"/>
                  <a:pt x="8478" y="1019"/>
                </a:cubicBezTo>
                <a:cubicBezTo>
                  <a:pt x="8478" y="1029"/>
                  <a:pt x="8487" y="1040"/>
                  <a:pt x="8483" y="1059"/>
                </a:cubicBezTo>
                <a:cubicBezTo>
                  <a:pt x="8476" y="1078"/>
                  <a:pt x="8474" y="1099"/>
                  <a:pt x="8474" y="1099"/>
                </a:cubicBezTo>
                <a:close/>
                <a:moveTo>
                  <a:pt x="8445" y="938"/>
                </a:moveTo>
                <a:cubicBezTo>
                  <a:pt x="8457" y="928"/>
                  <a:pt x="8389" y="895"/>
                  <a:pt x="8389" y="895"/>
                </a:cubicBezTo>
                <a:cubicBezTo>
                  <a:pt x="8389" y="895"/>
                  <a:pt x="8431" y="947"/>
                  <a:pt x="8445" y="938"/>
                </a:cubicBezTo>
                <a:close/>
                <a:moveTo>
                  <a:pt x="8673" y="738"/>
                </a:moveTo>
                <a:cubicBezTo>
                  <a:pt x="8656" y="715"/>
                  <a:pt x="8621" y="736"/>
                  <a:pt x="8621" y="736"/>
                </a:cubicBezTo>
                <a:cubicBezTo>
                  <a:pt x="8637" y="755"/>
                  <a:pt x="8637" y="755"/>
                  <a:pt x="8637" y="755"/>
                </a:cubicBezTo>
                <a:cubicBezTo>
                  <a:pt x="8644" y="788"/>
                  <a:pt x="8644" y="788"/>
                  <a:pt x="8644" y="788"/>
                </a:cubicBezTo>
                <a:cubicBezTo>
                  <a:pt x="8644" y="788"/>
                  <a:pt x="8687" y="764"/>
                  <a:pt x="8673" y="738"/>
                </a:cubicBezTo>
                <a:close/>
                <a:moveTo>
                  <a:pt x="8656" y="589"/>
                </a:moveTo>
                <a:cubicBezTo>
                  <a:pt x="8640" y="598"/>
                  <a:pt x="8607" y="692"/>
                  <a:pt x="8607" y="692"/>
                </a:cubicBezTo>
                <a:cubicBezTo>
                  <a:pt x="8684" y="652"/>
                  <a:pt x="8684" y="652"/>
                  <a:pt x="8684" y="652"/>
                </a:cubicBezTo>
                <a:cubicBezTo>
                  <a:pt x="8640" y="640"/>
                  <a:pt x="8640" y="640"/>
                  <a:pt x="8640" y="640"/>
                </a:cubicBezTo>
                <a:cubicBezTo>
                  <a:pt x="8640" y="640"/>
                  <a:pt x="8687" y="621"/>
                  <a:pt x="8684" y="595"/>
                </a:cubicBezTo>
                <a:cubicBezTo>
                  <a:pt x="8682" y="570"/>
                  <a:pt x="8663" y="509"/>
                  <a:pt x="8665" y="500"/>
                </a:cubicBezTo>
                <a:cubicBezTo>
                  <a:pt x="8668" y="490"/>
                  <a:pt x="8673" y="455"/>
                  <a:pt x="8663" y="445"/>
                </a:cubicBezTo>
                <a:cubicBezTo>
                  <a:pt x="8654" y="436"/>
                  <a:pt x="8637" y="445"/>
                  <a:pt x="8637" y="483"/>
                </a:cubicBezTo>
                <a:cubicBezTo>
                  <a:pt x="8637" y="521"/>
                  <a:pt x="8673" y="579"/>
                  <a:pt x="8656" y="589"/>
                </a:cubicBezTo>
                <a:close/>
                <a:moveTo>
                  <a:pt x="9394" y="1509"/>
                </a:moveTo>
                <a:cubicBezTo>
                  <a:pt x="9345" y="1446"/>
                  <a:pt x="9345" y="1446"/>
                  <a:pt x="9345" y="1446"/>
                </a:cubicBezTo>
                <a:cubicBezTo>
                  <a:pt x="9345" y="1481"/>
                  <a:pt x="9345" y="1481"/>
                  <a:pt x="9345" y="1481"/>
                </a:cubicBezTo>
                <a:cubicBezTo>
                  <a:pt x="9298" y="1486"/>
                  <a:pt x="9298" y="1486"/>
                  <a:pt x="9298" y="1486"/>
                </a:cubicBezTo>
                <a:cubicBezTo>
                  <a:pt x="9354" y="1533"/>
                  <a:pt x="9354" y="1533"/>
                  <a:pt x="9354" y="1533"/>
                </a:cubicBezTo>
                <a:lnTo>
                  <a:pt x="9394" y="1509"/>
                </a:lnTo>
                <a:close/>
                <a:moveTo>
                  <a:pt x="8584" y="738"/>
                </a:moveTo>
                <a:cubicBezTo>
                  <a:pt x="8553" y="797"/>
                  <a:pt x="8553" y="797"/>
                  <a:pt x="8553" y="797"/>
                </a:cubicBezTo>
                <a:cubicBezTo>
                  <a:pt x="8584" y="769"/>
                  <a:pt x="8584" y="769"/>
                  <a:pt x="8584" y="769"/>
                </a:cubicBezTo>
                <a:lnTo>
                  <a:pt x="8584" y="738"/>
                </a:lnTo>
                <a:close/>
                <a:moveTo>
                  <a:pt x="8602" y="1256"/>
                </a:moveTo>
                <a:cubicBezTo>
                  <a:pt x="8607" y="1174"/>
                  <a:pt x="8607" y="1174"/>
                  <a:pt x="8607" y="1174"/>
                </a:cubicBezTo>
                <a:cubicBezTo>
                  <a:pt x="8607" y="1174"/>
                  <a:pt x="8572" y="1123"/>
                  <a:pt x="8560" y="1094"/>
                </a:cubicBezTo>
                <a:cubicBezTo>
                  <a:pt x="8546" y="1066"/>
                  <a:pt x="8560" y="1017"/>
                  <a:pt x="8560" y="1008"/>
                </a:cubicBezTo>
                <a:cubicBezTo>
                  <a:pt x="8560" y="999"/>
                  <a:pt x="8544" y="963"/>
                  <a:pt x="8544" y="963"/>
                </a:cubicBezTo>
                <a:cubicBezTo>
                  <a:pt x="8591" y="905"/>
                  <a:pt x="8591" y="905"/>
                  <a:pt x="8591" y="905"/>
                </a:cubicBezTo>
                <a:cubicBezTo>
                  <a:pt x="8591" y="905"/>
                  <a:pt x="8588" y="890"/>
                  <a:pt x="8570" y="890"/>
                </a:cubicBezTo>
                <a:cubicBezTo>
                  <a:pt x="8551" y="890"/>
                  <a:pt x="8565" y="849"/>
                  <a:pt x="8565" y="849"/>
                </a:cubicBezTo>
                <a:cubicBezTo>
                  <a:pt x="8544" y="816"/>
                  <a:pt x="8553" y="905"/>
                  <a:pt x="8553" y="905"/>
                </a:cubicBezTo>
                <a:cubicBezTo>
                  <a:pt x="8513" y="956"/>
                  <a:pt x="8513" y="956"/>
                  <a:pt x="8513" y="956"/>
                </a:cubicBezTo>
                <a:cubicBezTo>
                  <a:pt x="8513" y="956"/>
                  <a:pt x="8527" y="980"/>
                  <a:pt x="8542" y="1008"/>
                </a:cubicBezTo>
                <a:cubicBezTo>
                  <a:pt x="8553" y="1036"/>
                  <a:pt x="8534" y="1071"/>
                  <a:pt x="8534" y="1094"/>
                </a:cubicBezTo>
                <a:cubicBezTo>
                  <a:pt x="8534" y="1116"/>
                  <a:pt x="8553" y="1127"/>
                  <a:pt x="8570" y="1183"/>
                </a:cubicBezTo>
                <a:cubicBezTo>
                  <a:pt x="8584" y="1240"/>
                  <a:pt x="8602" y="1256"/>
                  <a:pt x="8602" y="1256"/>
                </a:cubicBezTo>
                <a:close/>
                <a:moveTo>
                  <a:pt x="8532" y="1284"/>
                </a:moveTo>
                <a:cubicBezTo>
                  <a:pt x="8544" y="1240"/>
                  <a:pt x="8544" y="1240"/>
                  <a:pt x="8544" y="1240"/>
                </a:cubicBezTo>
                <a:cubicBezTo>
                  <a:pt x="8509" y="1193"/>
                  <a:pt x="8515" y="1305"/>
                  <a:pt x="8515" y="1305"/>
                </a:cubicBezTo>
                <a:lnTo>
                  <a:pt x="8532" y="1284"/>
                </a:lnTo>
                <a:close/>
                <a:moveTo>
                  <a:pt x="8593" y="1472"/>
                </a:moveTo>
                <a:cubicBezTo>
                  <a:pt x="8649" y="1448"/>
                  <a:pt x="8649" y="1448"/>
                  <a:pt x="8649" y="1448"/>
                </a:cubicBezTo>
                <a:cubicBezTo>
                  <a:pt x="8616" y="1429"/>
                  <a:pt x="8616" y="1429"/>
                  <a:pt x="8616" y="1429"/>
                </a:cubicBezTo>
                <a:lnTo>
                  <a:pt x="8593" y="1472"/>
                </a:lnTo>
                <a:close/>
                <a:moveTo>
                  <a:pt x="8663" y="1378"/>
                </a:moveTo>
                <a:cubicBezTo>
                  <a:pt x="8677" y="1361"/>
                  <a:pt x="8612" y="1258"/>
                  <a:pt x="8600" y="1291"/>
                </a:cubicBezTo>
                <a:cubicBezTo>
                  <a:pt x="8600" y="1291"/>
                  <a:pt x="8647" y="1392"/>
                  <a:pt x="8663" y="1378"/>
                </a:cubicBezTo>
                <a:close/>
                <a:moveTo>
                  <a:pt x="8665" y="1418"/>
                </a:moveTo>
                <a:cubicBezTo>
                  <a:pt x="8665" y="1418"/>
                  <a:pt x="8762" y="1465"/>
                  <a:pt x="8785" y="1448"/>
                </a:cubicBezTo>
                <a:cubicBezTo>
                  <a:pt x="8806" y="1434"/>
                  <a:pt x="8806" y="1420"/>
                  <a:pt x="8790" y="1420"/>
                </a:cubicBezTo>
                <a:cubicBezTo>
                  <a:pt x="8776" y="1420"/>
                  <a:pt x="8665" y="1397"/>
                  <a:pt x="8665" y="1418"/>
                </a:cubicBezTo>
                <a:close/>
                <a:moveTo>
                  <a:pt x="8818" y="1455"/>
                </a:moveTo>
                <a:cubicBezTo>
                  <a:pt x="8818" y="1455"/>
                  <a:pt x="8787" y="1483"/>
                  <a:pt x="8794" y="1493"/>
                </a:cubicBezTo>
                <a:cubicBezTo>
                  <a:pt x="8799" y="1502"/>
                  <a:pt x="8818" y="1533"/>
                  <a:pt x="8818" y="1533"/>
                </a:cubicBezTo>
                <a:cubicBezTo>
                  <a:pt x="8818" y="1533"/>
                  <a:pt x="8759" y="1530"/>
                  <a:pt x="8762" y="1539"/>
                </a:cubicBezTo>
                <a:cubicBezTo>
                  <a:pt x="8766" y="1549"/>
                  <a:pt x="8799" y="1556"/>
                  <a:pt x="8825" y="1551"/>
                </a:cubicBezTo>
                <a:cubicBezTo>
                  <a:pt x="8848" y="1549"/>
                  <a:pt x="8871" y="1537"/>
                  <a:pt x="8846" y="1509"/>
                </a:cubicBezTo>
                <a:cubicBezTo>
                  <a:pt x="8820" y="1481"/>
                  <a:pt x="8865" y="1446"/>
                  <a:pt x="8818" y="1455"/>
                </a:cubicBezTo>
                <a:close/>
                <a:moveTo>
                  <a:pt x="8876" y="1542"/>
                </a:moveTo>
                <a:cubicBezTo>
                  <a:pt x="8919" y="1594"/>
                  <a:pt x="8919" y="1594"/>
                  <a:pt x="8919" y="1594"/>
                </a:cubicBezTo>
                <a:cubicBezTo>
                  <a:pt x="8979" y="1612"/>
                  <a:pt x="8979" y="1612"/>
                  <a:pt x="8979" y="1612"/>
                </a:cubicBezTo>
                <a:cubicBezTo>
                  <a:pt x="8979" y="1612"/>
                  <a:pt x="9003" y="1645"/>
                  <a:pt x="9017" y="1643"/>
                </a:cubicBezTo>
                <a:cubicBezTo>
                  <a:pt x="9033" y="1640"/>
                  <a:pt x="8989" y="1575"/>
                  <a:pt x="8968" y="1570"/>
                </a:cubicBezTo>
                <a:cubicBezTo>
                  <a:pt x="8947" y="1567"/>
                  <a:pt x="8883" y="1528"/>
                  <a:pt x="8883" y="1528"/>
                </a:cubicBezTo>
                <a:lnTo>
                  <a:pt x="8876" y="1542"/>
                </a:lnTo>
                <a:close/>
                <a:moveTo>
                  <a:pt x="8984" y="1671"/>
                </a:moveTo>
                <a:cubicBezTo>
                  <a:pt x="8984" y="1671"/>
                  <a:pt x="8965" y="1683"/>
                  <a:pt x="8977" y="1692"/>
                </a:cubicBezTo>
                <a:cubicBezTo>
                  <a:pt x="8989" y="1701"/>
                  <a:pt x="9008" y="1722"/>
                  <a:pt x="9008" y="1722"/>
                </a:cubicBezTo>
                <a:lnTo>
                  <a:pt x="8984" y="1671"/>
                </a:lnTo>
                <a:close/>
                <a:moveTo>
                  <a:pt x="9631" y="2334"/>
                </a:moveTo>
                <a:cubicBezTo>
                  <a:pt x="9691" y="2306"/>
                  <a:pt x="9691" y="2306"/>
                  <a:pt x="9691" y="2306"/>
                </a:cubicBezTo>
                <a:cubicBezTo>
                  <a:pt x="9691" y="2306"/>
                  <a:pt x="9644" y="2256"/>
                  <a:pt x="9621" y="2266"/>
                </a:cubicBezTo>
                <a:cubicBezTo>
                  <a:pt x="9640" y="2303"/>
                  <a:pt x="9640" y="2303"/>
                  <a:pt x="9640" y="2303"/>
                </a:cubicBezTo>
                <a:lnTo>
                  <a:pt x="9631" y="2334"/>
                </a:lnTo>
                <a:close/>
                <a:moveTo>
                  <a:pt x="10675" y="2765"/>
                </a:moveTo>
                <a:cubicBezTo>
                  <a:pt x="10677" y="2741"/>
                  <a:pt x="10703" y="2720"/>
                  <a:pt x="10703" y="2720"/>
                </a:cubicBezTo>
                <a:cubicBezTo>
                  <a:pt x="10612" y="2765"/>
                  <a:pt x="10612" y="2765"/>
                  <a:pt x="10612" y="2765"/>
                </a:cubicBezTo>
                <a:cubicBezTo>
                  <a:pt x="10612" y="2765"/>
                  <a:pt x="10673" y="2786"/>
                  <a:pt x="10675" y="2765"/>
                </a:cubicBezTo>
                <a:close/>
                <a:moveTo>
                  <a:pt x="10808" y="2711"/>
                </a:moveTo>
                <a:cubicBezTo>
                  <a:pt x="10792" y="2694"/>
                  <a:pt x="10771" y="2732"/>
                  <a:pt x="10771" y="2732"/>
                </a:cubicBezTo>
                <a:cubicBezTo>
                  <a:pt x="10780" y="2732"/>
                  <a:pt x="10825" y="2727"/>
                  <a:pt x="10808" y="2711"/>
                </a:cubicBezTo>
                <a:close/>
                <a:moveTo>
                  <a:pt x="10825" y="2652"/>
                </a:moveTo>
                <a:cubicBezTo>
                  <a:pt x="10792" y="2645"/>
                  <a:pt x="10792" y="2640"/>
                  <a:pt x="10827" y="2683"/>
                </a:cubicBezTo>
                <a:cubicBezTo>
                  <a:pt x="10827" y="2683"/>
                  <a:pt x="10855" y="2659"/>
                  <a:pt x="10825" y="2652"/>
                </a:cubicBezTo>
                <a:close/>
                <a:moveTo>
                  <a:pt x="10792" y="3268"/>
                </a:moveTo>
                <a:cubicBezTo>
                  <a:pt x="10755" y="3287"/>
                  <a:pt x="10755" y="3287"/>
                  <a:pt x="10755" y="3287"/>
                </a:cubicBezTo>
                <a:cubicBezTo>
                  <a:pt x="10764" y="3324"/>
                  <a:pt x="10764" y="3324"/>
                  <a:pt x="10764" y="3324"/>
                </a:cubicBezTo>
                <a:cubicBezTo>
                  <a:pt x="10806" y="3283"/>
                  <a:pt x="10806" y="3283"/>
                  <a:pt x="10806" y="3283"/>
                </a:cubicBezTo>
                <a:cubicBezTo>
                  <a:pt x="10839" y="3254"/>
                  <a:pt x="10839" y="3254"/>
                  <a:pt x="10839" y="3254"/>
                </a:cubicBezTo>
                <a:cubicBezTo>
                  <a:pt x="10799" y="3250"/>
                  <a:pt x="10799" y="3250"/>
                  <a:pt x="10799" y="3250"/>
                </a:cubicBezTo>
                <a:lnTo>
                  <a:pt x="10792" y="3268"/>
                </a:lnTo>
                <a:close/>
                <a:moveTo>
                  <a:pt x="9040" y="1867"/>
                </a:moveTo>
                <a:cubicBezTo>
                  <a:pt x="9026" y="1900"/>
                  <a:pt x="9017" y="1926"/>
                  <a:pt x="9017" y="1926"/>
                </a:cubicBezTo>
                <a:cubicBezTo>
                  <a:pt x="9017" y="1926"/>
                  <a:pt x="9040" y="1907"/>
                  <a:pt x="9040" y="1943"/>
                </a:cubicBezTo>
                <a:cubicBezTo>
                  <a:pt x="9040" y="1975"/>
                  <a:pt x="9033" y="2039"/>
                  <a:pt x="9033" y="2039"/>
                </a:cubicBezTo>
                <a:cubicBezTo>
                  <a:pt x="9033" y="2039"/>
                  <a:pt x="9078" y="2043"/>
                  <a:pt x="9073" y="1992"/>
                </a:cubicBezTo>
                <a:cubicBezTo>
                  <a:pt x="9071" y="1938"/>
                  <a:pt x="9054" y="1905"/>
                  <a:pt x="9054" y="1905"/>
                </a:cubicBezTo>
                <a:cubicBezTo>
                  <a:pt x="9054" y="1905"/>
                  <a:pt x="9073" y="1811"/>
                  <a:pt x="9068" y="1776"/>
                </a:cubicBezTo>
                <a:cubicBezTo>
                  <a:pt x="9061" y="1741"/>
                  <a:pt x="9078" y="1673"/>
                  <a:pt x="9059" y="1673"/>
                </a:cubicBezTo>
                <a:cubicBezTo>
                  <a:pt x="9040" y="1673"/>
                  <a:pt x="9031" y="1683"/>
                  <a:pt x="9031" y="1683"/>
                </a:cubicBezTo>
                <a:cubicBezTo>
                  <a:pt x="9031" y="1683"/>
                  <a:pt x="9052" y="1833"/>
                  <a:pt x="9040" y="1867"/>
                </a:cubicBezTo>
                <a:close/>
                <a:moveTo>
                  <a:pt x="9005" y="2020"/>
                </a:moveTo>
                <a:cubicBezTo>
                  <a:pt x="9012" y="1992"/>
                  <a:pt x="8956" y="1989"/>
                  <a:pt x="8956" y="1989"/>
                </a:cubicBezTo>
                <a:cubicBezTo>
                  <a:pt x="8956" y="1989"/>
                  <a:pt x="8998" y="2048"/>
                  <a:pt x="9005" y="2020"/>
                </a:cubicBezTo>
                <a:close/>
                <a:moveTo>
                  <a:pt x="9068" y="2060"/>
                </a:moveTo>
                <a:cubicBezTo>
                  <a:pt x="9054" y="2052"/>
                  <a:pt x="9026" y="2069"/>
                  <a:pt x="9026" y="2069"/>
                </a:cubicBezTo>
                <a:cubicBezTo>
                  <a:pt x="9052" y="2085"/>
                  <a:pt x="9052" y="2085"/>
                  <a:pt x="9052" y="2085"/>
                </a:cubicBezTo>
                <a:cubicBezTo>
                  <a:pt x="9036" y="2109"/>
                  <a:pt x="9036" y="2109"/>
                  <a:pt x="9036" y="2109"/>
                </a:cubicBezTo>
                <a:cubicBezTo>
                  <a:pt x="9052" y="2132"/>
                  <a:pt x="9052" y="2132"/>
                  <a:pt x="9052" y="2132"/>
                </a:cubicBezTo>
                <a:cubicBezTo>
                  <a:pt x="9033" y="2144"/>
                  <a:pt x="9033" y="2144"/>
                  <a:pt x="9033" y="2144"/>
                </a:cubicBezTo>
                <a:cubicBezTo>
                  <a:pt x="9033" y="2144"/>
                  <a:pt x="9097" y="2156"/>
                  <a:pt x="9082" y="2125"/>
                </a:cubicBezTo>
                <a:cubicBezTo>
                  <a:pt x="9071" y="2095"/>
                  <a:pt x="9080" y="2067"/>
                  <a:pt x="9068" y="2060"/>
                </a:cubicBezTo>
                <a:close/>
                <a:moveTo>
                  <a:pt x="9809" y="2659"/>
                </a:moveTo>
                <a:cubicBezTo>
                  <a:pt x="9790" y="2634"/>
                  <a:pt x="9733" y="2713"/>
                  <a:pt x="9733" y="2713"/>
                </a:cubicBezTo>
                <a:cubicBezTo>
                  <a:pt x="9750" y="2718"/>
                  <a:pt x="9764" y="2723"/>
                  <a:pt x="9764" y="2723"/>
                </a:cubicBezTo>
                <a:cubicBezTo>
                  <a:pt x="9764" y="2723"/>
                  <a:pt x="9827" y="2683"/>
                  <a:pt x="9809" y="2659"/>
                </a:cubicBezTo>
                <a:close/>
                <a:moveTo>
                  <a:pt x="9195" y="2634"/>
                </a:moveTo>
                <a:cubicBezTo>
                  <a:pt x="9207" y="2605"/>
                  <a:pt x="9207" y="2605"/>
                  <a:pt x="9207" y="2605"/>
                </a:cubicBezTo>
                <a:cubicBezTo>
                  <a:pt x="9216" y="2566"/>
                  <a:pt x="9216" y="2566"/>
                  <a:pt x="9216" y="2566"/>
                </a:cubicBezTo>
                <a:cubicBezTo>
                  <a:pt x="9202" y="2559"/>
                  <a:pt x="9150" y="2608"/>
                  <a:pt x="9157" y="2634"/>
                </a:cubicBezTo>
                <a:cubicBezTo>
                  <a:pt x="9165" y="2659"/>
                  <a:pt x="9195" y="2634"/>
                  <a:pt x="9195" y="2634"/>
                </a:cubicBezTo>
                <a:close/>
                <a:moveTo>
                  <a:pt x="9263" y="2683"/>
                </a:moveTo>
                <a:cubicBezTo>
                  <a:pt x="9286" y="2659"/>
                  <a:pt x="9223" y="2666"/>
                  <a:pt x="9223" y="2666"/>
                </a:cubicBezTo>
                <a:cubicBezTo>
                  <a:pt x="9223" y="2666"/>
                  <a:pt x="9242" y="2708"/>
                  <a:pt x="9263" y="2683"/>
                </a:cubicBezTo>
                <a:close/>
                <a:moveTo>
                  <a:pt x="9621" y="3170"/>
                </a:moveTo>
                <a:cubicBezTo>
                  <a:pt x="9626" y="3144"/>
                  <a:pt x="9666" y="3114"/>
                  <a:pt x="9666" y="3114"/>
                </a:cubicBezTo>
                <a:cubicBezTo>
                  <a:pt x="9703" y="3090"/>
                  <a:pt x="9703" y="3090"/>
                  <a:pt x="9703" y="3090"/>
                </a:cubicBezTo>
                <a:cubicBezTo>
                  <a:pt x="9668" y="3076"/>
                  <a:pt x="9668" y="3076"/>
                  <a:pt x="9668" y="3076"/>
                </a:cubicBezTo>
                <a:cubicBezTo>
                  <a:pt x="9649" y="3057"/>
                  <a:pt x="9649" y="3057"/>
                  <a:pt x="9649" y="3057"/>
                </a:cubicBezTo>
                <a:cubicBezTo>
                  <a:pt x="9635" y="3100"/>
                  <a:pt x="9635" y="3100"/>
                  <a:pt x="9635" y="3100"/>
                </a:cubicBezTo>
                <a:cubicBezTo>
                  <a:pt x="9635" y="3100"/>
                  <a:pt x="9560" y="3146"/>
                  <a:pt x="9574" y="3182"/>
                </a:cubicBezTo>
                <a:cubicBezTo>
                  <a:pt x="9574" y="3182"/>
                  <a:pt x="9619" y="3194"/>
                  <a:pt x="9621" y="3170"/>
                </a:cubicBezTo>
                <a:close/>
                <a:moveTo>
                  <a:pt x="9741" y="3200"/>
                </a:moveTo>
                <a:cubicBezTo>
                  <a:pt x="9787" y="3194"/>
                  <a:pt x="9787" y="3194"/>
                  <a:pt x="9787" y="3194"/>
                </a:cubicBezTo>
                <a:cubicBezTo>
                  <a:pt x="9787" y="3194"/>
                  <a:pt x="9780" y="3219"/>
                  <a:pt x="9811" y="3219"/>
                </a:cubicBezTo>
                <a:cubicBezTo>
                  <a:pt x="9844" y="3219"/>
                  <a:pt x="9876" y="3219"/>
                  <a:pt x="9876" y="3219"/>
                </a:cubicBezTo>
                <a:cubicBezTo>
                  <a:pt x="9820" y="3194"/>
                  <a:pt x="9820" y="3194"/>
                  <a:pt x="9820" y="3194"/>
                </a:cubicBezTo>
                <a:cubicBezTo>
                  <a:pt x="9752" y="3163"/>
                  <a:pt x="9752" y="3163"/>
                  <a:pt x="9752" y="3163"/>
                </a:cubicBezTo>
                <a:cubicBezTo>
                  <a:pt x="9752" y="3163"/>
                  <a:pt x="9752" y="3137"/>
                  <a:pt x="9741" y="3125"/>
                </a:cubicBezTo>
                <a:cubicBezTo>
                  <a:pt x="9729" y="3114"/>
                  <a:pt x="9731" y="3172"/>
                  <a:pt x="9731" y="3172"/>
                </a:cubicBezTo>
                <a:lnTo>
                  <a:pt x="9741" y="3200"/>
                </a:lnTo>
                <a:close/>
                <a:moveTo>
                  <a:pt x="9853" y="3528"/>
                </a:moveTo>
                <a:cubicBezTo>
                  <a:pt x="9830" y="3486"/>
                  <a:pt x="9818" y="3409"/>
                  <a:pt x="9818" y="3409"/>
                </a:cubicBezTo>
                <a:cubicBezTo>
                  <a:pt x="9780" y="3428"/>
                  <a:pt x="9780" y="3428"/>
                  <a:pt x="9780" y="3428"/>
                </a:cubicBezTo>
                <a:cubicBezTo>
                  <a:pt x="9809" y="3493"/>
                  <a:pt x="9809" y="3493"/>
                  <a:pt x="9809" y="3493"/>
                </a:cubicBezTo>
                <a:cubicBezTo>
                  <a:pt x="9809" y="3538"/>
                  <a:pt x="9809" y="3538"/>
                  <a:pt x="9809" y="3538"/>
                </a:cubicBezTo>
                <a:cubicBezTo>
                  <a:pt x="9809" y="3538"/>
                  <a:pt x="9874" y="3568"/>
                  <a:pt x="9853" y="3528"/>
                </a:cubicBezTo>
                <a:close/>
                <a:moveTo>
                  <a:pt x="9858" y="3350"/>
                </a:moveTo>
                <a:cubicBezTo>
                  <a:pt x="9869" y="3357"/>
                  <a:pt x="9890" y="3308"/>
                  <a:pt x="9890" y="3308"/>
                </a:cubicBezTo>
                <a:cubicBezTo>
                  <a:pt x="9881" y="3275"/>
                  <a:pt x="9881" y="3275"/>
                  <a:pt x="9881" y="3275"/>
                </a:cubicBezTo>
                <a:cubicBezTo>
                  <a:pt x="9881" y="3275"/>
                  <a:pt x="9830" y="3327"/>
                  <a:pt x="9858" y="3350"/>
                </a:cubicBezTo>
                <a:close/>
                <a:moveTo>
                  <a:pt x="10033" y="3355"/>
                </a:moveTo>
                <a:cubicBezTo>
                  <a:pt x="10050" y="3334"/>
                  <a:pt x="10007" y="3275"/>
                  <a:pt x="10007" y="3275"/>
                </a:cubicBezTo>
                <a:cubicBezTo>
                  <a:pt x="10007" y="3275"/>
                  <a:pt x="10003" y="3306"/>
                  <a:pt x="9996" y="3315"/>
                </a:cubicBezTo>
                <a:cubicBezTo>
                  <a:pt x="9989" y="3324"/>
                  <a:pt x="9928" y="3294"/>
                  <a:pt x="9914" y="3327"/>
                </a:cubicBezTo>
                <a:cubicBezTo>
                  <a:pt x="9949" y="3350"/>
                  <a:pt x="9949" y="3350"/>
                  <a:pt x="9949" y="3350"/>
                </a:cubicBezTo>
                <a:cubicBezTo>
                  <a:pt x="9949" y="3350"/>
                  <a:pt x="10017" y="3378"/>
                  <a:pt x="10033" y="3355"/>
                </a:cubicBezTo>
                <a:close/>
                <a:moveTo>
                  <a:pt x="10136" y="3955"/>
                </a:moveTo>
                <a:cubicBezTo>
                  <a:pt x="10157" y="3948"/>
                  <a:pt x="10073" y="3908"/>
                  <a:pt x="10073" y="3908"/>
                </a:cubicBezTo>
                <a:cubicBezTo>
                  <a:pt x="10080" y="3957"/>
                  <a:pt x="10113" y="3960"/>
                  <a:pt x="10136" y="3955"/>
                </a:cubicBezTo>
                <a:close/>
                <a:moveTo>
                  <a:pt x="10534" y="3899"/>
                </a:moveTo>
                <a:cubicBezTo>
                  <a:pt x="10537" y="3849"/>
                  <a:pt x="10537" y="3849"/>
                  <a:pt x="10537" y="3849"/>
                </a:cubicBezTo>
                <a:cubicBezTo>
                  <a:pt x="10537" y="3849"/>
                  <a:pt x="10457" y="3826"/>
                  <a:pt x="10420" y="3920"/>
                </a:cubicBezTo>
                <a:cubicBezTo>
                  <a:pt x="10506" y="3870"/>
                  <a:pt x="10506" y="3870"/>
                  <a:pt x="10506" y="3870"/>
                </a:cubicBezTo>
                <a:lnTo>
                  <a:pt x="10534" y="3899"/>
                </a:lnTo>
                <a:close/>
                <a:moveTo>
                  <a:pt x="10626" y="3920"/>
                </a:moveTo>
                <a:cubicBezTo>
                  <a:pt x="10635" y="3899"/>
                  <a:pt x="10619" y="3868"/>
                  <a:pt x="10619" y="3868"/>
                </a:cubicBezTo>
                <a:cubicBezTo>
                  <a:pt x="10562" y="3915"/>
                  <a:pt x="10562" y="3915"/>
                  <a:pt x="10562" y="3915"/>
                </a:cubicBezTo>
                <a:cubicBezTo>
                  <a:pt x="10562" y="3915"/>
                  <a:pt x="10617" y="3943"/>
                  <a:pt x="10626" y="3920"/>
                </a:cubicBezTo>
                <a:close/>
                <a:moveTo>
                  <a:pt x="10788" y="4156"/>
                </a:moveTo>
                <a:cubicBezTo>
                  <a:pt x="10734" y="3995"/>
                  <a:pt x="10734" y="3995"/>
                  <a:pt x="10734" y="3995"/>
                </a:cubicBezTo>
                <a:cubicBezTo>
                  <a:pt x="10719" y="3992"/>
                  <a:pt x="10719" y="3992"/>
                  <a:pt x="10719" y="3992"/>
                </a:cubicBezTo>
                <a:cubicBezTo>
                  <a:pt x="10764" y="4161"/>
                  <a:pt x="10764" y="4161"/>
                  <a:pt x="10764" y="4161"/>
                </a:cubicBezTo>
                <a:lnTo>
                  <a:pt x="10788" y="4156"/>
                </a:lnTo>
                <a:close/>
                <a:moveTo>
                  <a:pt x="10731" y="3861"/>
                </a:moveTo>
                <a:cubicBezTo>
                  <a:pt x="10731" y="3861"/>
                  <a:pt x="10759" y="3873"/>
                  <a:pt x="10759" y="3891"/>
                </a:cubicBezTo>
                <a:cubicBezTo>
                  <a:pt x="10759" y="3910"/>
                  <a:pt x="10764" y="3938"/>
                  <a:pt x="10764" y="3938"/>
                </a:cubicBezTo>
                <a:cubicBezTo>
                  <a:pt x="10764" y="3938"/>
                  <a:pt x="10788" y="3915"/>
                  <a:pt x="10788" y="3901"/>
                </a:cubicBezTo>
                <a:cubicBezTo>
                  <a:pt x="10788" y="3889"/>
                  <a:pt x="10820" y="3870"/>
                  <a:pt x="10801" y="3835"/>
                </a:cubicBezTo>
                <a:cubicBezTo>
                  <a:pt x="10783" y="3802"/>
                  <a:pt x="10731" y="3861"/>
                  <a:pt x="10731" y="3861"/>
                </a:cubicBezTo>
                <a:close/>
                <a:moveTo>
                  <a:pt x="10979" y="4138"/>
                </a:moveTo>
                <a:cubicBezTo>
                  <a:pt x="10996" y="4154"/>
                  <a:pt x="10996" y="4154"/>
                  <a:pt x="10996" y="4154"/>
                </a:cubicBezTo>
                <a:cubicBezTo>
                  <a:pt x="11066" y="4079"/>
                  <a:pt x="11066" y="4079"/>
                  <a:pt x="11066" y="4079"/>
                </a:cubicBezTo>
                <a:cubicBezTo>
                  <a:pt x="11043" y="4072"/>
                  <a:pt x="11043" y="4072"/>
                  <a:pt x="11043" y="4072"/>
                </a:cubicBezTo>
                <a:lnTo>
                  <a:pt x="10979" y="4138"/>
                </a:lnTo>
                <a:close/>
                <a:moveTo>
                  <a:pt x="11439" y="4276"/>
                </a:moveTo>
                <a:cubicBezTo>
                  <a:pt x="11429" y="4276"/>
                  <a:pt x="11394" y="4294"/>
                  <a:pt x="11394" y="4294"/>
                </a:cubicBezTo>
                <a:cubicBezTo>
                  <a:pt x="11394" y="4294"/>
                  <a:pt x="11378" y="4308"/>
                  <a:pt x="11429" y="4308"/>
                </a:cubicBezTo>
                <a:cubicBezTo>
                  <a:pt x="11478" y="4308"/>
                  <a:pt x="11488" y="4268"/>
                  <a:pt x="11488" y="4268"/>
                </a:cubicBezTo>
                <a:cubicBezTo>
                  <a:pt x="11488" y="4268"/>
                  <a:pt x="11448" y="4276"/>
                  <a:pt x="11439" y="4276"/>
                </a:cubicBezTo>
                <a:close/>
                <a:moveTo>
                  <a:pt x="10762" y="4182"/>
                </a:moveTo>
                <a:cubicBezTo>
                  <a:pt x="10755" y="4170"/>
                  <a:pt x="10691" y="4166"/>
                  <a:pt x="10715" y="4231"/>
                </a:cubicBezTo>
                <a:cubicBezTo>
                  <a:pt x="10727" y="4264"/>
                  <a:pt x="10769" y="4194"/>
                  <a:pt x="10762" y="4182"/>
                </a:cubicBezTo>
                <a:close/>
                <a:moveTo>
                  <a:pt x="10272" y="3500"/>
                </a:moveTo>
                <a:cubicBezTo>
                  <a:pt x="10310" y="3531"/>
                  <a:pt x="10310" y="3531"/>
                  <a:pt x="10310" y="3531"/>
                </a:cubicBezTo>
                <a:cubicBezTo>
                  <a:pt x="10310" y="3531"/>
                  <a:pt x="10289" y="3430"/>
                  <a:pt x="10272" y="3500"/>
                </a:cubicBezTo>
                <a:close/>
                <a:moveTo>
                  <a:pt x="10780" y="4955"/>
                </a:moveTo>
                <a:cubicBezTo>
                  <a:pt x="10769" y="4932"/>
                  <a:pt x="10736" y="4960"/>
                  <a:pt x="10736" y="4969"/>
                </a:cubicBezTo>
                <a:cubicBezTo>
                  <a:pt x="10736" y="4978"/>
                  <a:pt x="10750" y="5016"/>
                  <a:pt x="10743" y="5051"/>
                </a:cubicBezTo>
                <a:cubicBezTo>
                  <a:pt x="10736" y="5086"/>
                  <a:pt x="10696" y="5053"/>
                  <a:pt x="10696" y="5079"/>
                </a:cubicBezTo>
                <a:cubicBezTo>
                  <a:pt x="10696" y="5105"/>
                  <a:pt x="10745" y="5107"/>
                  <a:pt x="10745" y="5107"/>
                </a:cubicBezTo>
                <a:cubicBezTo>
                  <a:pt x="10801" y="5034"/>
                  <a:pt x="10801" y="5034"/>
                  <a:pt x="10801" y="5034"/>
                </a:cubicBezTo>
                <a:cubicBezTo>
                  <a:pt x="10773" y="4988"/>
                  <a:pt x="10773" y="4988"/>
                  <a:pt x="10773" y="4988"/>
                </a:cubicBezTo>
                <a:lnTo>
                  <a:pt x="10780" y="4955"/>
                </a:lnTo>
                <a:close/>
                <a:moveTo>
                  <a:pt x="10668" y="5199"/>
                </a:moveTo>
                <a:cubicBezTo>
                  <a:pt x="10666" y="5220"/>
                  <a:pt x="10694" y="5222"/>
                  <a:pt x="10694" y="5222"/>
                </a:cubicBezTo>
                <a:cubicBezTo>
                  <a:pt x="10731" y="5145"/>
                  <a:pt x="10731" y="5145"/>
                  <a:pt x="10731" y="5145"/>
                </a:cubicBezTo>
                <a:cubicBezTo>
                  <a:pt x="10731" y="5145"/>
                  <a:pt x="10722" y="5126"/>
                  <a:pt x="10703" y="5107"/>
                </a:cubicBezTo>
                <a:cubicBezTo>
                  <a:pt x="10684" y="5089"/>
                  <a:pt x="10673" y="5175"/>
                  <a:pt x="10668" y="5199"/>
                </a:cubicBezTo>
                <a:close/>
                <a:moveTo>
                  <a:pt x="10675" y="5747"/>
                </a:moveTo>
                <a:cubicBezTo>
                  <a:pt x="10666" y="5766"/>
                  <a:pt x="10703" y="5796"/>
                  <a:pt x="10703" y="5796"/>
                </a:cubicBezTo>
                <a:cubicBezTo>
                  <a:pt x="10727" y="5761"/>
                  <a:pt x="10727" y="5761"/>
                  <a:pt x="10727" y="5761"/>
                </a:cubicBezTo>
                <a:cubicBezTo>
                  <a:pt x="10722" y="5730"/>
                  <a:pt x="10722" y="5730"/>
                  <a:pt x="10722" y="5730"/>
                </a:cubicBezTo>
                <a:cubicBezTo>
                  <a:pt x="10712" y="5653"/>
                  <a:pt x="10684" y="5728"/>
                  <a:pt x="10675" y="5747"/>
                </a:cubicBezTo>
                <a:close/>
                <a:moveTo>
                  <a:pt x="8483" y="8881"/>
                </a:moveTo>
                <a:cubicBezTo>
                  <a:pt x="8509" y="8881"/>
                  <a:pt x="8523" y="8867"/>
                  <a:pt x="8523" y="8867"/>
                </a:cubicBezTo>
                <a:cubicBezTo>
                  <a:pt x="8483" y="8846"/>
                  <a:pt x="8483" y="8846"/>
                  <a:pt x="8483" y="8846"/>
                </a:cubicBezTo>
                <a:cubicBezTo>
                  <a:pt x="8483" y="8846"/>
                  <a:pt x="8455" y="8881"/>
                  <a:pt x="8483" y="8881"/>
                </a:cubicBezTo>
                <a:close/>
                <a:moveTo>
                  <a:pt x="8483" y="8914"/>
                </a:moveTo>
                <a:cubicBezTo>
                  <a:pt x="8483" y="8914"/>
                  <a:pt x="8487" y="8956"/>
                  <a:pt x="8504" y="8958"/>
                </a:cubicBezTo>
                <a:cubicBezTo>
                  <a:pt x="8518" y="8961"/>
                  <a:pt x="8527" y="8923"/>
                  <a:pt x="8534" y="8905"/>
                </a:cubicBezTo>
                <a:cubicBezTo>
                  <a:pt x="8542" y="8886"/>
                  <a:pt x="8495" y="8886"/>
                  <a:pt x="8483" y="8914"/>
                </a:cubicBezTo>
                <a:close/>
                <a:moveTo>
                  <a:pt x="7951" y="9057"/>
                </a:moveTo>
                <a:cubicBezTo>
                  <a:pt x="7923" y="9017"/>
                  <a:pt x="7923" y="9017"/>
                  <a:pt x="7923" y="9017"/>
                </a:cubicBezTo>
                <a:cubicBezTo>
                  <a:pt x="7923" y="9017"/>
                  <a:pt x="7900" y="9050"/>
                  <a:pt x="7892" y="9064"/>
                </a:cubicBezTo>
                <a:cubicBezTo>
                  <a:pt x="7886" y="9080"/>
                  <a:pt x="7892" y="9101"/>
                  <a:pt x="7892" y="9111"/>
                </a:cubicBezTo>
                <a:cubicBezTo>
                  <a:pt x="7892" y="9120"/>
                  <a:pt x="7883" y="9148"/>
                  <a:pt x="7883" y="9148"/>
                </a:cubicBezTo>
                <a:cubicBezTo>
                  <a:pt x="7912" y="9212"/>
                  <a:pt x="7912" y="9212"/>
                  <a:pt x="7912" y="9212"/>
                </a:cubicBezTo>
                <a:cubicBezTo>
                  <a:pt x="7961" y="9155"/>
                  <a:pt x="7961" y="9155"/>
                  <a:pt x="7961" y="9155"/>
                </a:cubicBezTo>
                <a:cubicBezTo>
                  <a:pt x="7956" y="9132"/>
                  <a:pt x="7956" y="9132"/>
                  <a:pt x="7956" y="9132"/>
                </a:cubicBezTo>
                <a:lnTo>
                  <a:pt x="7951" y="9057"/>
                </a:lnTo>
                <a:close/>
                <a:moveTo>
                  <a:pt x="8932" y="9263"/>
                </a:moveTo>
                <a:cubicBezTo>
                  <a:pt x="8895" y="9233"/>
                  <a:pt x="8902" y="9268"/>
                  <a:pt x="8883" y="9230"/>
                </a:cubicBezTo>
                <a:cubicBezTo>
                  <a:pt x="8865" y="9193"/>
                  <a:pt x="8853" y="9174"/>
                  <a:pt x="8853" y="9174"/>
                </a:cubicBezTo>
                <a:cubicBezTo>
                  <a:pt x="8815" y="9216"/>
                  <a:pt x="8815" y="9216"/>
                  <a:pt x="8815" y="9216"/>
                </a:cubicBezTo>
                <a:cubicBezTo>
                  <a:pt x="8827" y="9242"/>
                  <a:pt x="8827" y="9242"/>
                  <a:pt x="8827" y="9242"/>
                </a:cubicBezTo>
                <a:cubicBezTo>
                  <a:pt x="8825" y="9282"/>
                  <a:pt x="8825" y="9282"/>
                  <a:pt x="8825" y="9282"/>
                </a:cubicBezTo>
                <a:cubicBezTo>
                  <a:pt x="8825" y="9282"/>
                  <a:pt x="8848" y="9329"/>
                  <a:pt x="8855" y="9338"/>
                </a:cubicBezTo>
                <a:cubicBezTo>
                  <a:pt x="8862" y="9347"/>
                  <a:pt x="8919" y="9333"/>
                  <a:pt x="8919" y="9333"/>
                </a:cubicBezTo>
                <a:cubicBezTo>
                  <a:pt x="8904" y="9305"/>
                  <a:pt x="8904" y="9305"/>
                  <a:pt x="8904" y="9305"/>
                </a:cubicBezTo>
                <a:cubicBezTo>
                  <a:pt x="8904" y="9305"/>
                  <a:pt x="8970" y="9296"/>
                  <a:pt x="8932" y="9263"/>
                </a:cubicBezTo>
                <a:close/>
                <a:moveTo>
                  <a:pt x="8893" y="9363"/>
                </a:moveTo>
                <a:cubicBezTo>
                  <a:pt x="8862" y="9363"/>
                  <a:pt x="8834" y="9378"/>
                  <a:pt x="8834" y="9378"/>
                </a:cubicBezTo>
                <a:cubicBezTo>
                  <a:pt x="8862" y="9396"/>
                  <a:pt x="8862" y="9396"/>
                  <a:pt x="8862" y="9396"/>
                </a:cubicBezTo>
                <a:cubicBezTo>
                  <a:pt x="8881" y="9441"/>
                  <a:pt x="8881" y="9441"/>
                  <a:pt x="8881" y="9441"/>
                </a:cubicBezTo>
                <a:cubicBezTo>
                  <a:pt x="8881" y="9441"/>
                  <a:pt x="8871" y="9406"/>
                  <a:pt x="8902" y="9411"/>
                </a:cubicBezTo>
                <a:cubicBezTo>
                  <a:pt x="8932" y="9413"/>
                  <a:pt x="8977" y="9439"/>
                  <a:pt x="8956" y="9403"/>
                </a:cubicBezTo>
                <a:cubicBezTo>
                  <a:pt x="8932" y="9371"/>
                  <a:pt x="8923" y="9363"/>
                  <a:pt x="8893" y="9363"/>
                </a:cubicBezTo>
                <a:close/>
                <a:moveTo>
                  <a:pt x="8097" y="9333"/>
                </a:moveTo>
                <a:cubicBezTo>
                  <a:pt x="8097" y="9333"/>
                  <a:pt x="8127" y="9314"/>
                  <a:pt x="8139" y="9314"/>
                </a:cubicBezTo>
                <a:cubicBezTo>
                  <a:pt x="8129" y="9291"/>
                  <a:pt x="8129" y="9291"/>
                  <a:pt x="8129" y="9291"/>
                </a:cubicBezTo>
                <a:cubicBezTo>
                  <a:pt x="8129" y="9291"/>
                  <a:pt x="8082" y="9301"/>
                  <a:pt x="8070" y="9307"/>
                </a:cubicBezTo>
                <a:cubicBezTo>
                  <a:pt x="8059" y="9314"/>
                  <a:pt x="8061" y="9345"/>
                  <a:pt x="8078" y="9371"/>
                </a:cubicBezTo>
                <a:cubicBezTo>
                  <a:pt x="8092" y="9394"/>
                  <a:pt x="8097" y="9333"/>
                  <a:pt x="8097" y="9333"/>
                </a:cubicBezTo>
                <a:close/>
                <a:moveTo>
                  <a:pt x="8780" y="9525"/>
                </a:moveTo>
                <a:cubicBezTo>
                  <a:pt x="8780" y="9525"/>
                  <a:pt x="8757" y="9507"/>
                  <a:pt x="8738" y="9504"/>
                </a:cubicBezTo>
                <a:cubicBezTo>
                  <a:pt x="8720" y="9500"/>
                  <a:pt x="8691" y="9553"/>
                  <a:pt x="8691" y="9553"/>
                </a:cubicBezTo>
                <a:cubicBezTo>
                  <a:pt x="8691" y="9553"/>
                  <a:pt x="8656" y="9532"/>
                  <a:pt x="8644" y="9532"/>
                </a:cubicBezTo>
                <a:cubicBezTo>
                  <a:pt x="8631" y="9532"/>
                  <a:pt x="8631" y="9556"/>
                  <a:pt x="8631" y="9556"/>
                </a:cubicBezTo>
                <a:cubicBezTo>
                  <a:pt x="8631" y="9556"/>
                  <a:pt x="8600" y="9542"/>
                  <a:pt x="8581" y="9544"/>
                </a:cubicBezTo>
                <a:cubicBezTo>
                  <a:pt x="8563" y="9546"/>
                  <a:pt x="8560" y="9581"/>
                  <a:pt x="8560" y="9581"/>
                </a:cubicBezTo>
                <a:cubicBezTo>
                  <a:pt x="8534" y="9556"/>
                  <a:pt x="8534" y="9556"/>
                  <a:pt x="8534" y="9556"/>
                </a:cubicBezTo>
                <a:cubicBezTo>
                  <a:pt x="8429" y="9584"/>
                  <a:pt x="8429" y="9584"/>
                  <a:pt x="8429" y="9584"/>
                </a:cubicBezTo>
                <a:cubicBezTo>
                  <a:pt x="8242" y="9472"/>
                  <a:pt x="8242" y="9472"/>
                  <a:pt x="8242" y="9472"/>
                </a:cubicBezTo>
                <a:cubicBezTo>
                  <a:pt x="8211" y="9422"/>
                  <a:pt x="8211" y="9422"/>
                  <a:pt x="8211" y="9422"/>
                </a:cubicBezTo>
                <a:cubicBezTo>
                  <a:pt x="8211" y="9422"/>
                  <a:pt x="8192" y="9439"/>
                  <a:pt x="8174" y="9439"/>
                </a:cubicBezTo>
                <a:cubicBezTo>
                  <a:pt x="8155" y="9439"/>
                  <a:pt x="8134" y="9396"/>
                  <a:pt x="8134" y="9385"/>
                </a:cubicBezTo>
                <a:cubicBezTo>
                  <a:pt x="8134" y="9373"/>
                  <a:pt x="8068" y="9385"/>
                  <a:pt x="8068" y="9385"/>
                </a:cubicBezTo>
                <a:cubicBezTo>
                  <a:pt x="8068" y="9385"/>
                  <a:pt x="8059" y="9443"/>
                  <a:pt x="8068" y="9462"/>
                </a:cubicBezTo>
                <a:cubicBezTo>
                  <a:pt x="8078" y="9481"/>
                  <a:pt x="8050" y="9481"/>
                  <a:pt x="8042" y="9509"/>
                </a:cubicBezTo>
                <a:cubicBezTo>
                  <a:pt x="8036" y="9537"/>
                  <a:pt x="8073" y="9584"/>
                  <a:pt x="8087" y="9654"/>
                </a:cubicBezTo>
                <a:cubicBezTo>
                  <a:pt x="8099" y="9722"/>
                  <a:pt x="8120" y="9750"/>
                  <a:pt x="8153" y="9788"/>
                </a:cubicBezTo>
                <a:cubicBezTo>
                  <a:pt x="8183" y="9825"/>
                  <a:pt x="8169" y="9828"/>
                  <a:pt x="8169" y="9828"/>
                </a:cubicBezTo>
                <a:cubicBezTo>
                  <a:pt x="8169" y="9828"/>
                  <a:pt x="8216" y="9905"/>
                  <a:pt x="8220" y="9919"/>
                </a:cubicBezTo>
                <a:cubicBezTo>
                  <a:pt x="8223" y="9930"/>
                  <a:pt x="8195" y="9945"/>
                  <a:pt x="8195" y="9945"/>
                </a:cubicBezTo>
                <a:cubicBezTo>
                  <a:pt x="8153" y="9865"/>
                  <a:pt x="8153" y="9865"/>
                  <a:pt x="8153" y="9865"/>
                </a:cubicBezTo>
                <a:cubicBezTo>
                  <a:pt x="8153" y="9865"/>
                  <a:pt x="8148" y="9945"/>
                  <a:pt x="8148" y="9980"/>
                </a:cubicBezTo>
                <a:cubicBezTo>
                  <a:pt x="8148" y="10015"/>
                  <a:pt x="8253" y="10195"/>
                  <a:pt x="8253" y="10195"/>
                </a:cubicBezTo>
                <a:cubicBezTo>
                  <a:pt x="8272" y="10169"/>
                  <a:pt x="8272" y="10169"/>
                  <a:pt x="8272" y="10169"/>
                </a:cubicBezTo>
                <a:cubicBezTo>
                  <a:pt x="8328" y="10223"/>
                  <a:pt x="8328" y="10223"/>
                  <a:pt x="8328" y="10223"/>
                </a:cubicBezTo>
                <a:cubicBezTo>
                  <a:pt x="8288" y="10233"/>
                  <a:pt x="8288" y="10233"/>
                  <a:pt x="8288" y="10233"/>
                </a:cubicBezTo>
                <a:cubicBezTo>
                  <a:pt x="8288" y="10277"/>
                  <a:pt x="8288" y="10277"/>
                  <a:pt x="8288" y="10277"/>
                </a:cubicBezTo>
                <a:cubicBezTo>
                  <a:pt x="8354" y="10289"/>
                  <a:pt x="8354" y="10289"/>
                  <a:pt x="8354" y="10289"/>
                </a:cubicBezTo>
                <a:cubicBezTo>
                  <a:pt x="8392" y="10298"/>
                  <a:pt x="8392" y="10298"/>
                  <a:pt x="8392" y="10298"/>
                </a:cubicBezTo>
                <a:cubicBezTo>
                  <a:pt x="8403" y="10273"/>
                  <a:pt x="8403" y="10273"/>
                  <a:pt x="8403" y="10273"/>
                </a:cubicBezTo>
                <a:cubicBezTo>
                  <a:pt x="8457" y="10334"/>
                  <a:pt x="8457" y="10334"/>
                  <a:pt x="8457" y="10334"/>
                </a:cubicBezTo>
                <a:cubicBezTo>
                  <a:pt x="8523" y="10245"/>
                  <a:pt x="8523" y="10245"/>
                  <a:pt x="8523" y="10245"/>
                </a:cubicBezTo>
                <a:cubicBezTo>
                  <a:pt x="8523" y="10188"/>
                  <a:pt x="8523" y="10188"/>
                  <a:pt x="8523" y="10188"/>
                </a:cubicBezTo>
                <a:cubicBezTo>
                  <a:pt x="8546" y="10223"/>
                  <a:pt x="8546" y="10223"/>
                  <a:pt x="8546" y="10223"/>
                </a:cubicBezTo>
                <a:cubicBezTo>
                  <a:pt x="8600" y="10174"/>
                  <a:pt x="8600" y="10174"/>
                  <a:pt x="8600" y="10174"/>
                </a:cubicBezTo>
                <a:cubicBezTo>
                  <a:pt x="8628" y="10092"/>
                  <a:pt x="8628" y="10092"/>
                  <a:pt x="8628" y="10092"/>
                </a:cubicBezTo>
                <a:cubicBezTo>
                  <a:pt x="8673" y="10139"/>
                  <a:pt x="8673" y="10139"/>
                  <a:pt x="8673" y="10139"/>
                </a:cubicBezTo>
                <a:cubicBezTo>
                  <a:pt x="8673" y="10139"/>
                  <a:pt x="8722" y="10132"/>
                  <a:pt x="8722" y="10111"/>
                </a:cubicBezTo>
                <a:cubicBezTo>
                  <a:pt x="8722" y="10090"/>
                  <a:pt x="8759" y="10076"/>
                  <a:pt x="8778" y="10067"/>
                </a:cubicBezTo>
                <a:cubicBezTo>
                  <a:pt x="8797" y="10057"/>
                  <a:pt x="8766" y="10055"/>
                  <a:pt x="8757" y="10055"/>
                </a:cubicBezTo>
                <a:cubicBezTo>
                  <a:pt x="8748" y="10055"/>
                  <a:pt x="8743" y="9959"/>
                  <a:pt x="8762" y="9945"/>
                </a:cubicBezTo>
                <a:cubicBezTo>
                  <a:pt x="8780" y="9930"/>
                  <a:pt x="8787" y="9886"/>
                  <a:pt x="8830" y="9905"/>
                </a:cubicBezTo>
                <a:cubicBezTo>
                  <a:pt x="8867" y="9921"/>
                  <a:pt x="8843" y="9956"/>
                  <a:pt x="8834" y="9968"/>
                </a:cubicBezTo>
                <a:cubicBezTo>
                  <a:pt x="8839" y="9961"/>
                  <a:pt x="8855" y="9942"/>
                  <a:pt x="8867" y="9933"/>
                </a:cubicBezTo>
                <a:cubicBezTo>
                  <a:pt x="8883" y="9923"/>
                  <a:pt x="8865" y="9811"/>
                  <a:pt x="8865" y="9802"/>
                </a:cubicBezTo>
                <a:cubicBezTo>
                  <a:pt x="8865" y="9792"/>
                  <a:pt x="8867" y="9678"/>
                  <a:pt x="8858" y="9645"/>
                </a:cubicBezTo>
                <a:cubicBezTo>
                  <a:pt x="8848" y="9610"/>
                  <a:pt x="8919" y="9553"/>
                  <a:pt x="8919" y="9553"/>
                </a:cubicBezTo>
                <a:cubicBezTo>
                  <a:pt x="8848" y="9478"/>
                  <a:pt x="8848" y="9478"/>
                  <a:pt x="8848" y="9478"/>
                </a:cubicBezTo>
                <a:lnTo>
                  <a:pt x="8780" y="9525"/>
                </a:lnTo>
                <a:close/>
                <a:moveTo>
                  <a:pt x="8574" y="10233"/>
                </a:moveTo>
                <a:cubicBezTo>
                  <a:pt x="8574" y="10233"/>
                  <a:pt x="8518" y="10282"/>
                  <a:pt x="8537" y="10291"/>
                </a:cubicBezTo>
                <a:cubicBezTo>
                  <a:pt x="8555" y="10301"/>
                  <a:pt x="8588" y="10301"/>
                  <a:pt x="8588" y="10301"/>
                </a:cubicBezTo>
                <a:cubicBezTo>
                  <a:pt x="8588" y="10301"/>
                  <a:pt x="8574" y="10235"/>
                  <a:pt x="8602" y="10223"/>
                </a:cubicBezTo>
                <a:cubicBezTo>
                  <a:pt x="8631" y="10212"/>
                  <a:pt x="8626" y="10174"/>
                  <a:pt x="8626" y="10174"/>
                </a:cubicBezTo>
                <a:lnTo>
                  <a:pt x="8574" y="10233"/>
                </a:lnTo>
                <a:close/>
                <a:moveTo>
                  <a:pt x="8733" y="10184"/>
                </a:moveTo>
                <a:cubicBezTo>
                  <a:pt x="8691" y="10169"/>
                  <a:pt x="8675" y="10193"/>
                  <a:pt x="8675" y="10193"/>
                </a:cubicBezTo>
                <a:cubicBezTo>
                  <a:pt x="8691" y="10233"/>
                  <a:pt x="8696" y="10235"/>
                  <a:pt x="8724" y="10235"/>
                </a:cubicBezTo>
                <a:cubicBezTo>
                  <a:pt x="8752" y="10235"/>
                  <a:pt x="8778" y="10195"/>
                  <a:pt x="8733" y="10184"/>
                </a:cubicBezTo>
                <a:close/>
                <a:moveTo>
                  <a:pt x="8748" y="10151"/>
                </a:moveTo>
                <a:cubicBezTo>
                  <a:pt x="8757" y="10137"/>
                  <a:pt x="8722" y="10130"/>
                  <a:pt x="8722" y="10130"/>
                </a:cubicBezTo>
                <a:cubicBezTo>
                  <a:pt x="8687" y="10148"/>
                  <a:pt x="8687" y="10148"/>
                  <a:pt x="8687" y="10148"/>
                </a:cubicBezTo>
                <a:cubicBezTo>
                  <a:pt x="8687" y="10148"/>
                  <a:pt x="8731" y="10177"/>
                  <a:pt x="8748" y="10151"/>
                </a:cubicBezTo>
                <a:close/>
                <a:moveTo>
                  <a:pt x="5878" y="7436"/>
                </a:moveTo>
                <a:cubicBezTo>
                  <a:pt x="5902" y="7431"/>
                  <a:pt x="5902" y="7431"/>
                  <a:pt x="5902" y="7431"/>
                </a:cubicBezTo>
                <a:cubicBezTo>
                  <a:pt x="5928" y="7457"/>
                  <a:pt x="5928" y="7457"/>
                  <a:pt x="5928" y="7457"/>
                </a:cubicBezTo>
                <a:cubicBezTo>
                  <a:pt x="5946" y="7436"/>
                  <a:pt x="5946" y="7436"/>
                  <a:pt x="5946" y="7436"/>
                </a:cubicBezTo>
                <a:cubicBezTo>
                  <a:pt x="5897" y="7398"/>
                  <a:pt x="5897" y="7398"/>
                  <a:pt x="5897" y="7398"/>
                </a:cubicBezTo>
                <a:lnTo>
                  <a:pt x="5878" y="7436"/>
                </a:lnTo>
                <a:close/>
                <a:moveTo>
                  <a:pt x="6569" y="7792"/>
                </a:moveTo>
                <a:cubicBezTo>
                  <a:pt x="6544" y="7818"/>
                  <a:pt x="6544" y="7818"/>
                  <a:pt x="6544" y="7818"/>
                </a:cubicBezTo>
                <a:cubicBezTo>
                  <a:pt x="6579" y="7843"/>
                  <a:pt x="6579" y="7843"/>
                  <a:pt x="6579" y="7843"/>
                </a:cubicBezTo>
                <a:cubicBezTo>
                  <a:pt x="6609" y="7834"/>
                  <a:pt x="6609" y="7834"/>
                  <a:pt x="6609" y="7834"/>
                </a:cubicBezTo>
                <a:cubicBezTo>
                  <a:pt x="6609" y="7834"/>
                  <a:pt x="6600" y="7792"/>
                  <a:pt x="6569" y="7792"/>
                </a:cubicBezTo>
                <a:close/>
                <a:moveTo>
                  <a:pt x="6495" y="7792"/>
                </a:moveTo>
                <a:cubicBezTo>
                  <a:pt x="6485" y="7759"/>
                  <a:pt x="6485" y="7759"/>
                  <a:pt x="6485" y="7759"/>
                </a:cubicBezTo>
                <a:cubicBezTo>
                  <a:pt x="6410" y="7710"/>
                  <a:pt x="6408" y="7750"/>
                  <a:pt x="6354" y="7768"/>
                </a:cubicBezTo>
                <a:cubicBezTo>
                  <a:pt x="6300" y="7787"/>
                  <a:pt x="6223" y="7799"/>
                  <a:pt x="6223" y="7799"/>
                </a:cubicBezTo>
                <a:cubicBezTo>
                  <a:pt x="6221" y="7848"/>
                  <a:pt x="6221" y="7848"/>
                  <a:pt x="6221" y="7848"/>
                </a:cubicBezTo>
                <a:cubicBezTo>
                  <a:pt x="6253" y="7864"/>
                  <a:pt x="6253" y="7864"/>
                  <a:pt x="6253" y="7864"/>
                </a:cubicBezTo>
                <a:cubicBezTo>
                  <a:pt x="6253" y="7864"/>
                  <a:pt x="6307" y="7890"/>
                  <a:pt x="6338" y="7890"/>
                </a:cubicBezTo>
                <a:cubicBezTo>
                  <a:pt x="6370" y="7890"/>
                  <a:pt x="6375" y="7864"/>
                  <a:pt x="6394" y="7862"/>
                </a:cubicBezTo>
                <a:cubicBezTo>
                  <a:pt x="6412" y="7857"/>
                  <a:pt x="6429" y="7895"/>
                  <a:pt x="6457" y="7900"/>
                </a:cubicBezTo>
                <a:cubicBezTo>
                  <a:pt x="6485" y="7902"/>
                  <a:pt x="6485" y="7848"/>
                  <a:pt x="6485" y="7848"/>
                </a:cubicBezTo>
                <a:cubicBezTo>
                  <a:pt x="6529" y="7843"/>
                  <a:pt x="6529" y="7843"/>
                  <a:pt x="6529" y="7843"/>
                </a:cubicBezTo>
                <a:cubicBezTo>
                  <a:pt x="6529" y="7843"/>
                  <a:pt x="6523" y="7815"/>
                  <a:pt x="6523" y="7806"/>
                </a:cubicBezTo>
                <a:cubicBezTo>
                  <a:pt x="6523" y="7796"/>
                  <a:pt x="6495" y="7792"/>
                  <a:pt x="6495" y="7792"/>
                </a:cubicBezTo>
                <a:close/>
                <a:moveTo>
                  <a:pt x="10684" y="5829"/>
                </a:moveTo>
                <a:cubicBezTo>
                  <a:pt x="10691" y="5812"/>
                  <a:pt x="10614" y="5684"/>
                  <a:pt x="10614" y="5684"/>
                </a:cubicBezTo>
                <a:cubicBezTo>
                  <a:pt x="10659" y="5641"/>
                  <a:pt x="10659" y="5641"/>
                  <a:pt x="10659" y="5641"/>
                </a:cubicBezTo>
                <a:cubicBezTo>
                  <a:pt x="10659" y="5641"/>
                  <a:pt x="10638" y="5590"/>
                  <a:pt x="10654" y="5562"/>
                </a:cubicBezTo>
                <a:cubicBezTo>
                  <a:pt x="10670" y="5534"/>
                  <a:pt x="10670" y="5534"/>
                  <a:pt x="10670" y="5534"/>
                </a:cubicBezTo>
                <a:cubicBezTo>
                  <a:pt x="10670" y="5534"/>
                  <a:pt x="10633" y="5499"/>
                  <a:pt x="10645" y="5479"/>
                </a:cubicBezTo>
                <a:cubicBezTo>
                  <a:pt x="10659" y="5461"/>
                  <a:pt x="10659" y="5389"/>
                  <a:pt x="10659" y="5384"/>
                </a:cubicBezTo>
                <a:cubicBezTo>
                  <a:pt x="10659" y="5379"/>
                  <a:pt x="10708" y="5311"/>
                  <a:pt x="10708" y="5311"/>
                </a:cubicBezTo>
                <a:cubicBezTo>
                  <a:pt x="10708" y="5311"/>
                  <a:pt x="10680" y="5271"/>
                  <a:pt x="10670" y="5255"/>
                </a:cubicBezTo>
                <a:cubicBezTo>
                  <a:pt x="10661" y="5241"/>
                  <a:pt x="10602" y="5239"/>
                  <a:pt x="10638" y="5201"/>
                </a:cubicBezTo>
                <a:cubicBezTo>
                  <a:pt x="10673" y="5163"/>
                  <a:pt x="10684" y="5138"/>
                  <a:pt x="10666" y="5112"/>
                </a:cubicBezTo>
                <a:cubicBezTo>
                  <a:pt x="10647" y="5084"/>
                  <a:pt x="10614" y="5082"/>
                  <a:pt x="10591" y="5049"/>
                </a:cubicBezTo>
                <a:cubicBezTo>
                  <a:pt x="10567" y="5013"/>
                  <a:pt x="10565" y="4934"/>
                  <a:pt x="10565" y="4934"/>
                </a:cubicBezTo>
                <a:cubicBezTo>
                  <a:pt x="10565" y="4934"/>
                  <a:pt x="10488" y="4913"/>
                  <a:pt x="10473" y="4852"/>
                </a:cubicBezTo>
                <a:cubicBezTo>
                  <a:pt x="10460" y="4794"/>
                  <a:pt x="10457" y="4754"/>
                  <a:pt x="10452" y="4746"/>
                </a:cubicBezTo>
                <a:cubicBezTo>
                  <a:pt x="10448" y="4742"/>
                  <a:pt x="10387" y="4665"/>
                  <a:pt x="10387" y="4665"/>
                </a:cubicBezTo>
                <a:cubicBezTo>
                  <a:pt x="10326" y="4688"/>
                  <a:pt x="10326" y="4688"/>
                  <a:pt x="10326" y="4688"/>
                </a:cubicBezTo>
                <a:cubicBezTo>
                  <a:pt x="10295" y="4625"/>
                  <a:pt x="10295" y="4625"/>
                  <a:pt x="10295" y="4625"/>
                </a:cubicBezTo>
                <a:cubicBezTo>
                  <a:pt x="10295" y="4625"/>
                  <a:pt x="10319" y="4604"/>
                  <a:pt x="10317" y="4596"/>
                </a:cubicBezTo>
                <a:cubicBezTo>
                  <a:pt x="10314" y="4587"/>
                  <a:pt x="10282" y="4512"/>
                  <a:pt x="10282" y="4512"/>
                </a:cubicBezTo>
                <a:cubicBezTo>
                  <a:pt x="10282" y="4512"/>
                  <a:pt x="10295" y="4604"/>
                  <a:pt x="10277" y="4585"/>
                </a:cubicBezTo>
                <a:cubicBezTo>
                  <a:pt x="10258" y="4568"/>
                  <a:pt x="10237" y="4517"/>
                  <a:pt x="10237" y="4517"/>
                </a:cubicBezTo>
                <a:cubicBezTo>
                  <a:pt x="10237" y="4517"/>
                  <a:pt x="10197" y="4512"/>
                  <a:pt x="10193" y="4505"/>
                </a:cubicBezTo>
                <a:cubicBezTo>
                  <a:pt x="10185" y="4501"/>
                  <a:pt x="10188" y="4456"/>
                  <a:pt x="10193" y="4433"/>
                </a:cubicBezTo>
                <a:cubicBezTo>
                  <a:pt x="10197" y="4409"/>
                  <a:pt x="10221" y="4402"/>
                  <a:pt x="10216" y="4369"/>
                </a:cubicBezTo>
                <a:cubicBezTo>
                  <a:pt x="10211" y="4334"/>
                  <a:pt x="10202" y="4313"/>
                  <a:pt x="10204" y="4299"/>
                </a:cubicBezTo>
                <a:cubicBezTo>
                  <a:pt x="10209" y="4287"/>
                  <a:pt x="10239" y="4264"/>
                  <a:pt x="10228" y="4248"/>
                </a:cubicBezTo>
                <a:cubicBezTo>
                  <a:pt x="10214" y="4231"/>
                  <a:pt x="10235" y="4196"/>
                  <a:pt x="10211" y="4173"/>
                </a:cubicBezTo>
                <a:cubicBezTo>
                  <a:pt x="10188" y="4147"/>
                  <a:pt x="10136" y="4093"/>
                  <a:pt x="10134" y="4093"/>
                </a:cubicBezTo>
                <a:cubicBezTo>
                  <a:pt x="10129" y="4093"/>
                  <a:pt x="10139" y="4121"/>
                  <a:pt x="10139" y="4121"/>
                </a:cubicBezTo>
                <a:cubicBezTo>
                  <a:pt x="10139" y="4121"/>
                  <a:pt x="10195" y="4177"/>
                  <a:pt x="10195" y="4191"/>
                </a:cubicBezTo>
                <a:cubicBezTo>
                  <a:pt x="10193" y="4208"/>
                  <a:pt x="10183" y="4224"/>
                  <a:pt x="10167" y="4217"/>
                </a:cubicBezTo>
                <a:cubicBezTo>
                  <a:pt x="10150" y="4208"/>
                  <a:pt x="10068" y="4154"/>
                  <a:pt x="10061" y="4140"/>
                </a:cubicBezTo>
                <a:cubicBezTo>
                  <a:pt x="10054" y="4128"/>
                  <a:pt x="10022" y="4049"/>
                  <a:pt x="10003" y="4046"/>
                </a:cubicBezTo>
                <a:cubicBezTo>
                  <a:pt x="9987" y="4041"/>
                  <a:pt x="9979" y="4079"/>
                  <a:pt x="9979" y="4079"/>
                </a:cubicBezTo>
                <a:cubicBezTo>
                  <a:pt x="9979" y="4079"/>
                  <a:pt x="10022" y="4198"/>
                  <a:pt x="10007" y="4194"/>
                </a:cubicBezTo>
                <a:cubicBezTo>
                  <a:pt x="9991" y="4189"/>
                  <a:pt x="9951" y="4130"/>
                  <a:pt x="9951" y="4130"/>
                </a:cubicBezTo>
                <a:cubicBezTo>
                  <a:pt x="9951" y="4130"/>
                  <a:pt x="9918" y="4203"/>
                  <a:pt x="9909" y="4189"/>
                </a:cubicBezTo>
                <a:cubicBezTo>
                  <a:pt x="9898" y="4173"/>
                  <a:pt x="9876" y="4170"/>
                  <a:pt x="9883" y="4142"/>
                </a:cubicBezTo>
                <a:cubicBezTo>
                  <a:pt x="9890" y="4114"/>
                  <a:pt x="9902" y="4084"/>
                  <a:pt x="9898" y="4072"/>
                </a:cubicBezTo>
                <a:cubicBezTo>
                  <a:pt x="9893" y="4058"/>
                  <a:pt x="9909" y="4023"/>
                  <a:pt x="9900" y="4009"/>
                </a:cubicBezTo>
                <a:cubicBezTo>
                  <a:pt x="9888" y="3995"/>
                  <a:pt x="9874" y="3999"/>
                  <a:pt x="9876" y="3967"/>
                </a:cubicBezTo>
                <a:cubicBezTo>
                  <a:pt x="9876" y="3931"/>
                  <a:pt x="9898" y="3891"/>
                  <a:pt x="9890" y="3875"/>
                </a:cubicBezTo>
                <a:cubicBezTo>
                  <a:pt x="9886" y="3856"/>
                  <a:pt x="9848" y="3833"/>
                  <a:pt x="9844" y="3802"/>
                </a:cubicBezTo>
                <a:cubicBezTo>
                  <a:pt x="9839" y="3772"/>
                  <a:pt x="9827" y="3697"/>
                  <a:pt x="9816" y="3683"/>
                </a:cubicBezTo>
                <a:cubicBezTo>
                  <a:pt x="9804" y="3669"/>
                  <a:pt x="9729" y="3580"/>
                  <a:pt x="9722" y="3563"/>
                </a:cubicBezTo>
                <a:cubicBezTo>
                  <a:pt x="9717" y="3545"/>
                  <a:pt x="9717" y="3510"/>
                  <a:pt x="9745" y="3512"/>
                </a:cubicBezTo>
                <a:cubicBezTo>
                  <a:pt x="9773" y="3514"/>
                  <a:pt x="9785" y="3538"/>
                  <a:pt x="9785" y="3538"/>
                </a:cubicBezTo>
                <a:cubicBezTo>
                  <a:pt x="9785" y="3538"/>
                  <a:pt x="9769" y="3474"/>
                  <a:pt x="9750" y="3453"/>
                </a:cubicBezTo>
                <a:cubicBezTo>
                  <a:pt x="9731" y="3433"/>
                  <a:pt x="9682" y="3378"/>
                  <a:pt x="9682" y="3378"/>
                </a:cubicBezTo>
                <a:cubicBezTo>
                  <a:pt x="9682" y="3378"/>
                  <a:pt x="9684" y="3437"/>
                  <a:pt x="9659" y="3433"/>
                </a:cubicBezTo>
                <a:cubicBezTo>
                  <a:pt x="9635" y="3428"/>
                  <a:pt x="9635" y="3378"/>
                  <a:pt x="9621" y="3364"/>
                </a:cubicBezTo>
                <a:cubicBezTo>
                  <a:pt x="9605" y="3350"/>
                  <a:pt x="9555" y="3315"/>
                  <a:pt x="9555" y="3315"/>
                </a:cubicBezTo>
                <a:cubicBezTo>
                  <a:pt x="9555" y="3315"/>
                  <a:pt x="9509" y="3339"/>
                  <a:pt x="9509" y="3332"/>
                </a:cubicBezTo>
                <a:cubicBezTo>
                  <a:pt x="9509" y="3322"/>
                  <a:pt x="9513" y="3264"/>
                  <a:pt x="9509" y="3264"/>
                </a:cubicBezTo>
                <a:cubicBezTo>
                  <a:pt x="9502" y="3261"/>
                  <a:pt x="9453" y="3299"/>
                  <a:pt x="9453" y="3299"/>
                </a:cubicBezTo>
                <a:cubicBezTo>
                  <a:pt x="9453" y="3299"/>
                  <a:pt x="9445" y="3207"/>
                  <a:pt x="9436" y="3194"/>
                </a:cubicBezTo>
                <a:cubicBezTo>
                  <a:pt x="9429" y="3182"/>
                  <a:pt x="9408" y="3142"/>
                  <a:pt x="9408" y="3142"/>
                </a:cubicBezTo>
                <a:cubicBezTo>
                  <a:pt x="9408" y="3142"/>
                  <a:pt x="9371" y="3186"/>
                  <a:pt x="9366" y="3182"/>
                </a:cubicBezTo>
                <a:cubicBezTo>
                  <a:pt x="9359" y="3179"/>
                  <a:pt x="9296" y="3137"/>
                  <a:pt x="9296" y="3137"/>
                </a:cubicBezTo>
                <a:cubicBezTo>
                  <a:pt x="9312" y="3095"/>
                  <a:pt x="9312" y="3095"/>
                  <a:pt x="9312" y="3095"/>
                </a:cubicBezTo>
                <a:cubicBezTo>
                  <a:pt x="9312" y="3095"/>
                  <a:pt x="9270" y="3137"/>
                  <a:pt x="9260" y="3125"/>
                </a:cubicBezTo>
                <a:cubicBezTo>
                  <a:pt x="9249" y="3114"/>
                  <a:pt x="9199" y="3067"/>
                  <a:pt x="9169" y="3041"/>
                </a:cubicBezTo>
                <a:cubicBezTo>
                  <a:pt x="9141" y="3016"/>
                  <a:pt x="9092" y="2959"/>
                  <a:pt x="9092" y="2955"/>
                </a:cubicBezTo>
                <a:cubicBezTo>
                  <a:pt x="9092" y="2950"/>
                  <a:pt x="9129" y="2907"/>
                  <a:pt x="9129" y="2907"/>
                </a:cubicBezTo>
                <a:cubicBezTo>
                  <a:pt x="9129" y="2907"/>
                  <a:pt x="9148" y="2847"/>
                  <a:pt x="9134" y="2830"/>
                </a:cubicBezTo>
                <a:cubicBezTo>
                  <a:pt x="9122" y="2812"/>
                  <a:pt x="9115" y="2783"/>
                  <a:pt x="9110" y="2783"/>
                </a:cubicBezTo>
                <a:cubicBezTo>
                  <a:pt x="9108" y="2783"/>
                  <a:pt x="9071" y="2793"/>
                  <a:pt x="9071" y="2793"/>
                </a:cubicBezTo>
                <a:cubicBezTo>
                  <a:pt x="9071" y="2793"/>
                  <a:pt x="9049" y="2720"/>
                  <a:pt x="9052" y="2713"/>
                </a:cubicBezTo>
                <a:cubicBezTo>
                  <a:pt x="9057" y="2706"/>
                  <a:pt x="9099" y="2692"/>
                  <a:pt x="9099" y="2645"/>
                </a:cubicBezTo>
                <a:cubicBezTo>
                  <a:pt x="9099" y="2599"/>
                  <a:pt x="9085" y="2521"/>
                  <a:pt x="9085" y="2516"/>
                </a:cubicBezTo>
                <a:cubicBezTo>
                  <a:pt x="9085" y="2514"/>
                  <a:pt x="9068" y="2507"/>
                  <a:pt x="9064" y="2479"/>
                </a:cubicBezTo>
                <a:cubicBezTo>
                  <a:pt x="9059" y="2449"/>
                  <a:pt x="9043" y="2411"/>
                  <a:pt x="9043" y="2409"/>
                </a:cubicBezTo>
                <a:cubicBezTo>
                  <a:pt x="9043" y="2404"/>
                  <a:pt x="9071" y="2376"/>
                  <a:pt x="9071" y="2376"/>
                </a:cubicBezTo>
                <a:cubicBezTo>
                  <a:pt x="9071" y="2376"/>
                  <a:pt x="9021" y="2397"/>
                  <a:pt x="9021" y="2390"/>
                </a:cubicBezTo>
                <a:cubicBezTo>
                  <a:pt x="9021" y="2383"/>
                  <a:pt x="8987" y="2329"/>
                  <a:pt x="8979" y="2306"/>
                </a:cubicBezTo>
                <a:cubicBezTo>
                  <a:pt x="8970" y="2284"/>
                  <a:pt x="8942" y="2251"/>
                  <a:pt x="8932" y="2219"/>
                </a:cubicBezTo>
                <a:cubicBezTo>
                  <a:pt x="8923" y="2189"/>
                  <a:pt x="8947" y="2160"/>
                  <a:pt x="8947" y="2160"/>
                </a:cubicBezTo>
                <a:cubicBezTo>
                  <a:pt x="8932" y="2132"/>
                  <a:pt x="8932" y="2132"/>
                  <a:pt x="8932" y="2132"/>
                </a:cubicBezTo>
                <a:cubicBezTo>
                  <a:pt x="8932" y="2132"/>
                  <a:pt x="8956" y="2137"/>
                  <a:pt x="8951" y="2109"/>
                </a:cubicBezTo>
                <a:cubicBezTo>
                  <a:pt x="8944" y="2078"/>
                  <a:pt x="8942" y="2067"/>
                  <a:pt x="8932" y="2055"/>
                </a:cubicBezTo>
                <a:cubicBezTo>
                  <a:pt x="8926" y="2043"/>
                  <a:pt x="8923" y="1968"/>
                  <a:pt x="8919" y="1931"/>
                </a:cubicBezTo>
                <a:cubicBezTo>
                  <a:pt x="8911" y="1894"/>
                  <a:pt x="8932" y="1865"/>
                  <a:pt x="8932" y="1865"/>
                </a:cubicBezTo>
                <a:cubicBezTo>
                  <a:pt x="8911" y="1834"/>
                  <a:pt x="8911" y="1834"/>
                  <a:pt x="8911" y="1834"/>
                </a:cubicBezTo>
                <a:cubicBezTo>
                  <a:pt x="8940" y="1783"/>
                  <a:pt x="8940" y="1783"/>
                  <a:pt x="8940" y="1783"/>
                </a:cubicBezTo>
                <a:cubicBezTo>
                  <a:pt x="8940" y="1783"/>
                  <a:pt x="8904" y="1732"/>
                  <a:pt x="8881" y="1722"/>
                </a:cubicBezTo>
                <a:cubicBezTo>
                  <a:pt x="8860" y="1713"/>
                  <a:pt x="8834" y="1699"/>
                  <a:pt x="8834" y="1699"/>
                </a:cubicBezTo>
                <a:cubicBezTo>
                  <a:pt x="8832" y="1668"/>
                  <a:pt x="8832" y="1668"/>
                  <a:pt x="8832" y="1668"/>
                </a:cubicBezTo>
                <a:cubicBezTo>
                  <a:pt x="8759" y="1619"/>
                  <a:pt x="8759" y="1619"/>
                  <a:pt x="8759" y="1619"/>
                </a:cubicBezTo>
                <a:cubicBezTo>
                  <a:pt x="8759" y="1619"/>
                  <a:pt x="8748" y="1542"/>
                  <a:pt x="8736" y="1533"/>
                </a:cubicBezTo>
                <a:cubicBezTo>
                  <a:pt x="8726" y="1526"/>
                  <a:pt x="8712" y="1516"/>
                  <a:pt x="8712" y="1516"/>
                </a:cubicBezTo>
                <a:cubicBezTo>
                  <a:pt x="8712" y="1516"/>
                  <a:pt x="8670" y="1563"/>
                  <a:pt x="8668" y="1563"/>
                </a:cubicBezTo>
                <a:cubicBezTo>
                  <a:pt x="8663" y="1563"/>
                  <a:pt x="8633" y="1537"/>
                  <a:pt x="8633" y="1537"/>
                </a:cubicBezTo>
                <a:cubicBezTo>
                  <a:pt x="8633" y="1537"/>
                  <a:pt x="8616" y="1575"/>
                  <a:pt x="8593" y="1586"/>
                </a:cubicBezTo>
                <a:cubicBezTo>
                  <a:pt x="8570" y="1598"/>
                  <a:pt x="8546" y="1617"/>
                  <a:pt x="8534" y="1603"/>
                </a:cubicBezTo>
                <a:cubicBezTo>
                  <a:pt x="8520" y="1589"/>
                  <a:pt x="8481" y="1549"/>
                  <a:pt x="8485" y="1530"/>
                </a:cubicBezTo>
                <a:cubicBezTo>
                  <a:pt x="8492" y="1509"/>
                  <a:pt x="8485" y="1448"/>
                  <a:pt x="8481" y="1444"/>
                </a:cubicBezTo>
                <a:cubicBezTo>
                  <a:pt x="8474" y="1437"/>
                  <a:pt x="8450" y="1394"/>
                  <a:pt x="8450" y="1366"/>
                </a:cubicBezTo>
                <a:cubicBezTo>
                  <a:pt x="8450" y="1340"/>
                  <a:pt x="8495" y="1312"/>
                  <a:pt x="8495" y="1296"/>
                </a:cubicBezTo>
                <a:cubicBezTo>
                  <a:pt x="8492" y="1282"/>
                  <a:pt x="8464" y="1242"/>
                  <a:pt x="8464" y="1242"/>
                </a:cubicBezTo>
                <a:cubicBezTo>
                  <a:pt x="8464" y="1242"/>
                  <a:pt x="8478" y="1155"/>
                  <a:pt x="8466" y="1125"/>
                </a:cubicBezTo>
                <a:cubicBezTo>
                  <a:pt x="8453" y="1097"/>
                  <a:pt x="8415" y="1088"/>
                  <a:pt x="8417" y="1080"/>
                </a:cubicBezTo>
                <a:cubicBezTo>
                  <a:pt x="8417" y="1071"/>
                  <a:pt x="8448" y="1045"/>
                  <a:pt x="8441" y="1019"/>
                </a:cubicBezTo>
                <a:cubicBezTo>
                  <a:pt x="8434" y="991"/>
                  <a:pt x="8398" y="989"/>
                  <a:pt x="8398" y="989"/>
                </a:cubicBezTo>
                <a:cubicBezTo>
                  <a:pt x="8389" y="945"/>
                  <a:pt x="8389" y="945"/>
                  <a:pt x="8389" y="945"/>
                </a:cubicBezTo>
                <a:cubicBezTo>
                  <a:pt x="8389" y="945"/>
                  <a:pt x="8342" y="933"/>
                  <a:pt x="8337" y="902"/>
                </a:cubicBezTo>
                <a:cubicBezTo>
                  <a:pt x="8333" y="874"/>
                  <a:pt x="8375" y="856"/>
                  <a:pt x="8382" y="834"/>
                </a:cubicBezTo>
                <a:cubicBezTo>
                  <a:pt x="8387" y="813"/>
                  <a:pt x="8398" y="813"/>
                  <a:pt x="8398" y="813"/>
                </a:cubicBezTo>
                <a:cubicBezTo>
                  <a:pt x="8326" y="799"/>
                  <a:pt x="8326" y="799"/>
                  <a:pt x="8326" y="799"/>
                </a:cubicBezTo>
                <a:cubicBezTo>
                  <a:pt x="8326" y="799"/>
                  <a:pt x="8293" y="785"/>
                  <a:pt x="8293" y="769"/>
                </a:cubicBezTo>
                <a:cubicBezTo>
                  <a:pt x="8293" y="752"/>
                  <a:pt x="8291" y="656"/>
                  <a:pt x="8291" y="656"/>
                </a:cubicBezTo>
                <a:cubicBezTo>
                  <a:pt x="8291" y="656"/>
                  <a:pt x="8314" y="642"/>
                  <a:pt x="8312" y="635"/>
                </a:cubicBezTo>
                <a:cubicBezTo>
                  <a:pt x="8307" y="628"/>
                  <a:pt x="8281" y="593"/>
                  <a:pt x="8281" y="593"/>
                </a:cubicBezTo>
                <a:cubicBezTo>
                  <a:pt x="8286" y="518"/>
                  <a:pt x="8286" y="518"/>
                  <a:pt x="8286" y="518"/>
                </a:cubicBezTo>
                <a:cubicBezTo>
                  <a:pt x="8286" y="518"/>
                  <a:pt x="8235" y="476"/>
                  <a:pt x="8218" y="481"/>
                </a:cubicBezTo>
                <a:cubicBezTo>
                  <a:pt x="8202" y="483"/>
                  <a:pt x="8265" y="448"/>
                  <a:pt x="8246" y="432"/>
                </a:cubicBezTo>
                <a:cubicBezTo>
                  <a:pt x="8228" y="415"/>
                  <a:pt x="8207" y="404"/>
                  <a:pt x="8192" y="415"/>
                </a:cubicBezTo>
                <a:cubicBezTo>
                  <a:pt x="8179" y="427"/>
                  <a:pt x="8159" y="476"/>
                  <a:pt x="8155" y="478"/>
                </a:cubicBezTo>
                <a:cubicBezTo>
                  <a:pt x="8150" y="481"/>
                  <a:pt x="8094" y="485"/>
                  <a:pt x="8094" y="485"/>
                </a:cubicBezTo>
                <a:cubicBezTo>
                  <a:pt x="8094" y="485"/>
                  <a:pt x="8148" y="546"/>
                  <a:pt x="8082" y="631"/>
                </a:cubicBezTo>
                <a:cubicBezTo>
                  <a:pt x="8017" y="715"/>
                  <a:pt x="8001" y="790"/>
                  <a:pt x="8001" y="790"/>
                </a:cubicBezTo>
                <a:cubicBezTo>
                  <a:pt x="8001" y="825"/>
                  <a:pt x="8001" y="825"/>
                  <a:pt x="8001" y="825"/>
                </a:cubicBezTo>
                <a:cubicBezTo>
                  <a:pt x="7970" y="823"/>
                  <a:pt x="7970" y="823"/>
                  <a:pt x="7970" y="823"/>
                </a:cubicBezTo>
                <a:cubicBezTo>
                  <a:pt x="7907" y="963"/>
                  <a:pt x="7907" y="963"/>
                  <a:pt x="7907" y="963"/>
                </a:cubicBezTo>
                <a:cubicBezTo>
                  <a:pt x="7907" y="963"/>
                  <a:pt x="7930" y="945"/>
                  <a:pt x="7942" y="956"/>
                </a:cubicBezTo>
                <a:cubicBezTo>
                  <a:pt x="7956" y="970"/>
                  <a:pt x="7975" y="999"/>
                  <a:pt x="7975" y="999"/>
                </a:cubicBezTo>
                <a:cubicBezTo>
                  <a:pt x="7975" y="999"/>
                  <a:pt x="8031" y="961"/>
                  <a:pt x="8036" y="977"/>
                </a:cubicBezTo>
                <a:cubicBezTo>
                  <a:pt x="8040" y="991"/>
                  <a:pt x="8001" y="1029"/>
                  <a:pt x="8001" y="1029"/>
                </a:cubicBezTo>
                <a:cubicBezTo>
                  <a:pt x="7989" y="1071"/>
                  <a:pt x="7989" y="1071"/>
                  <a:pt x="7989" y="1071"/>
                </a:cubicBezTo>
                <a:cubicBezTo>
                  <a:pt x="7989" y="1071"/>
                  <a:pt x="7979" y="1012"/>
                  <a:pt x="7968" y="1012"/>
                </a:cubicBezTo>
                <a:cubicBezTo>
                  <a:pt x="7956" y="1012"/>
                  <a:pt x="7907" y="1076"/>
                  <a:pt x="7897" y="1078"/>
                </a:cubicBezTo>
                <a:cubicBezTo>
                  <a:pt x="7890" y="1078"/>
                  <a:pt x="7897" y="1151"/>
                  <a:pt x="7902" y="1153"/>
                </a:cubicBezTo>
                <a:cubicBezTo>
                  <a:pt x="7909" y="1155"/>
                  <a:pt x="7916" y="1190"/>
                  <a:pt x="7909" y="1193"/>
                </a:cubicBezTo>
                <a:cubicBezTo>
                  <a:pt x="7902" y="1198"/>
                  <a:pt x="7818" y="1319"/>
                  <a:pt x="7836" y="1355"/>
                </a:cubicBezTo>
                <a:cubicBezTo>
                  <a:pt x="7855" y="1387"/>
                  <a:pt x="7881" y="1422"/>
                  <a:pt x="7876" y="1441"/>
                </a:cubicBezTo>
                <a:cubicBezTo>
                  <a:pt x="7869" y="1460"/>
                  <a:pt x="7841" y="1570"/>
                  <a:pt x="7839" y="1603"/>
                </a:cubicBezTo>
                <a:cubicBezTo>
                  <a:pt x="7836" y="1635"/>
                  <a:pt x="7876" y="1722"/>
                  <a:pt x="7876" y="1722"/>
                </a:cubicBezTo>
                <a:cubicBezTo>
                  <a:pt x="7876" y="1722"/>
                  <a:pt x="7808" y="1800"/>
                  <a:pt x="7797" y="1877"/>
                </a:cubicBezTo>
                <a:cubicBezTo>
                  <a:pt x="7785" y="1954"/>
                  <a:pt x="7780" y="2032"/>
                  <a:pt x="7780" y="2032"/>
                </a:cubicBezTo>
                <a:cubicBezTo>
                  <a:pt x="7780" y="2032"/>
                  <a:pt x="7747" y="2113"/>
                  <a:pt x="7731" y="2149"/>
                </a:cubicBezTo>
                <a:cubicBezTo>
                  <a:pt x="7717" y="2182"/>
                  <a:pt x="7675" y="2261"/>
                  <a:pt x="7647" y="2273"/>
                </a:cubicBezTo>
                <a:cubicBezTo>
                  <a:pt x="7616" y="2282"/>
                  <a:pt x="7605" y="2399"/>
                  <a:pt x="7605" y="2399"/>
                </a:cubicBezTo>
                <a:cubicBezTo>
                  <a:pt x="7605" y="2399"/>
                  <a:pt x="7504" y="2472"/>
                  <a:pt x="7478" y="2477"/>
                </a:cubicBezTo>
                <a:cubicBezTo>
                  <a:pt x="7452" y="2479"/>
                  <a:pt x="7368" y="2495"/>
                  <a:pt x="7358" y="2490"/>
                </a:cubicBezTo>
                <a:cubicBezTo>
                  <a:pt x="7352" y="2486"/>
                  <a:pt x="7291" y="2449"/>
                  <a:pt x="7277" y="2441"/>
                </a:cubicBezTo>
                <a:cubicBezTo>
                  <a:pt x="7263" y="2434"/>
                  <a:pt x="7230" y="2430"/>
                  <a:pt x="7230" y="2425"/>
                </a:cubicBezTo>
                <a:cubicBezTo>
                  <a:pt x="7228" y="2420"/>
                  <a:pt x="7207" y="2371"/>
                  <a:pt x="7188" y="2369"/>
                </a:cubicBezTo>
                <a:cubicBezTo>
                  <a:pt x="7167" y="2367"/>
                  <a:pt x="7122" y="2360"/>
                  <a:pt x="7115" y="2338"/>
                </a:cubicBezTo>
                <a:cubicBezTo>
                  <a:pt x="7108" y="2317"/>
                  <a:pt x="7160" y="2294"/>
                  <a:pt x="7090" y="2247"/>
                </a:cubicBezTo>
                <a:cubicBezTo>
                  <a:pt x="7019" y="2202"/>
                  <a:pt x="7014" y="2219"/>
                  <a:pt x="7012" y="2217"/>
                </a:cubicBezTo>
                <a:cubicBezTo>
                  <a:pt x="7007" y="2214"/>
                  <a:pt x="6970" y="2179"/>
                  <a:pt x="6970" y="2179"/>
                </a:cubicBezTo>
                <a:cubicBezTo>
                  <a:pt x="6970" y="2179"/>
                  <a:pt x="6893" y="2195"/>
                  <a:pt x="6834" y="2151"/>
                </a:cubicBezTo>
                <a:cubicBezTo>
                  <a:pt x="6773" y="2104"/>
                  <a:pt x="6743" y="2032"/>
                  <a:pt x="6712" y="2017"/>
                </a:cubicBezTo>
                <a:cubicBezTo>
                  <a:pt x="6682" y="2003"/>
                  <a:pt x="6628" y="1992"/>
                  <a:pt x="6628" y="1992"/>
                </a:cubicBezTo>
                <a:cubicBezTo>
                  <a:pt x="6628" y="1992"/>
                  <a:pt x="6520" y="1922"/>
                  <a:pt x="6516" y="1917"/>
                </a:cubicBezTo>
                <a:cubicBezTo>
                  <a:pt x="6511" y="1912"/>
                  <a:pt x="6457" y="1931"/>
                  <a:pt x="6434" y="1922"/>
                </a:cubicBezTo>
                <a:cubicBezTo>
                  <a:pt x="6408" y="1912"/>
                  <a:pt x="6412" y="1879"/>
                  <a:pt x="6412" y="1879"/>
                </a:cubicBezTo>
                <a:cubicBezTo>
                  <a:pt x="6298" y="1802"/>
                  <a:pt x="6298" y="1802"/>
                  <a:pt x="6298" y="1802"/>
                </a:cubicBezTo>
                <a:cubicBezTo>
                  <a:pt x="6277" y="1753"/>
                  <a:pt x="6277" y="1753"/>
                  <a:pt x="6277" y="1753"/>
                </a:cubicBezTo>
                <a:cubicBezTo>
                  <a:pt x="6277" y="1753"/>
                  <a:pt x="6112" y="1647"/>
                  <a:pt x="6108" y="1645"/>
                </a:cubicBezTo>
                <a:cubicBezTo>
                  <a:pt x="6106" y="1643"/>
                  <a:pt x="6033" y="1575"/>
                  <a:pt x="6043" y="1558"/>
                </a:cubicBezTo>
                <a:cubicBezTo>
                  <a:pt x="6052" y="1542"/>
                  <a:pt x="6089" y="1521"/>
                  <a:pt x="6089" y="1521"/>
                </a:cubicBezTo>
                <a:cubicBezTo>
                  <a:pt x="6089" y="1521"/>
                  <a:pt x="6075" y="1497"/>
                  <a:pt x="6092" y="1483"/>
                </a:cubicBezTo>
                <a:cubicBezTo>
                  <a:pt x="6108" y="1472"/>
                  <a:pt x="6164" y="1401"/>
                  <a:pt x="6183" y="1392"/>
                </a:cubicBezTo>
                <a:cubicBezTo>
                  <a:pt x="6201" y="1383"/>
                  <a:pt x="6230" y="1294"/>
                  <a:pt x="6228" y="1266"/>
                </a:cubicBezTo>
                <a:cubicBezTo>
                  <a:pt x="6225" y="1238"/>
                  <a:pt x="6173" y="1233"/>
                  <a:pt x="6181" y="1200"/>
                </a:cubicBezTo>
                <a:cubicBezTo>
                  <a:pt x="6188" y="1169"/>
                  <a:pt x="6209" y="1158"/>
                  <a:pt x="6209" y="1151"/>
                </a:cubicBezTo>
                <a:cubicBezTo>
                  <a:pt x="6209" y="1146"/>
                  <a:pt x="6181" y="1101"/>
                  <a:pt x="6213" y="1104"/>
                </a:cubicBezTo>
                <a:cubicBezTo>
                  <a:pt x="6249" y="1104"/>
                  <a:pt x="6251" y="1097"/>
                  <a:pt x="6251" y="1097"/>
                </a:cubicBezTo>
                <a:cubicBezTo>
                  <a:pt x="6290" y="1080"/>
                  <a:pt x="6290" y="1080"/>
                  <a:pt x="6290" y="1080"/>
                </a:cubicBezTo>
                <a:cubicBezTo>
                  <a:pt x="6293" y="1094"/>
                  <a:pt x="6293" y="1094"/>
                  <a:pt x="6293" y="1094"/>
                </a:cubicBezTo>
                <a:cubicBezTo>
                  <a:pt x="6323" y="1059"/>
                  <a:pt x="6323" y="1059"/>
                  <a:pt x="6323" y="1059"/>
                </a:cubicBezTo>
                <a:cubicBezTo>
                  <a:pt x="6323" y="1059"/>
                  <a:pt x="6342" y="1106"/>
                  <a:pt x="6345" y="1101"/>
                </a:cubicBezTo>
                <a:cubicBezTo>
                  <a:pt x="6347" y="1099"/>
                  <a:pt x="6399" y="1059"/>
                  <a:pt x="6399" y="1048"/>
                </a:cubicBezTo>
                <a:cubicBezTo>
                  <a:pt x="6399" y="1038"/>
                  <a:pt x="6415" y="1019"/>
                  <a:pt x="6415" y="1019"/>
                </a:cubicBezTo>
                <a:cubicBezTo>
                  <a:pt x="6379" y="982"/>
                  <a:pt x="6379" y="982"/>
                  <a:pt x="6379" y="982"/>
                </a:cubicBezTo>
                <a:cubicBezTo>
                  <a:pt x="6468" y="874"/>
                  <a:pt x="6468" y="874"/>
                  <a:pt x="6468" y="874"/>
                </a:cubicBezTo>
                <a:cubicBezTo>
                  <a:pt x="6468" y="874"/>
                  <a:pt x="6534" y="839"/>
                  <a:pt x="6532" y="834"/>
                </a:cubicBezTo>
                <a:cubicBezTo>
                  <a:pt x="6527" y="832"/>
                  <a:pt x="6497" y="783"/>
                  <a:pt x="6497" y="783"/>
                </a:cubicBezTo>
                <a:cubicBezTo>
                  <a:pt x="6431" y="813"/>
                  <a:pt x="6431" y="813"/>
                  <a:pt x="6431" y="813"/>
                </a:cubicBezTo>
                <a:cubicBezTo>
                  <a:pt x="6431" y="813"/>
                  <a:pt x="6422" y="727"/>
                  <a:pt x="6410" y="715"/>
                </a:cubicBezTo>
                <a:cubicBezTo>
                  <a:pt x="6399" y="703"/>
                  <a:pt x="6373" y="699"/>
                  <a:pt x="6356" y="710"/>
                </a:cubicBezTo>
                <a:cubicBezTo>
                  <a:pt x="6340" y="720"/>
                  <a:pt x="6295" y="767"/>
                  <a:pt x="6295" y="767"/>
                </a:cubicBezTo>
                <a:cubicBezTo>
                  <a:pt x="6345" y="797"/>
                  <a:pt x="6345" y="797"/>
                  <a:pt x="6345" y="797"/>
                </a:cubicBezTo>
                <a:cubicBezTo>
                  <a:pt x="6345" y="797"/>
                  <a:pt x="6330" y="858"/>
                  <a:pt x="6310" y="858"/>
                </a:cubicBezTo>
                <a:cubicBezTo>
                  <a:pt x="6290" y="858"/>
                  <a:pt x="6251" y="867"/>
                  <a:pt x="6244" y="860"/>
                </a:cubicBezTo>
                <a:cubicBezTo>
                  <a:pt x="6239" y="853"/>
                  <a:pt x="6223" y="823"/>
                  <a:pt x="6223" y="823"/>
                </a:cubicBezTo>
                <a:cubicBezTo>
                  <a:pt x="6244" y="806"/>
                  <a:pt x="6244" y="806"/>
                  <a:pt x="6244" y="806"/>
                </a:cubicBezTo>
                <a:cubicBezTo>
                  <a:pt x="6213" y="764"/>
                  <a:pt x="6213" y="764"/>
                  <a:pt x="6213" y="764"/>
                </a:cubicBezTo>
                <a:cubicBezTo>
                  <a:pt x="6213" y="764"/>
                  <a:pt x="6169" y="813"/>
                  <a:pt x="6155" y="809"/>
                </a:cubicBezTo>
                <a:cubicBezTo>
                  <a:pt x="6141" y="806"/>
                  <a:pt x="6132" y="752"/>
                  <a:pt x="6129" y="752"/>
                </a:cubicBezTo>
                <a:cubicBezTo>
                  <a:pt x="6124" y="752"/>
                  <a:pt x="6061" y="717"/>
                  <a:pt x="6040" y="741"/>
                </a:cubicBezTo>
                <a:cubicBezTo>
                  <a:pt x="6022" y="764"/>
                  <a:pt x="6022" y="806"/>
                  <a:pt x="6022" y="806"/>
                </a:cubicBezTo>
                <a:cubicBezTo>
                  <a:pt x="5944" y="804"/>
                  <a:pt x="5944" y="804"/>
                  <a:pt x="5944" y="804"/>
                </a:cubicBezTo>
                <a:cubicBezTo>
                  <a:pt x="5897" y="745"/>
                  <a:pt x="5897" y="745"/>
                  <a:pt x="5897" y="745"/>
                </a:cubicBezTo>
                <a:cubicBezTo>
                  <a:pt x="5853" y="701"/>
                  <a:pt x="5853" y="701"/>
                  <a:pt x="5853" y="701"/>
                </a:cubicBezTo>
                <a:cubicBezTo>
                  <a:pt x="5853" y="701"/>
                  <a:pt x="5811" y="736"/>
                  <a:pt x="5806" y="736"/>
                </a:cubicBezTo>
                <a:cubicBezTo>
                  <a:pt x="5799" y="736"/>
                  <a:pt x="5776" y="743"/>
                  <a:pt x="5764" y="736"/>
                </a:cubicBezTo>
                <a:cubicBezTo>
                  <a:pt x="5755" y="727"/>
                  <a:pt x="5724" y="706"/>
                  <a:pt x="5722" y="706"/>
                </a:cubicBezTo>
                <a:cubicBezTo>
                  <a:pt x="5717" y="708"/>
                  <a:pt x="5696" y="734"/>
                  <a:pt x="5694" y="729"/>
                </a:cubicBezTo>
                <a:cubicBezTo>
                  <a:pt x="5694" y="724"/>
                  <a:pt x="5682" y="680"/>
                  <a:pt x="5670" y="675"/>
                </a:cubicBezTo>
                <a:cubicBezTo>
                  <a:pt x="5656" y="668"/>
                  <a:pt x="5623" y="687"/>
                  <a:pt x="5618" y="687"/>
                </a:cubicBezTo>
                <a:cubicBezTo>
                  <a:pt x="5616" y="684"/>
                  <a:pt x="5581" y="673"/>
                  <a:pt x="5586" y="666"/>
                </a:cubicBezTo>
                <a:cubicBezTo>
                  <a:pt x="5588" y="659"/>
                  <a:pt x="5651" y="656"/>
                  <a:pt x="5621" y="640"/>
                </a:cubicBezTo>
                <a:cubicBezTo>
                  <a:pt x="5590" y="623"/>
                  <a:pt x="5518" y="661"/>
                  <a:pt x="5518" y="661"/>
                </a:cubicBezTo>
                <a:cubicBezTo>
                  <a:pt x="5518" y="661"/>
                  <a:pt x="5455" y="635"/>
                  <a:pt x="5445" y="626"/>
                </a:cubicBezTo>
                <a:cubicBezTo>
                  <a:pt x="5436" y="617"/>
                  <a:pt x="5396" y="642"/>
                  <a:pt x="5377" y="621"/>
                </a:cubicBezTo>
                <a:cubicBezTo>
                  <a:pt x="5361" y="598"/>
                  <a:pt x="5347" y="542"/>
                  <a:pt x="5328" y="528"/>
                </a:cubicBezTo>
                <a:cubicBezTo>
                  <a:pt x="5312" y="516"/>
                  <a:pt x="5298" y="506"/>
                  <a:pt x="5298" y="506"/>
                </a:cubicBezTo>
                <a:cubicBezTo>
                  <a:pt x="5298" y="506"/>
                  <a:pt x="5249" y="572"/>
                  <a:pt x="5239" y="563"/>
                </a:cubicBezTo>
                <a:cubicBezTo>
                  <a:pt x="5230" y="553"/>
                  <a:pt x="5199" y="521"/>
                  <a:pt x="5197" y="511"/>
                </a:cubicBezTo>
                <a:cubicBezTo>
                  <a:pt x="5192" y="502"/>
                  <a:pt x="5230" y="481"/>
                  <a:pt x="5223" y="460"/>
                </a:cubicBezTo>
                <a:cubicBezTo>
                  <a:pt x="5218" y="441"/>
                  <a:pt x="5202" y="408"/>
                  <a:pt x="5202" y="408"/>
                </a:cubicBezTo>
                <a:cubicBezTo>
                  <a:pt x="5183" y="434"/>
                  <a:pt x="5183" y="434"/>
                  <a:pt x="5183" y="434"/>
                </a:cubicBezTo>
                <a:cubicBezTo>
                  <a:pt x="5183" y="434"/>
                  <a:pt x="5173" y="495"/>
                  <a:pt x="5160" y="483"/>
                </a:cubicBezTo>
                <a:cubicBezTo>
                  <a:pt x="5145" y="471"/>
                  <a:pt x="5124" y="441"/>
                  <a:pt x="5117" y="445"/>
                </a:cubicBezTo>
                <a:cubicBezTo>
                  <a:pt x="5113" y="448"/>
                  <a:pt x="5110" y="469"/>
                  <a:pt x="5105" y="464"/>
                </a:cubicBezTo>
                <a:cubicBezTo>
                  <a:pt x="5103" y="460"/>
                  <a:pt x="5073" y="445"/>
                  <a:pt x="5068" y="445"/>
                </a:cubicBezTo>
                <a:cubicBezTo>
                  <a:pt x="5064" y="445"/>
                  <a:pt x="5059" y="476"/>
                  <a:pt x="5056" y="476"/>
                </a:cubicBezTo>
                <a:cubicBezTo>
                  <a:pt x="5052" y="476"/>
                  <a:pt x="5038" y="450"/>
                  <a:pt x="5026" y="457"/>
                </a:cubicBezTo>
                <a:cubicBezTo>
                  <a:pt x="5014" y="467"/>
                  <a:pt x="4991" y="490"/>
                  <a:pt x="5019" y="509"/>
                </a:cubicBezTo>
                <a:cubicBezTo>
                  <a:pt x="5049" y="525"/>
                  <a:pt x="5052" y="537"/>
                  <a:pt x="5080" y="500"/>
                </a:cubicBezTo>
                <a:cubicBezTo>
                  <a:pt x="5127" y="574"/>
                  <a:pt x="5127" y="574"/>
                  <a:pt x="5127" y="574"/>
                </a:cubicBezTo>
                <a:cubicBezTo>
                  <a:pt x="5127" y="574"/>
                  <a:pt x="5141" y="528"/>
                  <a:pt x="5162" y="539"/>
                </a:cubicBezTo>
                <a:cubicBezTo>
                  <a:pt x="5183" y="551"/>
                  <a:pt x="5230" y="612"/>
                  <a:pt x="5230" y="612"/>
                </a:cubicBezTo>
                <a:cubicBezTo>
                  <a:pt x="5199" y="626"/>
                  <a:pt x="5199" y="626"/>
                  <a:pt x="5199" y="626"/>
                </a:cubicBezTo>
                <a:cubicBezTo>
                  <a:pt x="5227" y="678"/>
                  <a:pt x="5227" y="678"/>
                  <a:pt x="5227" y="678"/>
                </a:cubicBezTo>
                <a:cubicBezTo>
                  <a:pt x="5227" y="678"/>
                  <a:pt x="5194" y="720"/>
                  <a:pt x="5227" y="745"/>
                </a:cubicBezTo>
                <a:cubicBezTo>
                  <a:pt x="5260" y="771"/>
                  <a:pt x="5176" y="757"/>
                  <a:pt x="5176" y="757"/>
                </a:cubicBezTo>
                <a:cubicBezTo>
                  <a:pt x="5132" y="738"/>
                  <a:pt x="5132" y="738"/>
                  <a:pt x="5132" y="738"/>
                </a:cubicBezTo>
                <a:cubicBezTo>
                  <a:pt x="5162" y="795"/>
                  <a:pt x="5162" y="795"/>
                  <a:pt x="5162" y="795"/>
                </a:cubicBezTo>
                <a:cubicBezTo>
                  <a:pt x="5150" y="823"/>
                  <a:pt x="5150" y="823"/>
                  <a:pt x="5150" y="823"/>
                </a:cubicBezTo>
                <a:cubicBezTo>
                  <a:pt x="5150" y="823"/>
                  <a:pt x="5117" y="771"/>
                  <a:pt x="5108" y="767"/>
                </a:cubicBezTo>
                <a:cubicBezTo>
                  <a:pt x="5099" y="762"/>
                  <a:pt x="5073" y="809"/>
                  <a:pt x="5054" y="809"/>
                </a:cubicBezTo>
                <a:cubicBezTo>
                  <a:pt x="5033" y="809"/>
                  <a:pt x="5014" y="804"/>
                  <a:pt x="5014" y="804"/>
                </a:cubicBezTo>
                <a:cubicBezTo>
                  <a:pt x="4995" y="783"/>
                  <a:pt x="4995" y="783"/>
                  <a:pt x="4995" y="783"/>
                </a:cubicBezTo>
                <a:cubicBezTo>
                  <a:pt x="4970" y="804"/>
                  <a:pt x="4970" y="804"/>
                  <a:pt x="4970" y="804"/>
                </a:cubicBezTo>
                <a:cubicBezTo>
                  <a:pt x="4846" y="797"/>
                  <a:pt x="4846" y="797"/>
                  <a:pt x="4846" y="797"/>
                </a:cubicBezTo>
                <a:cubicBezTo>
                  <a:pt x="4820" y="731"/>
                  <a:pt x="4820" y="731"/>
                  <a:pt x="4820" y="731"/>
                </a:cubicBezTo>
                <a:cubicBezTo>
                  <a:pt x="4804" y="795"/>
                  <a:pt x="4804" y="795"/>
                  <a:pt x="4804" y="795"/>
                </a:cubicBezTo>
                <a:cubicBezTo>
                  <a:pt x="4804" y="795"/>
                  <a:pt x="4794" y="762"/>
                  <a:pt x="4768" y="760"/>
                </a:cubicBezTo>
                <a:cubicBezTo>
                  <a:pt x="4745" y="757"/>
                  <a:pt x="4749" y="821"/>
                  <a:pt x="4745" y="823"/>
                </a:cubicBezTo>
                <a:cubicBezTo>
                  <a:pt x="4743" y="825"/>
                  <a:pt x="4708" y="881"/>
                  <a:pt x="4708" y="881"/>
                </a:cubicBezTo>
                <a:cubicBezTo>
                  <a:pt x="4715" y="916"/>
                  <a:pt x="4715" y="916"/>
                  <a:pt x="4715" y="916"/>
                </a:cubicBezTo>
                <a:cubicBezTo>
                  <a:pt x="4715" y="916"/>
                  <a:pt x="4660" y="862"/>
                  <a:pt x="4659" y="860"/>
                </a:cubicBezTo>
                <a:cubicBezTo>
                  <a:pt x="4659" y="856"/>
                  <a:pt x="4637" y="827"/>
                  <a:pt x="4635" y="827"/>
                </a:cubicBezTo>
                <a:cubicBezTo>
                  <a:pt x="4630" y="830"/>
                  <a:pt x="4619" y="890"/>
                  <a:pt x="4614" y="898"/>
                </a:cubicBezTo>
                <a:cubicBezTo>
                  <a:pt x="4611" y="905"/>
                  <a:pt x="4637" y="949"/>
                  <a:pt x="4637" y="949"/>
                </a:cubicBezTo>
                <a:cubicBezTo>
                  <a:pt x="4637" y="949"/>
                  <a:pt x="4588" y="910"/>
                  <a:pt x="4576" y="916"/>
                </a:cubicBezTo>
                <a:cubicBezTo>
                  <a:pt x="4567" y="926"/>
                  <a:pt x="4546" y="938"/>
                  <a:pt x="4543" y="940"/>
                </a:cubicBezTo>
                <a:cubicBezTo>
                  <a:pt x="4543" y="945"/>
                  <a:pt x="4539" y="1010"/>
                  <a:pt x="4539" y="1010"/>
                </a:cubicBezTo>
                <a:cubicBezTo>
                  <a:pt x="4485" y="1010"/>
                  <a:pt x="4485" y="1010"/>
                  <a:pt x="4485" y="1010"/>
                </a:cubicBezTo>
                <a:cubicBezTo>
                  <a:pt x="4482" y="1092"/>
                  <a:pt x="4482" y="1092"/>
                  <a:pt x="4482" y="1092"/>
                </a:cubicBezTo>
                <a:cubicBezTo>
                  <a:pt x="4482" y="1092"/>
                  <a:pt x="4543" y="1125"/>
                  <a:pt x="4539" y="1125"/>
                </a:cubicBezTo>
                <a:cubicBezTo>
                  <a:pt x="4534" y="1125"/>
                  <a:pt x="4448" y="1193"/>
                  <a:pt x="4448" y="1193"/>
                </a:cubicBezTo>
                <a:cubicBezTo>
                  <a:pt x="4412" y="1158"/>
                  <a:pt x="4412" y="1158"/>
                  <a:pt x="4412" y="1158"/>
                </a:cubicBezTo>
                <a:cubicBezTo>
                  <a:pt x="4412" y="1158"/>
                  <a:pt x="4380" y="1202"/>
                  <a:pt x="4382" y="1240"/>
                </a:cubicBezTo>
                <a:cubicBezTo>
                  <a:pt x="4382" y="1277"/>
                  <a:pt x="4365" y="1336"/>
                  <a:pt x="4365" y="1336"/>
                </a:cubicBezTo>
                <a:cubicBezTo>
                  <a:pt x="4365" y="1336"/>
                  <a:pt x="4220" y="1437"/>
                  <a:pt x="4263" y="1467"/>
                </a:cubicBezTo>
                <a:cubicBezTo>
                  <a:pt x="4304" y="1497"/>
                  <a:pt x="4344" y="1521"/>
                  <a:pt x="4344" y="1521"/>
                </a:cubicBezTo>
                <a:cubicBezTo>
                  <a:pt x="4344" y="1521"/>
                  <a:pt x="4375" y="1509"/>
                  <a:pt x="4384" y="1502"/>
                </a:cubicBezTo>
                <a:cubicBezTo>
                  <a:pt x="4372" y="1511"/>
                  <a:pt x="4333" y="1549"/>
                  <a:pt x="4349" y="1558"/>
                </a:cubicBezTo>
                <a:cubicBezTo>
                  <a:pt x="4365" y="1567"/>
                  <a:pt x="4372" y="1582"/>
                  <a:pt x="4382" y="1582"/>
                </a:cubicBezTo>
                <a:cubicBezTo>
                  <a:pt x="4389" y="1582"/>
                  <a:pt x="4441" y="1563"/>
                  <a:pt x="4441" y="1563"/>
                </a:cubicBezTo>
                <a:cubicBezTo>
                  <a:pt x="4441" y="1563"/>
                  <a:pt x="4420" y="1622"/>
                  <a:pt x="4335" y="1596"/>
                </a:cubicBezTo>
                <a:cubicBezTo>
                  <a:pt x="4375" y="1701"/>
                  <a:pt x="4375" y="1701"/>
                  <a:pt x="4375" y="1701"/>
                </a:cubicBezTo>
                <a:cubicBezTo>
                  <a:pt x="4375" y="1701"/>
                  <a:pt x="4276" y="1596"/>
                  <a:pt x="4260" y="1596"/>
                </a:cubicBezTo>
                <a:cubicBezTo>
                  <a:pt x="4244" y="1598"/>
                  <a:pt x="4242" y="1692"/>
                  <a:pt x="4242" y="1692"/>
                </a:cubicBezTo>
                <a:cubicBezTo>
                  <a:pt x="4215" y="1711"/>
                  <a:pt x="4215" y="1711"/>
                  <a:pt x="4215" y="1711"/>
                </a:cubicBezTo>
                <a:cubicBezTo>
                  <a:pt x="4215" y="1711"/>
                  <a:pt x="4220" y="1638"/>
                  <a:pt x="4190" y="1624"/>
                </a:cubicBezTo>
                <a:cubicBezTo>
                  <a:pt x="4159" y="1610"/>
                  <a:pt x="4176" y="1598"/>
                  <a:pt x="4126" y="1598"/>
                </a:cubicBezTo>
                <a:cubicBezTo>
                  <a:pt x="4080" y="1598"/>
                  <a:pt x="4040" y="1579"/>
                  <a:pt x="4033" y="1577"/>
                </a:cubicBezTo>
                <a:cubicBezTo>
                  <a:pt x="4028" y="1575"/>
                  <a:pt x="3981" y="1619"/>
                  <a:pt x="3981" y="1619"/>
                </a:cubicBezTo>
                <a:cubicBezTo>
                  <a:pt x="4005" y="1664"/>
                  <a:pt x="4005" y="1664"/>
                  <a:pt x="4005" y="1664"/>
                </a:cubicBezTo>
                <a:cubicBezTo>
                  <a:pt x="4005" y="1664"/>
                  <a:pt x="3998" y="1675"/>
                  <a:pt x="3996" y="1675"/>
                </a:cubicBezTo>
                <a:cubicBezTo>
                  <a:pt x="3991" y="1675"/>
                  <a:pt x="3953" y="1650"/>
                  <a:pt x="3953" y="1650"/>
                </a:cubicBezTo>
                <a:cubicBezTo>
                  <a:pt x="3953" y="1650"/>
                  <a:pt x="3911" y="1671"/>
                  <a:pt x="3920" y="1692"/>
                </a:cubicBezTo>
                <a:cubicBezTo>
                  <a:pt x="3930" y="1711"/>
                  <a:pt x="3972" y="1755"/>
                  <a:pt x="3960" y="1760"/>
                </a:cubicBezTo>
                <a:cubicBezTo>
                  <a:pt x="3948" y="1767"/>
                  <a:pt x="3902" y="1790"/>
                  <a:pt x="3902" y="1790"/>
                </a:cubicBezTo>
                <a:cubicBezTo>
                  <a:pt x="3902" y="1790"/>
                  <a:pt x="3859" y="1750"/>
                  <a:pt x="3869" y="1729"/>
                </a:cubicBezTo>
                <a:cubicBezTo>
                  <a:pt x="3878" y="1711"/>
                  <a:pt x="3897" y="1715"/>
                  <a:pt x="3895" y="1685"/>
                </a:cubicBezTo>
                <a:cubicBezTo>
                  <a:pt x="3892" y="1655"/>
                  <a:pt x="3878" y="1656"/>
                  <a:pt x="3890" y="1635"/>
                </a:cubicBezTo>
                <a:cubicBezTo>
                  <a:pt x="3902" y="1615"/>
                  <a:pt x="3932" y="1582"/>
                  <a:pt x="3930" y="1577"/>
                </a:cubicBezTo>
                <a:cubicBezTo>
                  <a:pt x="3928" y="1570"/>
                  <a:pt x="3843" y="1537"/>
                  <a:pt x="3822" y="1507"/>
                </a:cubicBezTo>
                <a:cubicBezTo>
                  <a:pt x="3801" y="1476"/>
                  <a:pt x="3712" y="1359"/>
                  <a:pt x="3684" y="1347"/>
                </a:cubicBezTo>
                <a:cubicBezTo>
                  <a:pt x="3658" y="1336"/>
                  <a:pt x="3602" y="1357"/>
                  <a:pt x="3602" y="1357"/>
                </a:cubicBezTo>
                <a:cubicBezTo>
                  <a:pt x="3548" y="1296"/>
                  <a:pt x="3548" y="1296"/>
                  <a:pt x="3548" y="1296"/>
                </a:cubicBezTo>
                <a:cubicBezTo>
                  <a:pt x="3487" y="1315"/>
                  <a:pt x="3487" y="1315"/>
                  <a:pt x="3487" y="1315"/>
                </a:cubicBezTo>
                <a:cubicBezTo>
                  <a:pt x="3513" y="1373"/>
                  <a:pt x="3513" y="1373"/>
                  <a:pt x="3513" y="1373"/>
                </a:cubicBezTo>
                <a:cubicBezTo>
                  <a:pt x="3436" y="1448"/>
                  <a:pt x="3436" y="1448"/>
                  <a:pt x="3436" y="1448"/>
                </a:cubicBezTo>
                <a:cubicBezTo>
                  <a:pt x="3436" y="1448"/>
                  <a:pt x="3394" y="1399"/>
                  <a:pt x="3398" y="1378"/>
                </a:cubicBezTo>
                <a:cubicBezTo>
                  <a:pt x="3386" y="1394"/>
                  <a:pt x="3358" y="1432"/>
                  <a:pt x="3358" y="1444"/>
                </a:cubicBezTo>
                <a:cubicBezTo>
                  <a:pt x="3358" y="1460"/>
                  <a:pt x="3319" y="1434"/>
                  <a:pt x="3319" y="1434"/>
                </a:cubicBezTo>
                <a:cubicBezTo>
                  <a:pt x="3255" y="1495"/>
                  <a:pt x="3255" y="1495"/>
                  <a:pt x="3255" y="1495"/>
                </a:cubicBezTo>
                <a:cubicBezTo>
                  <a:pt x="3284" y="1530"/>
                  <a:pt x="3284" y="1530"/>
                  <a:pt x="3284" y="1530"/>
                </a:cubicBezTo>
                <a:cubicBezTo>
                  <a:pt x="3251" y="1563"/>
                  <a:pt x="3251" y="1563"/>
                  <a:pt x="3251" y="1563"/>
                </a:cubicBezTo>
                <a:cubicBezTo>
                  <a:pt x="3187" y="1488"/>
                  <a:pt x="3187" y="1488"/>
                  <a:pt x="3187" y="1488"/>
                </a:cubicBezTo>
                <a:cubicBezTo>
                  <a:pt x="3176" y="1584"/>
                  <a:pt x="3176" y="1584"/>
                  <a:pt x="3176" y="1584"/>
                </a:cubicBezTo>
                <a:cubicBezTo>
                  <a:pt x="3176" y="1584"/>
                  <a:pt x="3143" y="1549"/>
                  <a:pt x="3138" y="1549"/>
                </a:cubicBezTo>
                <a:cubicBezTo>
                  <a:pt x="3136" y="1549"/>
                  <a:pt x="3110" y="1589"/>
                  <a:pt x="3110" y="1589"/>
                </a:cubicBezTo>
                <a:cubicBezTo>
                  <a:pt x="3077" y="1575"/>
                  <a:pt x="3077" y="1575"/>
                  <a:pt x="3077" y="1575"/>
                </a:cubicBezTo>
                <a:cubicBezTo>
                  <a:pt x="3035" y="1633"/>
                  <a:pt x="3035" y="1633"/>
                  <a:pt x="3035" y="1633"/>
                </a:cubicBezTo>
                <a:cubicBezTo>
                  <a:pt x="3035" y="1633"/>
                  <a:pt x="3049" y="1678"/>
                  <a:pt x="3070" y="1689"/>
                </a:cubicBezTo>
                <a:cubicBezTo>
                  <a:pt x="3089" y="1699"/>
                  <a:pt x="3103" y="1717"/>
                  <a:pt x="3103" y="1717"/>
                </a:cubicBezTo>
                <a:cubicBezTo>
                  <a:pt x="3094" y="1744"/>
                  <a:pt x="3094" y="1744"/>
                  <a:pt x="3094" y="1744"/>
                </a:cubicBezTo>
                <a:cubicBezTo>
                  <a:pt x="3094" y="1744"/>
                  <a:pt x="3063" y="1755"/>
                  <a:pt x="3042" y="1741"/>
                </a:cubicBezTo>
                <a:cubicBezTo>
                  <a:pt x="3024" y="1725"/>
                  <a:pt x="3005" y="1708"/>
                  <a:pt x="3000" y="1708"/>
                </a:cubicBezTo>
                <a:cubicBezTo>
                  <a:pt x="2996" y="1708"/>
                  <a:pt x="2988" y="1762"/>
                  <a:pt x="2988" y="1762"/>
                </a:cubicBezTo>
                <a:cubicBezTo>
                  <a:pt x="3028" y="1809"/>
                  <a:pt x="3028" y="1809"/>
                  <a:pt x="3028" y="1809"/>
                </a:cubicBezTo>
                <a:cubicBezTo>
                  <a:pt x="3049" y="1861"/>
                  <a:pt x="3049" y="1861"/>
                  <a:pt x="3049" y="1861"/>
                </a:cubicBezTo>
                <a:cubicBezTo>
                  <a:pt x="3009" y="1846"/>
                  <a:pt x="3009" y="1846"/>
                  <a:pt x="3009" y="1846"/>
                </a:cubicBezTo>
                <a:cubicBezTo>
                  <a:pt x="2953" y="1781"/>
                  <a:pt x="2953" y="1781"/>
                  <a:pt x="2953" y="1781"/>
                </a:cubicBezTo>
                <a:cubicBezTo>
                  <a:pt x="2953" y="1781"/>
                  <a:pt x="2916" y="1821"/>
                  <a:pt x="2897" y="1842"/>
                </a:cubicBezTo>
                <a:cubicBezTo>
                  <a:pt x="2876" y="1865"/>
                  <a:pt x="2846" y="1846"/>
                  <a:pt x="2839" y="1874"/>
                </a:cubicBezTo>
                <a:cubicBezTo>
                  <a:pt x="2829" y="1903"/>
                  <a:pt x="2834" y="2001"/>
                  <a:pt x="2860" y="1999"/>
                </a:cubicBezTo>
                <a:cubicBezTo>
                  <a:pt x="2883" y="1999"/>
                  <a:pt x="2916" y="1956"/>
                  <a:pt x="2916" y="1956"/>
                </a:cubicBezTo>
                <a:cubicBezTo>
                  <a:pt x="2916" y="1956"/>
                  <a:pt x="2909" y="2015"/>
                  <a:pt x="2888" y="2039"/>
                </a:cubicBezTo>
                <a:cubicBezTo>
                  <a:pt x="2867" y="2062"/>
                  <a:pt x="2841" y="2045"/>
                  <a:pt x="2839" y="2071"/>
                </a:cubicBezTo>
                <a:cubicBezTo>
                  <a:pt x="2839" y="2095"/>
                  <a:pt x="2841" y="2113"/>
                  <a:pt x="2848" y="2113"/>
                </a:cubicBezTo>
                <a:cubicBezTo>
                  <a:pt x="2852" y="2113"/>
                  <a:pt x="2885" y="2104"/>
                  <a:pt x="2913" y="2111"/>
                </a:cubicBezTo>
                <a:cubicBezTo>
                  <a:pt x="2941" y="2118"/>
                  <a:pt x="2996" y="2142"/>
                  <a:pt x="2996" y="2142"/>
                </a:cubicBezTo>
                <a:cubicBezTo>
                  <a:pt x="2996" y="2142"/>
                  <a:pt x="2843" y="2156"/>
                  <a:pt x="2818" y="2151"/>
                </a:cubicBezTo>
                <a:cubicBezTo>
                  <a:pt x="2794" y="2144"/>
                  <a:pt x="2813" y="2106"/>
                  <a:pt x="2775" y="2106"/>
                </a:cubicBezTo>
                <a:cubicBezTo>
                  <a:pt x="2738" y="2109"/>
                  <a:pt x="2726" y="2109"/>
                  <a:pt x="2719" y="2113"/>
                </a:cubicBezTo>
                <a:cubicBezTo>
                  <a:pt x="2710" y="2116"/>
                  <a:pt x="2729" y="2142"/>
                  <a:pt x="2729" y="2142"/>
                </a:cubicBezTo>
                <a:cubicBezTo>
                  <a:pt x="2686" y="2142"/>
                  <a:pt x="2686" y="2142"/>
                  <a:pt x="2686" y="2142"/>
                </a:cubicBezTo>
                <a:cubicBezTo>
                  <a:pt x="2686" y="2142"/>
                  <a:pt x="2661" y="2076"/>
                  <a:pt x="2651" y="2076"/>
                </a:cubicBezTo>
                <a:cubicBezTo>
                  <a:pt x="2640" y="2076"/>
                  <a:pt x="2602" y="2085"/>
                  <a:pt x="2607" y="2104"/>
                </a:cubicBezTo>
                <a:cubicBezTo>
                  <a:pt x="2612" y="2125"/>
                  <a:pt x="2658" y="2142"/>
                  <a:pt x="2646" y="2149"/>
                </a:cubicBezTo>
                <a:cubicBezTo>
                  <a:pt x="2637" y="2156"/>
                  <a:pt x="2609" y="2207"/>
                  <a:pt x="2612" y="2214"/>
                </a:cubicBezTo>
                <a:cubicBezTo>
                  <a:pt x="2612" y="2221"/>
                  <a:pt x="2656" y="2299"/>
                  <a:pt x="2679" y="2296"/>
                </a:cubicBezTo>
                <a:cubicBezTo>
                  <a:pt x="2701" y="2296"/>
                  <a:pt x="2724" y="2278"/>
                  <a:pt x="2724" y="2278"/>
                </a:cubicBezTo>
                <a:cubicBezTo>
                  <a:pt x="2702" y="2320"/>
                  <a:pt x="2702" y="2320"/>
                  <a:pt x="2702" y="2320"/>
                </a:cubicBezTo>
                <a:cubicBezTo>
                  <a:pt x="2731" y="2392"/>
                  <a:pt x="2731" y="2392"/>
                  <a:pt x="2731" y="2392"/>
                </a:cubicBezTo>
                <a:cubicBezTo>
                  <a:pt x="2635" y="2334"/>
                  <a:pt x="2635" y="2334"/>
                  <a:pt x="2635" y="2334"/>
                </a:cubicBezTo>
                <a:cubicBezTo>
                  <a:pt x="2635" y="2334"/>
                  <a:pt x="2609" y="2362"/>
                  <a:pt x="2635" y="2399"/>
                </a:cubicBezTo>
                <a:cubicBezTo>
                  <a:pt x="2658" y="2437"/>
                  <a:pt x="2632" y="2505"/>
                  <a:pt x="2632" y="2505"/>
                </a:cubicBezTo>
                <a:cubicBezTo>
                  <a:pt x="2445" y="2233"/>
                  <a:pt x="2445" y="2233"/>
                  <a:pt x="2445" y="2233"/>
                </a:cubicBezTo>
                <a:cubicBezTo>
                  <a:pt x="2445" y="2233"/>
                  <a:pt x="2445" y="2198"/>
                  <a:pt x="2455" y="2193"/>
                </a:cubicBezTo>
                <a:cubicBezTo>
                  <a:pt x="2462" y="2186"/>
                  <a:pt x="2450" y="2160"/>
                  <a:pt x="2445" y="2160"/>
                </a:cubicBezTo>
                <a:cubicBezTo>
                  <a:pt x="2440" y="2160"/>
                  <a:pt x="2429" y="2207"/>
                  <a:pt x="2407" y="2219"/>
                </a:cubicBezTo>
                <a:cubicBezTo>
                  <a:pt x="2386" y="2233"/>
                  <a:pt x="2370" y="2254"/>
                  <a:pt x="2370" y="2259"/>
                </a:cubicBezTo>
                <a:cubicBezTo>
                  <a:pt x="2370" y="2266"/>
                  <a:pt x="2396" y="2291"/>
                  <a:pt x="2391" y="2291"/>
                </a:cubicBezTo>
                <a:cubicBezTo>
                  <a:pt x="2389" y="2291"/>
                  <a:pt x="2354" y="2280"/>
                  <a:pt x="2337" y="2301"/>
                </a:cubicBezTo>
                <a:cubicBezTo>
                  <a:pt x="2323" y="2324"/>
                  <a:pt x="2330" y="2348"/>
                  <a:pt x="2330" y="2348"/>
                </a:cubicBezTo>
                <a:cubicBezTo>
                  <a:pt x="2330" y="2348"/>
                  <a:pt x="2251" y="2355"/>
                  <a:pt x="2234" y="2434"/>
                </a:cubicBezTo>
                <a:cubicBezTo>
                  <a:pt x="2218" y="2516"/>
                  <a:pt x="2251" y="2612"/>
                  <a:pt x="2251" y="2612"/>
                </a:cubicBezTo>
                <a:cubicBezTo>
                  <a:pt x="2251" y="2612"/>
                  <a:pt x="2302" y="2664"/>
                  <a:pt x="2302" y="2678"/>
                </a:cubicBezTo>
                <a:cubicBezTo>
                  <a:pt x="2302" y="2690"/>
                  <a:pt x="2269" y="2711"/>
                  <a:pt x="2256" y="2729"/>
                </a:cubicBezTo>
                <a:cubicBezTo>
                  <a:pt x="2241" y="2748"/>
                  <a:pt x="2227" y="2793"/>
                  <a:pt x="2227" y="2793"/>
                </a:cubicBezTo>
                <a:cubicBezTo>
                  <a:pt x="2227" y="2793"/>
                  <a:pt x="2183" y="2793"/>
                  <a:pt x="2159" y="2821"/>
                </a:cubicBezTo>
                <a:cubicBezTo>
                  <a:pt x="2138" y="2849"/>
                  <a:pt x="2145" y="2894"/>
                  <a:pt x="2140" y="2894"/>
                </a:cubicBezTo>
                <a:cubicBezTo>
                  <a:pt x="2138" y="2894"/>
                  <a:pt x="2106" y="2896"/>
                  <a:pt x="2106" y="2896"/>
                </a:cubicBezTo>
                <a:cubicBezTo>
                  <a:pt x="2106" y="2896"/>
                  <a:pt x="2082" y="3055"/>
                  <a:pt x="2049" y="3090"/>
                </a:cubicBezTo>
                <a:cubicBezTo>
                  <a:pt x="2017" y="3125"/>
                  <a:pt x="1890" y="3219"/>
                  <a:pt x="1839" y="3254"/>
                </a:cubicBezTo>
                <a:cubicBezTo>
                  <a:pt x="1787" y="3287"/>
                  <a:pt x="1637" y="3322"/>
                  <a:pt x="1633" y="3322"/>
                </a:cubicBezTo>
                <a:cubicBezTo>
                  <a:pt x="1630" y="3324"/>
                  <a:pt x="1581" y="3367"/>
                  <a:pt x="1574" y="3362"/>
                </a:cubicBezTo>
                <a:cubicBezTo>
                  <a:pt x="1569" y="3360"/>
                  <a:pt x="1536" y="3339"/>
                  <a:pt x="1513" y="3339"/>
                </a:cubicBezTo>
                <a:cubicBezTo>
                  <a:pt x="1487" y="3339"/>
                  <a:pt x="1471" y="3320"/>
                  <a:pt x="1473" y="3315"/>
                </a:cubicBezTo>
                <a:cubicBezTo>
                  <a:pt x="1476" y="3311"/>
                  <a:pt x="1534" y="3301"/>
                  <a:pt x="1534" y="3301"/>
                </a:cubicBezTo>
                <a:cubicBezTo>
                  <a:pt x="1534" y="3301"/>
                  <a:pt x="1471" y="3294"/>
                  <a:pt x="1459" y="3313"/>
                </a:cubicBezTo>
                <a:cubicBezTo>
                  <a:pt x="1447" y="3332"/>
                  <a:pt x="1422" y="3374"/>
                  <a:pt x="1415" y="3374"/>
                </a:cubicBezTo>
                <a:cubicBezTo>
                  <a:pt x="1407" y="3374"/>
                  <a:pt x="1405" y="3446"/>
                  <a:pt x="1361" y="3453"/>
                </a:cubicBezTo>
                <a:cubicBezTo>
                  <a:pt x="1316" y="3458"/>
                  <a:pt x="1281" y="3467"/>
                  <a:pt x="1281" y="3467"/>
                </a:cubicBezTo>
                <a:cubicBezTo>
                  <a:pt x="1281" y="3467"/>
                  <a:pt x="1250" y="3498"/>
                  <a:pt x="1244" y="3498"/>
                </a:cubicBezTo>
                <a:cubicBezTo>
                  <a:pt x="1237" y="3498"/>
                  <a:pt x="1190" y="3493"/>
                  <a:pt x="1190" y="3493"/>
                </a:cubicBezTo>
                <a:cubicBezTo>
                  <a:pt x="1190" y="3493"/>
                  <a:pt x="1124" y="3580"/>
                  <a:pt x="1091" y="3594"/>
                </a:cubicBezTo>
                <a:cubicBezTo>
                  <a:pt x="1059" y="3608"/>
                  <a:pt x="1007" y="3632"/>
                  <a:pt x="1007" y="3632"/>
                </a:cubicBezTo>
                <a:cubicBezTo>
                  <a:pt x="1007" y="3632"/>
                  <a:pt x="970" y="3634"/>
                  <a:pt x="953" y="3632"/>
                </a:cubicBezTo>
                <a:cubicBezTo>
                  <a:pt x="937" y="3627"/>
                  <a:pt x="942" y="3596"/>
                  <a:pt x="913" y="3603"/>
                </a:cubicBezTo>
                <a:cubicBezTo>
                  <a:pt x="885" y="3611"/>
                  <a:pt x="848" y="3652"/>
                  <a:pt x="845" y="3641"/>
                </a:cubicBezTo>
                <a:cubicBezTo>
                  <a:pt x="841" y="3629"/>
                  <a:pt x="829" y="3582"/>
                  <a:pt x="841" y="3571"/>
                </a:cubicBezTo>
                <a:cubicBezTo>
                  <a:pt x="853" y="3556"/>
                  <a:pt x="832" y="3538"/>
                  <a:pt x="832" y="3538"/>
                </a:cubicBezTo>
                <a:cubicBezTo>
                  <a:pt x="832" y="3538"/>
                  <a:pt x="829" y="3584"/>
                  <a:pt x="810" y="3601"/>
                </a:cubicBezTo>
                <a:cubicBezTo>
                  <a:pt x="792" y="3615"/>
                  <a:pt x="731" y="3622"/>
                  <a:pt x="735" y="3622"/>
                </a:cubicBezTo>
                <a:cubicBezTo>
                  <a:pt x="740" y="3622"/>
                  <a:pt x="796" y="3634"/>
                  <a:pt x="775" y="3652"/>
                </a:cubicBezTo>
                <a:cubicBezTo>
                  <a:pt x="752" y="3669"/>
                  <a:pt x="724" y="3685"/>
                  <a:pt x="710" y="3692"/>
                </a:cubicBezTo>
                <a:cubicBezTo>
                  <a:pt x="695" y="3700"/>
                  <a:pt x="672" y="3716"/>
                  <a:pt x="670" y="3718"/>
                </a:cubicBezTo>
                <a:cubicBezTo>
                  <a:pt x="670" y="3723"/>
                  <a:pt x="630" y="3770"/>
                  <a:pt x="604" y="3784"/>
                </a:cubicBezTo>
                <a:cubicBezTo>
                  <a:pt x="578" y="3798"/>
                  <a:pt x="537" y="3863"/>
                  <a:pt x="527" y="3870"/>
                </a:cubicBezTo>
                <a:cubicBezTo>
                  <a:pt x="517" y="3875"/>
                  <a:pt x="492" y="3927"/>
                  <a:pt x="485" y="3934"/>
                </a:cubicBezTo>
                <a:cubicBezTo>
                  <a:pt x="476" y="3938"/>
                  <a:pt x="368" y="4001"/>
                  <a:pt x="328" y="4034"/>
                </a:cubicBezTo>
                <a:cubicBezTo>
                  <a:pt x="290" y="4067"/>
                  <a:pt x="250" y="4133"/>
                  <a:pt x="250" y="4154"/>
                </a:cubicBezTo>
                <a:cubicBezTo>
                  <a:pt x="250" y="4177"/>
                  <a:pt x="237" y="4264"/>
                  <a:pt x="237" y="4264"/>
                </a:cubicBezTo>
                <a:cubicBezTo>
                  <a:pt x="237" y="4264"/>
                  <a:pt x="201" y="4278"/>
                  <a:pt x="190" y="4280"/>
                </a:cubicBezTo>
                <a:cubicBezTo>
                  <a:pt x="178" y="4283"/>
                  <a:pt x="178" y="4255"/>
                  <a:pt x="171" y="4238"/>
                </a:cubicBezTo>
                <a:cubicBezTo>
                  <a:pt x="161" y="4222"/>
                  <a:pt x="150" y="4196"/>
                  <a:pt x="150" y="4187"/>
                </a:cubicBezTo>
                <a:cubicBezTo>
                  <a:pt x="150" y="4177"/>
                  <a:pt x="152" y="4072"/>
                  <a:pt x="152" y="4072"/>
                </a:cubicBezTo>
                <a:cubicBezTo>
                  <a:pt x="152" y="4072"/>
                  <a:pt x="150" y="4037"/>
                  <a:pt x="108" y="4095"/>
                </a:cubicBezTo>
                <a:cubicBezTo>
                  <a:pt x="68" y="4156"/>
                  <a:pt x="87" y="4243"/>
                  <a:pt x="87" y="4243"/>
                </a:cubicBezTo>
                <a:cubicBezTo>
                  <a:pt x="87" y="4243"/>
                  <a:pt x="28" y="4294"/>
                  <a:pt x="47" y="4329"/>
                </a:cubicBezTo>
                <a:cubicBezTo>
                  <a:pt x="65" y="4365"/>
                  <a:pt x="110" y="4423"/>
                  <a:pt x="110" y="4423"/>
                </a:cubicBezTo>
                <a:cubicBezTo>
                  <a:pt x="103" y="4484"/>
                  <a:pt x="103" y="4484"/>
                  <a:pt x="103" y="4484"/>
                </a:cubicBezTo>
                <a:cubicBezTo>
                  <a:pt x="103" y="4484"/>
                  <a:pt x="131" y="4522"/>
                  <a:pt x="126" y="4555"/>
                </a:cubicBezTo>
                <a:cubicBezTo>
                  <a:pt x="122" y="4587"/>
                  <a:pt x="72" y="4655"/>
                  <a:pt x="68" y="4676"/>
                </a:cubicBezTo>
                <a:cubicBezTo>
                  <a:pt x="61" y="4695"/>
                  <a:pt x="59" y="4873"/>
                  <a:pt x="59" y="4873"/>
                </a:cubicBezTo>
                <a:cubicBezTo>
                  <a:pt x="59" y="4873"/>
                  <a:pt x="150" y="4964"/>
                  <a:pt x="152" y="4985"/>
                </a:cubicBezTo>
                <a:cubicBezTo>
                  <a:pt x="154" y="5006"/>
                  <a:pt x="154" y="5034"/>
                  <a:pt x="161" y="5042"/>
                </a:cubicBezTo>
                <a:cubicBezTo>
                  <a:pt x="169" y="5049"/>
                  <a:pt x="209" y="5091"/>
                  <a:pt x="209" y="5091"/>
                </a:cubicBezTo>
                <a:cubicBezTo>
                  <a:pt x="232" y="5079"/>
                  <a:pt x="232" y="5079"/>
                  <a:pt x="232" y="5079"/>
                </a:cubicBezTo>
                <a:cubicBezTo>
                  <a:pt x="255" y="5122"/>
                  <a:pt x="255" y="5122"/>
                  <a:pt x="255" y="5122"/>
                </a:cubicBezTo>
                <a:cubicBezTo>
                  <a:pt x="253" y="5154"/>
                  <a:pt x="253" y="5154"/>
                  <a:pt x="253" y="5154"/>
                </a:cubicBezTo>
                <a:cubicBezTo>
                  <a:pt x="253" y="5154"/>
                  <a:pt x="379" y="5245"/>
                  <a:pt x="375" y="5267"/>
                </a:cubicBezTo>
                <a:cubicBezTo>
                  <a:pt x="370" y="5288"/>
                  <a:pt x="347" y="5304"/>
                  <a:pt x="347" y="5304"/>
                </a:cubicBezTo>
                <a:cubicBezTo>
                  <a:pt x="347" y="5304"/>
                  <a:pt x="360" y="5339"/>
                  <a:pt x="356" y="5353"/>
                </a:cubicBezTo>
                <a:cubicBezTo>
                  <a:pt x="351" y="5370"/>
                  <a:pt x="379" y="5390"/>
                  <a:pt x="379" y="5390"/>
                </a:cubicBezTo>
                <a:cubicBezTo>
                  <a:pt x="379" y="5390"/>
                  <a:pt x="347" y="5440"/>
                  <a:pt x="347" y="5435"/>
                </a:cubicBezTo>
                <a:cubicBezTo>
                  <a:pt x="347" y="5433"/>
                  <a:pt x="281" y="5339"/>
                  <a:pt x="276" y="5328"/>
                </a:cubicBezTo>
                <a:cubicBezTo>
                  <a:pt x="270" y="5316"/>
                  <a:pt x="250" y="5377"/>
                  <a:pt x="250" y="5377"/>
                </a:cubicBezTo>
                <a:cubicBezTo>
                  <a:pt x="281" y="5412"/>
                  <a:pt x="281" y="5412"/>
                  <a:pt x="281" y="5412"/>
                </a:cubicBezTo>
                <a:cubicBezTo>
                  <a:pt x="281" y="5412"/>
                  <a:pt x="302" y="5470"/>
                  <a:pt x="276" y="5484"/>
                </a:cubicBezTo>
                <a:cubicBezTo>
                  <a:pt x="250" y="5496"/>
                  <a:pt x="227" y="5501"/>
                  <a:pt x="227" y="5512"/>
                </a:cubicBezTo>
                <a:cubicBezTo>
                  <a:pt x="227" y="5524"/>
                  <a:pt x="222" y="5524"/>
                  <a:pt x="222" y="5524"/>
                </a:cubicBezTo>
                <a:cubicBezTo>
                  <a:pt x="222" y="5524"/>
                  <a:pt x="403" y="5714"/>
                  <a:pt x="410" y="5773"/>
                </a:cubicBezTo>
                <a:cubicBezTo>
                  <a:pt x="417" y="5831"/>
                  <a:pt x="408" y="5883"/>
                  <a:pt x="421" y="5894"/>
                </a:cubicBezTo>
                <a:cubicBezTo>
                  <a:pt x="436" y="5908"/>
                  <a:pt x="571" y="6014"/>
                  <a:pt x="586" y="6051"/>
                </a:cubicBezTo>
                <a:cubicBezTo>
                  <a:pt x="597" y="6089"/>
                  <a:pt x="574" y="6103"/>
                  <a:pt x="597" y="6126"/>
                </a:cubicBezTo>
                <a:cubicBezTo>
                  <a:pt x="623" y="6150"/>
                  <a:pt x="695" y="6224"/>
                  <a:pt x="700" y="6257"/>
                </a:cubicBezTo>
                <a:cubicBezTo>
                  <a:pt x="705" y="6290"/>
                  <a:pt x="738" y="6522"/>
                  <a:pt x="775" y="6588"/>
                </a:cubicBezTo>
                <a:cubicBezTo>
                  <a:pt x="813" y="6651"/>
                  <a:pt x="1002" y="6928"/>
                  <a:pt x="1002" y="6951"/>
                </a:cubicBezTo>
                <a:cubicBezTo>
                  <a:pt x="1005" y="6974"/>
                  <a:pt x="1019" y="7038"/>
                  <a:pt x="1019" y="7038"/>
                </a:cubicBezTo>
                <a:cubicBezTo>
                  <a:pt x="1019" y="7038"/>
                  <a:pt x="988" y="7049"/>
                  <a:pt x="991" y="7051"/>
                </a:cubicBezTo>
                <a:cubicBezTo>
                  <a:pt x="995" y="7054"/>
                  <a:pt x="1038" y="7124"/>
                  <a:pt x="1038" y="7124"/>
                </a:cubicBezTo>
                <a:cubicBezTo>
                  <a:pt x="1014" y="7180"/>
                  <a:pt x="1014" y="7180"/>
                  <a:pt x="1014" y="7180"/>
                </a:cubicBezTo>
                <a:cubicBezTo>
                  <a:pt x="1044" y="7216"/>
                  <a:pt x="1044" y="7216"/>
                  <a:pt x="1044" y="7216"/>
                </a:cubicBezTo>
                <a:cubicBezTo>
                  <a:pt x="1016" y="7232"/>
                  <a:pt x="1016" y="7232"/>
                  <a:pt x="1016" y="7232"/>
                </a:cubicBezTo>
                <a:cubicBezTo>
                  <a:pt x="1016" y="7232"/>
                  <a:pt x="1042" y="7284"/>
                  <a:pt x="1049" y="7305"/>
                </a:cubicBezTo>
                <a:cubicBezTo>
                  <a:pt x="1056" y="7326"/>
                  <a:pt x="1066" y="7405"/>
                  <a:pt x="1028" y="7445"/>
                </a:cubicBezTo>
                <a:cubicBezTo>
                  <a:pt x="993" y="7483"/>
                  <a:pt x="977" y="7508"/>
                  <a:pt x="958" y="7499"/>
                </a:cubicBezTo>
                <a:cubicBezTo>
                  <a:pt x="937" y="7492"/>
                  <a:pt x="906" y="7459"/>
                  <a:pt x="906" y="7459"/>
                </a:cubicBezTo>
                <a:cubicBezTo>
                  <a:pt x="897" y="7513"/>
                  <a:pt x="897" y="7513"/>
                  <a:pt x="897" y="7513"/>
                </a:cubicBezTo>
                <a:cubicBezTo>
                  <a:pt x="897" y="7513"/>
                  <a:pt x="913" y="7707"/>
                  <a:pt x="949" y="7703"/>
                </a:cubicBezTo>
                <a:cubicBezTo>
                  <a:pt x="982" y="7701"/>
                  <a:pt x="960" y="7661"/>
                  <a:pt x="1002" y="7679"/>
                </a:cubicBezTo>
                <a:cubicBezTo>
                  <a:pt x="1047" y="7701"/>
                  <a:pt x="1204" y="7818"/>
                  <a:pt x="1204" y="7818"/>
                </a:cubicBezTo>
                <a:cubicBezTo>
                  <a:pt x="1204" y="7818"/>
                  <a:pt x="1258" y="7806"/>
                  <a:pt x="1283" y="7815"/>
                </a:cubicBezTo>
                <a:cubicBezTo>
                  <a:pt x="1309" y="7824"/>
                  <a:pt x="1305" y="7843"/>
                  <a:pt x="1349" y="7843"/>
                </a:cubicBezTo>
                <a:cubicBezTo>
                  <a:pt x="1396" y="7843"/>
                  <a:pt x="1450" y="7843"/>
                  <a:pt x="1455" y="7841"/>
                </a:cubicBezTo>
                <a:cubicBezTo>
                  <a:pt x="1459" y="7841"/>
                  <a:pt x="1513" y="7822"/>
                  <a:pt x="1534" y="7827"/>
                </a:cubicBezTo>
                <a:cubicBezTo>
                  <a:pt x="1555" y="7829"/>
                  <a:pt x="1593" y="7850"/>
                  <a:pt x="1604" y="7846"/>
                </a:cubicBezTo>
                <a:cubicBezTo>
                  <a:pt x="1616" y="7843"/>
                  <a:pt x="1623" y="7815"/>
                  <a:pt x="1667" y="7811"/>
                </a:cubicBezTo>
                <a:cubicBezTo>
                  <a:pt x="1714" y="7806"/>
                  <a:pt x="1726" y="7815"/>
                  <a:pt x="1733" y="7806"/>
                </a:cubicBezTo>
                <a:cubicBezTo>
                  <a:pt x="1738" y="7796"/>
                  <a:pt x="1778" y="7768"/>
                  <a:pt x="1787" y="7757"/>
                </a:cubicBezTo>
                <a:cubicBezTo>
                  <a:pt x="1794" y="7747"/>
                  <a:pt x="1796" y="7710"/>
                  <a:pt x="1796" y="7710"/>
                </a:cubicBezTo>
                <a:cubicBezTo>
                  <a:pt x="1796" y="7710"/>
                  <a:pt x="1812" y="7714"/>
                  <a:pt x="1841" y="7679"/>
                </a:cubicBezTo>
                <a:cubicBezTo>
                  <a:pt x="1869" y="7644"/>
                  <a:pt x="1839" y="7628"/>
                  <a:pt x="1897" y="7612"/>
                </a:cubicBezTo>
                <a:cubicBezTo>
                  <a:pt x="1956" y="7597"/>
                  <a:pt x="1979" y="7623"/>
                  <a:pt x="1989" y="7616"/>
                </a:cubicBezTo>
                <a:cubicBezTo>
                  <a:pt x="1995" y="7609"/>
                  <a:pt x="2035" y="7579"/>
                  <a:pt x="2035" y="7574"/>
                </a:cubicBezTo>
                <a:cubicBezTo>
                  <a:pt x="2035" y="7572"/>
                  <a:pt x="2012" y="7555"/>
                  <a:pt x="2038" y="7520"/>
                </a:cubicBezTo>
                <a:cubicBezTo>
                  <a:pt x="2066" y="7487"/>
                  <a:pt x="2131" y="7431"/>
                  <a:pt x="2131" y="7431"/>
                </a:cubicBezTo>
                <a:cubicBezTo>
                  <a:pt x="2131" y="7431"/>
                  <a:pt x="2265" y="7434"/>
                  <a:pt x="2267" y="7429"/>
                </a:cubicBezTo>
                <a:cubicBezTo>
                  <a:pt x="2269" y="7422"/>
                  <a:pt x="2340" y="7377"/>
                  <a:pt x="2375" y="7377"/>
                </a:cubicBezTo>
                <a:cubicBezTo>
                  <a:pt x="2410" y="7377"/>
                  <a:pt x="2483" y="7354"/>
                  <a:pt x="2508" y="7351"/>
                </a:cubicBezTo>
                <a:cubicBezTo>
                  <a:pt x="2536" y="7349"/>
                  <a:pt x="2539" y="7370"/>
                  <a:pt x="2572" y="7370"/>
                </a:cubicBezTo>
                <a:cubicBezTo>
                  <a:pt x="2604" y="7368"/>
                  <a:pt x="2653" y="7361"/>
                  <a:pt x="2653" y="7361"/>
                </a:cubicBezTo>
                <a:cubicBezTo>
                  <a:pt x="2653" y="7361"/>
                  <a:pt x="2665" y="7391"/>
                  <a:pt x="2684" y="7391"/>
                </a:cubicBezTo>
                <a:cubicBezTo>
                  <a:pt x="2705" y="7391"/>
                  <a:pt x="2696" y="7368"/>
                  <a:pt x="2735" y="7368"/>
                </a:cubicBezTo>
                <a:cubicBezTo>
                  <a:pt x="2775" y="7366"/>
                  <a:pt x="2857" y="7345"/>
                  <a:pt x="2857" y="7345"/>
                </a:cubicBezTo>
                <a:cubicBezTo>
                  <a:pt x="2902" y="7328"/>
                  <a:pt x="2902" y="7328"/>
                  <a:pt x="2902" y="7328"/>
                </a:cubicBezTo>
                <a:cubicBezTo>
                  <a:pt x="2902" y="7328"/>
                  <a:pt x="2944" y="7403"/>
                  <a:pt x="2946" y="7398"/>
                </a:cubicBezTo>
                <a:cubicBezTo>
                  <a:pt x="2946" y="7394"/>
                  <a:pt x="2981" y="7356"/>
                  <a:pt x="2981" y="7354"/>
                </a:cubicBezTo>
                <a:cubicBezTo>
                  <a:pt x="2981" y="7349"/>
                  <a:pt x="3042" y="7337"/>
                  <a:pt x="3042" y="7337"/>
                </a:cubicBezTo>
                <a:cubicBezTo>
                  <a:pt x="3115" y="7223"/>
                  <a:pt x="3115" y="7223"/>
                  <a:pt x="3115" y="7223"/>
                </a:cubicBezTo>
                <a:cubicBezTo>
                  <a:pt x="3115" y="7223"/>
                  <a:pt x="3134" y="7070"/>
                  <a:pt x="3180" y="7049"/>
                </a:cubicBezTo>
                <a:cubicBezTo>
                  <a:pt x="3225" y="7028"/>
                  <a:pt x="3263" y="7045"/>
                  <a:pt x="3309" y="7009"/>
                </a:cubicBezTo>
                <a:cubicBezTo>
                  <a:pt x="3356" y="6974"/>
                  <a:pt x="3398" y="6923"/>
                  <a:pt x="3426" y="6918"/>
                </a:cubicBezTo>
                <a:cubicBezTo>
                  <a:pt x="3457" y="6911"/>
                  <a:pt x="3475" y="6909"/>
                  <a:pt x="3483" y="6901"/>
                </a:cubicBezTo>
                <a:cubicBezTo>
                  <a:pt x="3490" y="6895"/>
                  <a:pt x="3588" y="6810"/>
                  <a:pt x="3588" y="6810"/>
                </a:cubicBezTo>
                <a:cubicBezTo>
                  <a:pt x="3663" y="6799"/>
                  <a:pt x="3663" y="6799"/>
                  <a:pt x="3663" y="6799"/>
                </a:cubicBezTo>
                <a:cubicBezTo>
                  <a:pt x="3703" y="6806"/>
                  <a:pt x="3703" y="6806"/>
                  <a:pt x="3703" y="6806"/>
                </a:cubicBezTo>
                <a:cubicBezTo>
                  <a:pt x="3703" y="6806"/>
                  <a:pt x="3911" y="6817"/>
                  <a:pt x="3935" y="6799"/>
                </a:cubicBezTo>
                <a:cubicBezTo>
                  <a:pt x="3960" y="6780"/>
                  <a:pt x="4047" y="6738"/>
                  <a:pt x="4073" y="6731"/>
                </a:cubicBezTo>
                <a:cubicBezTo>
                  <a:pt x="4096" y="6726"/>
                  <a:pt x="4126" y="6728"/>
                  <a:pt x="4155" y="6710"/>
                </a:cubicBezTo>
                <a:cubicBezTo>
                  <a:pt x="4183" y="6691"/>
                  <a:pt x="4298" y="6600"/>
                  <a:pt x="4344" y="6590"/>
                </a:cubicBezTo>
                <a:cubicBezTo>
                  <a:pt x="4392" y="6578"/>
                  <a:pt x="4548" y="6562"/>
                  <a:pt x="4581" y="6562"/>
                </a:cubicBezTo>
                <a:cubicBezTo>
                  <a:pt x="4611" y="6562"/>
                  <a:pt x="4838" y="6567"/>
                  <a:pt x="4841" y="6562"/>
                </a:cubicBezTo>
                <a:cubicBezTo>
                  <a:pt x="4843" y="6560"/>
                  <a:pt x="4848" y="6513"/>
                  <a:pt x="4899" y="6524"/>
                </a:cubicBezTo>
                <a:cubicBezTo>
                  <a:pt x="4951" y="6536"/>
                  <a:pt x="5166" y="6686"/>
                  <a:pt x="5166" y="6686"/>
                </a:cubicBezTo>
                <a:cubicBezTo>
                  <a:pt x="5166" y="6686"/>
                  <a:pt x="5221" y="6689"/>
                  <a:pt x="5223" y="6684"/>
                </a:cubicBezTo>
                <a:cubicBezTo>
                  <a:pt x="5225" y="6681"/>
                  <a:pt x="5223" y="6651"/>
                  <a:pt x="5253" y="6656"/>
                </a:cubicBezTo>
                <a:cubicBezTo>
                  <a:pt x="5286" y="6661"/>
                  <a:pt x="5415" y="6735"/>
                  <a:pt x="5415" y="6735"/>
                </a:cubicBezTo>
                <a:cubicBezTo>
                  <a:pt x="5440" y="6756"/>
                  <a:pt x="5440" y="6756"/>
                  <a:pt x="5440" y="6756"/>
                </a:cubicBezTo>
                <a:cubicBezTo>
                  <a:pt x="5480" y="6721"/>
                  <a:pt x="5480" y="6721"/>
                  <a:pt x="5480" y="6721"/>
                </a:cubicBezTo>
                <a:cubicBezTo>
                  <a:pt x="5511" y="6763"/>
                  <a:pt x="5511" y="6763"/>
                  <a:pt x="5511" y="6763"/>
                </a:cubicBezTo>
                <a:cubicBezTo>
                  <a:pt x="5511" y="6763"/>
                  <a:pt x="5513" y="6712"/>
                  <a:pt x="5558" y="6747"/>
                </a:cubicBezTo>
                <a:cubicBezTo>
                  <a:pt x="5605" y="6782"/>
                  <a:pt x="5602" y="6799"/>
                  <a:pt x="5598" y="6799"/>
                </a:cubicBezTo>
                <a:cubicBezTo>
                  <a:pt x="5593" y="6799"/>
                  <a:pt x="5555" y="6831"/>
                  <a:pt x="5574" y="6834"/>
                </a:cubicBezTo>
                <a:cubicBezTo>
                  <a:pt x="5595" y="6836"/>
                  <a:pt x="5639" y="6810"/>
                  <a:pt x="5639" y="6810"/>
                </a:cubicBezTo>
                <a:cubicBezTo>
                  <a:pt x="5639" y="6810"/>
                  <a:pt x="5684" y="6860"/>
                  <a:pt x="5682" y="6867"/>
                </a:cubicBezTo>
                <a:cubicBezTo>
                  <a:pt x="5679" y="6873"/>
                  <a:pt x="5635" y="6890"/>
                  <a:pt x="5635" y="6890"/>
                </a:cubicBezTo>
                <a:cubicBezTo>
                  <a:pt x="5635" y="6890"/>
                  <a:pt x="5666" y="6904"/>
                  <a:pt x="5647" y="6918"/>
                </a:cubicBezTo>
                <a:cubicBezTo>
                  <a:pt x="5630" y="6934"/>
                  <a:pt x="5626" y="6946"/>
                  <a:pt x="5626" y="6946"/>
                </a:cubicBezTo>
                <a:cubicBezTo>
                  <a:pt x="5705" y="7023"/>
                  <a:pt x="5705" y="7023"/>
                  <a:pt x="5705" y="7023"/>
                </a:cubicBezTo>
                <a:cubicBezTo>
                  <a:pt x="5705" y="7023"/>
                  <a:pt x="5736" y="7000"/>
                  <a:pt x="5768" y="7023"/>
                </a:cubicBezTo>
                <a:cubicBezTo>
                  <a:pt x="5801" y="7049"/>
                  <a:pt x="5820" y="7091"/>
                  <a:pt x="5820" y="7103"/>
                </a:cubicBezTo>
                <a:cubicBezTo>
                  <a:pt x="5820" y="7115"/>
                  <a:pt x="5832" y="7171"/>
                  <a:pt x="5832" y="7171"/>
                </a:cubicBezTo>
                <a:cubicBezTo>
                  <a:pt x="5832" y="7171"/>
                  <a:pt x="5865" y="7220"/>
                  <a:pt x="5890" y="7234"/>
                </a:cubicBezTo>
                <a:cubicBezTo>
                  <a:pt x="5916" y="7248"/>
                  <a:pt x="5937" y="7279"/>
                  <a:pt x="5928" y="7290"/>
                </a:cubicBezTo>
                <a:cubicBezTo>
                  <a:pt x="5918" y="7305"/>
                  <a:pt x="5956" y="7356"/>
                  <a:pt x="5954" y="7361"/>
                </a:cubicBezTo>
                <a:cubicBezTo>
                  <a:pt x="5951" y="7363"/>
                  <a:pt x="5951" y="7412"/>
                  <a:pt x="5963" y="7417"/>
                </a:cubicBezTo>
                <a:cubicBezTo>
                  <a:pt x="5974" y="7422"/>
                  <a:pt x="5972" y="7464"/>
                  <a:pt x="5972" y="7464"/>
                </a:cubicBezTo>
                <a:cubicBezTo>
                  <a:pt x="5972" y="7464"/>
                  <a:pt x="5956" y="7473"/>
                  <a:pt x="5956" y="7478"/>
                </a:cubicBezTo>
                <a:cubicBezTo>
                  <a:pt x="5956" y="7483"/>
                  <a:pt x="6017" y="7567"/>
                  <a:pt x="6026" y="7553"/>
                </a:cubicBezTo>
                <a:cubicBezTo>
                  <a:pt x="6035" y="7539"/>
                  <a:pt x="6087" y="7504"/>
                  <a:pt x="6084" y="7494"/>
                </a:cubicBezTo>
                <a:cubicBezTo>
                  <a:pt x="6082" y="7487"/>
                  <a:pt x="6054" y="7447"/>
                  <a:pt x="6073" y="7436"/>
                </a:cubicBezTo>
                <a:cubicBezTo>
                  <a:pt x="6092" y="7424"/>
                  <a:pt x="6124" y="7434"/>
                  <a:pt x="6124" y="7426"/>
                </a:cubicBezTo>
                <a:cubicBezTo>
                  <a:pt x="6127" y="7417"/>
                  <a:pt x="6141" y="7386"/>
                  <a:pt x="6141" y="7379"/>
                </a:cubicBezTo>
                <a:cubicBezTo>
                  <a:pt x="6141" y="7375"/>
                  <a:pt x="6185" y="7302"/>
                  <a:pt x="6209" y="7284"/>
                </a:cubicBezTo>
                <a:cubicBezTo>
                  <a:pt x="6230" y="7265"/>
                  <a:pt x="6274" y="7229"/>
                  <a:pt x="6302" y="7229"/>
                </a:cubicBezTo>
                <a:cubicBezTo>
                  <a:pt x="6330" y="7229"/>
                  <a:pt x="6354" y="7211"/>
                  <a:pt x="6378" y="7201"/>
                </a:cubicBezTo>
                <a:cubicBezTo>
                  <a:pt x="6401" y="7192"/>
                  <a:pt x="6434" y="7124"/>
                  <a:pt x="6443" y="7101"/>
                </a:cubicBezTo>
                <a:cubicBezTo>
                  <a:pt x="6455" y="7079"/>
                  <a:pt x="6473" y="7049"/>
                  <a:pt x="6485" y="7026"/>
                </a:cubicBezTo>
                <a:cubicBezTo>
                  <a:pt x="6497" y="7002"/>
                  <a:pt x="6557" y="6989"/>
                  <a:pt x="6557" y="6965"/>
                </a:cubicBezTo>
                <a:cubicBezTo>
                  <a:pt x="6557" y="6939"/>
                  <a:pt x="6551" y="6885"/>
                  <a:pt x="6557" y="6876"/>
                </a:cubicBezTo>
                <a:cubicBezTo>
                  <a:pt x="6565" y="6864"/>
                  <a:pt x="6595" y="6895"/>
                  <a:pt x="6595" y="6913"/>
                </a:cubicBezTo>
                <a:cubicBezTo>
                  <a:pt x="6595" y="6930"/>
                  <a:pt x="6626" y="7007"/>
                  <a:pt x="6612" y="7026"/>
                </a:cubicBezTo>
                <a:cubicBezTo>
                  <a:pt x="6597" y="7045"/>
                  <a:pt x="6557" y="7035"/>
                  <a:pt x="6560" y="7054"/>
                </a:cubicBezTo>
                <a:cubicBezTo>
                  <a:pt x="6560" y="7073"/>
                  <a:pt x="6600" y="7127"/>
                  <a:pt x="6590" y="7143"/>
                </a:cubicBezTo>
                <a:cubicBezTo>
                  <a:pt x="6584" y="7159"/>
                  <a:pt x="6445" y="7326"/>
                  <a:pt x="6457" y="7351"/>
                </a:cubicBezTo>
                <a:cubicBezTo>
                  <a:pt x="6468" y="7377"/>
                  <a:pt x="6480" y="7536"/>
                  <a:pt x="6455" y="7548"/>
                </a:cubicBezTo>
                <a:cubicBezTo>
                  <a:pt x="6431" y="7562"/>
                  <a:pt x="6408" y="7536"/>
                  <a:pt x="6375" y="7551"/>
                </a:cubicBezTo>
                <a:cubicBezTo>
                  <a:pt x="6340" y="7565"/>
                  <a:pt x="6305" y="7605"/>
                  <a:pt x="6335" y="7628"/>
                </a:cubicBezTo>
                <a:cubicBezTo>
                  <a:pt x="6366" y="7649"/>
                  <a:pt x="6399" y="7665"/>
                  <a:pt x="6401" y="7661"/>
                </a:cubicBezTo>
                <a:cubicBezTo>
                  <a:pt x="6403" y="7654"/>
                  <a:pt x="6459" y="7602"/>
                  <a:pt x="6459" y="7602"/>
                </a:cubicBezTo>
                <a:cubicBezTo>
                  <a:pt x="6459" y="7602"/>
                  <a:pt x="6459" y="7646"/>
                  <a:pt x="6459" y="7661"/>
                </a:cubicBezTo>
                <a:cubicBezTo>
                  <a:pt x="6459" y="7672"/>
                  <a:pt x="6473" y="7710"/>
                  <a:pt x="6497" y="7710"/>
                </a:cubicBezTo>
                <a:cubicBezTo>
                  <a:pt x="6520" y="7710"/>
                  <a:pt x="6518" y="7644"/>
                  <a:pt x="6518" y="7607"/>
                </a:cubicBezTo>
                <a:cubicBezTo>
                  <a:pt x="6518" y="7569"/>
                  <a:pt x="6565" y="7529"/>
                  <a:pt x="6565" y="7496"/>
                </a:cubicBezTo>
                <a:cubicBezTo>
                  <a:pt x="6565" y="7464"/>
                  <a:pt x="6565" y="7422"/>
                  <a:pt x="6579" y="7410"/>
                </a:cubicBezTo>
                <a:cubicBezTo>
                  <a:pt x="6590" y="7398"/>
                  <a:pt x="6602" y="7407"/>
                  <a:pt x="6602" y="7377"/>
                </a:cubicBezTo>
                <a:cubicBezTo>
                  <a:pt x="6602" y="7349"/>
                  <a:pt x="6623" y="7330"/>
                  <a:pt x="6633" y="7318"/>
                </a:cubicBezTo>
                <a:cubicBezTo>
                  <a:pt x="6642" y="7307"/>
                  <a:pt x="6679" y="7361"/>
                  <a:pt x="6679" y="7361"/>
                </a:cubicBezTo>
                <a:cubicBezTo>
                  <a:pt x="6679" y="7361"/>
                  <a:pt x="6666" y="7386"/>
                  <a:pt x="6663" y="7412"/>
                </a:cubicBezTo>
                <a:cubicBezTo>
                  <a:pt x="6661" y="7438"/>
                  <a:pt x="6691" y="7480"/>
                  <a:pt x="6698" y="7496"/>
                </a:cubicBezTo>
                <a:cubicBezTo>
                  <a:pt x="6705" y="7511"/>
                  <a:pt x="6740" y="7527"/>
                  <a:pt x="6738" y="7557"/>
                </a:cubicBezTo>
                <a:cubicBezTo>
                  <a:pt x="6738" y="7588"/>
                  <a:pt x="6719" y="7614"/>
                  <a:pt x="6712" y="7616"/>
                </a:cubicBezTo>
                <a:cubicBezTo>
                  <a:pt x="6705" y="7621"/>
                  <a:pt x="6710" y="7672"/>
                  <a:pt x="6689" y="7691"/>
                </a:cubicBezTo>
                <a:cubicBezTo>
                  <a:pt x="6670" y="7710"/>
                  <a:pt x="6590" y="7738"/>
                  <a:pt x="6605" y="7764"/>
                </a:cubicBezTo>
                <a:cubicBezTo>
                  <a:pt x="6618" y="7787"/>
                  <a:pt x="6646" y="7792"/>
                  <a:pt x="6703" y="7785"/>
                </a:cubicBezTo>
                <a:cubicBezTo>
                  <a:pt x="6759" y="7775"/>
                  <a:pt x="6726" y="7766"/>
                  <a:pt x="6755" y="7750"/>
                </a:cubicBezTo>
                <a:cubicBezTo>
                  <a:pt x="6783" y="7735"/>
                  <a:pt x="6799" y="7710"/>
                  <a:pt x="6844" y="7703"/>
                </a:cubicBezTo>
                <a:cubicBezTo>
                  <a:pt x="6885" y="7694"/>
                  <a:pt x="6942" y="7658"/>
                  <a:pt x="6916" y="7694"/>
                </a:cubicBezTo>
                <a:cubicBezTo>
                  <a:pt x="6893" y="7729"/>
                  <a:pt x="6879" y="7761"/>
                  <a:pt x="6883" y="7799"/>
                </a:cubicBezTo>
                <a:cubicBezTo>
                  <a:pt x="6888" y="7836"/>
                  <a:pt x="6907" y="7846"/>
                  <a:pt x="6928" y="7867"/>
                </a:cubicBezTo>
                <a:cubicBezTo>
                  <a:pt x="6949" y="7888"/>
                  <a:pt x="6979" y="7949"/>
                  <a:pt x="6984" y="7974"/>
                </a:cubicBezTo>
                <a:cubicBezTo>
                  <a:pt x="6989" y="8000"/>
                  <a:pt x="7040" y="8122"/>
                  <a:pt x="7014" y="8143"/>
                </a:cubicBezTo>
                <a:cubicBezTo>
                  <a:pt x="6991" y="8167"/>
                  <a:pt x="6961" y="8192"/>
                  <a:pt x="6961" y="8197"/>
                </a:cubicBezTo>
                <a:cubicBezTo>
                  <a:pt x="6961" y="8204"/>
                  <a:pt x="6944" y="8270"/>
                  <a:pt x="7063" y="8373"/>
                </a:cubicBezTo>
                <a:cubicBezTo>
                  <a:pt x="7164" y="8506"/>
                  <a:pt x="7183" y="8537"/>
                  <a:pt x="7183" y="8537"/>
                </a:cubicBezTo>
                <a:cubicBezTo>
                  <a:pt x="7286" y="8532"/>
                  <a:pt x="7286" y="8532"/>
                  <a:pt x="7286" y="8532"/>
                </a:cubicBezTo>
                <a:cubicBezTo>
                  <a:pt x="7286" y="8532"/>
                  <a:pt x="7340" y="8628"/>
                  <a:pt x="7347" y="8633"/>
                </a:cubicBezTo>
                <a:cubicBezTo>
                  <a:pt x="7356" y="8635"/>
                  <a:pt x="7368" y="8656"/>
                  <a:pt x="7385" y="8654"/>
                </a:cubicBezTo>
                <a:cubicBezTo>
                  <a:pt x="7401" y="8651"/>
                  <a:pt x="7408" y="8569"/>
                  <a:pt x="7436" y="8577"/>
                </a:cubicBezTo>
                <a:cubicBezTo>
                  <a:pt x="7467" y="8586"/>
                  <a:pt x="7525" y="8651"/>
                  <a:pt x="7534" y="8651"/>
                </a:cubicBezTo>
                <a:cubicBezTo>
                  <a:pt x="7544" y="8651"/>
                  <a:pt x="7621" y="8649"/>
                  <a:pt x="7625" y="8651"/>
                </a:cubicBezTo>
                <a:cubicBezTo>
                  <a:pt x="7630" y="8651"/>
                  <a:pt x="7724" y="8771"/>
                  <a:pt x="7736" y="8771"/>
                </a:cubicBezTo>
                <a:cubicBezTo>
                  <a:pt x="7750" y="8768"/>
                  <a:pt x="7836" y="8795"/>
                  <a:pt x="7836" y="8792"/>
                </a:cubicBezTo>
                <a:cubicBezTo>
                  <a:pt x="7839" y="8787"/>
                  <a:pt x="7843" y="8752"/>
                  <a:pt x="7876" y="8752"/>
                </a:cubicBezTo>
                <a:cubicBezTo>
                  <a:pt x="7907" y="8750"/>
                  <a:pt x="7940" y="8783"/>
                  <a:pt x="7953" y="8771"/>
                </a:cubicBezTo>
                <a:cubicBezTo>
                  <a:pt x="7968" y="8762"/>
                  <a:pt x="7996" y="8706"/>
                  <a:pt x="8029" y="8687"/>
                </a:cubicBezTo>
                <a:cubicBezTo>
                  <a:pt x="8064" y="8666"/>
                  <a:pt x="8094" y="8670"/>
                  <a:pt x="8110" y="8661"/>
                </a:cubicBezTo>
                <a:cubicBezTo>
                  <a:pt x="8129" y="8651"/>
                  <a:pt x="8148" y="8630"/>
                  <a:pt x="8143" y="8628"/>
                </a:cubicBezTo>
                <a:cubicBezTo>
                  <a:pt x="8141" y="8626"/>
                  <a:pt x="8092" y="8614"/>
                  <a:pt x="8090" y="8605"/>
                </a:cubicBezTo>
                <a:cubicBezTo>
                  <a:pt x="8087" y="8595"/>
                  <a:pt x="8097" y="8553"/>
                  <a:pt x="8136" y="8541"/>
                </a:cubicBezTo>
                <a:cubicBezTo>
                  <a:pt x="8179" y="8530"/>
                  <a:pt x="8242" y="8539"/>
                  <a:pt x="8242" y="8556"/>
                </a:cubicBezTo>
                <a:cubicBezTo>
                  <a:pt x="8242" y="8572"/>
                  <a:pt x="8281" y="8626"/>
                  <a:pt x="8246" y="8642"/>
                </a:cubicBezTo>
                <a:cubicBezTo>
                  <a:pt x="8211" y="8658"/>
                  <a:pt x="8153" y="8698"/>
                  <a:pt x="8164" y="8706"/>
                </a:cubicBezTo>
                <a:cubicBezTo>
                  <a:pt x="8176" y="8715"/>
                  <a:pt x="8211" y="8740"/>
                  <a:pt x="8225" y="8734"/>
                </a:cubicBezTo>
                <a:cubicBezTo>
                  <a:pt x="8237" y="8727"/>
                  <a:pt x="8279" y="8651"/>
                  <a:pt x="8303" y="8661"/>
                </a:cubicBezTo>
                <a:cubicBezTo>
                  <a:pt x="8326" y="8670"/>
                  <a:pt x="8349" y="8691"/>
                  <a:pt x="8321" y="8715"/>
                </a:cubicBezTo>
                <a:cubicBezTo>
                  <a:pt x="8293" y="8738"/>
                  <a:pt x="8263" y="8757"/>
                  <a:pt x="8281" y="8767"/>
                </a:cubicBezTo>
                <a:cubicBezTo>
                  <a:pt x="8300" y="8776"/>
                  <a:pt x="8342" y="8808"/>
                  <a:pt x="8342" y="8808"/>
                </a:cubicBezTo>
                <a:cubicBezTo>
                  <a:pt x="8370" y="8804"/>
                  <a:pt x="8370" y="8804"/>
                  <a:pt x="8370" y="8804"/>
                </a:cubicBezTo>
                <a:cubicBezTo>
                  <a:pt x="8370" y="8804"/>
                  <a:pt x="8382" y="8888"/>
                  <a:pt x="8413" y="8879"/>
                </a:cubicBezTo>
                <a:cubicBezTo>
                  <a:pt x="8445" y="8872"/>
                  <a:pt x="8441" y="8827"/>
                  <a:pt x="8495" y="8829"/>
                </a:cubicBezTo>
                <a:cubicBezTo>
                  <a:pt x="8548" y="8832"/>
                  <a:pt x="8553" y="8856"/>
                  <a:pt x="8574" y="8851"/>
                </a:cubicBezTo>
                <a:cubicBezTo>
                  <a:pt x="8598" y="8848"/>
                  <a:pt x="8661" y="8816"/>
                  <a:pt x="8668" y="8808"/>
                </a:cubicBezTo>
                <a:cubicBezTo>
                  <a:pt x="8675" y="8801"/>
                  <a:pt x="8846" y="8649"/>
                  <a:pt x="8890" y="8640"/>
                </a:cubicBezTo>
                <a:cubicBezTo>
                  <a:pt x="8932" y="8630"/>
                  <a:pt x="9021" y="8600"/>
                  <a:pt x="9021" y="8600"/>
                </a:cubicBezTo>
                <a:cubicBezTo>
                  <a:pt x="9021" y="8600"/>
                  <a:pt x="9068" y="8628"/>
                  <a:pt x="9076" y="8628"/>
                </a:cubicBezTo>
                <a:cubicBezTo>
                  <a:pt x="9080" y="8626"/>
                  <a:pt x="9251" y="8656"/>
                  <a:pt x="9275" y="8638"/>
                </a:cubicBezTo>
                <a:cubicBezTo>
                  <a:pt x="9300" y="8621"/>
                  <a:pt x="9356" y="8593"/>
                  <a:pt x="9356" y="8593"/>
                </a:cubicBezTo>
                <a:cubicBezTo>
                  <a:pt x="9422" y="8590"/>
                  <a:pt x="9422" y="8590"/>
                  <a:pt x="9422" y="8590"/>
                </a:cubicBezTo>
                <a:cubicBezTo>
                  <a:pt x="9422" y="8590"/>
                  <a:pt x="9445" y="8497"/>
                  <a:pt x="9436" y="8480"/>
                </a:cubicBezTo>
                <a:cubicBezTo>
                  <a:pt x="9427" y="8462"/>
                  <a:pt x="9410" y="8445"/>
                  <a:pt x="9410" y="8422"/>
                </a:cubicBezTo>
                <a:cubicBezTo>
                  <a:pt x="9410" y="8396"/>
                  <a:pt x="9471" y="8277"/>
                  <a:pt x="9481" y="8253"/>
                </a:cubicBezTo>
                <a:cubicBezTo>
                  <a:pt x="9488" y="8228"/>
                  <a:pt x="9504" y="8185"/>
                  <a:pt x="9504" y="8136"/>
                </a:cubicBezTo>
                <a:cubicBezTo>
                  <a:pt x="9504" y="8089"/>
                  <a:pt x="9574" y="8014"/>
                  <a:pt x="9605" y="7977"/>
                </a:cubicBezTo>
                <a:cubicBezTo>
                  <a:pt x="9635" y="7942"/>
                  <a:pt x="9659" y="7909"/>
                  <a:pt x="9659" y="7909"/>
                </a:cubicBezTo>
                <a:cubicBezTo>
                  <a:pt x="9701" y="7909"/>
                  <a:pt x="9701" y="7909"/>
                  <a:pt x="9701" y="7909"/>
                </a:cubicBezTo>
                <a:cubicBezTo>
                  <a:pt x="9720" y="7878"/>
                  <a:pt x="9720" y="7878"/>
                  <a:pt x="9720" y="7878"/>
                </a:cubicBezTo>
                <a:cubicBezTo>
                  <a:pt x="9720" y="7878"/>
                  <a:pt x="9691" y="7834"/>
                  <a:pt x="9696" y="7827"/>
                </a:cubicBezTo>
                <a:cubicBezTo>
                  <a:pt x="9701" y="7818"/>
                  <a:pt x="9733" y="7799"/>
                  <a:pt x="9743" y="7773"/>
                </a:cubicBezTo>
                <a:cubicBezTo>
                  <a:pt x="9750" y="7750"/>
                  <a:pt x="9748" y="7705"/>
                  <a:pt x="9755" y="7691"/>
                </a:cubicBezTo>
                <a:cubicBezTo>
                  <a:pt x="9759" y="7677"/>
                  <a:pt x="9799" y="7649"/>
                  <a:pt x="9813" y="7633"/>
                </a:cubicBezTo>
                <a:cubicBezTo>
                  <a:pt x="9830" y="7614"/>
                  <a:pt x="9850" y="7583"/>
                  <a:pt x="9858" y="7555"/>
                </a:cubicBezTo>
                <a:cubicBezTo>
                  <a:pt x="9867" y="7527"/>
                  <a:pt x="9881" y="7468"/>
                  <a:pt x="9898" y="7452"/>
                </a:cubicBezTo>
                <a:cubicBezTo>
                  <a:pt x="9911" y="7436"/>
                  <a:pt x="10036" y="7290"/>
                  <a:pt x="10036" y="7290"/>
                </a:cubicBezTo>
                <a:cubicBezTo>
                  <a:pt x="10036" y="7290"/>
                  <a:pt x="10085" y="7277"/>
                  <a:pt x="10092" y="7272"/>
                </a:cubicBezTo>
                <a:cubicBezTo>
                  <a:pt x="10099" y="7267"/>
                  <a:pt x="10141" y="7229"/>
                  <a:pt x="10141" y="7229"/>
                </a:cubicBezTo>
                <a:cubicBezTo>
                  <a:pt x="10141" y="7229"/>
                  <a:pt x="10188" y="7206"/>
                  <a:pt x="10188" y="7197"/>
                </a:cubicBezTo>
                <a:cubicBezTo>
                  <a:pt x="10188" y="7190"/>
                  <a:pt x="10188" y="7159"/>
                  <a:pt x="10188" y="7159"/>
                </a:cubicBezTo>
                <a:cubicBezTo>
                  <a:pt x="10242" y="7150"/>
                  <a:pt x="10242" y="7150"/>
                  <a:pt x="10242" y="7150"/>
                </a:cubicBezTo>
                <a:cubicBezTo>
                  <a:pt x="10242" y="7150"/>
                  <a:pt x="10258" y="7070"/>
                  <a:pt x="10261" y="7063"/>
                </a:cubicBezTo>
                <a:cubicBezTo>
                  <a:pt x="10265" y="7056"/>
                  <a:pt x="10371" y="6937"/>
                  <a:pt x="10375" y="6918"/>
                </a:cubicBezTo>
                <a:cubicBezTo>
                  <a:pt x="10382" y="6897"/>
                  <a:pt x="10424" y="6789"/>
                  <a:pt x="10448" y="6766"/>
                </a:cubicBezTo>
                <a:cubicBezTo>
                  <a:pt x="10471" y="6742"/>
                  <a:pt x="10427" y="6698"/>
                  <a:pt x="10436" y="6670"/>
                </a:cubicBezTo>
                <a:cubicBezTo>
                  <a:pt x="10448" y="6639"/>
                  <a:pt x="10556" y="6431"/>
                  <a:pt x="10556" y="6428"/>
                </a:cubicBezTo>
                <a:cubicBezTo>
                  <a:pt x="10556" y="6424"/>
                  <a:pt x="10572" y="6307"/>
                  <a:pt x="10591" y="6278"/>
                </a:cubicBezTo>
                <a:cubicBezTo>
                  <a:pt x="10610" y="6250"/>
                  <a:pt x="10673" y="6178"/>
                  <a:pt x="10675" y="6173"/>
                </a:cubicBezTo>
                <a:cubicBezTo>
                  <a:pt x="10675" y="6171"/>
                  <a:pt x="10680" y="6094"/>
                  <a:pt x="10675" y="6065"/>
                </a:cubicBezTo>
                <a:cubicBezTo>
                  <a:pt x="10670" y="6037"/>
                  <a:pt x="10684" y="6016"/>
                  <a:pt x="10687" y="5997"/>
                </a:cubicBezTo>
                <a:cubicBezTo>
                  <a:pt x="10689" y="5981"/>
                  <a:pt x="10670" y="5932"/>
                  <a:pt x="10668" y="5913"/>
                </a:cubicBezTo>
                <a:cubicBezTo>
                  <a:pt x="10668" y="5892"/>
                  <a:pt x="10677" y="5845"/>
                  <a:pt x="10684" y="5829"/>
                </a:cubicBezTo>
                <a:close/>
                <a:moveTo>
                  <a:pt x="6157" y="6742"/>
                </a:moveTo>
                <a:cubicBezTo>
                  <a:pt x="6148" y="6747"/>
                  <a:pt x="6143" y="6710"/>
                  <a:pt x="6129" y="6710"/>
                </a:cubicBezTo>
                <a:cubicBezTo>
                  <a:pt x="6117" y="6710"/>
                  <a:pt x="6106" y="6808"/>
                  <a:pt x="6106" y="6808"/>
                </a:cubicBezTo>
                <a:cubicBezTo>
                  <a:pt x="6106" y="6808"/>
                  <a:pt x="6106" y="6808"/>
                  <a:pt x="6073" y="6808"/>
                </a:cubicBezTo>
                <a:cubicBezTo>
                  <a:pt x="6043" y="6808"/>
                  <a:pt x="6073" y="6766"/>
                  <a:pt x="6078" y="6731"/>
                </a:cubicBezTo>
                <a:cubicBezTo>
                  <a:pt x="6080" y="6695"/>
                  <a:pt x="6136" y="6665"/>
                  <a:pt x="6136" y="6665"/>
                </a:cubicBezTo>
                <a:cubicBezTo>
                  <a:pt x="6136" y="6665"/>
                  <a:pt x="6096" y="6611"/>
                  <a:pt x="6068" y="6597"/>
                </a:cubicBezTo>
                <a:cubicBezTo>
                  <a:pt x="6040" y="6581"/>
                  <a:pt x="6068" y="6552"/>
                  <a:pt x="6068" y="6552"/>
                </a:cubicBezTo>
                <a:cubicBezTo>
                  <a:pt x="6014" y="6550"/>
                  <a:pt x="6014" y="6550"/>
                  <a:pt x="6014" y="6550"/>
                </a:cubicBezTo>
                <a:cubicBezTo>
                  <a:pt x="6031" y="6487"/>
                  <a:pt x="6031" y="6487"/>
                  <a:pt x="6031" y="6487"/>
                </a:cubicBezTo>
                <a:cubicBezTo>
                  <a:pt x="6031" y="6487"/>
                  <a:pt x="5984" y="6445"/>
                  <a:pt x="5937" y="6419"/>
                </a:cubicBezTo>
                <a:cubicBezTo>
                  <a:pt x="5890" y="6393"/>
                  <a:pt x="5902" y="6496"/>
                  <a:pt x="5902" y="6496"/>
                </a:cubicBezTo>
                <a:cubicBezTo>
                  <a:pt x="5951" y="6503"/>
                  <a:pt x="5951" y="6503"/>
                  <a:pt x="5951" y="6503"/>
                </a:cubicBezTo>
                <a:cubicBezTo>
                  <a:pt x="5974" y="6562"/>
                  <a:pt x="5974" y="6562"/>
                  <a:pt x="5974" y="6562"/>
                </a:cubicBezTo>
                <a:cubicBezTo>
                  <a:pt x="5928" y="6555"/>
                  <a:pt x="5928" y="6555"/>
                  <a:pt x="5928" y="6555"/>
                </a:cubicBezTo>
                <a:cubicBezTo>
                  <a:pt x="5888" y="6522"/>
                  <a:pt x="5888" y="6522"/>
                  <a:pt x="5888" y="6522"/>
                </a:cubicBezTo>
                <a:cubicBezTo>
                  <a:pt x="5888" y="6522"/>
                  <a:pt x="5862" y="6581"/>
                  <a:pt x="5850" y="6581"/>
                </a:cubicBezTo>
                <a:cubicBezTo>
                  <a:pt x="5836" y="6581"/>
                  <a:pt x="5825" y="6522"/>
                  <a:pt x="5825" y="6522"/>
                </a:cubicBezTo>
                <a:cubicBezTo>
                  <a:pt x="5806" y="6494"/>
                  <a:pt x="5806" y="6494"/>
                  <a:pt x="5806" y="6494"/>
                </a:cubicBezTo>
                <a:cubicBezTo>
                  <a:pt x="5844" y="6508"/>
                  <a:pt x="5844" y="6508"/>
                  <a:pt x="5844" y="6508"/>
                </a:cubicBezTo>
                <a:cubicBezTo>
                  <a:pt x="5844" y="6508"/>
                  <a:pt x="5862" y="6485"/>
                  <a:pt x="5872" y="6473"/>
                </a:cubicBezTo>
                <a:cubicBezTo>
                  <a:pt x="5881" y="6459"/>
                  <a:pt x="5897" y="6365"/>
                  <a:pt x="5897" y="6365"/>
                </a:cubicBezTo>
                <a:cubicBezTo>
                  <a:pt x="5897" y="6365"/>
                  <a:pt x="5939" y="6365"/>
                  <a:pt x="5958" y="6370"/>
                </a:cubicBezTo>
                <a:cubicBezTo>
                  <a:pt x="5977" y="6372"/>
                  <a:pt x="6045" y="6447"/>
                  <a:pt x="6045" y="6447"/>
                </a:cubicBezTo>
                <a:cubicBezTo>
                  <a:pt x="6045" y="6447"/>
                  <a:pt x="6143" y="6440"/>
                  <a:pt x="6152" y="6445"/>
                </a:cubicBezTo>
                <a:cubicBezTo>
                  <a:pt x="6162" y="6447"/>
                  <a:pt x="6145" y="6503"/>
                  <a:pt x="6148" y="6513"/>
                </a:cubicBezTo>
                <a:cubicBezTo>
                  <a:pt x="6152" y="6522"/>
                  <a:pt x="6164" y="6545"/>
                  <a:pt x="6176" y="6572"/>
                </a:cubicBezTo>
                <a:cubicBezTo>
                  <a:pt x="6190" y="6597"/>
                  <a:pt x="6171" y="6611"/>
                  <a:pt x="6171" y="6611"/>
                </a:cubicBezTo>
                <a:cubicBezTo>
                  <a:pt x="6171" y="6611"/>
                  <a:pt x="6195" y="6649"/>
                  <a:pt x="6201" y="6674"/>
                </a:cubicBezTo>
                <a:cubicBezTo>
                  <a:pt x="6209" y="6700"/>
                  <a:pt x="6167" y="6740"/>
                  <a:pt x="6157" y="6742"/>
                </a:cubicBezTo>
                <a:close/>
                <a:moveTo>
                  <a:pt x="6347" y="5625"/>
                </a:moveTo>
                <a:cubicBezTo>
                  <a:pt x="6347" y="5625"/>
                  <a:pt x="6375" y="5608"/>
                  <a:pt x="6389" y="5580"/>
                </a:cubicBezTo>
                <a:cubicBezTo>
                  <a:pt x="6401" y="5552"/>
                  <a:pt x="6347" y="5496"/>
                  <a:pt x="6347" y="5496"/>
                </a:cubicBezTo>
                <a:cubicBezTo>
                  <a:pt x="6382" y="5449"/>
                  <a:pt x="6382" y="5449"/>
                  <a:pt x="6382" y="5449"/>
                </a:cubicBezTo>
                <a:cubicBezTo>
                  <a:pt x="6384" y="5482"/>
                  <a:pt x="6384" y="5482"/>
                  <a:pt x="6384" y="5482"/>
                </a:cubicBezTo>
                <a:cubicBezTo>
                  <a:pt x="6384" y="5482"/>
                  <a:pt x="6403" y="5475"/>
                  <a:pt x="6431" y="5463"/>
                </a:cubicBezTo>
                <a:cubicBezTo>
                  <a:pt x="6459" y="5449"/>
                  <a:pt x="6523" y="5540"/>
                  <a:pt x="6544" y="5550"/>
                </a:cubicBezTo>
                <a:cubicBezTo>
                  <a:pt x="6565" y="5559"/>
                  <a:pt x="6569" y="5569"/>
                  <a:pt x="6590" y="5611"/>
                </a:cubicBezTo>
                <a:cubicBezTo>
                  <a:pt x="6612" y="5656"/>
                  <a:pt x="6548" y="5656"/>
                  <a:pt x="6541" y="5665"/>
                </a:cubicBezTo>
                <a:cubicBezTo>
                  <a:pt x="6534" y="5674"/>
                  <a:pt x="6569" y="5705"/>
                  <a:pt x="6590" y="5742"/>
                </a:cubicBezTo>
                <a:cubicBezTo>
                  <a:pt x="6612" y="5779"/>
                  <a:pt x="6649" y="5834"/>
                  <a:pt x="6649" y="5834"/>
                </a:cubicBezTo>
                <a:cubicBezTo>
                  <a:pt x="6597" y="5807"/>
                  <a:pt x="6597" y="5807"/>
                  <a:pt x="6597" y="5807"/>
                </a:cubicBezTo>
                <a:cubicBezTo>
                  <a:pt x="6529" y="5812"/>
                  <a:pt x="6529" y="5812"/>
                  <a:pt x="6529" y="5812"/>
                </a:cubicBezTo>
                <a:cubicBezTo>
                  <a:pt x="6511" y="5770"/>
                  <a:pt x="6511" y="5770"/>
                  <a:pt x="6511" y="5770"/>
                </a:cubicBezTo>
                <a:cubicBezTo>
                  <a:pt x="6488" y="5803"/>
                  <a:pt x="6488" y="5803"/>
                  <a:pt x="6488" y="5803"/>
                </a:cubicBezTo>
                <a:cubicBezTo>
                  <a:pt x="6445" y="5742"/>
                  <a:pt x="6445" y="5742"/>
                  <a:pt x="6445" y="5742"/>
                </a:cubicBezTo>
                <a:cubicBezTo>
                  <a:pt x="6445" y="5742"/>
                  <a:pt x="6464" y="5794"/>
                  <a:pt x="6403" y="5812"/>
                </a:cubicBezTo>
                <a:cubicBezTo>
                  <a:pt x="6345" y="5831"/>
                  <a:pt x="6347" y="5625"/>
                  <a:pt x="6347" y="5625"/>
                </a:cubicBezTo>
                <a:close/>
                <a:moveTo>
                  <a:pt x="6450" y="5876"/>
                </a:moveTo>
                <a:cubicBezTo>
                  <a:pt x="6483" y="5871"/>
                  <a:pt x="6529" y="5862"/>
                  <a:pt x="6529" y="5862"/>
                </a:cubicBezTo>
                <a:cubicBezTo>
                  <a:pt x="6529" y="5862"/>
                  <a:pt x="6560" y="5824"/>
                  <a:pt x="6565" y="5843"/>
                </a:cubicBezTo>
                <a:cubicBezTo>
                  <a:pt x="6572" y="5862"/>
                  <a:pt x="6565" y="5913"/>
                  <a:pt x="6565" y="5913"/>
                </a:cubicBezTo>
                <a:cubicBezTo>
                  <a:pt x="6523" y="5894"/>
                  <a:pt x="6523" y="5894"/>
                  <a:pt x="6523" y="5894"/>
                </a:cubicBezTo>
                <a:cubicBezTo>
                  <a:pt x="6523" y="5894"/>
                  <a:pt x="6520" y="5929"/>
                  <a:pt x="6485" y="5936"/>
                </a:cubicBezTo>
                <a:cubicBezTo>
                  <a:pt x="6450" y="5941"/>
                  <a:pt x="6410" y="5923"/>
                  <a:pt x="6410" y="5923"/>
                </a:cubicBezTo>
                <a:cubicBezTo>
                  <a:pt x="6410" y="5923"/>
                  <a:pt x="6419" y="5883"/>
                  <a:pt x="6450" y="5876"/>
                </a:cubicBezTo>
                <a:close/>
                <a:moveTo>
                  <a:pt x="6581" y="6609"/>
                </a:moveTo>
                <a:cubicBezTo>
                  <a:pt x="6581" y="6609"/>
                  <a:pt x="6565" y="6653"/>
                  <a:pt x="6551" y="6653"/>
                </a:cubicBezTo>
                <a:cubicBezTo>
                  <a:pt x="6534" y="6653"/>
                  <a:pt x="6506" y="6621"/>
                  <a:pt x="6506" y="6621"/>
                </a:cubicBezTo>
                <a:cubicBezTo>
                  <a:pt x="6560" y="6581"/>
                  <a:pt x="6560" y="6581"/>
                  <a:pt x="6560" y="6581"/>
                </a:cubicBezTo>
                <a:cubicBezTo>
                  <a:pt x="6548" y="6478"/>
                  <a:pt x="6548" y="6478"/>
                  <a:pt x="6548" y="6478"/>
                </a:cubicBezTo>
                <a:cubicBezTo>
                  <a:pt x="6497" y="6431"/>
                  <a:pt x="6497" y="6431"/>
                  <a:pt x="6497" y="6431"/>
                </a:cubicBezTo>
                <a:cubicBezTo>
                  <a:pt x="6548" y="6412"/>
                  <a:pt x="6548" y="6412"/>
                  <a:pt x="6548" y="6412"/>
                </a:cubicBezTo>
                <a:cubicBezTo>
                  <a:pt x="6523" y="6307"/>
                  <a:pt x="6523" y="6307"/>
                  <a:pt x="6523" y="6307"/>
                </a:cubicBezTo>
                <a:cubicBezTo>
                  <a:pt x="6476" y="6285"/>
                  <a:pt x="6476" y="6285"/>
                  <a:pt x="6476" y="6285"/>
                </a:cubicBezTo>
                <a:cubicBezTo>
                  <a:pt x="6476" y="6285"/>
                  <a:pt x="6468" y="6234"/>
                  <a:pt x="6468" y="6213"/>
                </a:cubicBezTo>
                <a:cubicBezTo>
                  <a:pt x="6468" y="6192"/>
                  <a:pt x="6440" y="6173"/>
                  <a:pt x="6440" y="6173"/>
                </a:cubicBezTo>
                <a:cubicBezTo>
                  <a:pt x="6445" y="6147"/>
                  <a:pt x="6445" y="6147"/>
                  <a:pt x="6445" y="6147"/>
                </a:cubicBezTo>
                <a:cubicBezTo>
                  <a:pt x="6476" y="6145"/>
                  <a:pt x="6525" y="6232"/>
                  <a:pt x="6525" y="6232"/>
                </a:cubicBezTo>
                <a:cubicBezTo>
                  <a:pt x="6607" y="6260"/>
                  <a:pt x="6607" y="6260"/>
                  <a:pt x="6607" y="6260"/>
                </a:cubicBezTo>
                <a:cubicBezTo>
                  <a:pt x="6600" y="6285"/>
                  <a:pt x="6600" y="6285"/>
                  <a:pt x="6600" y="6285"/>
                </a:cubicBezTo>
                <a:cubicBezTo>
                  <a:pt x="6600" y="6285"/>
                  <a:pt x="6640" y="6363"/>
                  <a:pt x="6646" y="6389"/>
                </a:cubicBezTo>
                <a:cubicBezTo>
                  <a:pt x="6654" y="6412"/>
                  <a:pt x="6663" y="6463"/>
                  <a:pt x="6663" y="6513"/>
                </a:cubicBezTo>
                <a:cubicBezTo>
                  <a:pt x="6663" y="6562"/>
                  <a:pt x="6581" y="6609"/>
                  <a:pt x="6581" y="6609"/>
                </a:cubicBezTo>
                <a:close/>
                <a:moveTo>
                  <a:pt x="7129" y="6323"/>
                </a:moveTo>
                <a:cubicBezTo>
                  <a:pt x="7111" y="6346"/>
                  <a:pt x="7129" y="6346"/>
                  <a:pt x="7129" y="6389"/>
                </a:cubicBezTo>
                <a:cubicBezTo>
                  <a:pt x="7129" y="6428"/>
                  <a:pt x="7091" y="6454"/>
                  <a:pt x="7091" y="6454"/>
                </a:cubicBezTo>
                <a:cubicBezTo>
                  <a:pt x="7090" y="6435"/>
                  <a:pt x="7090" y="6435"/>
                  <a:pt x="7090" y="6435"/>
                </a:cubicBezTo>
                <a:cubicBezTo>
                  <a:pt x="7052" y="6412"/>
                  <a:pt x="7052" y="6412"/>
                  <a:pt x="7052" y="6412"/>
                </a:cubicBezTo>
                <a:cubicBezTo>
                  <a:pt x="7017" y="6372"/>
                  <a:pt x="7017" y="6372"/>
                  <a:pt x="7017" y="6372"/>
                </a:cubicBezTo>
                <a:cubicBezTo>
                  <a:pt x="7035" y="6333"/>
                  <a:pt x="7134" y="6196"/>
                  <a:pt x="7143" y="6196"/>
                </a:cubicBezTo>
                <a:cubicBezTo>
                  <a:pt x="7152" y="6196"/>
                  <a:pt x="7136" y="6213"/>
                  <a:pt x="7155" y="6229"/>
                </a:cubicBezTo>
                <a:cubicBezTo>
                  <a:pt x="7174" y="6244"/>
                  <a:pt x="7148" y="6297"/>
                  <a:pt x="7129" y="6323"/>
                </a:cubicBezTo>
                <a:close/>
                <a:moveTo>
                  <a:pt x="359" y="6147"/>
                </a:moveTo>
                <a:cubicBezTo>
                  <a:pt x="398" y="6117"/>
                  <a:pt x="398" y="6117"/>
                  <a:pt x="398" y="6117"/>
                </a:cubicBezTo>
                <a:cubicBezTo>
                  <a:pt x="377" y="6079"/>
                  <a:pt x="377" y="6079"/>
                  <a:pt x="377" y="6079"/>
                </a:cubicBezTo>
                <a:lnTo>
                  <a:pt x="359" y="6147"/>
                </a:lnTo>
                <a:close/>
                <a:moveTo>
                  <a:pt x="424" y="6147"/>
                </a:moveTo>
                <a:cubicBezTo>
                  <a:pt x="400" y="6166"/>
                  <a:pt x="400" y="6166"/>
                  <a:pt x="400" y="6166"/>
                </a:cubicBezTo>
                <a:cubicBezTo>
                  <a:pt x="426" y="6187"/>
                  <a:pt x="426" y="6187"/>
                  <a:pt x="426" y="6187"/>
                </a:cubicBezTo>
                <a:cubicBezTo>
                  <a:pt x="426" y="6222"/>
                  <a:pt x="426" y="6222"/>
                  <a:pt x="426" y="6222"/>
                </a:cubicBezTo>
                <a:cubicBezTo>
                  <a:pt x="478" y="6206"/>
                  <a:pt x="478" y="6206"/>
                  <a:pt x="478" y="6206"/>
                </a:cubicBezTo>
                <a:cubicBezTo>
                  <a:pt x="448" y="6175"/>
                  <a:pt x="448" y="6175"/>
                  <a:pt x="448" y="6175"/>
                </a:cubicBezTo>
                <a:lnTo>
                  <a:pt x="424" y="6147"/>
                </a:lnTo>
                <a:close/>
                <a:moveTo>
                  <a:pt x="227" y="5276"/>
                </a:moveTo>
                <a:cubicBezTo>
                  <a:pt x="145" y="5203"/>
                  <a:pt x="145" y="5203"/>
                  <a:pt x="145" y="5203"/>
                </a:cubicBezTo>
                <a:cubicBezTo>
                  <a:pt x="124" y="5239"/>
                  <a:pt x="124" y="5239"/>
                  <a:pt x="124" y="5239"/>
                </a:cubicBezTo>
                <a:cubicBezTo>
                  <a:pt x="218" y="5370"/>
                  <a:pt x="218" y="5370"/>
                  <a:pt x="218" y="5370"/>
                </a:cubicBezTo>
                <a:lnTo>
                  <a:pt x="227" y="5276"/>
                </a:lnTo>
                <a:close/>
                <a:moveTo>
                  <a:pt x="12" y="5269"/>
                </a:moveTo>
                <a:cubicBezTo>
                  <a:pt x="23" y="5290"/>
                  <a:pt x="68" y="5337"/>
                  <a:pt x="68" y="5337"/>
                </a:cubicBezTo>
                <a:cubicBezTo>
                  <a:pt x="4" y="5203"/>
                  <a:pt x="4" y="5203"/>
                  <a:pt x="4" y="5203"/>
                </a:cubicBezTo>
                <a:cubicBezTo>
                  <a:pt x="4" y="5203"/>
                  <a:pt x="0" y="5248"/>
                  <a:pt x="12" y="5269"/>
                </a:cubicBezTo>
                <a:close/>
                <a:moveTo>
                  <a:pt x="133" y="5346"/>
                </a:moveTo>
                <a:cubicBezTo>
                  <a:pt x="93" y="5328"/>
                  <a:pt x="96" y="5360"/>
                  <a:pt x="96" y="5360"/>
                </a:cubicBezTo>
                <a:cubicBezTo>
                  <a:pt x="96" y="5402"/>
                  <a:pt x="96" y="5402"/>
                  <a:pt x="96" y="5402"/>
                </a:cubicBezTo>
                <a:cubicBezTo>
                  <a:pt x="138" y="5410"/>
                  <a:pt x="138" y="5410"/>
                  <a:pt x="138" y="5410"/>
                </a:cubicBezTo>
                <a:cubicBezTo>
                  <a:pt x="138" y="5449"/>
                  <a:pt x="138" y="5449"/>
                  <a:pt x="138" y="5449"/>
                </a:cubicBezTo>
                <a:cubicBezTo>
                  <a:pt x="190" y="5506"/>
                  <a:pt x="190" y="5506"/>
                  <a:pt x="190" y="5506"/>
                </a:cubicBezTo>
                <a:cubicBezTo>
                  <a:pt x="222" y="5473"/>
                  <a:pt x="222" y="5473"/>
                  <a:pt x="222" y="5473"/>
                </a:cubicBezTo>
                <a:cubicBezTo>
                  <a:pt x="222" y="5473"/>
                  <a:pt x="173" y="5365"/>
                  <a:pt x="133" y="5346"/>
                </a:cubicBezTo>
                <a:close/>
                <a:moveTo>
                  <a:pt x="464" y="3695"/>
                </a:moveTo>
                <a:cubicBezTo>
                  <a:pt x="428" y="3701"/>
                  <a:pt x="428" y="3701"/>
                  <a:pt x="428" y="3701"/>
                </a:cubicBezTo>
                <a:cubicBezTo>
                  <a:pt x="419" y="3746"/>
                  <a:pt x="419" y="3746"/>
                  <a:pt x="419" y="3746"/>
                </a:cubicBezTo>
                <a:cubicBezTo>
                  <a:pt x="419" y="3746"/>
                  <a:pt x="436" y="3749"/>
                  <a:pt x="452" y="3749"/>
                </a:cubicBezTo>
                <a:cubicBezTo>
                  <a:pt x="466" y="3749"/>
                  <a:pt x="464" y="3695"/>
                  <a:pt x="464" y="3695"/>
                </a:cubicBezTo>
                <a:close/>
                <a:moveTo>
                  <a:pt x="1293" y="2655"/>
                </a:moveTo>
                <a:cubicBezTo>
                  <a:pt x="1293" y="2655"/>
                  <a:pt x="1344" y="2627"/>
                  <a:pt x="1335" y="2603"/>
                </a:cubicBezTo>
                <a:cubicBezTo>
                  <a:pt x="1326" y="2577"/>
                  <a:pt x="1307" y="2577"/>
                  <a:pt x="1307" y="2577"/>
                </a:cubicBezTo>
                <a:cubicBezTo>
                  <a:pt x="1307" y="2577"/>
                  <a:pt x="1248" y="2645"/>
                  <a:pt x="1293" y="2655"/>
                </a:cubicBezTo>
                <a:close/>
                <a:moveTo>
                  <a:pt x="1426" y="2575"/>
                </a:moveTo>
                <a:cubicBezTo>
                  <a:pt x="1436" y="2556"/>
                  <a:pt x="1436" y="2523"/>
                  <a:pt x="1407" y="2530"/>
                </a:cubicBezTo>
                <a:cubicBezTo>
                  <a:pt x="1398" y="2533"/>
                  <a:pt x="1417" y="2594"/>
                  <a:pt x="1426" y="2575"/>
                </a:cubicBezTo>
                <a:close/>
              </a:path>
            </a:pathLst>
          </a:custGeom>
          <a:gradFill rotWithShape="0">
            <a:gsLst>
              <a:gs pos="0">
                <a:srgbClr val="F8F8F8"/>
              </a:gs>
              <a:gs pos="100000">
                <a:srgbClr val="C0C0C0"/>
              </a:gs>
            </a:gsLst>
            <a:lin ang="5400000" scaled="1"/>
          </a:gradFill>
          <a:ln w="6350" cap="flat" cmpd="sng">
            <a:solidFill>
              <a:srgbClr val="E2E2E2"/>
            </a:solidFill>
            <a:prstDash val="solid"/>
            <a:round/>
            <a:headEnd type="none" w="med" len="med"/>
            <a:tailEnd type="none" w="med" len="med"/>
          </a:ln>
          <a:effectLst>
            <a:outerShdw dist="63500" dir="2212194" algn="ctr" rotWithShape="0">
              <a:srgbClr val="808080"/>
            </a:outerShdw>
          </a:effectLst>
        </p:spPr>
        <p:txBody>
          <a:bodyPr/>
          <a:lstStyle/>
          <a:p>
            <a:endParaRPr lang="en-GB"/>
          </a:p>
        </p:txBody>
      </p:sp>
      <p:sp>
        <p:nvSpPr>
          <p:cNvPr id="37" name="Freeform 17" descr="© INSCALE GmbH, 05.05.2010&#10;http://www.presentationload.com/"/>
          <p:cNvSpPr>
            <a:spLocks noChangeAspect="1" noEditPoints="1"/>
          </p:cNvSpPr>
          <p:nvPr/>
        </p:nvSpPr>
        <p:spPr bwMode="auto">
          <a:xfrm>
            <a:off x="2135780" y="3082692"/>
            <a:ext cx="215558" cy="341545"/>
          </a:xfrm>
          <a:custGeom>
            <a:avLst/>
            <a:gdLst/>
            <a:ahLst/>
            <a:cxnLst>
              <a:cxn ang="0">
                <a:pos x="208" y="9"/>
              </a:cxn>
              <a:cxn ang="0">
                <a:pos x="190" y="15"/>
              </a:cxn>
              <a:cxn ang="0">
                <a:pos x="44" y="200"/>
              </a:cxn>
              <a:cxn ang="0">
                <a:pos x="15" y="197"/>
              </a:cxn>
              <a:cxn ang="0">
                <a:pos x="25" y="208"/>
              </a:cxn>
              <a:cxn ang="0">
                <a:pos x="214" y="617"/>
              </a:cxn>
              <a:cxn ang="0">
                <a:pos x="242" y="588"/>
              </a:cxn>
              <a:cxn ang="0">
                <a:pos x="230" y="592"/>
              </a:cxn>
              <a:cxn ang="0">
                <a:pos x="273" y="575"/>
              </a:cxn>
              <a:cxn ang="0">
                <a:pos x="298" y="571"/>
              </a:cxn>
              <a:cxn ang="0">
                <a:pos x="366" y="221"/>
              </a:cxn>
              <a:cxn ang="0">
                <a:pos x="353" y="236"/>
              </a:cxn>
              <a:cxn ang="0">
                <a:pos x="370" y="241"/>
              </a:cxn>
              <a:cxn ang="0">
                <a:pos x="303" y="557"/>
              </a:cxn>
              <a:cxn ang="0">
                <a:pos x="278" y="556"/>
              </a:cxn>
              <a:cxn ang="0">
                <a:pos x="318" y="290"/>
              </a:cxn>
              <a:cxn ang="0">
                <a:pos x="280" y="302"/>
              </a:cxn>
              <a:cxn ang="0">
                <a:pos x="254" y="303"/>
              </a:cxn>
              <a:cxn ang="0">
                <a:pos x="224" y="314"/>
              </a:cxn>
              <a:cxn ang="0">
                <a:pos x="168" y="315"/>
              </a:cxn>
              <a:cxn ang="0">
                <a:pos x="75" y="246"/>
              </a:cxn>
              <a:cxn ang="0">
                <a:pos x="41" y="230"/>
              </a:cxn>
              <a:cxn ang="0">
                <a:pos x="13" y="263"/>
              </a:cxn>
              <a:cxn ang="0">
                <a:pos x="21" y="345"/>
              </a:cxn>
              <a:cxn ang="0">
                <a:pos x="57" y="419"/>
              </a:cxn>
              <a:cxn ang="0">
                <a:pos x="68" y="469"/>
              </a:cxn>
              <a:cxn ang="0">
                <a:pos x="48" y="484"/>
              </a:cxn>
              <a:cxn ang="0">
                <a:pos x="101" y="565"/>
              </a:cxn>
              <a:cxn ang="0">
                <a:pos x="108" y="592"/>
              </a:cxn>
              <a:cxn ang="0">
                <a:pos x="136" y="616"/>
              </a:cxn>
              <a:cxn ang="0">
                <a:pos x="157" y="609"/>
              </a:cxn>
              <a:cxn ang="0">
                <a:pos x="208" y="597"/>
              </a:cxn>
              <a:cxn ang="0">
                <a:pos x="218" y="588"/>
              </a:cxn>
              <a:cxn ang="0">
                <a:pos x="253" y="532"/>
              </a:cxn>
              <a:cxn ang="0">
                <a:pos x="293" y="540"/>
              </a:cxn>
              <a:cxn ang="0">
                <a:pos x="307" y="516"/>
              </a:cxn>
              <a:cxn ang="0">
                <a:pos x="339" y="452"/>
              </a:cxn>
              <a:cxn ang="0">
                <a:pos x="355" y="464"/>
              </a:cxn>
              <a:cxn ang="0">
                <a:pos x="351" y="341"/>
              </a:cxn>
              <a:cxn ang="0">
                <a:pos x="347" y="270"/>
              </a:cxn>
              <a:cxn ang="0">
                <a:pos x="337" y="186"/>
              </a:cxn>
              <a:cxn ang="0">
                <a:pos x="377" y="208"/>
              </a:cxn>
              <a:cxn ang="0">
                <a:pos x="383" y="178"/>
              </a:cxn>
              <a:cxn ang="0">
                <a:pos x="349" y="140"/>
              </a:cxn>
              <a:cxn ang="0">
                <a:pos x="338" y="169"/>
              </a:cxn>
            </a:cxnLst>
            <a:rect l="0" t="0" r="r" b="b"/>
            <a:pathLst>
              <a:path w="402" h="635">
                <a:moveTo>
                  <a:pt x="190" y="15"/>
                </a:moveTo>
                <a:cubicBezTo>
                  <a:pt x="202" y="15"/>
                  <a:pt x="208" y="9"/>
                  <a:pt x="208" y="9"/>
                </a:cubicBezTo>
                <a:cubicBezTo>
                  <a:pt x="190" y="0"/>
                  <a:pt x="190" y="0"/>
                  <a:pt x="190" y="0"/>
                </a:cubicBezTo>
                <a:cubicBezTo>
                  <a:pt x="190" y="0"/>
                  <a:pt x="178" y="15"/>
                  <a:pt x="190" y="15"/>
                </a:cubicBezTo>
                <a:close/>
                <a:moveTo>
                  <a:pt x="25" y="208"/>
                </a:moveTo>
                <a:cubicBezTo>
                  <a:pt x="25" y="208"/>
                  <a:pt x="39" y="200"/>
                  <a:pt x="44" y="200"/>
                </a:cubicBezTo>
                <a:cubicBezTo>
                  <a:pt x="40" y="190"/>
                  <a:pt x="40" y="190"/>
                  <a:pt x="40" y="190"/>
                </a:cubicBezTo>
                <a:cubicBezTo>
                  <a:pt x="40" y="190"/>
                  <a:pt x="20" y="194"/>
                  <a:pt x="15" y="197"/>
                </a:cubicBezTo>
                <a:cubicBezTo>
                  <a:pt x="10" y="200"/>
                  <a:pt x="11" y="213"/>
                  <a:pt x="17" y="224"/>
                </a:cubicBezTo>
                <a:cubicBezTo>
                  <a:pt x="24" y="234"/>
                  <a:pt x="25" y="208"/>
                  <a:pt x="25" y="208"/>
                </a:cubicBezTo>
                <a:close/>
                <a:moveTo>
                  <a:pt x="230" y="592"/>
                </a:moveTo>
                <a:cubicBezTo>
                  <a:pt x="230" y="592"/>
                  <a:pt x="206" y="613"/>
                  <a:pt x="214" y="617"/>
                </a:cubicBezTo>
                <a:cubicBezTo>
                  <a:pt x="222" y="621"/>
                  <a:pt x="236" y="621"/>
                  <a:pt x="236" y="621"/>
                </a:cubicBezTo>
                <a:cubicBezTo>
                  <a:pt x="236" y="621"/>
                  <a:pt x="230" y="593"/>
                  <a:pt x="242" y="588"/>
                </a:cubicBezTo>
                <a:cubicBezTo>
                  <a:pt x="254" y="583"/>
                  <a:pt x="252" y="567"/>
                  <a:pt x="252" y="567"/>
                </a:cubicBezTo>
                <a:lnTo>
                  <a:pt x="230" y="592"/>
                </a:lnTo>
                <a:close/>
                <a:moveTo>
                  <a:pt x="298" y="571"/>
                </a:moveTo>
                <a:cubicBezTo>
                  <a:pt x="280" y="565"/>
                  <a:pt x="273" y="575"/>
                  <a:pt x="273" y="575"/>
                </a:cubicBezTo>
                <a:cubicBezTo>
                  <a:pt x="280" y="592"/>
                  <a:pt x="282" y="593"/>
                  <a:pt x="294" y="593"/>
                </a:cubicBezTo>
                <a:cubicBezTo>
                  <a:pt x="306" y="593"/>
                  <a:pt x="317" y="576"/>
                  <a:pt x="298" y="571"/>
                </a:cubicBezTo>
                <a:close/>
                <a:moveTo>
                  <a:pt x="393" y="238"/>
                </a:moveTo>
                <a:cubicBezTo>
                  <a:pt x="383" y="224"/>
                  <a:pt x="379" y="221"/>
                  <a:pt x="366" y="221"/>
                </a:cubicBezTo>
                <a:cubicBezTo>
                  <a:pt x="353" y="221"/>
                  <a:pt x="341" y="228"/>
                  <a:pt x="341" y="228"/>
                </a:cubicBezTo>
                <a:cubicBezTo>
                  <a:pt x="353" y="236"/>
                  <a:pt x="353" y="236"/>
                  <a:pt x="353" y="236"/>
                </a:cubicBezTo>
                <a:cubicBezTo>
                  <a:pt x="361" y="254"/>
                  <a:pt x="361" y="254"/>
                  <a:pt x="361" y="254"/>
                </a:cubicBezTo>
                <a:cubicBezTo>
                  <a:pt x="361" y="254"/>
                  <a:pt x="357" y="240"/>
                  <a:pt x="370" y="241"/>
                </a:cubicBezTo>
                <a:cubicBezTo>
                  <a:pt x="383" y="242"/>
                  <a:pt x="402" y="253"/>
                  <a:pt x="393" y="238"/>
                </a:cubicBezTo>
                <a:close/>
                <a:moveTo>
                  <a:pt x="303" y="557"/>
                </a:moveTo>
                <a:cubicBezTo>
                  <a:pt x="308" y="551"/>
                  <a:pt x="293" y="548"/>
                  <a:pt x="293" y="548"/>
                </a:cubicBezTo>
                <a:cubicBezTo>
                  <a:pt x="278" y="556"/>
                  <a:pt x="278" y="556"/>
                  <a:pt x="278" y="556"/>
                </a:cubicBezTo>
                <a:cubicBezTo>
                  <a:pt x="278" y="556"/>
                  <a:pt x="297" y="568"/>
                  <a:pt x="303" y="557"/>
                </a:cubicBezTo>
                <a:close/>
                <a:moveTo>
                  <a:pt x="318" y="290"/>
                </a:moveTo>
                <a:cubicBezTo>
                  <a:pt x="318" y="290"/>
                  <a:pt x="307" y="282"/>
                  <a:pt x="299" y="281"/>
                </a:cubicBezTo>
                <a:cubicBezTo>
                  <a:pt x="291" y="279"/>
                  <a:pt x="280" y="302"/>
                  <a:pt x="280" y="302"/>
                </a:cubicBezTo>
                <a:cubicBezTo>
                  <a:pt x="280" y="302"/>
                  <a:pt x="265" y="293"/>
                  <a:pt x="260" y="293"/>
                </a:cubicBezTo>
                <a:cubicBezTo>
                  <a:pt x="254" y="293"/>
                  <a:pt x="254" y="303"/>
                  <a:pt x="254" y="303"/>
                </a:cubicBezTo>
                <a:cubicBezTo>
                  <a:pt x="254" y="303"/>
                  <a:pt x="241" y="297"/>
                  <a:pt x="233" y="298"/>
                </a:cubicBezTo>
                <a:cubicBezTo>
                  <a:pt x="225" y="299"/>
                  <a:pt x="224" y="314"/>
                  <a:pt x="224" y="314"/>
                </a:cubicBezTo>
                <a:cubicBezTo>
                  <a:pt x="213" y="303"/>
                  <a:pt x="213" y="303"/>
                  <a:pt x="213" y="303"/>
                </a:cubicBezTo>
                <a:cubicBezTo>
                  <a:pt x="168" y="315"/>
                  <a:pt x="168" y="315"/>
                  <a:pt x="168" y="315"/>
                </a:cubicBezTo>
                <a:cubicBezTo>
                  <a:pt x="88" y="267"/>
                  <a:pt x="88" y="267"/>
                  <a:pt x="88" y="267"/>
                </a:cubicBezTo>
                <a:cubicBezTo>
                  <a:pt x="75" y="246"/>
                  <a:pt x="75" y="246"/>
                  <a:pt x="75" y="246"/>
                </a:cubicBezTo>
                <a:cubicBezTo>
                  <a:pt x="75" y="246"/>
                  <a:pt x="67" y="253"/>
                  <a:pt x="59" y="253"/>
                </a:cubicBezTo>
                <a:cubicBezTo>
                  <a:pt x="51" y="253"/>
                  <a:pt x="41" y="236"/>
                  <a:pt x="41" y="230"/>
                </a:cubicBezTo>
                <a:cubicBezTo>
                  <a:pt x="41" y="225"/>
                  <a:pt x="13" y="230"/>
                  <a:pt x="13" y="230"/>
                </a:cubicBezTo>
                <a:cubicBezTo>
                  <a:pt x="13" y="230"/>
                  <a:pt x="10" y="255"/>
                  <a:pt x="13" y="263"/>
                </a:cubicBezTo>
                <a:cubicBezTo>
                  <a:pt x="17" y="271"/>
                  <a:pt x="6" y="271"/>
                  <a:pt x="3" y="283"/>
                </a:cubicBezTo>
                <a:cubicBezTo>
                  <a:pt x="0" y="295"/>
                  <a:pt x="16" y="315"/>
                  <a:pt x="21" y="345"/>
                </a:cubicBezTo>
                <a:cubicBezTo>
                  <a:pt x="27" y="374"/>
                  <a:pt x="36" y="386"/>
                  <a:pt x="49" y="402"/>
                </a:cubicBezTo>
                <a:cubicBezTo>
                  <a:pt x="63" y="418"/>
                  <a:pt x="57" y="419"/>
                  <a:pt x="57" y="419"/>
                </a:cubicBezTo>
                <a:cubicBezTo>
                  <a:pt x="57" y="419"/>
                  <a:pt x="77" y="452"/>
                  <a:pt x="79" y="458"/>
                </a:cubicBezTo>
                <a:cubicBezTo>
                  <a:pt x="80" y="463"/>
                  <a:pt x="68" y="469"/>
                  <a:pt x="68" y="469"/>
                </a:cubicBezTo>
                <a:cubicBezTo>
                  <a:pt x="49" y="435"/>
                  <a:pt x="49" y="435"/>
                  <a:pt x="49" y="435"/>
                </a:cubicBezTo>
                <a:cubicBezTo>
                  <a:pt x="49" y="435"/>
                  <a:pt x="48" y="469"/>
                  <a:pt x="48" y="484"/>
                </a:cubicBezTo>
                <a:cubicBezTo>
                  <a:pt x="48" y="499"/>
                  <a:pt x="93" y="576"/>
                  <a:pt x="93" y="576"/>
                </a:cubicBezTo>
                <a:cubicBezTo>
                  <a:pt x="101" y="565"/>
                  <a:pt x="101" y="565"/>
                  <a:pt x="101" y="565"/>
                </a:cubicBezTo>
                <a:cubicBezTo>
                  <a:pt x="125" y="588"/>
                  <a:pt x="125" y="588"/>
                  <a:pt x="125" y="588"/>
                </a:cubicBezTo>
                <a:cubicBezTo>
                  <a:pt x="108" y="592"/>
                  <a:pt x="108" y="592"/>
                  <a:pt x="108" y="592"/>
                </a:cubicBezTo>
                <a:cubicBezTo>
                  <a:pt x="108" y="611"/>
                  <a:pt x="108" y="611"/>
                  <a:pt x="108" y="611"/>
                </a:cubicBezTo>
                <a:cubicBezTo>
                  <a:pt x="136" y="616"/>
                  <a:pt x="136" y="616"/>
                  <a:pt x="136" y="616"/>
                </a:cubicBezTo>
                <a:cubicBezTo>
                  <a:pt x="152" y="620"/>
                  <a:pt x="152" y="620"/>
                  <a:pt x="152" y="620"/>
                </a:cubicBezTo>
                <a:cubicBezTo>
                  <a:pt x="157" y="609"/>
                  <a:pt x="157" y="609"/>
                  <a:pt x="157" y="609"/>
                </a:cubicBezTo>
                <a:cubicBezTo>
                  <a:pt x="180" y="635"/>
                  <a:pt x="180" y="635"/>
                  <a:pt x="180" y="635"/>
                </a:cubicBezTo>
                <a:cubicBezTo>
                  <a:pt x="208" y="597"/>
                  <a:pt x="208" y="597"/>
                  <a:pt x="208" y="597"/>
                </a:cubicBezTo>
                <a:cubicBezTo>
                  <a:pt x="208" y="573"/>
                  <a:pt x="208" y="573"/>
                  <a:pt x="208" y="573"/>
                </a:cubicBezTo>
                <a:cubicBezTo>
                  <a:pt x="218" y="588"/>
                  <a:pt x="218" y="588"/>
                  <a:pt x="218" y="588"/>
                </a:cubicBezTo>
                <a:cubicBezTo>
                  <a:pt x="241" y="567"/>
                  <a:pt x="241" y="567"/>
                  <a:pt x="241" y="567"/>
                </a:cubicBezTo>
                <a:cubicBezTo>
                  <a:pt x="253" y="532"/>
                  <a:pt x="253" y="532"/>
                  <a:pt x="253" y="532"/>
                </a:cubicBezTo>
                <a:cubicBezTo>
                  <a:pt x="272" y="552"/>
                  <a:pt x="272" y="552"/>
                  <a:pt x="272" y="552"/>
                </a:cubicBezTo>
                <a:cubicBezTo>
                  <a:pt x="272" y="552"/>
                  <a:pt x="293" y="549"/>
                  <a:pt x="293" y="540"/>
                </a:cubicBezTo>
                <a:cubicBezTo>
                  <a:pt x="293" y="531"/>
                  <a:pt x="309" y="525"/>
                  <a:pt x="317" y="521"/>
                </a:cubicBezTo>
                <a:cubicBezTo>
                  <a:pt x="325" y="517"/>
                  <a:pt x="311" y="516"/>
                  <a:pt x="307" y="516"/>
                </a:cubicBezTo>
                <a:cubicBezTo>
                  <a:pt x="303" y="516"/>
                  <a:pt x="302" y="475"/>
                  <a:pt x="310" y="469"/>
                </a:cubicBezTo>
                <a:cubicBezTo>
                  <a:pt x="318" y="463"/>
                  <a:pt x="321" y="444"/>
                  <a:pt x="339" y="452"/>
                </a:cubicBezTo>
                <a:cubicBezTo>
                  <a:pt x="355" y="459"/>
                  <a:pt x="344" y="474"/>
                  <a:pt x="341" y="479"/>
                </a:cubicBezTo>
                <a:cubicBezTo>
                  <a:pt x="343" y="476"/>
                  <a:pt x="350" y="468"/>
                  <a:pt x="355" y="464"/>
                </a:cubicBezTo>
                <a:cubicBezTo>
                  <a:pt x="362" y="460"/>
                  <a:pt x="354" y="412"/>
                  <a:pt x="354" y="408"/>
                </a:cubicBezTo>
                <a:cubicBezTo>
                  <a:pt x="354" y="404"/>
                  <a:pt x="355" y="355"/>
                  <a:pt x="351" y="341"/>
                </a:cubicBezTo>
                <a:cubicBezTo>
                  <a:pt x="347" y="326"/>
                  <a:pt x="377" y="302"/>
                  <a:pt x="377" y="302"/>
                </a:cubicBezTo>
                <a:cubicBezTo>
                  <a:pt x="347" y="270"/>
                  <a:pt x="347" y="270"/>
                  <a:pt x="347" y="270"/>
                </a:cubicBezTo>
                <a:lnTo>
                  <a:pt x="318" y="290"/>
                </a:lnTo>
                <a:close/>
                <a:moveTo>
                  <a:pt x="337" y="186"/>
                </a:moveTo>
                <a:cubicBezTo>
                  <a:pt x="337" y="186"/>
                  <a:pt x="347" y="206"/>
                  <a:pt x="350" y="210"/>
                </a:cubicBezTo>
                <a:cubicBezTo>
                  <a:pt x="353" y="214"/>
                  <a:pt x="377" y="208"/>
                  <a:pt x="377" y="208"/>
                </a:cubicBezTo>
                <a:cubicBezTo>
                  <a:pt x="371" y="196"/>
                  <a:pt x="371" y="196"/>
                  <a:pt x="371" y="196"/>
                </a:cubicBezTo>
                <a:cubicBezTo>
                  <a:pt x="371" y="196"/>
                  <a:pt x="399" y="192"/>
                  <a:pt x="383" y="178"/>
                </a:cubicBezTo>
                <a:cubicBezTo>
                  <a:pt x="367" y="165"/>
                  <a:pt x="370" y="180"/>
                  <a:pt x="362" y="164"/>
                </a:cubicBezTo>
                <a:cubicBezTo>
                  <a:pt x="354" y="148"/>
                  <a:pt x="349" y="140"/>
                  <a:pt x="349" y="140"/>
                </a:cubicBezTo>
                <a:cubicBezTo>
                  <a:pt x="333" y="158"/>
                  <a:pt x="333" y="158"/>
                  <a:pt x="333" y="158"/>
                </a:cubicBezTo>
                <a:cubicBezTo>
                  <a:pt x="338" y="169"/>
                  <a:pt x="338" y="169"/>
                  <a:pt x="338" y="169"/>
                </a:cubicBezTo>
                <a:lnTo>
                  <a:pt x="337" y="186"/>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38" name="Freeform 18" descr="© INSCALE GmbH, 05.05.2010&#10;http://www.presentationload.com/"/>
          <p:cNvSpPr>
            <a:spLocks noChangeAspect="1" noEditPoints="1"/>
          </p:cNvSpPr>
          <p:nvPr/>
        </p:nvSpPr>
        <p:spPr bwMode="auto">
          <a:xfrm>
            <a:off x="295908" y="1262392"/>
            <a:ext cx="993855" cy="1593240"/>
          </a:xfrm>
          <a:custGeom>
            <a:avLst/>
            <a:gdLst/>
            <a:ahLst/>
            <a:cxnLst>
              <a:cxn ang="0">
                <a:pos x="29" y="1896"/>
              </a:cxn>
              <a:cxn ang="0">
                <a:pos x="179" y="1217"/>
              </a:cxn>
              <a:cxn ang="0">
                <a:pos x="53" y="1854"/>
              </a:cxn>
              <a:cxn ang="0">
                <a:pos x="558" y="718"/>
              </a:cxn>
              <a:cxn ang="0">
                <a:pos x="57" y="1900"/>
              </a:cxn>
              <a:cxn ang="0">
                <a:pos x="81" y="1968"/>
              </a:cxn>
              <a:cxn ang="0">
                <a:pos x="182" y="2260"/>
              </a:cxn>
              <a:cxn ang="0">
                <a:pos x="1769" y="300"/>
              </a:cxn>
              <a:cxn ang="0">
                <a:pos x="1705" y="333"/>
              </a:cxn>
              <a:cxn ang="0">
                <a:pos x="1652" y="356"/>
              </a:cxn>
              <a:cxn ang="0">
                <a:pos x="1573" y="193"/>
              </a:cxn>
              <a:cxn ang="0">
                <a:pos x="1467" y="236"/>
              </a:cxn>
              <a:cxn ang="0">
                <a:pos x="1402" y="271"/>
              </a:cxn>
              <a:cxn ang="0">
                <a:pos x="1328" y="296"/>
              </a:cxn>
              <a:cxn ang="0">
                <a:pos x="1321" y="362"/>
              </a:cxn>
              <a:cxn ang="0">
                <a:pos x="1302" y="412"/>
              </a:cxn>
              <a:cxn ang="0">
                <a:pos x="1221" y="471"/>
              </a:cxn>
              <a:cxn ang="0">
                <a:pos x="1244" y="519"/>
              </a:cxn>
              <a:cxn ang="0">
                <a:pos x="1165" y="532"/>
              </a:cxn>
              <a:cxn ang="0">
                <a:pos x="1115" y="563"/>
              </a:cxn>
              <a:cxn ang="0">
                <a:pos x="1125" y="614"/>
              </a:cxn>
              <a:cxn ang="0">
                <a:pos x="1044" y="540"/>
              </a:cxn>
              <a:cxn ang="0">
                <a:pos x="995" y="620"/>
              </a:cxn>
              <a:cxn ang="0">
                <a:pos x="951" y="810"/>
              </a:cxn>
              <a:cxn ang="0">
                <a:pos x="785" y="1007"/>
              </a:cxn>
              <a:cxn ang="0">
                <a:pos x="655" y="1027"/>
              </a:cxn>
              <a:cxn ang="0">
                <a:pos x="531" y="1111"/>
              </a:cxn>
              <a:cxn ang="0">
                <a:pos x="390" y="1156"/>
              </a:cxn>
              <a:cxn ang="0">
                <a:pos x="314" y="1164"/>
              </a:cxn>
              <a:cxn ang="0">
                <a:pos x="225" y="1270"/>
              </a:cxn>
              <a:cxn ang="0">
                <a:pos x="81" y="1445"/>
              </a:cxn>
              <a:cxn ang="0">
                <a:pos x="37" y="1429"/>
              </a:cxn>
              <a:cxn ang="0">
                <a:pos x="29" y="1614"/>
              </a:cxn>
              <a:cxn ang="0">
                <a:pos x="99" y="1786"/>
              </a:cxn>
              <a:cxn ang="0">
                <a:pos x="152" y="1903"/>
              </a:cxn>
              <a:cxn ang="0">
                <a:pos x="120" y="1928"/>
              </a:cxn>
              <a:cxn ang="0">
                <a:pos x="180" y="2134"/>
              </a:cxn>
              <a:cxn ang="0">
                <a:pos x="428" y="2585"/>
              </a:cxn>
              <a:cxn ang="0">
                <a:pos x="446" y="2698"/>
              </a:cxn>
              <a:cxn ang="0">
                <a:pos x="387" y="2802"/>
              </a:cxn>
              <a:cxn ang="0">
                <a:pos x="548" y="2954"/>
              </a:cxn>
              <a:cxn ang="0">
                <a:pos x="712" y="2952"/>
              </a:cxn>
              <a:cxn ang="0">
                <a:pos x="810" y="2867"/>
              </a:cxn>
              <a:cxn ang="0">
                <a:pos x="968" y="2789"/>
              </a:cxn>
              <a:cxn ang="0">
                <a:pos x="1146" y="2773"/>
              </a:cxn>
              <a:cxn ang="0">
                <a:pos x="1273" y="2757"/>
              </a:cxn>
              <a:cxn ang="0">
                <a:pos x="1463" y="2571"/>
              </a:cxn>
              <a:cxn ang="0">
                <a:pos x="1680" y="2520"/>
              </a:cxn>
              <a:cxn ang="0">
                <a:pos x="153" y="2242"/>
              </a:cxn>
              <a:cxn ang="0">
                <a:pos x="1382" y="150"/>
              </a:cxn>
              <a:cxn ang="0">
                <a:pos x="1376" y="211"/>
              </a:cxn>
              <a:cxn ang="0">
                <a:pos x="1250" y="347"/>
              </a:cxn>
              <a:cxn ang="0">
                <a:pos x="1421" y="202"/>
              </a:cxn>
              <a:cxn ang="0">
                <a:pos x="1215" y="396"/>
              </a:cxn>
              <a:cxn ang="0">
                <a:pos x="1197" y="401"/>
              </a:cxn>
              <a:cxn ang="0">
                <a:pos x="1009" y="0"/>
              </a:cxn>
              <a:cxn ang="0">
                <a:pos x="1044" y="417"/>
              </a:cxn>
              <a:cxn ang="0">
                <a:pos x="1113" y="424"/>
              </a:cxn>
            </a:cxnLst>
            <a:rect l="0" t="0" r="r" b="b"/>
            <a:pathLst>
              <a:path w="1854" h="2969">
                <a:moveTo>
                  <a:pt x="1270" y="283"/>
                </a:moveTo>
                <a:cubicBezTo>
                  <a:pt x="1280" y="283"/>
                  <a:pt x="1282" y="260"/>
                  <a:pt x="1262" y="264"/>
                </a:cubicBezTo>
                <a:cubicBezTo>
                  <a:pt x="1262" y="264"/>
                  <a:pt x="1259" y="283"/>
                  <a:pt x="1270" y="283"/>
                </a:cubicBezTo>
                <a:close/>
                <a:moveTo>
                  <a:pt x="5" y="1867"/>
                </a:moveTo>
                <a:cubicBezTo>
                  <a:pt x="10" y="1876"/>
                  <a:pt x="29" y="1896"/>
                  <a:pt x="29" y="1896"/>
                </a:cubicBezTo>
                <a:cubicBezTo>
                  <a:pt x="2" y="1839"/>
                  <a:pt x="2" y="1839"/>
                  <a:pt x="2" y="1839"/>
                </a:cubicBezTo>
                <a:cubicBezTo>
                  <a:pt x="2" y="1839"/>
                  <a:pt x="0" y="1858"/>
                  <a:pt x="5" y="1867"/>
                </a:cubicBezTo>
                <a:close/>
                <a:moveTo>
                  <a:pt x="198" y="1195"/>
                </a:moveTo>
                <a:cubicBezTo>
                  <a:pt x="183" y="1198"/>
                  <a:pt x="183" y="1198"/>
                  <a:pt x="183" y="1198"/>
                </a:cubicBezTo>
                <a:cubicBezTo>
                  <a:pt x="179" y="1217"/>
                  <a:pt x="179" y="1217"/>
                  <a:pt x="179" y="1217"/>
                </a:cubicBezTo>
                <a:cubicBezTo>
                  <a:pt x="179" y="1217"/>
                  <a:pt x="186" y="1218"/>
                  <a:pt x="192" y="1218"/>
                </a:cubicBezTo>
                <a:cubicBezTo>
                  <a:pt x="199" y="1218"/>
                  <a:pt x="198" y="1195"/>
                  <a:pt x="198" y="1195"/>
                </a:cubicBezTo>
                <a:close/>
                <a:moveTo>
                  <a:pt x="97" y="1870"/>
                </a:moveTo>
                <a:cubicBezTo>
                  <a:pt x="62" y="1839"/>
                  <a:pt x="62" y="1839"/>
                  <a:pt x="62" y="1839"/>
                </a:cubicBezTo>
                <a:cubicBezTo>
                  <a:pt x="53" y="1854"/>
                  <a:pt x="53" y="1854"/>
                  <a:pt x="53" y="1854"/>
                </a:cubicBezTo>
                <a:cubicBezTo>
                  <a:pt x="93" y="1910"/>
                  <a:pt x="93" y="1910"/>
                  <a:pt x="93" y="1910"/>
                </a:cubicBezTo>
                <a:lnTo>
                  <a:pt x="97" y="1870"/>
                </a:lnTo>
                <a:close/>
                <a:moveTo>
                  <a:pt x="552" y="751"/>
                </a:moveTo>
                <a:cubicBezTo>
                  <a:pt x="552" y="751"/>
                  <a:pt x="574" y="739"/>
                  <a:pt x="570" y="729"/>
                </a:cubicBezTo>
                <a:cubicBezTo>
                  <a:pt x="566" y="718"/>
                  <a:pt x="558" y="718"/>
                  <a:pt x="558" y="718"/>
                </a:cubicBezTo>
                <a:cubicBezTo>
                  <a:pt x="558" y="718"/>
                  <a:pt x="533" y="747"/>
                  <a:pt x="552" y="751"/>
                </a:cubicBezTo>
                <a:close/>
                <a:moveTo>
                  <a:pt x="609" y="717"/>
                </a:moveTo>
                <a:cubicBezTo>
                  <a:pt x="613" y="709"/>
                  <a:pt x="613" y="695"/>
                  <a:pt x="601" y="698"/>
                </a:cubicBezTo>
                <a:cubicBezTo>
                  <a:pt x="597" y="699"/>
                  <a:pt x="605" y="725"/>
                  <a:pt x="609" y="717"/>
                </a:cubicBezTo>
                <a:close/>
                <a:moveTo>
                  <a:pt x="57" y="1900"/>
                </a:moveTo>
                <a:cubicBezTo>
                  <a:pt x="39" y="1892"/>
                  <a:pt x="41" y="1906"/>
                  <a:pt x="41" y="1906"/>
                </a:cubicBezTo>
                <a:cubicBezTo>
                  <a:pt x="41" y="1924"/>
                  <a:pt x="41" y="1924"/>
                  <a:pt x="41" y="1924"/>
                </a:cubicBezTo>
                <a:cubicBezTo>
                  <a:pt x="59" y="1927"/>
                  <a:pt x="59" y="1927"/>
                  <a:pt x="59" y="1927"/>
                </a:cubicBezTo>
                <a:cubicBezTo>
                  <a:pt x="59" y="1944"/>
                  <a:pt x="59" y="1944"/>
                  <a:pt x="59" y="1944"/>
                </a:cubicBezTo>
                <a:cubicBezTo>
                  <a:pt x="81" y="1968"/>
                  <a:pt x="81" y="1968"/>
                  <a:pt x="81" y="1968"/>
                </a:cubicBezTo>
                <a:cubicBezTo>
                  <a:pt x="95" y="1954"/>
                  <a:pt x="95" y="1954"/>
                  <a:pt x="95" y="1954"/>
                </a:cubicBezTo>
                <a:cubicBezTo>
                  <a:pt x="95" y="1954"/>
                  <a:pt x="74" y="1908"/>
                  <a:pt x="57" y="1900"/>
                </a:cubicBezTo>
                <a:close/>
                <a:moveTo>
                  <a:pt x="180" y="2242"/>
                </a:moveTo>
                <a:cubicBezTo>
                  <a:pt x="171" y="2250"/>
                  <a:pt x="171" y="2250"/>
                  <a:pt x="171" y="2250"/>
                </a:cubicBezTo>
                <a:cubicBezTo>
                  <a:pt x="182" y="2260"/>
                  <a:pt x="182" y="2260"/>
                  <a:pt x="182" y="2260"/>
                </a:cubicBezTo>
                <a:cubicBezTo>
                  <a:pt x="182" y="2274"/>
                  <a:pt x="182" y="2274"/>
                  <a:pt x="182" y="2274"/>
                </a:cubicBezTo>
                <a:cubicBezTo>
                  <a:pt x="204" y="2268"/>
                  <a:pt x="204" y="2268"/>
                  <a:pt x="204" y="2268"/>
                </a:cubicBezTo>
                <a:cubicBezTo>
                  <a:pt x="191" y="2254"/>
                  <a:pt x="191" y="2254"/>
                  <a:pt x="191" y="2254"/>
                </a:cubicBezTo>
                <a:lnTo>
                  <a:pt x="180" y="2242"/>
                </a:lnTo>
                <a:close/>
                <a:moveTo>
                  <a:pt x="1769" y="300"/>
                </a:moveTo>
                <a:cubicBezTo>
                  <a:pt x="1767" y="300"/>
                  <a:pt x="1765" y="300"/>
                  <a:pt x="1762" y="300"/>
                </a:cubicBezTo>
                <a:cubicBezTo>
                  <a:pt x="1741" y="300"/>
                  <a:pt x="1724" y="292"/>
                  <a:pt x="1722" y="291"/>
                </a:cubicBezTo>
                <a:cubicBezTo>
                  <a:pt x="1719" y="290"/>
                  <a:pt x="1699" y="309"/>
                  <a:pt x="1699" y="309"/>
                </a:cubicBezTo>
                <a:cubicBezTo>
                  <a:pt x="1710" y="328"/>
                  <a:pt x="1710" y="328"/>
                  <a:pt x="1710" y="328"/>
                </a:cubicBezTo>
                <a:cubicBezTo>
                  <a:pt x="1710" y="328"/>
                  <a:pt x="1707" y="333"/>
                  <a:pt x="1705" y="333"/>
                </a:cubicBezTo>
                <a:cubicBezTo>
                  <a:pt x="1704" y="333"/>
                  <a:pt x="1688" y="322"/>
                  <a:pt x="1688" y="322"/>
                </a:cubicBezTo>
                <a:cubicBezTo>
                  <a:pt x="1688" y="322"/>
                  <a:pt x="1669" y="331"/>
                  <a:pt x="1673" y="340"/>
                </a:cubicBezTo>
                <a:cubicBezTo>
                  <a:pt x="1677" y="348"/>
                  <a:pt x="1695" y="367"/>
                  <a:pt x="1690" y="369"/>
                </a:cubicBezTo>
                <a:cubicBezTo>
                  <a:pt x="1685" y="372"/>
                  <a:pt x="1666" y="382"/>
                  <a:pt x="1666" y="382"/>
                </a:cubicBezTo>
                <a:cubicBezTo>
                  <a:pt x="1666" y="382"/>
                  <a:pt x="1648" y="365"/>
                  <a:pt x="1652" y="356"/>
                </a:cubicBezTo>
                <a:cubicBezTo>
                  <a:pt x="1656" y="348"/>
                  <a:pt x="1664" y="350"/>
                  <a:pt x="1663" y="337"/>
                </a:cubicBezTo>
                <a:cubicBezTo>
                  <a:pt x="1662" y="324"/>
                  <a:pt x="1655" y="325"/>
                  <a:pt x="1660" y="316"/>
                </a:cubicBezTo>
                <a:cubicBezTo>
                  <a:pt x="1665" y="307"/>
                  <a:pt x="1678" y="293"/>
                  <a:pt x="1677" y="291"/>
                </a:cubicBezTo>
                <a:cubicBezTo>
                  <a:pt x="1676" y="288"/>
                  <a:pt x="1640" y="274"/>
                  <a:pt x="1631" y="261"/>
                </a:cubicBezTo>
                <a:cubicBezTo>
                  <a:pt x="1622" y="248"/>
                  <a:pt x="1584" y="198"/>
                  <a:pt x="1573" y="193"/>
                </a:cubicBezTo>
                <a:cubicBezTo>
                  <a:pt x="1561" y="188"/>
                  <a:pt x="1538" y="197"/>
                  <a:pt x="1538" y="197"/>
                </a:cubicBezTo>
                <a:cubicBezTo>
                  <a:pt x="1514" y="171"/>
                  <a:pt x="1514" y="171"/>
                  <a:pt x="1514" y="171"/>
                </a:cubicBezTo>
                <a:cubicBezTo>
                  <a:pt x="1489" y="179"/>
                  <a:pt x="1489" y="179"/>
                  <a:pt x="1489" y="179"/>
                </a:cubicBezTo>
                <a:cubicBezTo>
                  <a:pt x="1500" y="204"/>
                  <a:pt x="1500" y="204"/>
                  <a:pt x="1500" y="204"/>
                </a:cubicBezTo>
                <a:cubicBezTo>
                  <a:pt x="1467" y="236"/>
                  <a:pt x="1467" y="236"/>
                  <a:pt x="1467" y="236"/>
                </a:cubicBezTo>
                <a:cubicBezTo>
                  <a:pt x="1467" y="236"/>
                  <a:pt x="1449" y="215"/>
                  <a:pt x="1451" y="206"/>
                </a:cubicBezTo>
                <a:cubicBezTo>
                  <a:pt x="1446" y="213"/>
                  <a:pt x="1434" y="229"/>
                  <a:pt x="1434" y="234"/>
                </a:cubicBezTo>
                <a:cubicBezTo>
                  <a:pt x="1434" y="241"/>
                  <a:pt x="1417" y="230"/>
                  <a:pt x="1417" y="230"/>
                </a:cubicBezTo>
                <a:cubicBezTo>
                  <a:pt x="1390" y="256"/>
                  <a:pt x="1390" y="256"/>
                  <a:pt x="1390" y="256"/>
                </a:cubicBezTo>
                <a:cubicBezTo>
                  <a:pt x="1402" y="271"/>
                  <a:pt x="1402" y="271"/>
                  <a:pt x="1402" y="271"/>
                </a:cubicBezTo>
                <a:cubicBezTo>
                  <a:pt x="1388" y="285"/>
                  <a:pt x="1388" y="285"/>
                  <a:pt x="1388" y="285"/>
                </a:cubicBezTo>
                <a:cubicBezTo>
                  <a:pt x="1361" y="253"/>
                  <a:pt x="1361" y="253"/>
                  <a:pt x="1361" y="253"/>
                </a:cubicBezTo>
                <a:cubicBezTo>
                  <a:pt x="1356" y="294"/>
                  <a:pt x="1356" y="294"/>
                  <a:pt x="1356" y="294"/>
                </a:cubicBezTo>
                <a:cubicBezTo>
                  <a:pt x="1356" y="294"/>
                  <a:pt x="1342" y="279"/>
                  <a:pt x="1340" y="279"/>
                </a:cubicBezTo>
                <a:cubicBezTo>
                  <a:pt x="1339" y="279"/>
                  <a:pt x="1328" y="296"/>
                  <a:pt x="1328" y="296"/>
                </a:cubicBezTo>
                <a:cubicBezTo>
                  <a:pt x="1314" y="290"/>
                  <a:pt x="1314" y="290"/>
                  <a:pt x="1314" y="290"/>
                </a:cubicBezTo>
                <a:cubicBezTo>
                  <a:pt x="1296" y="315"/>
                  <a:pt x="1296" y="315"/>
                  <a:pt x="1296" y="315"/>
                </a:cubicBezTo>
                <a:cubicBezTo>
                  <a:pt x="1296" y="315"/>
                  <a:pt x="1302" y="334"/>
                  <a:pt x="1311" y="339"/>
                </a:cubicBezTo>
                <a:cubicBezTo>
                  <a:pt x="1319" y="343"/>
                  <a:pt x="1325" y="351"/>
                  <a:pt x="1325" y="351"/>
                </a:cubicBezTo>
                <a:cubicBezTo>
                  <a:pt x="1321" y="362"/>
                  <a:pt x="1321" y="362"/>
                  <a:pt x="1321" y="362"/>
                </a:cubicBezTo>
                <a:cubicBezTo>
                  <a:pt x="1321" y="362"/>
                  <a:pt x="1308" y="367"/>
                  <a:pt x="1299" y="361"/>
                </a:cubicBezTo>
                <a:cubicBezTo>
                  <a:pt x="1291" y="354"/>
                  <a:pt x="1283" y="347"/>
                  <a:pt x="1281" y="347"/>
                </a:cubicBezTo>
                <a:cubicBezTo>
                  <a:pt x="1279" y="347"/>
                  <a:pt x="1276" y="370"/>
                  <a:pt x="1276" y="370"/>
                </a:cubicBezTo>
                <a:cubicBezTo>
                  <a:pt x="1293" y="390"/>
                  <a:pt x="1293" y="390"/>
                  <a:pt x="1293" y="390"/>
                </a:cubicBezTo>
                <a:cubicBezTo>
                  <a:pt x="1302" y="412"/>
                  <a:pt x="1302" y="412"/>
                  <a:pt x="1302" y="412"/>
                </a:cubicBezTo>
                <a:cubicBezTo>
                  <a:pt x="1285" y="406"/>
                  <a:pt x="1285" y="406"/>
                  <a:pt x="1285" y="406"/>
                </a:cubicBezTo>
                <a:cubicBezTo>
                  <a:pt x="1261" y="378"/>
                  <a:pt x="1261" y="378"/>
                  <a:pt x="1261" y="378"/>
                </a:cubicBezTo>
                <a:cubicBezTo>
                  <a:pt x="1261" y="378"/>
                  <a:pt x="1245" y="395"/>
                  <a:pt x="1237" y="404"/>
                </a:cubicBezTo>
                <a:cubicBezTo>
                  <a:pt x="1228" y="414"/>
                  <a:pt x="1215" y="406"/>
                  <a:pt x="1212" y="418"/>
                </a:cubicBezTo>
                <a:cubicBezTo>
                  <a:pt x="1208" y="430"/>
                  <a:pt x="1210" y="472"/>
                  <a:pt x="1221" y="471"/>
                </a:cubicBezTo>
                <a:cubicBezTo>
                  <a:pt x="1231" y="471"/>
                  <a:pt x="1245" y="453"/>
                  <a:pt x="1245" y="453"/>
                </a:cubicBezTo>
                <a:cubicBezTo>
                  <a:pt x="1245" y="453"/>
                  <a:pt x="1242" y="478"/>
                  <a:pt x="1233" y="488"/>
                </a:cubicBezTo>
                <a:cubicBezTo>
                  <a:pt x="1224" y="498"/>
                  <a:pt x="1213" y="491"/>
                  <a:pt x="1212" y="502"/>
                </a:cubicBezTo>
                <a:cubicBezTo>
                  <a:pt x="1212" y="512"/>
                  <a:pt x="1213" y="520"/>
                  <a:pt x="1216" y="520"/>
                </a:cubicBezTo>
                <a:cubicBezTo>
                  <a:pt x="1218" y="520"/>
                  <a:pt x="1232" y="516"/>
                  <a:pt x="1244" y="519"/>
                </a:cubicBezTo>
                <a:cubicBezTo>
                  <a:pt x="1256" y="522"/>
                  <a:pt x="1279" y="532"/>
                  <a:pt x="1279" y="532"/>
                </a:cubicBezTo>
                <a:cubicBezTo>
                  <a:pt x="1279" y="532"/>
                  <a:pt x="1214" y="538"/>
                  <a:pt x="1203" y="536"/>
                </a:cubicBezTo>
                <a:cubicBezTo>
                  <a:pt x="1193" y="533"/>
                  <a:pt x="1201" y="517"/>
                  <a:pt x="1185" y="517"/>
                </a:cubicBezTo>
                <a:cubicBezTo>
                  <a:pt x="1169" y="518"/>
                  <a:pt x="1164" y="518"/>
                  <a:pt x="1161" y="520"/>
                </a:cubicBezTo>
                <a:cubicBezTo>
                  <a:pt x="1157" y="521"/>
                  <a:pt x="1165" y="532"/>
                  <a:pt x="1165" y="532"/>
                </a:cubicBezTo>
                <a:cubicBezTo>
                  <a:pt x="1147" y="532"/>
                  <a:pt x="1147" y="532"/>
                  <a:pt x="1147" y="532"/>
                </a:cubicBezTo>
                <a:cubicBezTo>
                  <a:pt x="1147" y="532"/>
                  <a:pt x="1136" y="504"/>
                  <a:pt x="1132" y="504"/>
                </a:cubicBezTo>
                <a:cubicBezTo>
                  <a:pt x="1127" y="504"/>
                  <a:pt x="1111" y="508"/>
                  <a:pt x="1113" y="516"/>
                </a:cubicBezTo>
                <a:cubicBezTo>
                  <a:pt x="1115" y="525"/>
                  <a:pt x="1135" y="532"/>
                  <a:pt x="1130" y="535"/>
                </a:cubicBezTo>
                <a:cubicBezTo>
                  <a:pt x="1126" y="538"/>
                  <a:pt x="1114" y="560"/>
                  <a:pt x="1115" y="563"/>
                </a:cubicBezTo>
                <a:cubicBezTo>
                  <a:pt x="1115" y="566"/>
                  <a:pt x="1134" y="599"/>
                  <a:pt x="1144" y="598"/>
                </a:cubicBezTo>
                <a:cubicBezTo>
                  <a:pt x="1153" y="598"/>
                  <a:pt x="1163" y="590"/>
                  <a:pt x="1163" y="590"/>
                </a:cubicBezTo>
                <a:cubicBezTo>
                  <a:pt x="1154" y="608"/>
                  <a:pt x="1154" y="608"/>
                  <a:pt x="1154" y="608"/>
                </a:cubicBezTo>
                <a:cubicBezTo>
                  <a:pt x="1166" y="639"/>
                  <a:pt x="1166" y="639"/>
                  <a:pt x="1166" y="639"/>
                </a:cubicBezTo>
                <a:cubicBezTo>
                  <a:pt x="1125" y="614"/>
                  <a:pt x="1125" y="614"/>
                  <a:pt x="1125" y="614"/>
                </a:cubicBezTo>
                <a:cubicBezTo>
                  <a:pt x="1125" y="614"/>
                  <a:pt x="1114" y="626"/>
                  <a:pt x="1125" y="642"/>
                </a:cubicBezTo>
                <a:cubicBezTo>
                  <a:pt x="1135" y="658"/>
                  <a:pt x="1124" y="687"/>
                  <a:pt x="1124" y="687"/>
                </a:cubicBezTo>
                <a:cubicBezTo>
                  <a:pt x="1044" y="571"/>
                  <a:pt x="1044" y="571"/>
                  <a:pt x="1044" y="571"/>
                </a:cubicBezTo>
                <a:cubicBezTo>
                  <a:pt x="1044" y="571"/>
                  <a:pt x="1044" y="556"/>
                  <a:pt x="1048" y="554"/>
                </a:cubicBezTo>
                <a:cubicBezTo>
                  <a:pt x="1051" y="551"/>
                  <a:pt x="1046" y="540"/>
                  <a:pt x="1044" y="540"/>
                </a:cubicBezTo>
                <a:cubicBezTo>
                  <a:pt x="1042" y="540"/>
                  <a:pt x="1037" y="560"/>
                  <a:pt x="1028" y="565"/>
                </a:cubicBezTo>
                <a:cubicBezTo>
                  <a:pt x="1019" y="571"/>
                  <a:pt x="1012" y="580"/>
                  <a:pt x="1012" y="582"/>
                </a:cubicBezTo>
                <a:cubicBezTo>
                  <a:pt x="1012" y="585"/>
                  <a:pt x="1023" y="596"/>
                  <a:pt x="1021" y="596"/>
                </a:cubicBezTo>
                <a:cubicBezTo>
                  <a:pt x="1020" y="596"/>
                  <a:pt x="1005" y="591"/>
                  <a:pt x="998" y="600"/>
                </a:cubicBezTo>
                <a:cubicBezTo>
                  <a:pt x="992" y="610"/>
                  <a:pt x="995" y="620"/>
                  <a:pt x="995" y="620"/>
                </a:cubicBezTo>
                <a:cubicBezTo>
                  <a:pt x="995" y="620"/>
                  <a:pt x="961" y="623"/>
                  <a:pt x="954" y="657"/>
                </a:cubicBezTo>
                <a:cubicBezTo>
                  <a:pt x="947" y="692"/>
                  <a:pt x="961" y="733"/>
                  <a:pt x="961" y="733"/>
                </a:cubicBezTo>
                <a:cubicBezTo>
                  <a:pt x="961" y="733"/>
                  <a:pt x="983" y="755"/>
                  <a:pt x="983" y="761"/>
                </a:cubicBezTo>
                <a:cubicBezTo>
                  <a:pt x="983" y="766"/>
                  <a:pt x="969" y="775"/>
                  <a:pt x="963" y="783"/>
                </a:cubicBezTo>
                <a:cubicBezTo>
                  <a:pt x="957" y="791"/>
                  <a:pt x="951" y="810"/>
                  <a:pt x="951" y="810"/>
                </a:cubicBezTo>
                <a:cubicBezTo>
                  <a:pt x="951" y="810"/>
                  <a:pt x="932" y="810"/>
                  <a:pt x="922" y="822"/>
                </a:cubicBezTo>
                <a:cubicBezTo>
                  <a:pt x="913" y="834"/>
                  <a:pt x="916" y="853"/>
                  <a:pt x="914" y="853"/>
                </a:cubicBezTo>
                <a:cubicBezTo>
                  <a:pt x="913" y="853"/>
                  <a:pt x="899" y="854"/>
                  <a:pt x="899" y="854"/>
                </a:cubicBezTo>
                <a:cubicBezTo>
                  <a:pt x="899" y="854"/>
                  <a:pt x="889" y="922"/>
                  <a:pt x="875" y="937"/>
                </a:cubicBezTo>
                <a:cubicBezTo>
                  <a:pt x="861" y="952"/>
                  <a:pt x="807" y="992"/>
                  <a:pt x="785" y="1007"/>
                </a:cubicBezTo>
                <a:cubicBezTo>
                  <a:pt x="763" y="1021"/>
                  <a:pt x="699" y="1036"/>
                  <a:pt x="697" y="1036"/>
                </a:cubicBezTo>
                <a:cubicBezTo>
                  <a:pt x="696" y="1037"/>
                  <a:pt x="675" y="1055"/>
                  <a:pt x="672" y="1053"/>
                </a:cubicBezTo>
                <a:cubicBezTo>
                  <a:pt x="670" y="1052"/>
                  <a:pt x="656" y="1043"/>
                  <a:pt x="646" y="1043"/>
                </a:cubicBezTo>
                <a:cubicBezTo>
                  <a:pt x="635" y="1043"/>
                  <a:pt x="628" y="1035"/>
                  <a:pt x="629" y="1033"/>
                </a:cubicBezTo>
                <a:cubicBezTo>
                  <a:pt x="630" y="1031"/>
                  <a:pt x="655" y="1027"/>
                  <a:pt x="655" y="1027"/>
                </a:cubicBezTo>
                <a:cubicBezTo>
                  <a:pt x="655" y="1027"/>
                  <a:pt x="628" y="1024"/>
                  <a:pt x="623" y="1032"/>
                </a:cubicBezTo>
                <a:cubicBezTo>
                  <a:pt x="618" y="1040"/>
                  <a:pt x="607" y="1058"/>
                  <a:pt x="604" y="1058"/>
                </a:cubicBezTo>
                <a:cubicBezTo>
                  <a:pt x="601" y="1058"/>
                  <a:pt x="600" y="1089"/>
                  <a:pt x="581" y="1092"/>
                </a:cubicBezTo>
                <a:cubicBezTo>
                  <a:pt x="562" y="1094"/>
                  <a:pt x="547" y="1098"/>
                  <a:pt x="547" y="1098"/>
                </a:cubicBezTo>
                <a:cubicBezTo>
                  <a:pt x="547" y="1098"/>
                  <a:pt x="534" y="1111"/>
                  <a:pt x="531" y="1111"/>
                </a:cubicBezTo>
                <a:cubicBezTo>
                  <a:pt x="528" y="1111"/>
                  <a:pt x="508" y="1109"/>
                  <a:pt x="508" y="1109"/>
                </a:cubicBezTo>
                <a:cubicBezTo>
                  <a:pt x="508" y="1109"/>
                  <a:pt x="480" y="1146"/>
                  <a:pt x="466" y="1152"/>
                </a:cubicBezTo>
                <a:cubicBezTo>
                  <a:pt x="452" y="1158"/>
                  <a:pt x="430" y="1168"/>
                  <a:pt x="430" y="1168"/>
                </a:cubicBezTo>
                <a:cubicBezTo>
                  <a:pt x="430" y="1168"/>
                  <a:pt x="414" y="1169"/>
                  <a:pt x="407" y="1168"/>
                </a:cubicBezTo>
                <a:cubicBezTo>
                  <a:pt x="400" y="1166"/>
                  <a:pt x="402" y="1153"/>
                  <a:pt x="390" y="1156"/>
                </a:cubicBezTo>
                <a:cubicBezTo>
                  <a:pt x="378" y="1159"/>
                  <a:pt x="362" y="1177"/>
                  <a:pt x="361" y="1172"/>
                </a:cubicBezTo>
                <a:cubicBezTo>
                  <a:pt x="359" y="1167"/>
                  <a:pt x="354" y="1147"/>
                  <a:pt x="359" y="1142"/>
                </a:cubicBezTo>
                <a:cubicBezTo>
                  <a:pt x="364" y="1136"/>
                  <a:pt x="355" y="1128"/>
                  <a:pt x="355" y="1128"/>
                </a:cubicBezTo>
                <a:cubicBezTo>
                  <a:pt x="355" y="1128"/>
                  <a:pt x="354" y="1148"/>
                  <a:pt x="346" y="1155"/>
                </a:cubicBezTo>
                <a:cubicBezTo>
                  <a:pt x="338" y="1161"/>
                  <a:pt x="312" y="1164"/>
                  <a:pt x="314" y="1164"/>
                </a:cubicBezTo>
                <a:cubicBezTo>
                  <a:pt x="316" y="1164"/>
                  <a:pt x="340" y="1169"/>
                  <a:pt x="331" y="1177"/>
                </a:cubicBezTo>
                <a:cubicBezTo>
                  <a:pt x="321" y="1184"/>
                  <a:pt x="309" y="1191"/>
                  <a:pt x="303" y="1194"/>
                </a:cubicBezTo>
                <a:cubicBezTo>
                  <a:pt x="297" y="1197"/>
                  <a:pt x="287" y="1204"/>
                  <a:pt x="286" y="1205"/>
                </a:cubicBezTo>
                <a:cubicBezTo>
                  <a:pt x="286" y="1207"/>
                  <a:pt x="269" y="1227"/>
                  <a:pt x="258" y="1233"/>
                </a:cubicBezTo>
                <a:cubicBezTo>
                  <a:pt x="247" y="1239"/>
                  <a:pt x="229" y="1267"/>
                  <a:pt x="225" y="1270"/>
                </a:cubicBezTo>
                <a:cubicBezTo>
                  <a:pt x="221" y="1272"/>
                  <a:pt x="210" y="1294"/>
                  <a:pt x="207" y="1297"/>
                </a:cubicBezTo>
                <a:cubicBezTo>
                  <a:pt x="203" y="1299"/>
                  <a:pt x="157" y="1326"/>
                  <a:pt x="140" y="1340"/>
                </a:cubicBezTo>
                <a:cubicBezTo>
                  <a:pt x="124" y="1354"/>
                  <a:pt x="107" y="1382"/>
                  <a:pt x="107" y="1391"/>
                </a:cubicBezTo>
                <a:cubicBezTo>
                  <a:pt x="107" y="1401"/>
                  <a:pt x="101" y="1438"/>
                  <a:pt x="101" y="1438"/>
                </a:cubicBezTo>
                <a:cubicBezTo>
                  <a:pt x="101" y="1438"/>
                  <a:pt x="86" y="1444"/>
                  <a:pt x="81" y="1445"/>
                </a:cubicBezTo>
                <a:cubicBezTo>
                  <a:pt x="76" y="1446"/>
                  <a:pt x="76" y="1434"/>
                  <a:pt x="73" y="1427"/>
                </a:cubicBezTo>
                <a:cubicBezTo>
                  <a:pt x="69" y="1420"/>
                  <a:pt x="64" y="1409"/>
                  <a:pt x="64" y="1405"/>
                </a:cubicBezTo>
                <a:cubicBezTo>
                  <a:pt x="64" y="1401"/>
                  <a:pt x="65" y="1356"/>
                  <a:pt x="65" y="1356"/>
                </a:cubicBezTo>
                <a:cubicBezTo>
                  <a:pt x="65" y="1356"/>
                  <a:pt x="64" y="1341"/>
                  <a:pt x="46" y="1366"/>
                </a:cubicBezTo>
                <a:cubicBezTo>
                  <a:pt x="29" y="1392"/>
                  <a:pt x="37" y="1429"/>
                  <a:pt x="37" y="1429"/>
                </a:cubicBezTo>
                <a:cubicBezTo>
                  <a:pt x="37" y="1429"/>
                  <a:pt x="12" y="1451"/>
                  <a:pt x="20" y="1466"/>
                </a:cubicBezTo>
                <a:cubicBezTo>
                  <a:pt x="28" y="1481"/>
                  <a:pt x="47" y="1506"/>
                  <a:pt x="47" y="1506"/>
                </a:cubicBezTo>
                <a:cubicBezTo>
                  <a:pt x="44" y="1532"/>
                  <a:pt x="44" y="1532"/>
                  <a:pt x="44" y="1532"/>
                </a:cubicBezTo>
                <a:cubicBezTo>
                  <a:pt x="44" y="1532"/>
                  <a:pt x="56" y="1548"/>
                  <a:pt x="54" y="1562"/>
                </a:cubicBezTo>
                <a:cubicBezTo>
                  <a:pt x="52" y="1576"/>
                  <a:pt x="31" y="1605"/>
                  <a:pt x="29" y="1614"/>
                </a:cubicBezTo>
                <a:cubicBezTo>
                  <a:pt x="26" y="1622"/>
                  <a:pt x="25" y="1698"/>
                  <a:pt x="25" y="1698"/>
                </a:cubicBezTo>
                <a:cubicBezTo>
                  <a:pt x="25" y="1698"/>
                  <a:pt x="64" y="1737"/>
                  <a:pt x="65" y="1746"/>
                </a:cubicBezTo>
                <a:cubicBezTo>
                  <a:pt x="66" y="1755"/>
                  <a:pt x="66" y="1767"/>
                  <a:pt x="69" y="1770"/>
                </a:cubicBezTo>
                <a:cubicBezTo>
                  <a:pt x="72" y="1773"/>
                  <a:pt x="89" y="1791"/>
                  <a:pt x="89" y="1791"/>
                </a:cubicBezTo>
                <a:cubicBezTo>
                  <a:pt x="99" y="1786"/>
                  <a:pt x="99" y="1786"/>
                  <a:pt x="99" y="1786"/>
                </a:cubicBezTo>
                <a:cubicBezTo>
                  <a:pt x="109" y="1804"/>
                  <a:pt x="109" y="1804"/>
                  <a:pt x="109" y="1804"/>
                </a:cubicBezTo>
                <a:cubicBezTo>
                  <a:pt x="108" y="1818"/>
                  <a:pt x="108" y="1818"/>
                  <a:pt x="108" y="1818"/>
                </a:cubicBezTo>
                <a:cubicBezTo>
                  <a:pt x="108" y="1818"/>
                  <a:pt x="162" y="1857"/>
                  <a:pt x="160" y="1866"/>
                </a:cubicBezTo>
                <a:cubicBezTo>
                  <a:pt x="158" y="1875"/>
                  <a:pt x="148" y="1882"/>
                  <a:pt x="148" y="1882"/>
                </a:cubicBezTo>
                <a:cubicBezTo>
                  <a:pt x="148" y="1882"/>
                  <a:pt x="154" y="1897"/>
                  <a:pt x="152" y="1903"/>
                </a:cubicBezTo>
                <a:cubicBezTo>
                  <a:pt x="150" y="1910"/>
                  <a:pt x="162" y="1919"/>
                  <a:pt x="162" y="1919"/>
                </a:cubicBezTo>
                <a:cubicBezTo>
                  <a:pt x="162" y="1919"/>
                  <a:pt x="148" y="1940"/>
                  <a:pt x="148" y="1938"/>
                </a:cubicBezTo>
                <a:cubicBezTo>
                  <a:pt x="148" y="1937"/>
                  <a:pt x="120" y="1897"/>
                  <a:pt x="118" y="1892"/>
                </a:cubicBezTo>
                <a:cubicBezTo>
                  <a:pt x="115" y="1887"/>
                  <a:pt x="107" y="1913"/>
                  <a:pt x="107" y="1913"/>
                </a:cubicBezTo>
                <a:cubicBezTo>
                  <a:pt x="120" y="1928"/>
                  <a:pt x="120" y="1928"/>
                  <a:pt x="120" y="1928"/>
                </a:cubicBezTo>
                <a:cubicBezTo>
                  <a:pt x="120" y="1928"/>
                  <a:pt x="129" y="1953"/>
                  <a:pt x="118" y="1959"/>
                </a:cubicBezTo>
                <a:cubicBezTo>
                  <a:pt x="107" y="1964"/>
                  <a:pt x="97" y="1966"/>
                  <a:pt x="97" y="1971"/>
                </a:cubicBezTo>
                <a:cubicBezTo>
                  <a:pt x="97" y="1976"/>
                  <a:pt x="95" y="1976"/>
                  <a:pt x="95" y="1976"/>
                </a:cubicBezTo>
                <a:cubicBezTo>
                  <a:pt x="95" y="1976"/>
                  <a:pt x="172" y="2057"/>
                  <a:pt x="175" y="2082"/>
                </a:cubicBezTo>
                <a:cubicBezTo>
                  <a:pt x="178" y="2107"/>
                  <a:pt x="174" y="2129"/>
                  <a:pt x="180" y="2134"/>
                </a:cubicBezTo>
                <a:cubicBezTo>
                  <a:pt x="186" y="2140"/>
                  <a:pt x="244" y="2185"/>
                  <a:pt x="250" y="2201"/>
                </a:cubicBezTo>
                <a:cubicBezTo>
                  <a:pt x="255" y="2217"/>
                  <a:pt x="245" y="2223"/>
                  <a:pt x="255" y="2233"/>
                </a:cubicBezTo>
                <a:cubicBezTo>
                  <a:pt x="266" y="2243"/>
                  <a:pt x="297" y="2275"/>
                  <a:pt x="299" y="2289"/>
                </a:cubicBezTo>
                <a:cubicBezTo>
                  <a:pt x="301" y="2303"/>
                  <a:pt x="315" y="2402"/>
                  <a:pt x="331" y="2430"/>
                </a:cubicBezTo>
                <a:cubicBezTo>
                  <a:pt x="347" y="2457"/>
                  <a:pt x="428" y="2575"/>
                  <a:pt x="428" y="2585"/>
                </a:cubicBezTo>
                <a:cubicBezTo>
                  <a:pt x="429" y="2595"/>
                  <a:pt x="435" y="2622"/>
                  <a:pt x="435" y="2622"/>
                </a:cubicBezTo>
                <a:cubicBezTo>
                  <a:pt x="435" y="2622"/>
                  <a:pt x="422" y="2627"/>
                  <a:pt x="423" y="2628"/>
                </a:cubicBezTo>
                <a:cubicBezTo>
                  <a:pt x="425" y="2629"/>
                  <a:pt x="443" y="2659"/>
                  <a:pt x="443" y="2659"/>
                </a:cubicBezTo>
                <a:cubicBezTo>
                  <a:pt x="433" y="2683"/>
                  <a:pt x="433" y="2683"/>
                  <a:pt x="433" y="2683"/>
                </a:cubicBezTo>
                <a:cubicBezTo>
                  <a:pt x="446" y="2698"/>
                  <a:pt x="446" y="2698"/>
                  <a:pt x="446" y="2698"/>
                </a:cubicBezTo>
                <a:cubicBezTo>
                  <a:pt x="434" y="2705"/>
                  <a:pt x="434" y="2705"/>
                  <a:pt x="434" y="2705"/>
                </a:cubicBezTo>
                <a:cubicBezTo>
                  <a:pt x="434" y="2705"/>
                  <a:pt x="445" y="2727"/>
                  <a:pt x="448" y="2736"/>
                </a:cubicBezTo>
                <a:cubicBezTo>
                  <a:pt x="451" y="2745"/>
                  <a:pt x="455" y="2779"/>
                  <a:pt x="439" y="2796"/>
                </a:cubicBezTo>
                <a:cubicBezTo>
                  <a:pt x="424" y="2812"/>
                  <a:pt x="417" y="2823"/>
                  <a:pt x="409" y="2819"/>
                </a:cubicBezTo>
                <a:cubicBezTo>
                  <a:pt x="400" y="2816"/>
                  <a:pt x="387" y="2802"/>
                  <a:pt x="387" y="2802"/>
                </a:cubicBezTo>
                <a:cubicBezTo>
                  <a:pt x="383" y="2825"/>
                  <a:pt x="383" y="2825"/>
                  <a:pt x="383" y="2825"/>
                </a:cubicBezTo>
                <a:cubicBezTo>
                  <a:pt x="383" y="2825"/>
                  <a:pt x="390" y="2908"/>
                  <a:pt x="405" y="2906"/>
                </a:cubicBezTo>
                <a:cubicBezTo>
                  <a:pt x="419" y="2905"/>
                  <a:pt x="410" y="2888"/>
                  <a:pt x="428" y="2896"/>
                </a:cubicBezTo>
                <a:cubicBezTo>
                  <a:pt x="447" y="2905"/>
                  <a:pt x="514" y="2955"/>
                  <a:pt x="514" y="2955"/>
                </a:cubicBezTo>
                <a:cubicBezTo>
                  <a:pt x="514" y="2955"/>
                  <a:pt x="537" y="2950"/>
                  <a:pt x="548" y="2954"/>
                </a:cubicBezTo>
                <a:cubicBezTo>
                  <a:pt x="559" y="2958"/>
                  <a:pt x="557" y="2966"/>
                  <a:pt x="576" y="2966"/>
                </a:cubicBezTo>
                <a:cubicBezTo>
                  <a:pt x="596" y="2966"/>
                  <a:pt x="619" y="2966"/>
                  <a:pt x="621" y="2965"/>
                </a:cubicBezTo>
                <a:cubicBezTo>
                  <a:pt x="623" y="2965"/>
                  <a:pt x="646" y="2957"/>
                  <a:pt x="655" y="2959"/>
                </a:cubicBezTo>
                <a:cubicBezTo>
                  <a:pt x="664" y="2960"/>
                  <a:pt x="680" y="2969"/>
                  <a:pt x="685" y="2967"/>
                </a:cubicBezTo>
                <a:cubicBezTo>
                  <a:pt x="690" y="2966"/>
                  <a:pt x="693" y="2954"/>
                  <a:pt x="712" y="2952"/>
                </a:cubicBezTo>
                <a:cubicBezTo>
                  <a:pt x="732" y="2950"/>
                  <a:pt x="737" y="2954"/>
                  <a:pt x="740" y="2950"/>
                </a:cubicBezTo>
                <a:cubicBezTo>
                  <a:pt x="742" y="2946"/>
                  <a:pt x="759" y="2934"/>
                  <a:pt x="763" y="2929"/>
                </a:cubicBezTo>
                <a:cubicBezTo>
                  <a:pt x="766" y="2925"/>
                  <a:pt x="767" y="2909"/>
                  <a:pt x="767" y="2909"/>
                </a:cubicBezTo>
                <a:cubicBezTo>
                  <a:pt x="767" y="2909"/>
                  <a:pt x="774" y="2911"/>
                  <a:pt x="786" y="2896"/>
                </a:cubicBezTo>
                <a:cubicBezTo>
                  <a:pt x="798" y="2881"/>
                  <a:pt x="785" y="2874"/>
                  <a:pt x="810" y="2867"/>
                </a:cubicBezTo>
                <a:cubicBezTo>
                  <a:pt x="835" y="2861"/>
                  <a:pt x="845" y="2872"/>
                  <a:pt x="849" y="2869"/>
                </a:cubicBezTo>
                <a:cubicBezTo>
                  <a:pt x="852" y="2866"/>
                  <a:pt x="869" y="2853"/>
                  <a:pt x="869" y="2851"/>
                </a:cubicBezTo>
                <a:cubicBezTo>
                  <a:pt x="869" y="2850"/>
                  <a:pt x="859" y="2843"/>
                  <a:pt x="870" y="2828"/>
                </a:cubicBezTo>
                <a:cubicBezTo>
                  <a:pt x="882" y="2814"/>
                  <a:pt x="910" y="2790"/>
                  <a:pt x="910" y="2790"/>
                </a:cubicBezTo>
                <a:cubicBezTo>
                  <a:pt x="910" y="2790"/>
                  <a:pt x="967" y="2791"/>
                  <a:pt x="968" y="2789"/>
                </a:cubicBezTo>
                <a:cubicBezTo>
                  <a:pt x="969" y="2786"/>
                  <a:pt x="999" y="2767"/>
                  <a:pt x="1014" y="2767"/>
                </a:cubicBezTo>
                <a:cubicBezTo>
                  <a:pt x="1029" y="2767"/>
                  <a:pt x="1060" y="2757"/>
                  <a:pt x="1071" y="2756"/>
                </a:cubicBezTo>
                <a:cubicBezTo>
                  <a:pt x="1083" y="2755"/>
                  <a:pt x="1084" y="2764"/>
                  <a:pt x="1098" y="2764"/>
                </a:cubicBezTo>
                <a:cubicBezTo>
                  <a:pt x="1112" y="2763"/>
                  <a:pt x="1133" y="2760"/>
                  <a:pt x="1133" y="2760"/>
                </a:cubicBezTo>
                <a:cubicBezTo>
                  <a:pt x="1133" y="2760"/>
                  <a:pt x="1138" y="2773"/>
                  <a:pt x="1146" y="2773"/>
                </a:cubicBezTo>
                <a:cubicBezTo>
                  <a:pt x="1155" y="2773"/>
                  <a:pt x="1151" y="2763"/>
                  <a:pt x="1168" y="2763"/>
                </a:cubicBezTo>
                <a:cubicBezTo>
                  <a:pt x="1185" y="2762"/>
                  <a:pt x="1220" y="2753"/>
                  <a:pt x="1220" y="2753"/>
                </a:cubicBezTo>
                <a:cubicBezTo>
                  <a:pt x="1239" y="2746"/>
                  <a:pt x="1239" y="2746"/>
                  <a:pt x="1239" y="2746"/>
                </a:cubicBezTo>
                <a:cubicBezTo>
                  <a:pt x="1239" y="2746"/>
                  <a:pt x="1257" y="2778"/>
                  <a:pt x="1258" y="2776"/>
                </a:cubicBezTo>
                <a:cubicBezTo>
                  <a:pt x="1258" y="2774"/>
                  <a:pt x="1273" y="2758"/>
                  <a:pt x="1273" y="2757"/>
                </a:cubicBezTo>
                <a:cubicBezTo>
                  <a:pt x="1273" y="2755"/>
                  <a:pt x="1299" y="2750"/>
                  <a:pt x="1299" y="2750"/>
                </a:cubicBezTo>
                <a:cubicBezTo>
                  <a:pt x="1330" y="2701"/>
                  <a:pt x="1330" y="2701"/>
                  <a:pt x="1330" y="2701"/>
                </a:cubicBezTo>
                <a:cubicBezTo>
                  <a:pt x="1330" y="2701"/>
                  <a:pt x="1338" y="2636"/>
                  <a:pt x="1358" y="2627"/>
                </a:cubicBezTo>
                <a:cubicBezTo>
                  <a:pt x="1377" y="2618"/>
                  <a:pt x="1393" y="2625"/>
                  <a:pt x="1413" y="2610"/>
                </a:cubicBezTo>
                <a:cubicBezTo>
                  <a:pt x="1433" y="2595"/>
                  <a:pt x="1450" y="2573"/>
                  <a:pt x="1463" y="2571"/>
                </a:cubicBezTo>
                <a:cubicBezTo>
                  <a:pt x="1475" y="2568"/>
                  <a:pt x="1483" y="2567"/>
                  <a:pt x="1486" y="2564"/>
                </a:cubicBezTo>
                <a:cubicBezTo>
                  <a:pt x="1489" y="2561"/>
                  <a:pt x="1531" y="2525"/>
                  <a:pt x="1531" y="2525"/>
                </a:cubicBezTo>
                <a:cubicBezTo>
                  <a:pt x="1563" y="2520"/>
                  <a:pt x="1563" y="2520"/>
                  <a:pt x="1563" y="2520"/>
                </a:cubicBezTo>
                <a:cubicBezTo>
                  <a:pt x="1580" y="2523"/>
                  <a:pt x="1580" y="2523"/>
                  <a:pt x="1580" y="2523"/>
                </a:cubicBezTo>
                <a:cubicBezTo>
                  <a:pt x="1580" y="2523"/>
                  <a:pt x="1669" y="2528"/>
                  <a:pt x="1680" y="2520"/>
                </a:cubicBezTo>
                <a:cubicBezTo>
                  <a:pt x="1690" y="2512"/>
                  <a:pt x="1728" y="2494"/>
                  <a:pt x="1738" y="2491"/>
                </a:cubicBezTo>
                <a:cubicBezTo>
                  <a:pt x="1749" y="2489"/>
                  <a:pt x="1762" y="2490"/>
                  <a:pt x="1774" y="2482"/>
                </a:cubicBezTo>
                <a:cubicBezTo>
                  <a:pt x="1786" y="2474"/>
                  <a:pt x="1834" y="2435"/>
                  <a:pt x="1854" y="2431"/>
                </a:cubicBezTo>
                <a:lnTo>
                  <a:pt x="1769" y="300"/>
                </a:lnTo>
                <a:close/>
                <a:moveTo>
                  <a:pt x="153" y="2242"/>
                </a:moveTo>
                <a:cubicBezTo>
                  <a:pt x="170" y="2229"/>
                  <a:pt x="170" y="2229"/>
                  <a:pt x="170" y="2229"/>
                </a:cubicBezTo>
                <a:cubicBezTo>
                  <a:pt x="160" y="2213"/>
                  <a:pt x="160" y="2213"/>
                  <a:pt x="160" y="2213"/>
                </a:cubicBezTo>
                <a:lnTo>
                  <a:pt x="153" y="2242"/>
                </a:lnTo>
                <a:close/>
                <a:moveTo>
                  <a:pt x="1400" y="159"/>
                </a:moveTo>
                <a:cubicBezTo>
                  <a:pt x="1400" y="150"/>
                  <a:pt x="1393" y="139"/>
                  <a:pt x="1382" y="150"/>
                </a:cubicBezTo>
                <a:cubicBezTo>
                  <a:pt x="1382" y="150"/>
                  <a:pt x="1400" y="169"/>
                  <a:pt x="1400" y="159"/>
                </a:cubicBezTo>
                <a:close/>
                <a:moveTo>
                  <a:pt x="1371" y="199"/>
                </a:moveTo>
                <a:cubicBezTo>
                  <a:pt x="1371" y="187"/>
                  <a:pt x="1371" y="187"/>
                  <a:pt x="1371" y="187"/>
                </a:cubicBezTo>
                <a:cubicBezTo>
                  <a:pt x="1354" y="199"/>
                  <a:pt x="1354" y="199"/>
                  <a:pt x="1354" y="199"/>
                </a:cubicBezTo>
                <a:cubicBezTo>
                  <a:pt x="1376" y="211"/>
                  <a:pt x="1376" y="211"/>
                  <a:pt x="1376" y="211"/>
                </a:cubicBezTo>
                <a:lnTo>
                  <a:pt x="1371" y="199"/>
                </a:lnTo>
                <a:close/>
                <a:moveTo>
                  <a:pt x="1264" y="350"/>
                </a:moveTo>
                <a:cubicBezTo>
                  <a:pt x="1278" y="347"/>
                  <a:pt x="1263" y="336"/>
                  <a:pt x="1260" y="343"/>
                </a:cubicBezTo>
                <a:cubicBezTo>
                  <a:pt x="1260" y="343"/>
                  <a:pt x="1251" y="352"/>
                  <a:pt x="1264" y="350"/>
                </a:cubicBezTo>
                <a:close/>
                <a:moveTo>
                  <a:pt x="1250" y="347"/>
                </a:moveTo>
                <a:cubicBezTo>
                  <a:pt x="1254" y="346"/>
                  <a:pt x="1245" y="328"/>
                  <a:pt x="1239" y="335"/>
                </a:cubicBezTo>
                <a:cubicBezTo>
                  <a:pt x="1239" y="335"/>
                  <a:pt x="1246" y="348"/>
                  <a:pt x="1250" y="347"/>
                </a:cubicBezTo>
                <a:close/>
                <a:moveTo>
                  <a:pt x="1401" y="219"/>
                </a:moveTo>
                <a:cubicBezTo>
                  <a:pt x="1420" y="219"/>
                  <a:pt x="1420" y="219"/>
                  <a:pt x="1420" y="219"/>
                </a:cubicBezTo>
                <a:cubicBezTo>
                  <a:pt x="1421" y="202"/>
                  <a:pt x="1421" y="202"/>
                  <a:pt x="1421" y="202"/>
                </a:cubicBezTo>
                <a:cubicBezTo>
                  <a:pt x="1404" y="195"/>
                  <a:pt x="1404" y="195"/>
                  <a:pt x="1404" y="195"/>
                </a:cubicBezTo>
                <a:cubicBezTo>
                  <a:pt x="1392" y="210"/>
                  <a:pt x="1392" y="210"/>
                  <a:pt x="1392" y="210"/>
                </a:cubicBezTo>
                <a:lnTo>
                  <a:pt x="1401" y="219"/>
                </a:lnTo>
                <a:close/>
                <a:moveTo>
                  <a:pt x="1206" y="389"/>
                </a:moveTo>
                <a:cubicBezTo>
                  <a:pt x="1206" y="389"/>
                  <a:pt x="1202" y="396"/>
                  <a:pt x="1215" y="396"/>
                </a:cubicBezTo>
                <a:cubicBezTo>
                  <a:pt x="1229" y="396"/>
                  <a:pt x="1235" y="388"/>
                  <a:pt x="1235" y="388"/>
                </a:cubicBezTo>
                <a:cubicBezTo>
                  <a:pt x="1211" y="377"/>
                  <a:pt x="1211" y="377"/>
                  <a:pt x="1211" y="377"/>
                </a:cubicBezTo>
                <a:cubicBezTo>
                  <a:pt x="1195" y="389"/>
                  <a:pt x="1195" y="389"/>
                  <a:pt x="1195" y="389"/>
                </a:cubicBezTo>
                <a:cubicBezTo>
                  <a:pt x="1185" y="389"/>
                  <a:pt x="1185" y="389"/>
                  <a:pt x="1185" y="389"/>
                </a:cubicBezTo>
                <a:cubicBezTo>
                  <a:pt x="1197" y="401"/>
                  <a:pt x="1197" y="401"/>
                  <a:pt x="1197" y="401"/>
                </a:cubicBezTo>
                <a:lnTo>
                  <a:pt x="1206" y="389"/>
                </a:lnTo>
                <a:close/>
                <a:moveTo>
                  <a:pt x="1009" y="0"/>
                </a:moveTo>
                <a:cubicBezTo>
                  <a:pt x="986" y="13"/>
                  <a:pt x="986" y="13"/>
                  <a:pt x="986" y="13"/>
                </a:cubicBezTo>
                <a:cubicBezTo>
                  <a:pt x="1008" y="18"/>
                  <a:pt x="1008" y="18"/>
                  <a:pt x="1008" y="18"/>
                </a:cubicBezTo>
                <a:lnTo>
                  <a:pt x="1009" y="0"/>
                </a:lnTo>
                <a:close/>
                <a:moveTo>
                  <a:pt x="1045" y="433"/>
                </a:moveTo>
                <a:cubicBezTo>
                  <a:pt x="1049" y="433"/>
                  <a:pt x="1060" y="445"/>
                  <a:pt x="1060" y="445"/>
                </a:cubicBezTo>
                <a:cubicBezTo>
                  <a:pt x="1066" y="425"/>
                  <a:pt x="1066" y="425"/>
                  <a:pt x="1066" y="425"/>
                </a:cubicBezTo>
                <a:cubicBezTo>
                  <a:pt x="1054" y="425"/>
                  <a:pt x="1054" y="425"/>
                  <a:pt x="1054" y="425"/>
                </a:cubicBezTo>
                <a:cubicBezTo>
                  <a:pt x="1044" y="417"/>
                  <a:pt x="1044" y="417"/>
                  <a:pt x="1044" y="417"/>
                </a:cubicBezTo>
                <a:cubicBezTo>
                  <a:pt x="1044" y="417"/>
                  <a:pt x="1041" y="433"/>
                  <a:pt x="1045" y="433"/>
                </a:cubicBezTo>
                <a:close/>
                <a:moveTo>
                  <a:pt x="1078" y="48"/>
                </a:moveTo>
                <a:cubicBezTo>
                  <a:pt x="1085" y="42"/>
                  <a:pt x="1066" y="37"/>
                  <a:pt x="1066" y="37"/>
                </a:cubicBezTo>
                <a:cubicBezTo>
                  <a:pt x="1062" y="44"/>
                  <a:pt x="1072" y="53"/>
                  <a:pt x="1078" y="48"/>
                </a:cubicBezTo>
                <a:close/>
                <a:moveTo>
                  <a:pt x="1113" y="424"/>
                </a:moveTo>
                <a:cubicBezTo>
                  <a:pt x="1113" y="417"/>
                  <a:pt x="1105" y="416"/>
                  <a:pt x="1098" y="416"/>
                </a:cubicBezTo>
                <a:cubicBezTo>
                  <a:pt x="1092" y="416"/>
                  <a:pt x="1113" y="431"/>
                  <a:pt x="1113" y="424"/>
                </a:cubicBez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39" name="Freeform 19" descr="© INSCALE GmbH, 05.05.2010&#10;http://www.presentationload.com/"/>
          <p:cNvSpPr>
            <a:spLocks noChangeAspect="1" noEditPoints="1"/>
          </p:cNvSpPr>
          <p:nvPr/>
        </p:nvSpPr>
        <p:spPr bwMode="auto">
          <a:xfrm>
            <a:off x="1243981" y="1150770"/>
            <a:ext cx="607568" cy="1034175"/>
          </a:xfrm>
          <a:custGeom>
            <a:avLst/>
            <a:gdLst/>
            <a:ahLst/>
            <a:cxnLst>
              <a:cxn ang="0">
                <a:pos x="909" y="315"/>
              </a:cxn>
              <a:cxn ang="0">
                <a:pos x="852" y="125"/>
              </a:cxn>
              <a:cxn ang="0">
                <a:pos x="900" y="87"/>
              </a:cxn>
              <a:cxn ang="0">
                <a:pos x="852" y="125"/>
              </a:cxn>
              <a:cxn ang="0">
                <a:pos x="311" y="73"/>
              </a:cxn>
              <a:cxn ang="0">
                <a:pos x="279" y="23"/>
              </a:cxn>
              <a:cxn ang="0">
                <a:pos x="242" y="40"/>
              </a:cxn>
              <a:cxn ang="0">
                <a:pos x="206" y="99"/>
              </a:cxn>
              <a:cxn ang="0">
                <a:pos x="182" y="87"/>
              </a:cxn>
              <a:cxn ang="0">
                <a:pos x="126" y="109"/>
              </a:cxn>
              <a:cxn ang="0">
                <a:pos x="977" y="611"/>
              </a:cxn>
              <a:cxn ang="0">
                <a:pos x="959" y="583"/>
              </a:cxn>
              <a:cxn ang="0">
                <a:pos x="963" y="430"/>
              </a:cxn>
              <a:cxn ang="0">
                <a:pos x="988" y="419"/>
              </a:cxn>
              <a:cxn ang="0">
                <a:pos x="973" y="351"/>
              </a:cxn>
              <a:cxn ang="0">
                <a:pos x="937" y="414"/>
              </a:cxn>
              <a:cxn ang="0">
                <a:pos x="996" y="611"/>
              </a:cxn>
              <a:cxn ang="0">
                <a:pos x="977" y="51"/>
              </a:cxn>
              <a:cxn ang="0">
                <a:pos x="927" y="361"/>
              </a:cxn>
              <a:cxn ang="0">
                <a:pos x="927" y="361"/>
              </a:cxn>
              <a:cxn ang="0">
                <a:pos x="1097" y="687"/>
              </a:cxn>
              <a:cxn ang="0">
                <a:pos x="968" y="628"/>
              </a:cxn>
              <a:cxn ang="0">
                <a:pos x="810" y="491"/>
              </a:cxn>
              <a:cxn ang="0">
                <a:pos x="889" y="366"/>
              </a:cxn>
              <a:cxn ang="0">
                <a:pos x="900" y="294"/>
              </a:cxn>
              <a:cxn ang="0">
                <a:pos x="940" y="296"/>
              </a:cxn>
              <a:cxn ang="0">
                <a:pos x="993" y="199"/>
              </a:cxn>
              <a:cxn ang="0">
                <a:pos x="967" y="131"/>
              </a:cxn>
              <a:cxn ang="0">
                <a:pos x="925" y="192"/>
              </a:cxn>
              <a:cxn ang="0">
                <a:pos x="884" y="152"/>
              </a:cxn>
              <a:cxn ang="0">
                <a:pos x="802" y="170"/>
              </a:cxn>
              <a:cxn ang="0">
                <a:pos x="709" y="140"/>
              </a:cxn>
              <a:cxn ang="0">
                <a:pos x="651" y="114"/>
              </a:cxn>
              <a:cxn ang="0">
                <a:pos x="586" y="108"/>
              </a:cxn>
              <a:cxn ang="0">
                <a:pos x="493" y="42"/>
              </a:cxn>
              <a:cxn ang="0">
                <a:pos x="452" y="0"/>
              </a:cxn>
              <a:cxn ang="0">
                <a:pos x="411" y="24"/>
              </a:cxn>
              <a:cxn ang="0">
                <a:pos x="374" y="43"/>
              </a:cxn>
              <a:cxn ang="0">
                <a:pos x="464" y="87"/>
              </a:cxn>
              <a:cxn ang="0">
                <a:pos x="440" y="149"/>
              </a:cxn>
              <a:cxn ang="0">
                <a:pos x="411" y="153"/>
              </a:cxn>
              <a:cxn ang="0">
                <a:pos x="353" y="169"/>
              </a:cxn>
              <a:cxn ang="0">
                <a:pos x="267" y="150"/>
              </a:cxn>
              <a:cxn ang="0">
                <a:pos x="220" y="193"/>
              </a:cxn>
              <a:cxn ang="0">
                <a:pos x="185" y="217"/>
              </a:cxn>
              <a:cxn ang="0">
                <a:pos x="145" y="292"/>
              </a:cxn>
              <a:cxn ang="0">
                <a:pos x="101" y="355"/>
              </a:cxn>
              <a:cxn ang="0">
                <a:pos x="103" y="467"/>
              </a:cxn>
              <a:cxn ang="0">
                <a:pos x="81" y="507"/>
              </a:cxn>
              <a:cxn ang="0">
                <a:pos x="30" y="556"/>
              </a:cxn>
              <a:cxn ang="0">
                <a:pos x="806" y="1914"/>
              </a:cxn>
            </a:cxnLst>
            <a:rect l="0" t="0" r="r" b="b"/>
            <a:pathLst>
              <a:path w="1131" h="1927">
                <a:moveTo>
                  <a:pt x="1017" y="637"/>
                </a:moveTo>
                <a:cubicBezTo>
                  <a:pt x="1025" y="640"/>
                  <a:pt x="1021" y="621"/>
                  <a:pt x="1021" y="621"/>
                </a:cubicBezTo>
                <a:cubicBezTo>
                  <a:pt x="1002" y="621"/>
                  <a:pt x="1009" y="635"/>
                  <a:pt x="1017" y="637"/>
                </a:cubicBezTo>
                <a:close/>
                <a:moveTo>
                  <a:pt x="909" y="315"/>
                </a:moveTo>
                <a:cubicBezTo>
                  <a:pt x="899" y="306"/>
                  <a:pt x="896" y="310"/>
                  <a:pt x="896" y="310"/>
                </a:cubicBezTo>
                <a:cubicBezTo>
                  <a:pt x="896" y="310"/>
                  <a:pt x="915" y="325"/>
                  <a:pt x="911" y="331"/>
                </a:cubicBezTo>
                <a:cubicBezTo>
                  <a:pt x="913" y="328"/>
                  <a:pt x="918" y="323"/>
                  <a:pt x="909" y="315"/>
                </a:cubicBezTo>
                <a:close/>
                <a:moveTo>
                  <a:pt x="852" y="125"/>
                </a:moveTo>
                <a:cubicBezTo>
                  <a:pt x="867" y="136"/>
                  <a:pt x="867" y="136"/>
                  <a:pt x="867" y="136"/>
                </a:cubicBezTo>
                <a:cubicBezTo>
                  <a:pt x="881" y="132"/>
                  <a:pt x="881" y="132"/>
                  <a:pt x="881" y="132"/>
                </a:cubicBezTo>
                <a:cubicBezTo>
                  <a:pt x="872" y="121"/>
                  <a:pt x="872" y="121"/>
                  <a:pt x="872" y="121"/>
                </a:cubicBezTo>
                <a:cubicBezTo>
                  <a:pt x="872" y="121"/>
                  <a:pt x="908" y="87"/>
                  <a:pt x="900" y="87"/>
                </a:cubicBezTo>
                <a:cubicBezTo>
                  <a:pt x="892" y="87"/>
                  <a:pt x="875" y="113"/>
                  <a:pt x="863" y="116"/>
                </a:cubicBezTo>
                <a:cubicBezTo>
                  <a:pt x="851" y="119"/>
                  <a:pt x="838" y="129"/>
                  <a:pt x="838" y="129"/>
                </a:cubicBezTo>
                <a:cubicBezTo>
                  <a:pt x="846" y="135"/>
                  <a:pt x="846" y="135"/>
                  <a:pt x="846" y="135"/>
                </a:cubicBezTo>
                <a:lnTo>
                  <a:pt x="852" y="125"/>
                </a:lnTo>
                <a:close/>
                <a:moveTo>
                  <a:pt x="206" y="99"/>
                </a:moveTo>
                <a:cubicBezTo>
                  <a:pt x="254" y="127"/>
                  <a:pt x="254" y="127"/>
                  <a:pt x="254" y="127"/>
                </a:cubicBezTo>
                <a:cubicBezTo>
                  <a:pt x="300" y="81"/>
                  <a:pt x="300" y="81"/>
                  <a:pt x="300" y="81"/>
                </a:cubicBezTo>
                <a:cubicBezTo>
                  <a:pt x="311" y="73"/>
                  <a:pt x="311" y="73"/>
                  <a:pt x="311" y="73"/>
                </a:cubicBezTo>
                <a:cubicBezTo>
                  <a:pt x="311" y="61"/>
                  <a:pt x="311" y="61"/>
                  <a:pt x="311" y="61"/>
                </a:cubicBezTo>
                <a:cubicBezTo>
                  <a:pt x="320" y="55"/>
                  <a:pt x="320" y="55"/>
                  <a:pt x="320" y="55"/>
                </a:cubicBezTo>
                <a:cubicBezTo>
                  <a:pt x="320" y="55"/>
                  <a:pt x="313" y="49"/>
                  <a:pt x="304" y="39"/>
                </a:cubicBezTo>
                <a:cubicBezTo>
                  <a:pt x="295" y="28"/>
                  <a:pt x="279" y="23"/>
                  <a:pt x="279" y="23"/>
                </a:cubicBezTo>
                <a:cubicBezTo>
                  <a:pt x="282" y="53"/>
                  <a:pt x="282" y="53"/>
                  <a:pt x="282" y="53"/>
                </a:cubicBezTo>
                <a:cubicBezTo>
                  <a:pt x="282" y="53"/>
                  <a:pt x="272" y="31"/>
                  <a:pt x="266" y="39"/>
                </a:cubicBezTo>
                <a:cubicBezTo>
                  <a:pt x="259" y="47"/>
                  <a:pt x="256" y="57"/>
                  <a:pt x="256" y="57"/>
                </a:cubicBezTo>
                <a:cubicBezTo>
                  <a:pt x="256" y="57"/>
                  <a:pt x="251" y="41"/>
                  <a:pt x="242" y="40"/>
                </a:cubicBezTo>
                <a:cubicBezTo>
                  <a:pt x="232" y="39"/>
                  <a:pt x="208" y="59"/>
                  <a:pt x="208" y="59"/>
                </a:cubicBezTo>
                <a:cubicBezTo>
                  <a:pt x="171" y="32"/>
                  <a:pt x="171" y="32"/>
                  <a:pt x="171" y="32"/>
                </a:cubicBezTo>
                <a:cubicBezTo>
                  <a:pt x="171" y="32"/>
                  <a:pt x="171" y="56"/>
                  <a:pt x="179" y="67"/>
                </a:cubicBezTo>
                <a:cubicBezTo>
                  <a:pt x="187" y="77"/>
                  <a:pt x="206" y="99"/>
                  <a:pt x="206" y="99"/>
                </a:cubicBezTo>
                <a:close/>
                <a:moveTo>
                  <a:pt x="126" y="109"/>
                </a:moveTo>
                <a:cubicBezTo>
                  <a:pt x="151" y="113"/>
                  <a:pt x="158" y="107"/>
                  <a:pt x="166" y="107"/>
                </a:cubicBezTo>
                <a:cubicBezTo>
                  <a:pt x="174" y="107"/>
                  <a:pt x="200" y="117"/>
                  <a:pt x="200" y="111"/>
                </a:cubicBezTo>
                <a:cubicBezTo>
                  <a:pt x="200" y="104"/>
                  <a:pt x="191" y="93"/>
                  <a:pt x="182" y="87"/>
                </a:cubicBezTo>
                <a:cubicBezTo>
                  <a:pt x="172" y="80"/>
                  <a:pt x="162" y="51"/>
                  <a:pt x="162" y="51"/>
                </a:cubicBezTo>
                <a:cubicBezTo>
                  <a:pt x="141" y="64"/>
                  <a:pt x="141" y="64"/>
                  <a:pt x="141" y="64"/>
                </a:cubicBezTo>
                <a:cubicBezTo>
                  <a:pt x="151" y="89"/>
                  <a:pt x="151" y="89"/>
                  <a:pt x="151" y="89"/>
                </a:cubicBezTo>
                <a:cubicBezTo>
                  <a:pt x="151" y="89"/>
                  <a:pt x="101" y="105"/>
                  <a:pt x="126" y="109"/>
                </a:cubicBezTo>
                <a:close/>
                <a:moveTo>
                  <a:pt x="959" y="108"/>
                </a:moveTo>
                <a:cubicBezTo>
                  <a:pt x="963" y="113"/>
                  <a:pt x="984" y="103"/>
                  <a:pt x="977" y="99"/>
                </a:cubicBezTo>
                <a:cubicBezTo>
                  <a:pt x="971" y="95"/>
                  <a:pt x="951" y="100"/>
                  <a:pt x="959" y="108"/>
                </a:cubicBezTo>
                <a:close/>
                <a:moveTo>
                  <a:pt x="977" y="611"/>
                </a:moveTo>
                <a:cubicBezTo>
                  <a:pt x="977" y="611"/>
                  <a:pt x="996" y="597"/>
                  <a:pt x="997" y="591"/>
                </a:cubicBezTo>
                <a:cubicBezTo>
                  <a:pt x="998" y="584"/>
                  <a:pt x="980" y="591"/>
                  <a:pt x="980" y="591"/>
                </a:cubicBezTo>
                <a:cubicBezTo>
                  <a:pt x="963" y="603"/>
                  <a:pt x="963" y="603"/>
                  <a:pt x="963" y="603"/>
                </a:cubicBezTo>
                <a:cubicBezTo>
                  <a:pt x="959" y="583"/>
                  <a:pt x="959" y="583"/>
                  <a:pt x="959" y="583"/>
                </a:cubicBezTo>
                <a:cubicBezTo>
                  <a:pt x="947" y="599"/>
                  <a:pt x="947" y="599"/>
                  <a:pt x="947" y="599"/>
                </a:cubicBezTo>
                <a:cubicBezTo>
                  <a:pt x="959" y="624"/>
                  <a:pt x="977" y="611"/>
                  <a:pt x="977" y="611"/>
                </a:cubicBezTo>
                <a:close/>
                <a:moveTo>
                  <a:pt x="943" y="422"/>
                </a:moveTo>
                <a:cubicBezTo>
                  <a:pt x="951" y="425"/>
                  <a:pt x="963" y="430"/>
                  <a:pt x="963" y="430"/>
                </a:cubicBezTo>
                <a:cubicBezTo>
                  <a:pt x="989" y="430"/>
                  <a:pt x="989" y="430"/>
                  <a:pt x="989" y="430"/>
                </a:cubicBezTo>
                <a:cubicBezTo>
                  <a:pt x="989" y="430"/>
                  <a:pt x="1002" y="435"/>
                  <a:pt x="1004" y="426"/>
                </a:cubicBezTo>
                <a:cubicBezTo>
                  <a:pt x="1005" y="417"/>
                  <a:pt x="1002" y="407"/>
                  <a:pt x="1002" y="407"/>
                </a:cubicBezTo>
                <a:cubicBezTo>
                  <a:pt x="988" y="419"/>
                  <a:pt x="988" y="419"/>
                  <a:pt x="988" y="419"/>
                </a:cubicBezTo>
                <a:cubicBezTo>
                  <a:pt x="972" y="405"/>
                  <a:pt x="972" y="405"/>
                  <a:pt x="972" y="405"/>
                </a:cubicBezTo>
                <a:cubicBezTo>
                  <a:pt x="1005" y="359"/>
                  <a:pt x="1005" y="359"/>
                  <a:pt x="1005" y="359"/>
                </a:cubicBezTo>
                <a:cubicBezTo>
                  <a:pt x="981" y="373"/>
                  <a:pt x="981" y="373"/>
                  <a:pt x="981" y="373"/>
                </a:cubicBezTo>
                <a:cubicBezTo>
                  <a:pt x="973" y="351"/>
                  <a:pt x="973" y="351"/>
                  <a:pt x="973" y="351"/>
                </a:cubicBezTo>
                <a:cubicBezTo>
                  <a:pt x="952" y="354"/>
                  <a:pt x="952" y="354"/>
                  <a:pt x="952" y="354"/>
                </a:cubicBezTo>
                <a:cubicBezTo>
                  <a:pt x="951" y="370"/>
                  <a:pt x="951" y="370"/>
                  <a:pt x="951" y="370"/>
                </a:cubicBezTo>
                <a:cubicBezTo>
                  <a:pt x="940" y="370"/>
                  <a:pt x="940" y="370"/>
                  <a:pt x="940" y="370"/>
                </a:cubicBezTo>
                <a:cubicBezTo>
                  <a:pt x="940" y="370"/>
                  <a:pt x="947" y="406"/>
                  <a:pt x="937" y="414"/>
                </a:cubicBezTo>
                <a:cubicBezTo>
                  <a:pt x="928" y="422"/>
                  <a:pt x="927" y="427"/>
                  <a:pt x="927" y="427"/>
                </a:cubicBezTo>
                <a:cubicBezTo>
                  <a:pt x="927" y="427"/>
                  <a:pt x="935" y="419"/>
                  <a:pt x="943" y="422"/>
                </a:cubicBezTo>
                <a:close/>
                <a:moveTo>
                  <a:pt x="1016" y="595"/>
                </a:moveTo>
                <a:cubicBezTo>
                  <a:pt x="1006" y="592"/>
                  <a:pt x="1002" y="603"/>
                  <a:pt x="996" y="611"/>
                </a:cubicBezTo>
                <a:cubicBezTo>
                  <a:pt x="996" y="611"/>
                  <a:pt x="1004" y="611"/>
                  <a:pt x="1008" y="609"/>
                </a:cubicBezTo>
                <a:cubicBezTo>
                  <a:pt x="1012" y="608"/>
                  <a:pt x="1025" y="597"/>
                  <a:pt x="1016" y="595"/>
                </a:cubicBezTo>
                <a:close/>
                <a:moveTo>
                  <a:pt x="917" y="91"/>
                </a:moveTo>
                <a:cubicBezTo>
                  <a:pt x="917" y="91"/>
                  <a:pt x="960" y="73"/>
                  <a:pt x="977" y="51"/>
                </a:cubicBezTo>
                <a:cubicBezTo>
                  <a:pt x="994" y="28"/>
                  <a:pt x="996" y="4"/>
                  <a:pt x="996" y="4"/>
                </a:cubicBezTo>
                <a:cubicBezTo>
                  <a:pt x="996" y="4"/>
                  <a:pt x="984" y="28"/>
                  <a:pt x="972" y="40"/>
                </a:cubicBezTo>
                <a:cubicBezTo>
                  <a:pt x="960" y="52"/>
                  <a:pt x="903" y="83"/>
                  <a:pt x="917" y="91"/>
                </a:cubicBezTo>
                <a:close/>
                <a:moveTo>
                  <a:pt x="927" y="361"/>
                </a:moveTo>
                <a:cubicBezTo>
                  <a:pt x="915" y="349"/>
                  <a:pt x="915" y="349"/>
                  <a:pt x="915" y="349"/>
                </a:cubicBezTo>
                <a:cubicBezTo>
                  <a:pt x="904" y="354"/>
                  <a:pt x="904" y="354"/>
                  <a:pt x="904" y="354"/>
                </a:cubicBezTo>
                <a:cubicBezTo>
                  <a:pt x="916" y="367"/>
                  <a:pt x="916" y="367"/>
                  <a:pt x="916" y="367"/>
                </a:cubicBezTo>
                <a:lnTo>
                  <a:pt x="927" y="361"/>
                </a:lnTo>
                <a:close/>
                <a:moveTo>
                  <a:pt x="844" y="511"/>
                </a:moveTo>
                <a:cubicBezTo>
                  <a:pt x="854" y="511"/>
                  <a:pt x="864" y="512"/>
                  <a:pt x="856" y="502"/>
                </a:cubicBezTo>
                <a:cubicBezTo>
                  <a:pt x="848" y="491"/>
                  <a:pt x="844" y="511"/>
                  <a:pt x="844" y="511"/>
                </a:cubicBezTo>
                <a:close/>
                <a:moveTo>
                  <a:pt x="1097" y="687"/>
                </a:moveTo>
                <a:cubicBezTo>
                  <a:pt x="1084" y="681"/>
                  <a:pt x="1060" y="676"/>
                  <a:pt x="1060" y="676"/>
                </a:cubicBezTo>
                <a:cubicBezTo>
                  <a:pt x="1060" y="676"/>
                  <a:pt x="1015" y="646"/>
                  <a:pt x="1013" y="644"/>
                </a:cubicBezTo>
                <a:cubicBezTo>
                  <a:pt x="1011" y="642"/>
                  <a:pt x="988" y="650"/>
                  <a:pt x="977" y="646"/>
                </a:cubicBezTo>
                <a:cubicBezTo>
                  <a:pt x="967" y="642"/>
                  <a:pt x="968" y="628"/>
                  <a:pt x="968" y="628"/>
                </a:cubicBezTo>
                <a:cubicBezTo>
                  <a:pt x="919" y="595"/>
                  <a:pt x="919" y="595"/>
                  <a:pt x="919" y="595"/>
                </a:cubicBezTo>
                <a:cubicBezTo>
                  <a:pt x="911" y="574"/>
                  <a:pt x="911" y="574"/>
                  <a:pt x="911" y="574"/>
                </a:cubicBezTo>
                <a:cubicBezTo>
                  <a:pt x="911" y="574"/>
                  <a:pt x="840" y="529"/>
                  <a:pt x="839" y="528"/>
                </a:cubicBezTo>
                <a:cubicBezTo>
                  <a:pt x="837" y="527"/>
                  <a:pt x="806" y="498"/>
                  <a:pt x="810" y="491"/>
                </a:cubicBezTo>
                <a:cubicBezTo>
                  <a:pt x="814" y="484"/>
                  <a:pt x="831" y="475"/>
                  <a:pt x="831" y="475"/>
                </a:cubicBezTo>
                <a:cubicBezTo>
                  <a:pt x="831" y="475"/>
                  <a:pt x="825" y="465"/>
                  <a:pt x="832" y="459"/>
                </a:cubicBezTo>
                <a:cubicBezTo>
                  <a:pt x="839" y="454"/>
                  <a:pt x="862" y="424"/>
                  <a:pt x="870" y="420"/>
                </a:cubicBezTo>
                <a:cubicBezTo>
                  <a:pt x="878" y="416"/>
                  <a:pt x="890" y="378"/>
                  <a:pt x="889" y="366"/>
                </a:cubicBezTo>
                <a:cubicBezTo>
                  <a:pt x="888" y="354"/>
                  <a:pt x="866" y="352"/>
                  <a:pt x="869" y="338"/>
                </a:cubicBezTo>
                <a:cubicBezTo>
                  <a:pt x="872" y="325"/>
                  <a:pt x="882" y="320"/>
                  <a:pt x="882" y="317"/>
                </a:cubicBezTo>
                <a:cubicBezTo>
                  <a:pt x="882" y="315"/>
                  <a:pt x="869" y="296"/>
                  <a:pt x="884" y="297"/>
                </a:cubicBezTo>
                <a:cubicBezTo>
                  <a:pt x="898" y="297"/>
                  <a:pt x="900" y="294"/>
                  <a:pt x="900" y="294"/>
                </a:cubicBezTo>
                <a:cubicBezTo>
                  <a:pt x="916" y="287"/>
                  <a:pt x="916" y="287"/>
                  <a:pt x="916" y="287"/>
                </a:cubicBezTo>
                <a:cubicBezTo>
                  <a:pt x="917" y="293"/>
                  <a:pt x="917" y="293"/>
                  <a:pt x="917" y="293"/>
                </a:cubicBezTo>
                <a:cubicBezTo>
                  <a:pt x="930" y="278"/>
                  <a:pt x="930" y="278"/>
                  <a:pt x="930" y="278"/>
                </a:cubicBezTo>
                <a:cubicBezTo>
                  <a:pt x="930" y="278"/>
                  <a:pt x="939" y="298"/>
                  <a:pt x="940" y="296"/>
                </a:cubicBezTo>
                <a:cubicBezTo>
                  <a:pt x="941" y="295"/>
                  <a:pt x="963" y="278"/>
                  <a:pt x="963" y="273"/>
                </a:cubicBezTo>
                <a:cubicBezTo>
                  <a:pt x="963" y="269"/>
                  <a:pt x="970" y="261"/>
                  <a:pt x="970" y="261"/>
                </a:cubicBezTo>
                <a:cubicBezTo>
                  <a:pt x="955" y="245"/>
                  <a:pt x="955" y="245"/>
                  <a:pt x="955" y="245"/>
                </a:cubicBezTo>
                <a:cubicBezTo>
                  <a:pt x="993" y="199"/>
                  <a:pt x="993" y="199"/>
                  <a:pt x="993" y="199"/>
                </a:cubicBezTo>
                <a:cubicBezTo>
                  <a:pt x="993" y="199"/>
                  <a:pt x="1021" y="184"/>
                  <a:pt x="1019" y="182"/>
                </a:cubicBezTo>
                <a:cubicBezTo>
                  <a:pt x="1018" y="181"/>
                  <a:pt x="1005" y="160"/>
                  <a:pt x="1005" y="160"/>
                </a:cubicBezTo>
                <a:cubicBezTo>
                  <a:pt x="976" y="173"/>
                  <a:pt x="976" y="173"/>
                  <a:pt x="976" y="173"/>
                </a:cubicBezTo>
                <a:cubicBezTo>
                  <a:pt x="976" y="173"/>
                  <a:pt x="972" y="136"/>
                  <a:pt x="967" y="131"/>
                </a:cubicBezTo>
                <a:cubicBezTo>
                  <a:pt x="962" y="126"/>
                  <a:pt x="951" y="124"/>
                  <a:pt x="944" y="129"/>
                </a:cubicBezTo>
                <a:cubicBezTo>
                  <a:pt x="937" y="133"/>
                  <a:pt x="919" y="153"/>
                  <a:pt x="919" y="153"/>
                </a:cubicBezTo>
                <a:cubicBezTo>
                  <a:pt x="940" y="166"/>
                  <a:pt x="940" y="166"/>
                  <a:pt x="940" y="166"/>
                </a:cubicBezTo>
                <a:cubicBezTo>
                  <a:pt x="940" y="166"/>
                  <a:pt x="933" y="192"/>
                  <a:pt x="925" y="192"/>
                </a:cubicBezTo>
                <a:cubicBezTo>
                  <a:pt x="916" y="192"/>
                  <a:pt x="899" y="196"/>
                  <a:pt x="897" y="193"/>
                </a:cubicBezTo>
                <a:cubicBezTo>
                  <a:pt x="894" y="190"/>
                  <a:pt x="887" y="177"/>
                  <a:pt x="887" y="177"/>
                </a:cubicBezTo>
                <a:cubicBezTo>
                  <a:pt x="897" y="170"/>
                  <a:pt x="897" y="170"/>
                  <a:pt x="897" y="170"/>
                </a:cubicBezTo>
                <a:cubicBezTo>
                  <a:pt x="884" y="152"/>
                  <a:pt x="884" y="152"/>
                  <a:pt x="884" y="152"/>
                </a:cubicBezTo>
                <a:cubicBezTo>
                  <a:pt x="884" y="152"/>
                  <a:pt x="864" y="173"/>
                  <a:pt x="858" y="171"/>
                </a:cubicBezTo>
                <a:cubicBezTo>
                  <a:pt x="852" y="170"/>
                  <a:pt x="849" y="147"/>
                  <a:pt x="847" y="147"/>
                </a:cubicBezTo>
                <a:cubicBezTo>
                  <a:pt x="846" y="147"/>
                  <a:pt x="818" y="132"/>
                  <a:pt x="810" y="142"/>
                </a:cubicBezTo>
                <a:cubicBezTo>
                  <a:pt x="801" y="152"/>
                  <a:pt x="802" y="170"/>
                  <a:pt x="802" y="170"/>
                </a:cubicBezTo>
                <a:cubicBezTo>
                  <a:pt x="768" y="169"/>
                  <a:pt x="768" y="169"/>
                  <a:pt x="768" y="169"/>
                </a:cubicBezTo>
                <a:cubicBezTo>
                  <a:pt x="748" y="144"/>
                  <a:pt x="748" y="144"/>
                  <a:pt x="748" y="144"/>
                </a:cubicBezTo>
                <a:cubicBezTo>
                  <a:pt x="729" y="125"/>
                  <a:pt x="729" y="125"/>
                  <a:pt x="729" y="125"/>
                </a:cubicBezTo>
                <a:cubicBezTo>
                  <a:pt x="729" y="125"/>
                  <a:pt x="712" y="140"/>
                  <a:pt x="709" y="140"/>
                </a:cubicBezTo>
                <a:cubicBezTo>
                  <a:pt x="707" y="140"/>
                  <a:pt x="696" y="143"/>
                  <a:pt x="692" y="140"/>
                </a:cubicBezTo>
                <a:cubicBezTo>
                  <a:pt x="687" y="136"/>
                  <a:pt x="675" y="127"/>
                  <a:pt x="673" y="127"/>
                </a:cubicBezTo>
                <a:cubicBezTo>
                  <a:pt x="672" y="128"/>
                  <a:pt x="662" y="139"/>
                  <a:pt x="662" y="137"/>
                </a:cubicBezTo>
                <a:cubicBezTo>
                  <a:pt x="661" y="135"/>
                  <a:pt x="657" y="116"/>
                  <a:pt x="651" y="114"/>
                </a:cubicBezTo>
                <a:cubicBezTo>
                  <a:pt x="646" y="111"/>
                  <a:pt x="631" y="119"/>
                  <a:pt x="630" y="119"/>
                </a:cubicBezTo>
                <a:cubicBezTo>
                  <a:pt x="628" y="118"/>
                  <a:pt x="614" y="113"/>
                  <a:pt x="615" y="110"/>
                </a:cubicBezTo>
                <a:cubicBezTo>
                  <a:pt x="617" y="107"/>
                  <a:pt x="644" y="106"/>
                  <a:pt x="631" y="99"/>
                </a:cubicBezTo>
                <a:cubicBezTo>
                  <a:pt x="618" y="92"/>
                  <a:pt x="586" y="108"/>
                  <a:pt x="586" y="108"/>
                </a:cubicBezTo>
                <a:cubicBezTo>
                  <a:pt x="586" y="108"/>
                  <a:pt x="559" y="97"/>
                  <a:pt x="555" y="93"/>
                </a:cubicBezTo>
                <a:cubicBezTo>
                  <a:pt x="551" y="89"/>
                  <a:pt x="534" y="100"/>
                  <a:pt x="527" y="91"/>
                </a:cubicBezTo>
                <a:cubicBezTo>
                  <a:pt x="519" y="81"/>
                  <a:pt x="513" y="57"/>
                  <a:pt x="506" y="51"/>
                </a:cubicBezTo>
                <a:cubicBezTo>
                  <a:pt x="498" y="46"/>
                  <a:pt x="493" y="42"/>
                  <a:pt x="493" y="42"/>
                </a:cubicBezTo>
                <a:cubicBezTo>
                  <a:pt x="493" y="42"/>
                  <a:pt x="471" y="70"/>
                  <a:pt x="467" y="66"/>
                </a:cubicBezTo>
                <a:cubicBezTo>
                  <a:pt x="463" y="62"/>
                  <a:pt x="451" y="48"/>
                  <a:pt x="449" y="44"/>
                </a:cubicBezTo>
                <a:cubicBezTo>
                  <a:pt x="448" y="40"/>
                  <a:pt x="463" y="31"/>
                  <a:pt x="461" y="22"/>
                </a:cubicBezTo>
                <a:cubicBezTo>
                  <a:pt x="458" y="14"/>
                  <a:pt x="452" y="0"/>
                  <a:pt x="452" y="0"/>
                </a:cubicBezTo>
                <a:cubicBezTo>
                  <a:pt x="443" y="11"/>
                  <a:pt x="443" y="11"/>
                  <a:pt x="443" y="11"/>
                </a:cubicBezTo>
                <a:cubicBezTo>
                  <a:pt x="443" y="11"/>
                  <a:pt x="440" y="37"/>
                  <a:pt x="434" y="32"/>
                </a:cubicBezTo>
                <a:cubicBezTo>
                  <a:pt x="428" y="27"/>
                  <a:pt x="418" y="14"/>
                  <a:pt x="416" y="16"/>
                </a:cubicBezTo>
                <a:cubicBezTo>
                  <a:pt x="413" y="17"/>
                  <a:pt x="412" y="26"/>
                  <a:pt x="411" y="24"/>
                </a:cubicBezTo>
                <a:cubicBezTo>
                  <a:pt x="409" y="22"/>
                  <a:pt x="396" y="16"/>
                  <a:pt x="394" y="16"/>
                </a:cubicBezTo>
                <a:cubicBezTo>
                  <a:pt x="392" y="16"/>
                  <a:pt x="391" y="29"/>
                  <a:pt x="389" y="29"/>
                </a:cubicBezTo>
                <a:cubicBezTo>
                  <a:pt x="388" y="29"/>
                  <a:pt x="382" y="18"/>
                  <a:pt x="377" y="21"/>
                </a:cubicBezTo>
                <a:cubicBezTo>
                  <a:pt x="372" y="25"/>
                  <a:pt x="361" y="35"/>
                  <a:pt x="374" y="43"/>
                </a:cubicBezTo>
                <a:cubicBezTo>
                  <a:pt x="386" y="50"/>
                  <a:pt x="388" y="55"/>
                  <a:pt x="399" y="39"/>
                </a:cubicBezTo>
                <a:cubicBezTo>
                  <a:pt x="419" y="71"/>
                  <a:pt x="419" y="71"/>
                  <a:pt x="419" y="71"/>
                </a:cubicBezTo>
                <a:cubicBezTo>
                  <a:pt x="419" y="71"/>
                  <a:pt x="425" y="51"/>
                  <a:pt x="434" y="56"/>
                </a:cubicBezTo>
                <a:cubicBezTo>
                  <a:pt x="443" y="61"/>
                  <a:pt x="464" y="87"/>
                  <a:pt x="464" y="87"/>
                </a:cubicBezTo>
                <a:cubicBezTo>
                  <a:pt x="451" y="93"/>
                  <a:pt x="451" y="93"/>
                  <a:pt x="451" y="93"/>
                </a:cubicBezTo>
                <a:cubicBezTo>
                  <a:pt x="462" y="115"/>
                  <a:pt x="462" y="115"/>
                  <a:pt x="462" y="115"/>
                </a:cubicBezTo>
                <a:cubicBezTo>
                  <a:pt x="462" y="115"/>
                  <a:pt x="448" y="133"/>
                  <a:pt x="462" y="144"/>
                </a:cubicBezTo>
                <a:cubicBezTo>
                  <a:pt x="476" y="155"/>
                  <a:pt x="440" y="149"/>
                  <a:pt x="440" y="149"/>
                </a:cubicBezTo>
                <a:cubicBezTo>
                  <a:pt x="422" y="141"/>
                  <a:pt x="422" y="141"/>
                  <a:pt x="422" y="141"/>
                </a:cubicBezTo>
                <a:cubicBezTo>
                  <a:pt x="434" y="165"/>
                  <a:pt x="434" y="165"/>
                  <a:pt x="434" y="165"/>
                </a:cubicBezTo>
                <a:cubicBezTo>
                  <a:pt x="429" y="177"/>
                  <a:pt x="429" y="177"/>
                  <a:pt x="429" y="177"/>
                </a:cubicBezTo>
                <a:cubicBezTo>
                  <a:pt x="429" y="177"/>
                  <a:pt x="415" y="155"/>
                  <a:pt x="411" y="153"/>
                </a:cubicBezTo>
                <a:cubicBezTo>
                  <a:pt x="407" y="151"/>
                  <a:pt x="397" y="171"/>
                  <a:pt x="388" y="171"/>
                </a:cubicBezTo>
                <a:cubicBezTo>
                  <a:pt x="380" y="171"/>
                  <a:pt x="372" y="169"/>
                  <a:pt x="372" y="169"/>
                </a:cubicBezTo>
                <a:cubicBezTo>
                  <a:pt x="364" y="160"/>
                  <a:pt x="364" y="160"/>
                  <a:pt x="364" y="160"/>
                </a:cubicBezTo>
                <a:cubicBezTo>
                  <a:pt x="353" y="169"/>
                  <a:pt x="353" y="169"/>
                  <a:pt x="353" y="169"/>
                </a:cubicBezTo>
                <a:cubicBezTo>
                  <a:pt x="300" y="166"/>
                  <a:pt x="300" y="166"/>
                  <a:pt x="300" y="166"/>
                </a:cubicBezTo>
                <a:cubicBezTo>
                  <a:pt x="288" y="138"/>
                  <a:pt x="288" y="138"/>
                  <a:pt x="288" y="138"/>
                </a:cubicBezTo>
                <a:cubicBezTo>
                  <a:pt x="282" y="165"/>
                  <a:pt x="282" y="165"/>
                  <a:pt x="282" y="165"/>
                </a:cubicBezTo>
                <a:cubicBezTo>
                  <a:pt x="282" y="165"/>
                  <a:pt x="277" y="151"/>
                  <a:pt x="267" y="150"/>
                </a:cubicBezTo>
                <a:cubicBezTo>
                  <a:pt x="256" y="149"/>
                  <a:pt x="258" y="176"/>
                  <a:pt x="257" y="177"/>
                </a:cubicBezTo>
                <a:cubicBezTo>
                  <a:pt x="255" y="178"/>
                  <a:pt x="241" y="202"/>
                  <a:pt x="241" y="202"/>
                </a:cubicBezTo>
                <a:cubicBezTo>
                  <a:pt x="243" y="217"/>
                  <a:pt x="243" y="217"/>
                  <a:pt x="243" y="217"/>
                </a:cubicBezTo>
                <a:cubicBezTo>
                  <a:pt x="243" y="217"/>
                  <a:pt x="220" y="194"/>
                  <a:pt x="220" y="193"/>
                </a:cubicBezTo>
                <a:cubicBezTo>
                  <a:pt x="219" y="191"/>
                  <a:pt x="211" y="179"/>
                  <a:pt x="209" y="179"/>
                </a:cubicBezTo>
                <a:cubicBezTo>
                  <a:pt x="208" y="180"/>
                  <a:pt x="202" y="206"/>
                  <a:pt x="201" y="209"/>
                </a:cubicBezTo>
                <a:cubicBezTo>
                  <a:pt x="199" y="212"/>
                  <a:pt x="211" y="231"/>
                  <a:pt x="211" y="231"/>
                </a:cubicBezTo>
                <a:cubicBezTo>
                  <a:pt x="211" y="231"/>
                  <a:pt x="189" y="214"/>
                  <a:pt x="185" y="217"/>
                </a:cubicBezTo>
                <a:cubicBezTo>
                  <a:pt x="180" y="221"/>
                  <a:pt x="171" y="226"/>
                  <a:pt x="171" y="227"/>
                </a:cubicBezTo>
                <a:cubicBezTo>
                  <a:pt x="170" y="229"/>
                  <a:pt x="169" y="257"/>
                  <a:pt x="169" y="257"/>
                </a:cubicBezTo>
                <a:cubicBezTo>
                  <a:pt x="146" y="257"/>
                  <a:pt x="146" y="257"/>
                  <a:pt x="146" y="257"/>
                </a:cubicBezTo>
                <a:cubicBezTo>
                  <a:pt x="145" y="292"/>
                  <a:pt x="145" y="292"/>
                  <a:pt x="145" y="292"/>
                </a:cubicBezTo>
                <a:cubicBezTo>
                  <a:pt x="145" y="292"/>
                  <a:pt x="170" y="306"/>
                  <a:pt x="168" y="306"/>
                </a:cubicBezTo>
                <a:cubicBezTo>
                  <a:pt x="166" y="306"/>
                  <a:pt x="130" y="335"/>
                  <a:pt x="130" y="335"/>
                </a:cubicBezTo>
                <a:cubicBezTo>
                  <a:pt x="115" y="320"/>
                  <a:pt x="115" y="320"/>
                  <a:pt x="115" y="320"/>
                </a:cubicBezTo>
                <a:cubicBezTo>
                  <a:pt x="115" y="320"/>
                  <a:pt x="101" y="339"/>
                  <a:pt x="101" y="355"/>
                </a:cubicBezTo>
                <a:cubicBezTo>
                  <a:pt x="102" y="371"/>
                  <a:pt x="94" y="396"/>
                  <a:pt x="94" y="396"/>
                </a:cubicBezTo>
                <a:cubicBezTo>
                  <a:pt x="94" y="396"/>
                  <a:pt x="33" y="439"/>
                  <a:pt x="51" y="452"/>
                </a:cubicBezTo>
                <a:cubicBezTo>
                  <a:pt x="69" y="465"/>
                  <a:pt x="85" y="475"/>
                  <a:pt x="85" y="475"/>
                </a:cubicBezTo>
                <a:cubicBezTo>
                  <a:pt x="85" y="475"/>
                  <a:pt x="99" y="470"/>
                  <a:pt x="103" y="467"/>
                </a:cubicBezTo>
                <a:cubicBezTo>
                  <a:pt x="98" y="471"/>
                  <a:pt x="81" y="487"/>
                  <a:pt x="87" y="491"/>
                </a:cubicBezTo>
                <a:cubicBezTo>
                  <a:pt x="94" y="495"/>
                  <a:pt x="98" y="501"/>
                  <a:pt x="101" y="501"/>
                </a:cubicBezTo>
                <a:cubicBezTo>
                  <a:pt x="105" y="501"/>
                  <a:pt x="127" y="493"/>
                  <a:pt x="127" y="493"/>
                </a:cubicBezTo>
                <a:cubicBezTo>
                  <a:pt x="127" y="493"/>
                  <a:pt x="117" y="518"/>
                  <a:pt x="81" y="507"/>
                </a:cubicBezTo>
                <a:cubicBezTo>
                  <a:pt x="99" y="552"/>
                  <a:pt x="99" y="552"/>
                  <a:pt x="99" y="552"/>
                </a:cubicBezTo>
                <a:cubicBezTo>
                  <a:pt x="99" y="552"/>
                  <a:pt x="57" y="507"/>
                  <a:pt x="50" y="507"/>
                </a:cubicBezTo>
                <a:cubicBezTo>
                  <a:pt x="43" y="508"/>
                  <a:pt x="41" y="548"/>
                  <a:pt x="41" y="548"/>
                </a:cubicBezTo>
                <a:cubicBezTo>
                  <a:pt x="30" y="556"/>
                  <a:pt x="30" y="556"/>
                  <a:pt x="30" y="556"/>
                </a:cubicBezTo>
                <a:cubicBezTo>
                  <a:pt x="30" y="556"/>
                  <a:pt x="33" y="525"/>
                  <a:pt x="20" y="519"/>
                </a:cubicBezTo>
                <a:cubicBezTo>
                  <a:pt x="9" y="514"/>
                  <a:pt x="12" y="510"/>
                  <a:pt x="0" y="508"/>
                </a:cubicBezTo>
                <a:cubicBezTo>
                  <a:pt x="57" y="1927"/>
                  <a:pt x="57" y="1927"/>
                  <a:pt x="57" y="1927"/>
                </a:cubicBezTo>
                <a:cubicBezTo>
                  <a:pt x="270" y="1923"/>
                  <a:pt x="759" y="1914"/>
                  <a:pt x="806" y="1914"/>
                </a:cubicBezTo>
                <a:cubicBezTo>
                  <a:pt x="866" y="1914"/>
                  <a:pt x="1083" y="1914"/>
                  <a:pt x="1083" y="1914"/>
                </a:cubicBezTo>
                <a:cubicBezTo>
                  <a:pt x="1131" y="727"/>
                  <a:pt x="1131" y="727"/>
                  <a:pt x="1131" y="727"/>
                </a:cubicBezTo>
                <a:cubicBezTo>
                  <a:pt x="1116" y="710"/>
                  <a:pt x="1107" y="692"/>
                  <a:pt x="1097" y="687"/>
                </a:cubicBez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40" name="Freeform 20" descr="© INSCALE GmbH, 05.05.2010&#10;http://www.presentationload.com/"/>
          <p:cNvSpPr>
            <a:spLocks noChangeAspect="1" noEditPoints="1"/>
          </p:cNvSpPr>
          <p:nvPr/>
        </p:nvSpPr>
        <p:spPr bwMode="auto">
          <a:xfrm>
            <a:off x="1274503" y="2177312"/>
            <a:ext cx="734423" cy="835735"/>
          </a:xfrm>
          <a:custGeom>
            <a:avLst/>
            <a:gdLst/>
            <a:ahLst/>
            <a:cxnLst>
              <a:cxn ang="0">
                <a:pos x="694" y="1084"/>
              </a:cxn>
              <a:cxn ang="0">
                <a:pos x="713" y="1086"/>
              </a:cxn>
              <a:cxn ang="0">
                <a:pos x="683" y="1086"/>
              </a:cxn>
              <a:cxn ang="0">
                <a:pos x="943" y="1224"/>
              </a:cxn>
              <a:cxn ang="0">
                <a:pos x="831" y="1241"/>
              </a:cxn>
              <a:cxn ang="0">
                <a:pos x="844" y="1269"/>
              </a:cxn>
              <a:cxn ang="0">
                <a:pos x="904" y="1268"/>
              </a:cxn>
              <a:cxn ang="0">
                <a:pos x="943" y="1262"/>
              </a:cxn>
              <a:cxn ang="0">
                <a:pos x="959" y="1244"/>
              </a:cxn>
              <a:cxn ang="0">
                <a:pos x="979" y="1239"/>
              </a:cxn>
              <a:cxn ang="0">
                <a:pos x="983" y="1260"/>
              </a:cxn>
              <a:cxn ang="0">
                <a:pos x="979" y="1239"/>
              </a:cxn>
              <a:cxn ang="0">
                <a:pos x="996" y="0"/>
              </a:cxn>
              <a:cxn ang="0">
                <a:pos x="0" y="13"/>
              </a:cxn>
              <a:cxn ang="0">
                <a:pos x="129" y="713"/>
              </a:cxn>
              <a:cxn ang="0">
                <a:pos x="265" y="697"/>
              </a:cxn>
              <a:cxn ang="0">
                <a:pos x="403" y="765"/>
              </a:cxn>
              <a:cxn ang="0">
                <a:pos x="485" y="787"/>
              </a:cxn>
              <a:cxn ang="0">
                <a:pos x="514" y="781"/>
              </a:cxn>
              <a:cxn ang="0">
                <a:pos x="547" y="792"/>
              </a:cxn>
              <a:cxn ang="0">
                <a:pos x="554" y="829"/>
              </a:cxn>
              <a:cxn ang="0">
                <a:pos x="600" y="843"/>
              </a:cxn>
              <a:cxn ang="0">
                <a:pos x="585" y="865"/>
              </a:cxn>
              <a:cxn ang="0">
                <a:pos x="609" y="910"/>
              </a:cxn>
              <a:cxn ang="0">
                <a:pos x="659" y="944"/>
              </a:cxn>
              <a:cxn ang="0">
                <a:pos x="688" y="1000"/>
              </a:cxn>
              <a:cxn ang="0">
                <a:pos x="716" y="1054"/>
              </a:cxn>
              <a:cxn ang="0">
                <a:pos x="724" y="1098"/>
              </a:cxn>
              <a:cxn ang="0">
                <a:pos x="746" y="1136"/>
              </a:cxn>
              <a:cxn ang="0">
                <a:pos x="766" y="1086"/>
              </a:cxn>
              <a:cxn ang="0">
                <a:pos x="796" y="1062"/>
              </a:cxn>
              <a:cxn ang="0">
                <a:pos x="865" y="998"/>
              </a:cxn>
              <a:cxn ang="0">
                <a:pos x="925" y="943"/>
              </a:cxn>
              <a:cxn ang="0">
                <a:pos x="973" y="885"/>
              </a:cxn>
              <a:cxn ang="0">
                <a:pos x="989" y="863"/>
              </a:cxn>
              <a:cxn ang="0">
                <a:pos x="974" y="923"/>
              </a:cxn>
              <a:cxn ang="0">
                <a:pos x="930" y="1050"/>
              </a:cxn>
              <a:cxn ang="0">
                <a:pos x="895" y="1135"/>
              </a:cxn>
              <a:cxn ang="0">
                <a:pos x="906" y="1182"/>
              </a:cxn>
              <a:cxn ang="0">
                <a:pos x="931" y="1182"/>
              </a:cxn>
              <a:cxn ang="0">
                <a:pos x="957" y="1159"/>
              </a:cxn>
              <a:cxn ang="0">
                <a:pos x="982" y="1075"/>
              </a:cxn>
              <a:cxn ang="0">
                <a:pos x="1006" y="1036"/>
              </a:cxn>
              <a:cxn ang="0">
                <a:pos x="1018" y="1076"/>
              </a:cxn>
              <a:cxn ang="0">
                <a:pos x="1051" y="1138"/>
              </a:cxn>
              <a:cxn ang="0">
                <a:pos x="1030" y="1195"/>
              </a:cxn>
              <a:cxn ang="0">
                <a:pos x="1036" y="1235"/>
              </a:cxn>
              <a:cxn ang="0">
                <a:pos x="1095" y="1200"/>
              </a:cxn>
              <a:cxn ang="0">
                <a:pos x="1112" y="1241"/>
              </a:cxn>
              <a:cxn ang="0">
                <a:pos x="1155" y="1316"/>
              </a:cxn>
              <a:cxn ang="0">
                <a:pos x="1145" y="1411"/>
              </a:cxn>
              <a:cxn ang="0">
                <a:pos x="1241" y="1556"/>
              </a:cxn>
              <a:cxn ang="0">
                <a:pos x="1369" y="25"/>
              </a:cxn>
            </a:cxnLst>
            <a:rect l="0" t="0" r="r" b="b"/>
            <a:pathLst>
              <a:path w="1369" h="1556">
                <a:moveTo>
                  <a:pt x="683" y="1086"/>
                </a:moveTo>
                <a:cubicBezTo>
                  <a:pt x="694" y="1084"/>
                  <a:pt x="694" y="1084"/>
                  <a:pt x="694" y="1084"/>
                </a:cubicBezTo>
                <a:cubicBezTo>
                  <a:pt x="705" y="1095"/>
                  <a:pt x="705" y="1095"/>
                  <a:pt x="705" y="1095"/>
                </a:cubicBezTo>
                <a:cubicBezTo>
                  <a:pt x="713" y="1086"/>
                  <a:pt x="713" y="1086"/>
                  <a:pt x="713" y="1086"/>
                </a:cubicBezTo>
                <a:cubicBezTo>
                  <a:pt x="691" y="1070"/>
                  <a:pt x="691" y="1070"/>
                  <a:pt x="691" y="1070"/>
                </a:cubicBezTo>
                <a:lnTo>
                  <a:pt x="683" y="1086"/>
                </a:lnTo>
                <a:close/>
                <a:moveTo>
                  <a:pt x="947" y="1239"/>
                </a:moveTo>
                <a:cubicBezTo>
                  <a:pt x="943" y="1224"/>
                  <a:pt x="943" y="1224"/>
                  <a:pt x="943" y="1224"/>
                </a:cubicBezTo>
                <a:cubicBezTo>
                  <a:pt x="911" y="1203"/>
                  <a:pt x="910" y="1220"/>
                  <a:pt x="887" y="1228"/>
                </a:cubicBezTo>
                <a:cubicBezTo>
                  <a:pt x="864" y="1236"/>
                  <a:pt x="831" y="1241"/>
                  <a:pt x="831" y="1241"/>
                </a:cubicBezTo>
                <a:cubicBezTo>
                  <a:pt x="830" y="1262"/>
                  <a:pt x="830" y="1262"/>
                  <a:pt x="830" y="1262"/>
                </a:cubicBezTo>
                <a:cubicBezTo>
                  <a:pt x="844" y="1269"/>
                  <a:pt x="844" y="1269"/>
                  <a:pt x="844" y="1269"/>
                </a:cubicBezTo>
                <a:cubicBezTo>
                  <a:pt x="844" y="1269"/>
                  <a:pt x="867" y="1280"/>
                  <a:pt x="880" y="1280"/>
                </a:cubicBezTo>
                <a:cubicBezTo>
                  <a:pt x="894" y="1280"/>
                  <a:pt x="896" y="1269"/>
                  <a:pt x="904" y="1268"/>
                </a:cubicBezTo>
                <a:cubicBezTo>
                  <a:pt x="912" y="1266"/>
                  <a:pt x="919" y="1282"/>
                  <a:pt x="931" y="1284"/>
                </a:cubicBezTo>
                <a:cubicBezTo>
                  <a:pt x="943" y="1285"/>
                  <a:pt x="943" y="1262"/>
                  <a:pt x="943" y="1262"/>
                </a:cubicBezTo>
                <a:cubicBezTo>
                  <a:pt x="961" y="1260"/>
                  <a:pt x="961" y="1260"/>
                  <a:pt x="961" y="1260"/>
                </a:cubicBezTo>
                <a:cubicBezTo>
                  <a:pt x="961" y="1260"/>
                  <a:pt x="959" y="1248"/>
                  <a:pt x="959" y="1244"/>
                </a:cubicBezTo>
                <a:cubicBezTo>
                  <a:pt x="959" y="1240"/>
                  <a:pt x="947" y="1239"/>
                  <a:pt x="947" y="1239"/>
                </a:cubicBezTo>
                <a:close/>
                <a:moveTo>
                  <a:pt x="979" y="1239"/>
                </a:moveTo>
                <a:cubicBezTo>
                  <a:pt x="968" y="1249"/>
                  <a:pt x="968" y="1249"/>
                  <a:pt x="968" y="1249"/>
                </a:cubicBezTo>
                <a:cubicBezTo>
                  <a:pt x="983" y="1260"/>
                  <a:pt x="983" y="1260"/>
                  <a:pt x="983" y="1260"/>
                </a:cubicBezTo>
                <a:cubicBezTo>
                  <a:pt x="996" y="1256"/>
                  <a:pt x="996" y="1256"/>
                  <a:pt x="996" y="1256"/>
                </a:cubicBezTo>
                <a:cubicBezTo>
                  <a:pt x="996" y="1256"/>
                  <a:pt x="992" y="1239"/>
                  <a:pt x="979" y="1239"/>
                </a:cubicBezTo>
                <a:close/>
                <a:moveTo>
                  <a:pt x="1016" y="15"/>
                </a:moveTo>
                <a:cubicBezTo>
                  <a:pt x="1016" y="15"/>
                  <a:pt x="1008" y="9"/>
                  <a:pt x="996" y="0"/>
                </a:cubicBezTo>
                <a:cubicBezTo>
                  <a:pt x="749" y="0"/>
                  <a:pt x="749" y="0"/>
                  <a:pt x="749" y="0"/>
                </a:cubicBezTo>
                <a:cubicBezTo>
                  <a:pt x="702" y="0"/>
                  <a:pt x="213" y="9"/>
                  <a:pt x="0" y="13"/>
                </a:cubicBezTo>
                <a:cubicBezTo>
                  <a:pt x="28" y="725"/>
                  <a:pt x="28" y="725"/>
                  <a:pt x="28" y="725"/>
                </a:cubicBezTo>
                <a:cubicBezTo>
                  <a:pt x="48" y="720"/>
                  <a:pt x="116" y="713"/>
                  <a:pt x="129" y="713"/>
                </a:cubicBezTo>
                <a:cubicBezTo>
                  <a:pt x="143" y="713"/>
                  <a:pt x="239" y="715"/>
                  <a:pt x="240" y="713"/>
                </a:cubicBezTo>
                <a:cubicBezTo>
                  <a:pt x="241" y="712"/>
                  <a:pt x="243" y="692"/>
                  <a:pt x="265" y="697"/>
                </a:cubicBezTo>
                <a:cubicBezTo>
                  <a:pt x="287" y="702"/>
                  <a:pt x="379" y="766"/>
                  <a:pt x="379" y="766"/>
                </a:cubicBezTo>
                <a:cubicBezTo>
                  <a:pt x="379" y="766"/>
                  <a:pt x="402" y="767"/>
                  <a:pt x="403" y="765"/>
                </a:cubicBezTo>
                <a:cubicBezTo>
                  <a:pt x="404" y="764"/>
                  <a:pt x="403" y="751"/>
                  <a:pt x="417" y="753"/>
                </a:cubicBezTo>
                <a:cubicBezTo>
                  <a:pt x="430" y="755"/>
                  <a:pt x="485" y="787"/>
                  <a:pt x="485" y="787"/>
                </a:cubicBezTo>
                <a:cubicBezTo>
                  <a:pt x="497" y="796"/>
                  <a:pt x="497" y="796"/>
                  <a:pt x="497" y="796"/>
                </a:cubicBezTo>
                <a:cubicBezTo>
                  <a:pt x="514" y="781"/>
                  <a:pt x="514" y="781"/>
                  <a:pt x="514" y="781"/>
                </a:cubicBezTo>
                <a:cubicBezTo>
                  <a:pt x="527" y="799"/>
                  <a:pt x="527" y="799"/>
                  <a:pt x="527" y="799"/>
                </a:cubicBezTo>
                <a:cubicBezTo>
                  <a:pt x="527" y="799"/>
                  <a:pt x="527" y="777"/>
                  <a:pt x="547" y="792"/>
                </a:cubicBezTo>
                <a:cubicBezTo>
                  <a:pt x="566" y="807"/>
                  <a:pt x="566" y="814"/>
                  <a:pt x="564" y="814"/>
                </a:cubicBezTo>
                <a:cubicBezTo>
                  <a:pt x="562" y="814"/>
                  <a:pt x="545" y="828"/>
                  <a:pt x="554" y="829"/>
                </a:cubicBezTo>
                <a:cubicBezTo>
                  <a:pt x="562" y="830"/>
                  <a:pt x="582" y="819"/>
                  <a:pt x="582" y="819"/>
                </a:cubicBezTo>
                <a:cubicBezTo>
                  <a:pt x="582" y="819"/>
                  <a:pt x="601" y="840"/>
                  <a:pt x="600" y="843"/>
                </a:cubicBezTo>
                <a:cubicBezTo>
                  <a:pt x="599" y="846"/>
                  <a:pt x="579" y="853"/>
                  <a:pt x="579" y="853"/>
                </a:cubicBezTo>
                <a:cubicBezTo>
                  <a:pt x="579" y="853"/>
                  <a:pt x="592" y="859"/>
                  <a:pt x="585" y="865"/>
                </a:cubicBezTo>
                <a:cubicBezTo>
                  <a:pt x="577" y="872"/>
                  <a:pt x="576" y="877"/>
                  <a:pt x="576" y="877"/>
                </a:cubicBezTo>
                <a:cubicBezTo>
                  <a:pt x="609" y="910"/>
                  <a:pt x="609" y="910"/>
                  <a:pt x="609" y="910"/>
                </a:cubicBezTo>
                <a:cubicBezTo>
                  <a:pt x="609" y="910"/>
                  <a:pt x="623" y="900"/>
                  <a:pt x="637" y="910"/>
                </a:cubicBezTo>
                <a:cubicBezTo>
                  <a:pt x="651" y="921"/>
                  <a:pt x="659" y="939"/>
                  <a:pt x="659" y="944"/>
                </a:cubicBezTo>
                <a:cubicBezTo>
                  <a:pt x="659" y="949"/>
                  <a:pt x="663" y="973"/>
                  <a:pt x="663" y="973"/>
                </a:cubicBezTo>
                <a:cubicBezTo>
                  <a:pt x="663" y="973"/>
                  <a:pt x="677" y="994"/>
                  <a:pt x="688" y="1000"/>
                </a:cubicBezTo>
                <a:cubicBezTo>
                  <a:pt x="699" y="1006"/>
                  <a:pt x="708" y="1019"/>
                  <a:pt x="704" y="1024"/>
                </a:cubicBezTo>
                <a:cubicBezTo>
                  <a:pt x="700" y="1030"/>
                  <a:pt x="717" y="1052"/>
                  <a:pt x="716" y="1054"/>
                </a:cubicBezTo>
                <a:cubicBezTo>
                  <a:pt x="715" y="1055"/>
                  <a:pt x="714" y="1076"/>
                  <a:pt x="719" y="1078"/>
                </a:cubicBezTo>
                <a:cubicBezTo>
                  <a:pt x="724" y="1080"/>
                  <a:pt x="724" y="1098"/>
                  <a:pt x="724" y="1098"/>
                </a:cubicBezTo>
                <a:cubicBezTo>
                  <a:pt x="724" y="1098"/>
                  <a:pt x="717" y="1102"/>
                  <a:pt x="717" y="1104"/>
                </a:cubicBezTo>
                <a:cubicBezTo>
                  <a:pt x="717" y="1106"/>
                  <a:pt x="742" y="1142"/>
                  <a:pt x="746" y="1136"/>
                </a:cubicBezTo>
                <a:cubicBezTo>
                  <a:pt x="750" y="1130"/>
                  <a:pt x="773" y="1115"/>
                  <a:pt x="772" y="1111"/>
                </a:cubicBezTo>
                <a:cubicBezTo>
                  <a:pt x="771" y="1108"/>
                  <a:pt x="758" y="1091"/>
                  <a:pt x="766" y="1086"/>
                </a:cubicBezTo>
                <a:cubicBezTo>
                  <a:pt x="774" y="1081"/>
                  <a:pt x="788" y="1085"/>
                  <a:pt x="789" y="1082"/>
                </a:cubicBezTo>
                <a:cubicBezTo>
                  <a:pt x="789" y="1078"/>
                  <a:pt x="796" y="1065"/>
                  <a:pt x="796" y="1062"/>
                </a:cubicBezTo>
                <a:cubicBezTo>
                  <a:pt x="796" y="1060"/>
                  <a:pt x="815" y="1029"/>
                  <a:pt x="824" y="1021"/>
                </a:cubicBezTo>
                <a:cubicBezTo>
                  <a:pt x="834" y="1013"/>
                  <a:pt x="853" y="998"/>
                  <a:pt x="865" y="998"/>
                </a:cubicBezTo>
                <a:cubicBezTo>
                  <a:pt x="877" y="998"/>
                  <a:pt x="886" y="990"/>
                  <a:pt x="896" y="986"/>
                </a:cubicBezTo>
                <a:cubicBezTo>
                  <a:pt x="906" y="982"/>
                  <a:pt x="920" y="953"/>
                  <a:pt x="925" y="943"/>
                </a:cubicBezTo>
                <a:cubicBezTo>
                  <a:pt x="929" y="934"/>
                  <a:pt x="937" y="921"/>
                  <a:pt x="942" y="911"/>
                </a:cubicBezTo>
                <a:cubicBezTo>
                  <a:pt x="947" y="901"/>
                  <a:pt x="973" y="895"/>
                  <a:pt x="973" y="885"/>
                </a:cubicBezTo>
                <a:cubicBezTo>
                  <a:pt x="973" y="874"/>
                  <a:pt x="970" y="851"/>
                  <a:pt x="973" y="847"/>
                </a:cubicBezTo>
                <a:cubicBezTo>
                  <a:pt x="976" y="842"/>
                  <a:pt x="989" y="855"/>
                  <a:pt x="989" y="863"/>
                </a:cubicBezTo>
                <a:cubicBezTo>
                  <a:pt x="989" y="870"/>
                  <a:pt x="1002" y="903"/>
                  <a:pt x="996" y="911"/>
                </a:cubicBezTo>
                <a:cubicBezTo>
                  <a:pt x="990" y="919"/>
                  <a:pt x="974" y="915"/>
                  <a:pt x="974" y="923"/>
                </a:cubicBezTo>
                <a:cubicBezTo>
                  <a:pt x="975" y="931"/>
                  <a:pt x="991" y="954"/>
                  <a:pt x="988" y="961"/>
                </a:cubicBezTo>
                <a:cubicBezTo>
                  <a:pt x="984" y="968"/>
                  <a:pt x="925" y="1039"/>
                  <a:pt x="930" y="1050"/>
                </a:cubicBezTo>
                <a:cubicBezTo>
                  <a:pt x="935" y="1061"/>
                  <a:pt x="940" y="1129"/>
                  <a:pt x="930" y="1134"/>
                </a:cubicBezTo>
                <a:cubicBezTo>
                  <a:pt x="919" y="1140"/>
                  <a:pt x="910" y="1129"/>
                  <a:pt x="895" y="1135"/>
                </a:cubicBezTo>
                <a:cubicBezTo>
                  <a:pt x="881" y="1141"/>
                  <a:pt x="866" y="1158"/>
                  <a:pt x="879" y="1168"/>
                </a:cubicBezTo>
                <a:cubicBezTo>
                  <a:pt x="892" y="1177"/>
                  <a:pt x="905" y="1184"/>
                  <a:pt x="906" y="1182"/>
                </a:cubicBezTo>
                <a:cubicBezTo>
                  <a:pt x="907" y="1179"/>
                  <a:pt x="931" y="1157"/>
                  <a:pt x="931" y="1157"/>
                </a:cubicBezTo>
                <a:cubicBezTo>
                  <a:pt x="931" y="1157"/>
                  <a:pt x="931" y="1176"/>
                  <a:pt x="931" y="1182"/>
                </a:cubicBezTo>
                <a:cubicBezTo>
                  <a:pt x="931" y="1187"/>
                  <a:pt x="938" y="1203"/>
                  <a:pt x="948" y="1203"/>
                </a:cubicBezTo>
                <a:cubicBezTo>
                  <a:pt x="958" y="1203"/>
                  <a:pt x="957" y="1175"/>
                  <a:pt x="957" y="1159"/>
                </a:cubicBezTo>
                <a:cubicBezTo>
                  <a:pt x="957" y="1143"/>
                  <a:pt x="977" y="1126"/>
                  <a:pt x="977" y="1112"/>
                </a:cubicBezTo>
                <a:cubicBezTo>
                  <a:pt x="977" y="1098"/>
                  <a:pt x="977" y="1080"/>
                  <a:pt x="982" y="1075"/>
                </a:cubicBezTo>
                <a:cubicBezTo>
                  <a:pt x="988" y="1070"/>
                  <a:pt x="993" y="1074"/>
                  <a:pt x="993" y="1061"/>
                </a:cubicBezTo>
                <a:cubicBezTo>
                  <a:pt x="993" y="1049"/>
                  <a:pt x="1002" y="1041"/>
                  <a:pt x="1006" y="1036"/>
                </a:cubicBezTo>
                <a:cubicBezTo>
                  <a:pt x="1010" y="1031"/>
                  <a:pt x="1026" y="1054"/>
                  <a:pt x="1026" y="1054"/>
                </a:cubicBezTo>
                <a:cubicBezTo>
                  <a:pt x="1026" y="1054"/>
                  <a:pt x="1019" y="1065"/>
                  <a:pt x="1018" y="1076"/>
                </a:cubicBezTo>
                <a:cubicBezTo>
                  <a:pt x="1017" y="1087"/>
                  <a:pt x="1031" y="1105"/>
                  <a:pt x="1034" y="1112"/>
                </a:cubicBezTo>
                <a:cubicBezTo>
                  <a:pt x="1037" y="1118"/>
                  <a:pt x="1051" y="1125"/>
                  <a:pt x="1051" y="1138"/>
                </a:cubicBezTo>
                <a:cubicBezTo>
                  <a:pt x="1050" y="1151"/>
                  <a:pt x="1042" y="1162"/>
                  <a:pt x="1039" y="1163"/>
                </a:cubicBezTo>
                <a:cubicBezTo>
                  <a:pt x="1036" y="1165"/>
                  <a:pt x="1038" y="1187"/>
                  <a:pt x="1030" y="1195"/>
                </a:cubicBezTo>
                <a:cubicBezTo>
                  <a:pt x="1021" y="1203"/>
                  <a:pt x="988" y="1215"/>
                  <a:pt x="994" y="1226"/>
                </a:cubicBezTo>
                <a:cubicBezTo>
                  <a:pt x="1000" y="1236"/>
                  <a:pt x="1012" y="1238"/>
                  <a:pt x="1036" y="1235"/>
                </a:cubicBezTo>
                <a:cubicBezTo>
                  <a:pt x="1060" y="1231"/>
                  <a:pt x="1045" y="1227"/>
                  <a:pt x="1057" y="1220"/>
                </a:cubicBezTo>
                <a:cubicBezTo>
                  <a:pt x="1069" y="1214"/>
                  <a:pt x="1077" y="1203"/>
                  <a:pt x="1095" y="1200"/>
                </a:cubicBezTo>
                <a:cubicBezTo>
                  <a:pt x="1114" y="1196"/>
                  <a:pt x="1137" y="1181"/>
                  <a:pt x="1127" y="1196"/>
                </a:cubicBezTo>
                <a:cubicBezTo>
                  <a:pt x="1116" y="1211"/>
                  <a:pt x="1110" y="1225"/>
                  <a:pt x="1112" y="1241"/>
                </a:cubicBezTo>
                <a:cubicBezTo>
                  <a:pt x="1114" y="1257"/>
                  <a:pt x="1122" y="1261"/>
                  <a:pt x="1131" y="1270"/>
                </a:cubicBezTo>
                <a:cubicBezTo>
                  <a:pt x="1140" y="1279"/>
                  <a:pt x="1153" y="1305"/>
                  <a:pt x="1155" y="1316"/>
                </a:cubicBezTo>
                <a:cubicBezTo>
                  <a:pt x="1157" y="1327"/>
                  <a:pt x="1179" y="1379"/>
                  <a:pt x="1169" y="1388"/>
                </a:cubicBezTo>
                <a:cubicBezTo>
                  <a:pt x="1158" y="1398"/>
                  <a:pt x="1145" y="1409"/>
                  <a:pt x="1145" y="1411"/>
                </a:cubicBezTo>
                <a:cubicBezTo>
                  <a:pt x="1145" y="1414"/>
                  <a:pt x="1138" y="1442"/>
                  <a:pt x="1189" y="1486"/>
                </a:cubicBezTo>
                <a:cubicBezTo>
                  <a:pt x="1232" y="1543"/>
                  <a:pt x="1241" y="1556"/>
                  <a:pt x="1241" y="1556"/>
                </a:cubicBezTo>
                <a:cubicBezTo>
                  <a:pt x="1278" y="1555"/>
                  <a:pt x="1278" y="1555"/>
                  <a:pt x="1278" y="1555"/>
                </a:cubicBezTo>
                <a:cubicBezTo>
                  <a:pt x="1369" y="25"/>
                  <a:pt x="1369" y="25"/>
                  <a:pt x="1369" y="25"/>
                </a:cubicBezTo>
                <a:lnTo>
                  <a:pt x="1016" y="15"/>
                </a:lnTo>
                <a:close/>
              </a:path>
            </a:pathLst>
          </a:custGeom>
          <a:solidFill>
            <a:srgbClr val="902017"/>
          </a:solidFill>
          <a:ln w="9525" cap="flat" cmpd="sng">
            <a:solidFill>
              <a:schemeClr val="bg1"/>
            </a:solidFill>
            <a:prstDash val="solid"/>
            <a:round/>
            <a:headEnd type="none" w="med" len="med"/>
            <a:tailEnd type="none" w="med" len="med"/>
          </a:ln>
          <a:effectLst/>
        </p:spPr>
        <p:txBody>
          <a:bodyPr/>
          <a:lstStyle/>
          <a:p>
            <a:endParaRPr lang="en-GB"/>
          </a:p>
        </p:txBody>
      </p:sp>
      <p:sp>
        <p:nvSpPr>
          <p:cNvPr id="41" name="Freeform 21" descr="© INSCALE GmbH, 05.05.2010&#10;http://www.presentationload.com/"/>
          <p:cNvSpPr>
            <a:spLocks noChangeAspect="1" noEditPoints="1"/>
          </p:cNvSpPr>
          <p:nvPr/>
        </p:nvSpPr>
        <p:spPr bwMode="auto">
          <a:xfrm>
            <a:off x="1960282" y="2738285"/>
            <a:ext cx="489297" cy="429316"/>
          </a:xfrm>
          <a:custGeom>
            <a:avLst/>
            <a:gdLst/>
            <a:ahLst/>
            <a:cxnLst>
              <a:cxn ang="0">
                <a:pos x="527" y="691"/>
              </a:cxn>
              <a:cxn ang="0">
                <a:pos x="517" y="672"/>
              </a:cxn>
              <a:cxn ang="0">
                <a:pos x="279" y="716"/>
              </a:cxn>
              <a:cxn ang="0">
                <a:pos x="266" y="756"/>
              </a:cxn>
              <a:cxn ang="0">
                <a:pos x="274" y="799"/>
              </a:cxn>
              <a:cxn ang="0">
                <a:pos x="293" y="765"/>
              </a:cxn>
              <a:cxn ang="0">
                <a:pos x="738" y="410"/>
              </a:cxn>
              <a:cxn ang="0">
                <a:pos x="726" y="345"/>
              </a:cxn>
              <a:cxn ang="0">
                <a:pos x="721" y="304"/>
              </a:cxn>
              <a:cxn ang="0">
                <a:pos x="679" y="305"/>
              </a:cxn>
              <a:cxn ang="0">
                <a:pos x="649" y="310"/>
              </a:cxn>
              <a:cxn ang="0">
                <a:pos x="631" y="340"/>
              </a:cxn>
              <a:cxn ang="0">
                <a:pos x="585" y="290"/>
              </a:cxn>
              <a:cxn ang="0">
                <a:pos x="514" y="288"/>
              </a:cxn>
              <a:cxn ang="0">
                <a:pos x="472" y="275"/>
              </a:cxn>
              <a:cxn ang="0">
                <a:pos x="420" y="293"/>
              </a:cxn>
              <a:cxn ang="0">
                <a:pos x="366" y="261"/>
              </a:cxn>
              <a:cxn ang="0">
                <a:pos x="312" y="193"/>
              </a:cxn>
              <a:cxn ang="0">
                <a:pos x="285" y="166"/>
              </a:cxn>
              <a:cxn ang="0">
                <a:pos x="266" y="114"/>
              </a:cxn>
              <a:cxn ang="0">
                <a:pos x="193" y="110"/>
              </a:cxn>
              <a:cxn ang="0">
                <a:pos x="169" y="73"/>
              </a:cxn>
              <a:cxn ang="0">
                <a:pos x="128" y="8"/>
              </a:cxn>
              <a:cxn ang="0">
                <a:pos x="81" y="25"/>
              </a:cxn>
              <a:cxn ang="0">
                <a:pos x="30" y="0"/>
              </a:cxn>
              <a:cxn ang="0">
                <a:pos x="6" y="509"/>
              </a:cxn>
              <a:cxn ang="0">
                <a:pos x="49" y="561"/>
              </a:cxn>
              <a:cxn ang="0">
                <a:pos x="112" y="560"/>
              </a:cxn>
              <a:cxn ang="0">
                <a:pos x="199" y="611"/>
              </a:cxn>
              <a:cxn ang="0">
                <a:pos x="258" y="603"/>
              </a:cxn>
              <a:cxn ang="0">
                <a:pos x="324" y="575"/>
              </a:cxn>
              <a:cxn ang="0">
                <a:pos x="373" y="550"/>
              </a:cxn>
              <a:cxn ang="0">
                <a:pos x="370" y="513"/>
              </a:cxn>
              <a:cxn ang="0">
                <a:pos x="417" y="556"/>
              </a:cxn>
              <a:cxn ang="0">
                <a:pos x="407" y="595"/>
              </a:cxn>
              <a:cxn ang="0">
                <a:pos x="448" y="587"/>
              </a:cxn>
              <a:cxn ang="0">
                <a:pos x="458" y="627"/>
              </a:cxn>
              <a:cxn ang="0">
                <a:pos x="488" y="657"/>
              </a:cxn>
              <a:cxn ang="0">
                <a:pos x="557" y="645"/>
              </a:cxn>
              <a:cxn ang="0">
                <a:pos x="691" y="555"/>
              </a:cxn>
              <a:cxn ang="0">
                <a:pos x="770" y="550"/>
              </a:cxn>
              <a:cxn ang="0">
                <a:pos x="890" y="535"/>
              </a:cxn>
              <a:cxn ang="0">
                <a:pos x="738" y="410"/>
              </a:cxn>
            </a:cxnLst>
            <a:rect l="0" t="0" r="r" b="b"/>
            <a:pathLst>
              <a:path w="912" h="799">
                <a:moveTo>
                  <a:pt x="517" y="672"/>
                </a:moveTo>
                <a:cubicBezTo>
                  <a:pt x="517" y="672"/>
                  <a:pt x="520" y="690"/>
                  <a:pt x="527" y="691"/>
                </a:cubicBezTo>
                <a:cubicBezTo>
                  <a:pt x="533" y="692"/>
                  <a:pt x="537" y="676"/>
                  <a:pt x="540" y="668"/>
                </a:cubicBezTo>
                <a:cubicBezTo>
                  <a:pt x="543" y="660"/>
                  <a:pt x="523" y="660"/>
                  <a:pt x="517" y="672"/>
                </a:cubicBezTo>
                <a:close/>
                <a:moveTo>
                  <a:pt x="291" y="734"/>
                </a:moveTo>
                <a:cubicBezTo>
                  <a:pt x="279" y="716"/>
                  <a:pt x="279" y="716"/>
                  <a:pt x="279" y="716"/>
                </a:cubicBezTo>
                <a:cubicBezTo>
                  <a:pt x="279" y="716"/>
                  <a:pt x="269" y="730"/>
                  <a:pt x="266" y="736"/>
                </a:cubicBezTo>
                <a:cubicBezTo>
                  <a:pt x="263" y="743"/>
                  <a:pt x="266" y="752"/>
                  <a:pt x="266" y="756"/>
                </a:cubicBezTo>
                <a:cubicBezTo>
                  <a:pt x="266" y="760"/>
                  <a:pt x="262" y="772"/>
                  <a:pt x="262" y="772"/>
                </a:cubicBezTo>
                <a:cubicBezTo>
                  <a:pt x="274" y="799"/>
                  <a:pt x="274" y="799"/>
                  <a:pt x="274" y="799"/>
                </a:cubicBezTo>
                <a:cubicBezTo>
                  <a:pt x="295" y="775"/>
                  <a:pt x="295" y="775"/>
                  <a:pt x="295" y="775"/>
                </a:cubicBezTo>
                <a:cubicBezTo>
                  <a:pt x="293" y="765"/>
                  <a:pt x="293" y="765"/>
                  <a:pt x="293" y="765"/>
                </a:cubicBezTo>
                <a:lnTo>
                  <a:pt x="291" y="734"/>
                </a:lnTo>
                <a:close/>
                <a:moveTo>
                  <a:pt x="738" y="410"/>
                </a:moveTo>
                <a:cubicBezTo>
                  <a:pt x="754" y="383"/>
                  <a:pt x="754" y="383"/>
                  <a:pt x="754" y="383"/>
                </a:cubicBezTo>
                <a:cubicBezTo>
                  <a:pt x="726" y="345"/>
                  <a:pt x="726" y="345"/>
                  <a:pt x="726" y="345"/>
                </a:cubicBezTo>
                <a:cubicBezTo>
                  <a:pt x="734" y="329"/>
                  <a:pt x="734" y="329"/>
                  <a:pt x="734" y="329"/>
                </a:cubicBezTo>
                <a:cubicBezTo>
                  <a:pt x="721" y="304"/>
                  <a:pt x="721" y="304"/>
                  <a:pt x="721" y="304"/>
                </a:cubicBezTo>
                <a:cubicBezTo>
                  <a:pt x="698" y="307"/>
                  <a:pt x="698" y="307"/>
                  <a:pt x="698" y="307"/>
                </a:cubicBezTo>
                <a:cubicBezTo>
                  <a:pt x="679" y="305"/>
                  <a:pt x="679" y="305"/>
                  <a:pt x="679" y="305"/>
                </a:cubicBezTo>
                <a:cubicBezTo>
                  <a:pt x="670" y="312"/>
                  <a:pt x="670" y="312"/>
                  <a:pt x="670" y="312"/>
                </a:cubicBezTo>
                <a:cubicBezTo>
                  <a:pt x="649" y="310"/>
                  <a:pt x="649" y="310"/>
                  <a:pt x="649" y="310"/>
                </a:cubicBezTo>
                <a:cubicBezTo>
                  <a:pt x="648" y="329"/>
                  <a:pt x="648" y="329"/>
                  <a:pt x="648" y="329"/>
                </a:cubicBezTo>
                <a:cubicBezTo>
                  <a:pt x="631" y="340"/>
                  <a:pt x="631" y="340"/>
                  <a:pt x="631" y="340"/>
                </a:cubicBezTo>
                <a:cubicBezTo>
                  <a:pt x="629" y="312"/>
                  <a:pt x="629" y="312"/>
                  <a:pt x="629" y="312"/>
                </a:cubicBezTo>
                <a:cubicBezTo>
                  <a:pt x="629" y="312"/>
                  <a:pt x="588" y="290"/>
                  <a:pt x="585" y="290"/>
                </a:cubicBezTo>
                <a:cubicBezTo>
                  <a:pt x="582" y="290"/>
                  <a:pt x="569" y="299"/>
                  <a:pt x="553" y="300"/>
                </a:cubicBezTo>
                <a:cubicBezTo>
                  <a:pt x="536" y="301"/>
                  <a:pt x="514" y="288"/>
                  <a:pt x="514" y="288"/>
                </a:cubicBezTo>
                <a:cubicBezTo>
                  <a:pt x="502" y="271"/>
                  <a:pt x="502" y="271"/>
                  <a:pt x="502" y="271"/>
                </a:cubicBezTo>
                <a:cubicBezTo>
                  <a:pt x="472" y="275"/>
                  <a:pt x="472" y="275"/>
                  <a:pt x="472" y="275"/>
                </a:cubicBezTo>
                <a:cubicBezTo>
                  <a:pt x="472" y="275"/>
                  <a:pt x="451" y="261"/>
                  <a:pt x="431" y="261"/>
                </a:cubicBezTo>
                <a:cubicBezTo>
                  <a:pt x="411" y="261"/>
                  <a:pt x="420" y="293"/>
                  <a:pt x="420" y="293"/>
                </a:cubicBezTo>
                <a:cubicBezTo>
                  <a:pt x="402" y="294"/>
                  <a:pt x="402" y="294"/>
                  <a:pt x="402" y="294"/>
                </a:cubicBezTo>
                <a:cubicBezTo>
                  <a:pt x="366" y="261"/>
                  <a:pt x="366" y="261"/>
                  <a:pt x="366" y="261"/>
                </a:cubicBezTo>
                <a:cubicBezTo>
                  <a:pt x="366" y="244"/>
                  <a:pt x="366" y="244"/>
                  <a:pt x="366" y="244"/>
                </a:cubicBezTo>
                <a:cubicBezTo>
                  <a:pt x="312" y="193"/>
                  <a:pt x="312" y="193"/>
                  <a:pt x="312" y="193"/>
                </a:cubicBezTo>
                <a:cubicBezTo>
                  <a:pt x="287" y="190"/>
                  <a:pt x="287" y="190"/>
                  <a:pt x="287" y="190"/>
                </a:cubicBezTo>
                <a:cubicBezTo>
                  <a:pt x="285" y="166"/>
                  <a:pt x="285" y="166"/>
                  <a:pt x="285" y="166"/>
                </a:cubicBezTo>
                <a:cubicBezTo>
                  <a:pt x="265" y="163"/>
                  <a:pt x="265" y="163"/>
                  <a:pt x="265" y="163"/>
                </a:cubicBezTo>
                <a:cubicBezTo>
                  <a:pt x="266" y="114"/>
                  <a:pt x="266" y="114"/>
                  <a:pt x="266" y="114"/>
                </a:cubicBezTo>
                <a:cubicBezTo>
                  <a:pt x="212" y="85"/>
                  <a:pt x="212" y="85"/>
                  <a:pt x="212" y="85"/>
                </a:cubicBezTo>
                <a:cubicBezTo>
                  <a:pt x="212" y="85"/>
                  <a:pt x="198" y="106"/>
                  <a:pt x="193" y="110"/>
                </a:cubicBezTo>
                <a:cubicBezTo>
                  <a:pt x="187" y="115"/>
                  <a:pt x="182" y="80"/>
                  <a:pt x="182" y="80"/>
                </a:cubicBezTo>
                <a:cubicBezTo>
                  <a:pt x="169" y="73"/>
                  <a:pt x="169" y="73"/>
                  <a:pt x="169" y="73"/>
                </a:cubicBezTo>
                <a:cubicBezTo>
                  <a:pt x="172" y="48"/>
                  <a:pt x="172" y="48"/>
                  <a:pt x="172" y="48"/>
                </a:cubicBezTo>
                <a:cubicBezTo>
                  <a:pt x="128" y="8"/>
                  <a:pt x="128" y="8"/>
                  <a:pt x="128" y="8"/>
                </a:cubicBezTo>
                <a:cubicBezTo>
                  <a:pt x="96" y="11"/>
                  <a:pt x="96" y="11"/>
                  <a:pt x="96" y="11"/>
                </a:cubicBezTo>
                <a:cubicBezTo>
                  <a:pt x="81" y="25"/>
                  <a:pt x="81" y="25"/>
                  <a:pt x="81" y="25"/>
                </a:cubicBezTo>
                <a:cubicBezTo>
                  <a:pt x="50" y="3"/>
                  <a:pt x="50" y="3"/>
                  <a:pt x="50" y="3"/>
                </a:cubicBezTo>
                <a:cubicBezTo>
                  <a:pt x="30" y="0"/>
                  <a:pt x="30" y="0"/>
                  <a:pt x="30" y="0"/>
                </a:cubicBezTo>
                <a:cubicBezTo>
                  <a:pt x="0" y="510"/>
                  <a:pt x="0" y="510"/>
                  <a:pt x="0" y="510"/>
                </a:cubicBezTo>
                <a:cubicBezTo>
                  <a:pt x="6" y="509"/>
                  <a:pt x="6" y="509"/>
                  <a:pt x="6" y="509"/>
                </a:cubicBezTo>
                <a:cubicBezTo>
                  <a:pt x="6" y="509"/>
                  <a:pt x="29" y="550"/>
                  <a:pt x="33" y="552"/>
                </a:cubicBezTo>
                <a:cubicBezTo>
                  <a:pt x="36" y="553"/>
                  <a:pt x="42" y="562"/>
                  <a:pt x="49" y="561"/>
                </a:cubicBezTo>
                <a:cubicBezTo>
                  <a:pt x="56" y="560"/>
                  <a:pt x="58" y="525"/>
                  <a:pt x="71" y="528"/>
                </a:cubicBezTo>
                <a:cubicBezTo>
                  <a:pt x="83" y="532"/>
                  <a:pt x="108" y="560"/>
                  <a:pt x="112" y="560"/>
                </a:cubicBezTo>
                <a:cubicBezTo>
                  <a:pt x="116" y="560"/>
                  <a:pt x="150" y="559"/>
                  <a:pt x="152" y="560"/>
                </a:cubicBezTo>
                <a:cubicBezTo>
                  <a:pt x="154" y="560"/>
                  <a:pt x="193" y="611"/>
                  <a:pt x="199" y="611"/>
                </a:cubicBezTo>
                <a:cubicBezTo>
                  <a:pt x="204" y="610"/>
                  <a:pt x="241" y="621"/>
                  <a:pt x="242" y="620"/>
                </a:cubicBezTo>
                <a:cubicBezTo>
                  <a:pt x="242" y="618"/>
                  <a:pt x="245" y="603"/>
                  <a:pt x="258" y="603"/>
                </a:cubicBezTo>
                <a:cubicBezTo>
                  <a:pt x="272" y="602"/>
                  <a:pt x="286" y="616"/>
                  <a:pt x="292" y="611"/>
                </a:cubicBezTo>
                <a:cubicBezTo>
                  <a:pt x="298" y="607"/>
                  <a:pt x="309" y="583"/>
                  <a:pt x="324" y="575"/>
                </a:cubicBezTo>
                <a:cubicBezTo>
                  <a:pt x="338" y="566"/>
                  <a:pt x="351" y="568"/>
                  <a:pt x="359" y="564"/>
                </a:cubicBezTo>
                <a:cubicBezTo>
                  <a:pt x="366" y="560"/>
                  <a:pt x="374" y="551"/>
                  <a:pt x="373" y="550"/>
                </a:cubicBezTo>
                <a:cubicBezTo>
                  <a:pt x="371" y="549"/>
                  <a:pt x="350" y="544"/>
                  <a:pt x="349" y="540"/>
                </a:cubicBezTo>
                <a:cubicBezTo>
                  <a:pt x="348" y="536"/>
                  <a:pt x="352" y="518"/>
                  <a:pt x="370" y="513"/>
                </a:cubicBezTo>
                <a:cubicBezTo>
                  <a:pt x="387" y="508"/>
                  <a:pt x="414" y="512"/>
                  <a:pt x="414" y="519"/>
                </a:cubicBezTo>
                <a:cubicBezTo>
                  <a:pt x="414" y="526"/>
                  <a:pt x="432" y="549"/>
                  <a:pt x="417" y="556"/>
                </a:cubicBezTo>
                <a:cubicBezTo>
                  <a:pt x="402" y="563"/>
                  <a:pt x="376" y="580"/>
                  <a:pt x="381" y="583"/>
                </a:cubicBezTo>
                <a:cubicBezTo>
                  <a:pt x="386" y="587"/>
                  <a:pt x="402" y="598"/>
                  <a:pt x="407" y="595"/>
                </a:cubicBezTo>
                <a:cubicBezTo>
                  <a:pt x="413" y="592"/>
                  <a:pt x="430" y="560"/>
                  <a:pt x="440" y="564"/>
                </a:cubicBezTo>
                <a:cubicBezTo>
                  <a:pt x="450" y="568"/>
                  <a:pt x="460" y="577"/>
                  <a:pt x="448" y="587"/>
                </a:cubicBezTo>
                <a:cubicBezTo>
                  <a:pt x="436" y="597"/>
                  <a:pt x="424" y="605"/>
                  <a:pt x="432" y="609"/>
                </a:cubicBezTo>
                <a:cubicBezTo>
                  <a:pt x="440" y="613"/>
                  <a:pt x="458" y="627"/>
                  <a:pt x="458" y="627"/>
                </a:cubicBezTo>
                <a:cubicBezTo>
                  <a:pt x="469" y="625"/>
                  <a:pt x="469" y="625"/>
                  <a:pt x="469" y="625"/>
                </a:cubicBezTo>
                <a:cubicBezTo>
                  <a:pt x="469" y="625"/>
                  <a:pt x="474" y="661"/>
                  <a:pt x="488" y="657"/>
                </a:cubicBezTo>
                <a:cubicBezTo>
                  <a:pt x="501" y="654"/>
                  <a:pt x="499" y="635"/>
                  <a:pt x="522" y="636"/>
                </a:cubicBezTo>
                <a:cubicBezTo>
                  <a:pt x="545" y="637"/>
                  <a:pt x="547" y="647"/>
                  <a:pt x="557" y="645"/>
                </a:cubicBezTo>
                <a:cubicBezTo>
                  <a:pt x="566" y="644"/>
                  <a:pt x="594" y="630"/>
                  <a:pt x="597" y="627"/>
                </a:cubicBezTo>
                <a:cubicBezTo>
                  <a:pt x="600" y="624"/>
                  <a:pt x="673" y="559"/>
                  <a:pt x="691" y="555"/>
                </a:cubicBezTo>
                <a:cubicBezTo>
                  <a:pt x="710" y="551"/>
                  <a:pt x="748" y="538"/>
                  <a:pt x="748" y="538"/>
                </a:cubicBezTo>
                <a:cubicBezTo>
                  <a:pt x="748" y="538"/>
                  <a:pt x="768" y="550"/>
                  <a:pt x="770" y="550"/>
                </a:cubicBezTo>
                <a:cubicBezTo>
                  <a:pt x="773" y="549"/>
                  <a:pt x="845" y="562"/>
                  <a:pt x="856" y="554"/>
                </a:cubicBezTo>
                <a:cubicBezTo>
                  <a:pt x="866" y="547"/>
                  <a:pt x="890" y="535"/>
                  <a:pt x="890" y="535"/>
                </a:cubicBezTo>
                <a:cubicBezTo>
                  <a:pt x="912" y="534"/>
                  <a:pt x="912" y="534"/>
                  <a:pt x="912" y="534"/>
                </a:cubicBezTo>
                <a:lnTo>
                  <a:pt x="738" y="410"/>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42" name="Freeform 22" descr="© INSCALE GmbH, 05.05.2010&#10;http://www.presentationload.com/"/>
          <p:cNvSpPr>
            <a:spLocks noChangeAspect="1" noEditPoints="1"/>
          </p:cNvSpPr>
          <p:nvPr/>
        </p:nvSpPr>
        <p:spPr bwMode="auto">
          <a:xfrm>
            <a:off x="1976496" y="2393878"/>
            <a:ext cx="765898" cy="630618"/>
          </a:xfrm>
          <a:custGeom>
            <a:avLst/>
            <a:gdLst/>
            <a:ahLst/>
            <a:cxnLst>
              <a:cxn ang="0">
                <a:pos x="1395" y="59"/>
              </a:cxn>
              <a:cxn ang="0">
                <a:pos x="1359" y="67"/>
              </a:cxn>
              <a:cxn ang="0">
                <a:pos x="1251" y="67"/>
              </a:cxn>
              <a:cxn ang="0">
                <a:pos x="1207" y="111"/>
              </a:cxn>
              <a:cxn ang="0">
                <a:pos x="1167" y="107"/>
              </a:cxn>
              <a:cxn ang="0">
                <a:pos x="1083" y="75"/>
              </a:cxn>
              <a:cxn ang="0">
                <a:pos x="1019" y="47"/>
              </a:cxn>
              <a:cxn ang="0">
                <a:pos x="915" y="83"/>
              </a:cxn>
              <a:cxn ang="0">
                <a:pos x="0" y="643"/>
              </a:cxn>
              <a:cxn ang="0">
                <a:pos x="51" y="668"/>
              </a:cxn>
              <a:cxn ang="0">
                <a:pos x="98" y="651"/>
              </a:cxn>
              <a:cxn ang="0">
                <a:pos x="139" y="716"/>
              </a:cxn>
              <a:cxn ang="0">
                <a:pos x="163" y="753"/>
              </a:cxn>
              <a:cxn ang="0">
                <a:pos x="236" y="757"/>
              </a:cxn>
              <a:cxn ang="0">
                <a:pos x="255" y="809"/>
              </a:cxn>
              <a:cxn ang="0">
                <a:pos x="282" y="836"/>
              </a:cxn>
              <a:cxn ang="0">
                <a:pos x="336" y="904"/>
              </a:cxn>
              <a:cxn ang="0">
                <a:pos x="390" y="936"/>
              </a:cxn>
              <a:cxn ang="0">
                <a:pos x="442" y="918"/>
              </a:cxn>
              <a:cxn ang="0">
                <a:pos x="484" y="931"/>
              </a:cxn>
              <a:cxn ang="0">
                <a:pos x="555" y="933"/>
              </a:cxn>
              <a:cxn ang="0">
                <a:pos x="601" y="983"/>
              </a:cxn>
              <a:cxn ang="0">
                <a:pos x="619" y="953"/>
              </a:cxn>
              <a:cxn ang="0">
                <a:pos x="649" y="948"/>
              </a:cxn>
              <a:cxn ang="0">
                <a:pos x="691" y="947"/>
              </a:cxn>
              <a:cxn ang="0">
                <a:pos x="696" y="988"/>
              </a:cxn>
              <a:cxn ang="0">
                <a:pos x="708" y="1053"/>
              </a:cxn>
              <a:cxn ang="0">
                <a:pos x="888" y="1177"/>
              </a:cxn>
              <a:cxn ang="0">
                <a:pos x="884" y="1105"/>
              </a:cxn>
              <a:cxn ang="0">
                <a:pos x="924" y="983"/>
              </a:cxn>
              <a:cxn ang="0">
                <a:pos x="989" y="886"/>
              </a:cxn>
              <a:cxn ang="0">
                <a:pos x="1015" y="873"/>
              </a:cxn>
              <a:cxn ang="0">
                <a:pos x="1025" y="828"/>
              </a:cxn>
              <a:cxn ang="0">
                <a:pos x="1056" y="768"/>
              </a:cxn>
              <a:cxn ang="0">
                <a:pos x="1091" y="691"/>
              </a:cxn>
              <a:cxn ang="0">
                <a:pos x="1175" y="614"/>
              </a:cxn>
              <a:cxn ang="0">
                <a:pos x="1215" y="582"/>
              </a:cxn>
              <a:cxn ang="0">
                <a:pos x="1239" y="562"/>
              </a:cxn>
              <a:cxn ang="0">
                <a:pos x="1296" y="463"/>
              </a:cxn>
              <a:cxn ang="0">
                <a:pos x="1322" y="357"/>
              </a:cxn>
              <a:cxn ang="0">
                <a:pos x="1388" y="190"/>
              </a:cxn>
              <a:cxn ang="0">
                <a:pos x="1423" y="99"/>
              </a:cxn>
              <a:cxn ang="0">
                <a:pos x="1427" y="59"/>
              </a:cxn>
              <a:cxn ang="0">
                <a:pos x="831" y="943"/>
              </a:cxn>
              <a:cxn ang="0">
                <a:pos x="803" y="948"/>
              </a:cxn>
              <a:cxn ang="0">
                <a:pos x="791" y="932"/>
              </a:cxn>
              <a:cxn ang="0">
                <a:pos x="800" y="881"/>
              </a:cxn>
              <a:cxn ang="0">
                <a:pos x="842" y="881"/>
              </a:cxn>
              <a:cxn ang="0">
                <a:pos x="837" y="914"/>
              </a:cxn>
            </a:cxnLst>
            <a:rect l="0" t="0" r="r" b="b"/>
            <a:pathLst>
              <a:path w="1429" h="1177">
                <a:moveTo>
                  <a:pt x="1427" y="59"/>
                </a:moveTo>
                <a:cubicBezTo>
                  <a:pt x="1395" y="59"/>
                  <a:pt x="1395" y="59"/>
                  <a:pt x="1395" y="59"/>
                </a:cubicBezTo>
                <a:cubicBezTo>
                  <a:pt x="1391" y="75"/>
                  <a:pt x="1391" y="75"/>
                  <a:pt x="1391" y="75"/>
                </a:cubicBezTo>
                <a:cubicBezTo>
                  <a:pt x="1359" y="67"/>
                  <a:pt x="1359" y="67"/>
                  <a:pt x="1359" y="67"/>
                </a:cubicBezTo>
                <a:cubicBezTo>
                  <a:pt x="1311" y="51"/>
                  <a:pt x="1311" y="51"/>
                  <a:pt x="1311" y="51"/>
                </a:cubicBezTo>
                <a:cubicBezTo>
                  <a:pt x="1251" y="67"/>
                  <a:pt x="1251" y="67"/>
                  <a:pt x="1251" y="67"/>
                </a:cubicBezTo>
                <a:cubicBezTo>
                  <a:pt x="1251" y="67"/>
                  <a:pt x="1243" y="95"/>
                  <a:pt x="1239" y="111"/>
                </a:cubicBezTo>
                <a:cubicBezTo>
                  <a:pt x="1235" y="127"/>
                  <a:pt x="1207" y="111"/>
                  <a:pt x="1207" y="111"/>
                </a:cubicBezTo>
                <a:cubicBezTo>
                  <a:pt x="1171" y="139"/>
                  <a:pt x="1171" y="139"/>
                  <a:pt x="1171" y="139"/>
                </a:cubicBezTo>
                <a:cubicBezTo>
                  <a:pt x="1167" y="107"/>
                  <a:pt x="1167" y="107"/>
                  <a:pt x="1167" y="107"/>
                </a:cubicBezTo>
                <a:cubicBezTo>
                  <a:pt x="1127" y="71"/>
                  <a:pt x="1127" y="71"/>
                  <a:pt x="1127" y="71"/>
                </a:cubicBezTo>
                <a:cubicBezTo>
                  <a:pt x="1083" y="75"/>
                  <a:pt x="1083" y="75"/>
                  <a:pt x="1083" y="75"/>
                </a:cubicBezTo>
                <a:cubicBezTo>
                  <a:pt x="1059" y="47"/>
                  <a:pt x="1059" y="47"/>
                  <a:pt x="1059" y="47"/>
                </a:cubicBezTo>
                <a:cubicBezTo>
                  <a:pt x="1019" y="47"/>
                  <a:pt x="1019" y="47"/>
                  <a:pt x="1019" y="47"/>
                </a:cubicBezTo>
                <a:cubicBezTo>
                  <a:pt x="979" y="39"/>
                  <a:pt x="979" y="39"/>
                  <a:pt x="979" y="39"/>
                </a:cubicBezTo>
                <a:cubicBezTo>
                  <a:pt x="915" y="83"/>
                  <a:pt x="915" y="83"/>
                  <a:pt x="915" y="83"/>
                </a:cubicBezTo>
                <a:cubicBezTo>
                  <a:pt x="39" y="0"/>
                  <a:pt x="39" y="0"/>
                  <a:pt x="39" y="0"/>
                </a:cubicBezTo>
                <a:cubicBezTo>
                  <a:pt x="0" y="643"/>
                  <a:pt x="0" y="643"/>
                  <a:pt x="0" y="643"/>
                </a:cubicBezTo>
                <a:cubicBezTo>
                  <a:pt x="20" y="646"/>
                  <a:pt x="20" y="646"/>
                  <a:pt x="20" y="646"/>
                </a:cubicBezTo>
                <a:cubicBezTo>
                  <a:pt x="51" y="668"/>
                  <a:pt x="51" y="668"/>
                  <a:pt x="51" y="668"/>
                </a:cubicBezTo>
                <a:cubicBezTo>
                  <a:pt x="66" y="654"/>
                  <a:pt x="66" y="654"/>
                  <a:pt x="66" y="654"/>
                </a:cubicBezTo>
                <a:cubicBezTo>
                  <a:pt x="98" y="651"/>
                  <a:pt x="98" y="651"/>
                  <a:pt x="98" y="651"/>
                </a:cubicBezTo>
                <a:cubicBezTo>
                  <a:pt x="142" y="691"/>
                  <a:pt x="142" y="691"/>
                  <a:pt x="142" y="691"/>
                </a:cubicBezTo>
                <a:cubicBezTo>
                  <a:pt x="139" y="716"/>
                  <a:pt x="139" y="716"/>
                  <a:pt x="139" y="716"/>
                </a:cubicBezTo>
                <a:cubicBezTo>
                  <a:pt x="152" y="723"/>
                  <a:pt x="152" y="723"/>
                  <a:pt x="152" y="723"/>
                </a:cubicBezTo>
                <a:cubicBezTo>
                  <a:pt x="152" y="723"/>
                  <a:pt x="157" y="758"/>
                  <a:pt x="163" y="753"/>
                </a:cubicBezTo>
                <a:cubicBezTo>
                  <a:pt x="168" y="749"/>
                  <a:pt x="182" y="728"/>
                  <a:pt x="182" y="728"/>
                </a:cubicBezTo>
                <a:cubicBezTo>
                  <a:pt x="236" y="757"/>
                  <a:pt x="236" y="757"/>
                  <a:pt x="236" y="757"/>
                </a:cubicBezTo>
                <a:cubicBezTo>
                  <a:pt x="235" y="806"/>
                  <a:pt x="235" y="806"/>
                  <a:pt x="235" y="806"/>
                </a:cubicBezTo>
                <a:cubicBezTo>
                  <a:pt x="255" y="809"/>
                  <a:pt x="255" y="809"/>
                  <a:pt x="255" y="809"/>
                </a:cubicBezTo>
                <a:cubicBezTo>
                  <a:pt x="257" y="833"/>
                  <a:pt x="257" y="833"/>
                  <a:pt x="257" y="833"/>
                </a:cubicBezTo>
                <a:cubicBezTo>
                  <a:pt x="282" y="836"/>
                  <a:pt x="282" y="836"/>
                  <a:pt x="282" y="836"/>
                </a:cubicBezTo>
                <a:cubicBezTo>
                  <a:pt x="336" y="887"/>
                  <a:pt x="336" y="887"/>
                  <a:pt x="336" y="887"/>
                </a:cubicBezTo>
                <a:cubicBezTo>
                  <a:pt x="336" y="904"/>
                  <a:pt x="336" y="904"/>
                  <a:pt x="336" y="904"/>
                </a:cubicBezTo>
                <a:cubicBezTo>
                  <a:pt x="372" y="937"/>
                  <a:pt x="372" y="937"/>
                  <a:pt x="372" y="937"/>
                </a:cubicBezTo>
                <a:cubicBezTo>
                  <a:pt x="390" y="936"/>
                  <a:pt x="390" y="936"/>
                  <a:pt x="390" y="936"/>
                </a:cubicBezTo>
                <a:cubicBezTo>
                  <a:pt x="390" y="936"/>
                  <a:pt x="381" y="904"/>
                  <a:pt x="401" y="904"/>
                </a:cubicBezTo>
                <a:cubicBezTo>
                  <a:pt x="421" y="904"/>
                  <a:pt x="442" y="918"/>
                  <a:pt x="442" y="918"/>
                </a:cubicBezTo>
                <a:cubicBezTo>
                  <a:pt x="472" y="914"/>
                  <a:pt x="472" y="914"/>
                  <a:pt x="472" y="914"/>
                </a:cubicBezTo>
                <a:cubicBezTo>
                  <a:pt x="484" y="931"/>
                  <a:pt x="484" y="931"/>
                  <a:pt x="484" y="931"/>
                </a:cubicBezTo>
                <a:cubicBezTo>
                  <a:pt x="484" y="931"/>
                  <a:pt x="506" y="944"/>
                  <a:pt x="523" y="943"/>
                </a:cubicBezTo>
                <a:cubicBezTo>
                  <a:pt x="539" y="942"/>
                  <a:pt x="552" y="933"/>
                  <a:pt x="555" y="933"/>
                </a:cubicBezTo>
                <a:cubicBezTo>
                  <a:pt x="558" y="933"/>
                  <a:pt x="599" y="955"/>
                  <a:pt x="599" y="955"/>
                </a:cubicBezTo>
                <a:cubicBezTo>
                  <a:pt x="601" y="983"/>
                  <a:pt x="601" y="983"/>
                  <a:pt x="601" y="983"/>
                </a:cubicBezTo>
                <a:cubicBezTo>
                  <a:pt x="618" y="972"/>
                  <a:pt x="618" y="972"/>
                  <a:pt x="618" y="972"/>
                </a:cubicBezTo>
                <a:cubicBezTo>
                  <a:pt x="619" y="953"/>
                  <a:pt x="619" y="953"/>
                  <a:pt x="619" y="953"/>
                </a:cubicBezTo>
                <a:cubicBezTo>
                  <a:pt x="640" y="955"/>
                  <a:pt x="640" y="955"/>
                  <a:pt x="640" y="955"/>
                </a:cubicBezTo>
                <a:cubicBezTo>
                  <a:pt x="649" y="948"/>
                  <a:pt x="649" y="948"/>
                  <a:pt x="649" y="948"/>
                </a:cubicBezTo>
                <a:cubicBezTo>
                  <a:pt x="668" y="950"/>
                  <a:pt x="668" y="950"/>
                  <a:pt x="668" y="950"/>
                </a:cubicBezTo>
                <a:cubicBezTo>
                  <a:pt x="691" y="947"/>
                  <a:pt x="691" y="947"/>
                  <a:pt x="691" y="947"/>
                </a:cubicBezTo>
                <a:cubicBezTo>
                  <a:pt x="704" y="972"/>
                  <a:pt x="704" y="972"/>
                  <a:pt x="704" y="972"/>
                </a:cubicBezTo>
                <a:cubicBezTo>
                  <a:pt x="696" y="988"/>
                  <a:pt x="696" y="988"/>
                  <a:pt x="696" y="988"/>
                </a:cubicBezTo>
                <a:cubicBezTo>
                  <a:pt x="724" y="1026"/>
                  <a:pt x="724" y="1026"/>
                  <a:pt x="724" y="1026"/>
                </a:cubicBezTo>
                <a:cubicBezTo>
                  <a:pt x="708" y="1053"/>
                  <a:pt x="708" y="1053"/>
                  <a:pt x="708" y="1053"/>
                </a:cubicBezTo>
                <a:cubicBezTo>
                  <a:pt x="882" y="1177"/>
                  <a:pt x="882" y="1177"/>
                  <a:pt x="882" y="1177"/>
                </a:cubicBezTo>
                <a:cubicBezTo>
                  <a:pt x="888" y="1177"/>
                  <a:pt x="888" y="1177"/>
                  <a:pt x="888" y="1177"/>
                </a:cubicBezTo>
                <a:cubicBezTo>
                  <a:pt x="888" y="1177"/>
                  <a:pt x="899" y="1137"/>
                  <a:pt x="895" y="1130"/>
                </a:cubicBezTo>
                <a:cubicBezTo>
                  <a:pt x="891" y="1122"/>
                  <a:pt x="884" y="1115"/>
                  <a:pt x="884" y="1105"/>
                </a:cubicBezTo>
                <a:cubicBezTo>
                  <a:pt x="884" y="1094"/>
                  <a:pt x="910" y="1043"/>
                  <a:pt x="913" y="1033"/>
                </a:cubicBezTo>
                <a:cubicBezTo>
                  <a:pt x="917" y="1022"/>
                  <a:pt x="924" y="1004"/>
                  <a:pt x="924" y="983"/>
                </a:cubicBezTo>
                <a:cubicBezTo>
                  <a:pt x="924" y="963"/>
                  <a:pt x="954" y="931"/>
                  <a:pt x="967" y="915"/>
                </a:cubicBezTo>
                <a:cubicBezTo>
                  <a:pt x="980" y="900"/>
                  <a:pt x="989" y="886"/>
                  <a:pt x="989" y="886"/>
                </a:cubicBezTo>
                <a:cubicBezTo>
                  <a:pt x="1008" y="886"/>
                  <a:pt x="1008" y="886"/>
                  <a:pt x="1008" y="886"/>
                </a:cubicBezTo>
                <a:cubicBezTo>
                  <a:pt x="1015" y="873"/>
                  <a:pt x="1015" y="873"/>
                  <a:pt x="1015" y="873"/>
                </a:cubicBezTo>
                <a:cubicBezTo>
                  <a:pt x="1015" y="873"/>
                  <a:pt x="1003" y="854"/>
                  <a:pt x="1005" y="851"/>
                </a:cubicBezTo>
                <a:cubicBezTo>
                  <a:pt x="1007" y="847"/>
                  <a:pt x="1022" y="839"/>
                  <a:pt x="1025" y="828"/>
                </a:cubicBezTo>
                <a:cubicBezTo>
                  <a:pt x="1029" y="818"/>
                  <a:pt x="1028" y="799"/>
                  <a:pt x="1030" y="793"/>
                </a:cubicBezTo>
                <a:cubicBezTo>
                  <a:pt x="1033" y="787"/>
                  <a:pt x="1049" y="775"/>
                  <a:pt x="1056" y="768"/>
                </a:cubicBezTo>
                <a:cubicBezTo>
                  <a:pt x="1062" y="760"/>
                  <a:pt x="1071" y="747"/>
                  <a:pt x="1075" y="735"/>
                </a:cubicBezTo>
                <a:cubicBezTo>
                  <a:pt x="1078" y="723"/>
                  <a:pt x="1085" y="698"/>
                  <a:pt x="1091" y="691"/>
                </a:cubicBezTo>
                <a:cubicBezTo>
                  <a:pt x="1098" y="684"/>
                  <a:pt x="1150" y="622"/>
                  <a:pt x="1150" y="622"/>
                </a:cubicBezTo>
                <a:cubicBezTo>
                  <a:pt x="1150" y="622"/>
                  <a:pt x="1172" y="616"/>
                  <a:pt x="1175" y="614"/>
                </a:cubicBezTo>
                <a:cubicBezTo>
                  <a:pt x="1178" y="612"/>
                  <a:pt x="1196" y="596"/>
                  <a:pt x="1196" y="596"/>
                </a:cubicBezTo>
                <a:cubicBezTo>
                  <a:pt x="1196" y="596"/>
                  <a:pt x="1215" y="586"/>
                  <a:pt x="1215" y="582"/>
                </a:cubicBezTo>
                <a:cubicBezTo>
                  <a:pt x="1215" y="579"/>
                  <a:pt x="1216" y="566"/>
                  <a:pt x="1216" y="566"/>
                </a:cubicBezTo>
                <a:cubicBezTo>
                  <a:pt x="1239" y="562"/>
                  <a:pt x="1239" y="562"/>
                  <a:pt x="1239" y="562"/>
                </a:cubicBezTo>
                <a:cubicBezTo>
                  <a:pt x="1239" y="562"/>
                  <a:pt x="1245" y="528"/>
                  <a:pt x="1247" y="525"/>
                </a:cubicBezTo>
                <a:cubicBezTo>
                  <a:pt x="1248" y="522"/>
                  <a:pt x="1293" y="471"/>
                  <a:pt x="1296" y="463"/>
                </a:cubicBezTo>
                <a:cubicBezTo>
                  <a:pt x="1298" y="454"/>
                  <a:pt x="1317" y="408"/>
                  <a:pt x="1327" y="398"/>
                </a:cubicBezTo>
                <a:cubicBezTo>
                  <a:pt x="1337" y="388"/>
                  <a:pt x="1317" y="369"/>
                  <a:pt x="1322" y="357"/>
                </a:cubicBezTo>
                <a:cubicBezTo>
                  <a:pt x="1326" y="344"/>
                  <a:pt x="1373" y="255"/>
                  <a:pt x="1373" y="254"/>
                </a:cubicBezTo>
                <a:cubicBezTo>
                  <a:pt x="1373" y="252"/>
                  <a:pt x="1380" y="202"/>
                  <a:pt x="1388" y="190"/>
                </a:cubicBezTo>
                <a:cubicBezTo>
                  <a:pt x="1396" y="178"/>
                  <a:pt x="1423" y="147"/>
                  <a:pt x="1423" y="145"/>
                </a:cubicBezTo>
                <a:cubicBezTo>
                  <a:pt x="1424" y="144"/>
                  <a:pt x="1425" y="111"/>
                  <a:pt x="1423" y="99"/>
                </a:cubicBezTo>
                <a:cubicBezTo>
                  <a:pt x="1421" y="87"/>
                  <a:pt x="1428" y="78"/>
                  <a:pt x="1429" y="70"/>
                </a:cubicBezTo>
                <a:cubicBezTo>
                  <a:pt x="1429" y="68"/>
                  <a:pt x="1428" y="64"/>
                  <a:pt x="1427" y="59"/>
                </a:cubicBezTo>
                <a:close/>
                <a:moveTo>
                  <a:pt x="837" y="914"/>
                </a:moveTo>
                <a:cubicBezTo>
                  <a:pt x="835" y="917"/>
                  <a:pt x="833" y="928"/>
                  <a:pt x="831" y="943"/>
                </a:cubicBezTo>
                <a:cubicBezTo>
                  <a:pt x="829" y="957"/>
                  <a:pt x="825" y="970"/>
                  <a:pt x="825" y="970"/>
                </a:cubicBezTo>
                <a:cubicBezTo>
                  <a:pt x="803" y="948"/>
                  <a:pt x="803" y="948"/>
                  <a:pt x="803" y="948"/>
                </a:cubicBezTo>
                <a:cubicBezTo>
                  <a:pt x="803" y="933"/>
                  <a:pt x="803" y="933"/>
                  <a:pt x="803" y="933"/>
                </a:cubicBezTo>
                <a:cubicBezTo>
                  <a:pt x="791" y="932"/>
                  <a:pt x="791" y="932"/>
                  <a:pt x="791" y="932"/>
                </a:cubicBezTo>
                <a:cubicBezTo>
                  <a:pt x="800" y="896"/>
                  <a:pt x="800" y="896"/>
                  <a:pt x="800" y="896"/>
                </a:cubicBezTo>
                <a:cubicBezTo>
                  <a:pt x="800" y="881"/>
                  <a:pt x="800" y="881"/>
                  <a:pt x="800" y="881"/>
                </a:cubicBezTo>
                <a:cubicBezTo>
                  <a:pt x="816" y="877"/>
                  <a:pt x="816" y="877"/>
                  <a:pt x="816" y="877"/>
                </a:cubicBezTo>
                <a:cubicBezTo>
                  <a:pt x="831" y="853"/>
                  <a:pt x="842" y="881"/>
                  <a:pt x="842" y="881"/>
                </a:cubicBezTo>
                <a:cubicBezTo>
                  <a:pt x="863" y="886"/>
                  <a:pt x="863" y="886"/>
                  <a:pt x="863" y="886"/>
                </a:cubicBezTo>
                <a:cubicBezTo>
                  <a:pt x="863" y="886"/>
                  <a:pt x="840" y="911"/>
                  <a:pt x="837" y="914"/>
                </a:cubicBez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43" name="Freeform 23" descr="© INSCALE GmbH, 05.05.2010&#10;http://www.presentationload.com/"/>
          <p:cNvSpPr>
            <a:spLocks noChangeAspect="1" noEditPoints="1"/>
          </p:cNvSpPr>
          <p:nvPr/>
        </p:nvSpPr>
        <p:spPr bwMode="auto">
          <a:xfrm>
            <a:off x="1808628" y="1057274"/>
            <a:ext cx="1117849" cy="1410065"/>
          </a:xfrm>
          <a:custGeom>
            <a:avLst/>
            <a:gdLst/>
            <a:ahLst/>
            <a:cxnLst>
              <a:cxn ang="0">
                <a:pos x="638" y="132"/>
              </a:cxn>
              <a:cxn ang="0">
                <a:pos x="1113" y="1095"/>
              </a:cxn>
              <a:cxn ang="0">
                <a:pos x="1189" y="644"/>
              </a:cxn>
              <a:cxn ang="0">
                <a:pos x="1321" y="1319"/>
              </a:cxn>
              <a:cxn ang="0">
                <a:pos x="1023" y="862"/>
              </a:cxn>
              <a:cxn ang="0">
                <a:pos x="1367" y="1374"/>
              </a:cxn>
              <a:cxn ang="0">
                <a:pos x="932" y="637"/>
              </a:cxn>
              <a:cxn ang="0">
                <a:pos x="1037" y="829"/>
              </a:cxn>
              <a:cxn ang="0">
                <a:pos x="1014" y="713"/>
              </a:cxn>
              <a:cxn ang="0">
                <a:pos x="1043" y="910"/>
              </a:cxn>
              <a:cxn ang="0">
                <a:pos x="1007" y="670"/>
              </a:cxn>
              <a:cxn ang="0">
                <a:pos x="1754" y="1704"/>
              </a:cxn>
              <a:cxn ang="0">
                <a:pos x="1753" y="1806"/>
              </a:cxn>
              <a:cxn ang="0">
                <a:pos x="1715" y="1673"/>
              </a:cxn>
              <a:cxn ang="0">
                <a:pos x="1366" y="1510"/>
              </a:cxn>
              <a:cxn ang="0">
                <a:pos x="1347" y="1162"/>
              </a:cxn>
              <a:cxn ang="0">
                <a:pos x="1506" y="1688"/>
              </a:cxn>
              <a:cxn ang="0">
                <a:pos x="1564" y="1494"/>
              </a:cxn>
              <a:cxn ang="0">
                <a:pos x="878" y="213"/>
              </a:cxn>
              <a:cxn ang="0">
                <a:pos x="1736" y="2453"/>
              </a:cxn>
              <a:cxn ang="0">
                <a:pos x="1723" y="2339"/>
              </a:cxn>
              <a:cxn ang="0">
                <a:pos x="1649" y="2071"/>
              </a:cxn>
              <a:cxn ang="0">
                <a:pos x="1548" y="1928"/>
              </a:cxn>
              <a:cxn ang="0">
                <a:pos x="1506" y="1759"/>
              </a:cxn>
              <a:cxn ang="0">
                <a:pos x="1408" y="1788"/>
              </a:cxn>
              <a:cxn ang="0">
                <a:pos x="1329" y="1521"/>
              </a:cxn>
              <a:cxn ang="0">
                <a:pos x="1238" y="1422"/>
              </a:cxn>
              <a:cxn ang="0">
                <a:pos x="1131" y="1334"/>
              </a:cxn>
              <a:cxn ang="0">
                <a:pos x="1063" y="1129"/>
              </a:cxn>
              <a:cxn ang="0">
                <a:pos x="998" y="922"/>
              </a:cxn>
              <a:cxn ang="0">
                <a:pos x="970" y="735"/>
              </a:cxn>
              <a:cxn ang="0">
                <a:pos x="846" y="677"/>
              </a:cxn>
              <a:cxn ang="0">
                <a:pos x="771" y="461"/>
              </a:cxn>
              <a:cxn ang="0">
                <a:pos x="718" y="328"/>
              </a:cxn>
              <a:cxn ang="0">
                <a:pos x="660" y="204"/>
              </a:cxn>
              <a:cxn ang="0">
                <a:pos x="583" y="426"/>
              </a:cxn>
              <a:cxn ang="0">
                <a:pos x="524" y="578"/>
              </a:cxn>
              <a:cxn ang="0">
                <a:pos x="425" y="1024"/>
              </a:cxn>
              <a:cxn ang="0">
                <a:pos x="171" y="946"/>
              </a:cxn>
              <a:cxn ang="0">
                <a:pos x="351" y="2490"/>
              </a:cxn>
              <a:cxn ang="0">
                <a:pos x="1483" y="2629"/>
              </a:cxn>
              <a:cxn ang="0">
                <a:pos x="1739" y="2549"/>
              </a:cxn>
              <a:cxn ang="0">
                <a:pos x="775" y="333"/>
              </a:cxn>
              <a:cxn ang="0">
                <a:pos x="656" y="12"/>
              </a:cxn>
              <a:cxn ang="0">
                <a:pos x="1770" y="1403"/>
              </a:cxn>
              <a:cxn ang="0">
                <a:pos x="1903" y="1741"/>
              </a:cxn>
              <a:cxn ang="0">
                <a:pos x="1760" y="1648"/>
              </a:cxn>
              <a:cxn ang="0">
                <a:pos x="1765" y="2156"/>
              </a:cxn>
              <a:cxn ang="0">
                <a:pos x="1760" y="2196"/>
              </a:cxn>
              <a:cxn ang="0">
                <a:pos x="229" y="898"/>
              </a:cxn>
              <a:cxn ang="0">
                <a:pos x="826" y="411"/>
              </a:cxn>
              <a:cxn ang="0">
                <a:pos x="837" y="505"/>
              </a:cxn>
              <a:cxn ang="0">
                <a:pos x="781" y="262"/>
              </a:cxn>
              <a:cxn ang="0">
                <a:pos x="795" y="470"/>
              </a:cxn>
              <a:cxn ang="0">
                <a:pos x="826" y="529"/>
              </a:cxn>
              <a:cxn ang="0">
                <a:pos x="869" y="165"/>
              </a:cxn>
              <a:cxn ang="0">
                <a:pos x="890" y="57"/>
              </a:cxn>
              <a:cxn ang="0">
                <a:pos x="906" y="39"/>
              </a:cxn>
              <a:cxn ang="0">
                <a:pos x="871" y="618"/>
              </a:cxn>
            </a:cxnLst>
            <a:rect l="0" t="0" r="r" b="b"/>
            <a:pathLst>
              <a:path w="2083" h="2629">
                <a:moveTo>
                  <a:pt x="641" y="162"/>
                </a:moveTo>
                <a:cubicBezTo>
                  <a:pt x="636" y="162"/>
                  <a:pt x="633" y="173"/>
                  <a:pt x="633" y="173"/>
                </a:cubicBezTo>
                <a:cubicBezTo>
                  <a:pt x="633" y="173"/>
                  <a:pt x="653" y="181"/>
                  <a:pt x="654" y="177"/>
                </a:cubicBezTo>
                <a:cubicBezTo>
                  <a:pt x="656" y="173"/>
                  <a:pt x="661" y="165"/>
                  <a:pt x="654" y="160"/>
                </a:cubicBezTo>
                <a:cubicBezTo>
                  <a:pt x="648" y="154"/>
                  <a:pt x="649" y="144"/>
                  <a:pt x="649" y="137"/>
                </a:cubicBezTo>
                <a:cubicBezTo>
                  <a:pt x="649" y="130"/>
                  <a:pt x="650" y="129"/>
                  <a:pt x="653" y="118"/>
                </a:cubicBezTo>
                <a:cubicBezTo>
                  <a:pt x="656" y="108"/>
                  <a:pt x="653" y="96"/>
                  <a:pt x="646" y="104"/>
                </a:cubicBezTo>
                <a:cubicBezTo>
                  <a:pt x="640" y="112"/>
                  <a:pt x="646" y="128"/>
                  <a:pt x="638" y="132"/>
                </a:cubicBezTo>
                <a:cubicBezTo>
                  <a:pt x="630" y="136"/>
                  <a:pt x="633" y="145"/>
                  <a:pt x="637" y="148"/>
                </a:cubicBezTo>
                <a:cubicBezTo>
                  <a:pt x="641" y="150"/>
                  <a:pt x="646" y="162"/>
                  <a:pt x="641" y="162"/>
                </a:cubicBezTo>
                <a:close/>
                <a:moveTo>
                  <a:pt x="1133" y="1145"/>
                </a:moveTo>
                <a:cubicBezTo>
                  <a:pt x="1143" y="1135"/>
                  <a:pt x="1116" y="1139"/>
                  <a:pt x="1116" y="1139"/>
                </a:cubicBezTo>
                <a:cubicBezTo>
                  <a:pt x="1116" y="1139"/>
                  <a:pt x="1124" y="1156"/>
                  <a:pt x="1133" y="1145"/>
                </a:cubicBezTo>
                <a:close/>
                <a:moveTo>
                  <a:pt x="1104" y="1124"/>
                </a:moveTo>
                <a:cubicBezTo>
                  <a:pt x="1109" y="1112"/>
                  <a:pt x="1109" y="1112"/>
                  <a:pt x="1109" y="1112"/>
                </a:cubicBezTo>
                <a:cubicBezTo>
                  <a:pt x="1113" y="1095"/>
                  <a:pt x="1113" y="1095"/>
                  <a:pt x="1113" y="1095"/>
                </a:cubicBezTo>
                <a:cubicBezTo>
                  <a:pt x="1107" y="1092"/>
                  <a:pt x="1085" y="1113"/>
                  <a:pt x="1088" y="1124"/>
                </a:cubicBezTo>
                <a:cubicBezTo>
                  <a:pt x="1091" y="1135"/>
                  <a:pt x="1104" y="1124"/>
                  <a:pt x="1104" y="1124"/>
                </a:cubicBezTo>
                <a:close/>
                <a:moveTo>
                  <a:pt x="1189" y="644"/>
                </a:moveTo>
                <a:cubicBezTo>
                  <a:pt x="1168" y="617"/>
                  <a:pt x="1168" y="617"/>
                  <a:pt x="1168" y="617"/>
                </a:cubicBezTo>
                <a:cubicBezTo>
                  <a:pt x="1168" y="632"/>
                  <a:pt x="1168" y="632"/>
                  <a:pt x="1168" y="632"/>
                </a:cubicBezTo>
                <a:cubicBezTo>
                  <a:pt x="1148" y="634"/>
                  <a:pt x="1148" y="634"/>
                  <a:pt x="1148" y="634"/>
                </a:cubicBezTo>
                <a:cubicBezTo>
                  <a:pt x="1172" y="654"/>
                  <a:pt x="1172" y="654"/>
                  <a:pt x="1172" y="654"/>
                </a:cubicBezTo>
                <a:lnTo>
                  <a:pt x="1189" y="644"/>
                </a:lnTo>
                <a:close/>
                <a:moveTo>
                  <a:pt x="1290" y="996"/>
                </a:moveTo>
                <a:cubicBezTo>
                  <a:pt x="1315" y="984"/>
                  <a:pt x="1315" y="984"/>
                  <a:pt x="1315" y="984"/>
                </a:cubicBezTo>
                <a:cubicBezTo>
                  <a:pt x="1315" y="984"/>
                  <a:pt x="1296" y="963"/>
                  <a:pt x="1286" y="967"/>
                </a:cubicBezTo>
                <a:cubicBezTo>
                  <a:pt x="1294" y="983"/>
                  <a:pt x="1294" y="983"/>
                  <a:pt x="1294" y="983"/>
                </a:cubicBezTo>
                <a:lnTo>
                  <a:pt x="1290" y="996"/>
                </a:lnTo>
                <a:close/>
                <a:moveTo>
                  <a:pt x="1286" y="1353"/>
                </a:moveTo>
                <a:cubicBezTo>
                  <a:pt x="1288" y="1342"/>
                  <a:pt x="1305" y="1329"/>
                  <a:pt x="1305" y="1329"/>
                </a:cubicBezTo>
                <a:cubicBezTo>
                  <a:pt x="1321" y="1319"/>
                  <a:pt x="1321" y="1319"/>
                  <a:pt x="1321" y="1319"/>
                </a:cubicBezTo>
                <a:cubicBezTo>
                  <a:pt x="1306" y="1313"/>
                  <a:pt x="1306" y="1313"/>
                  <a:pt x="1306" y="1313"/>
                </a:cubicBezTo>
                <a:cubicBezTo>
                  <a:pt x="1298" y="1305"/>
                  <a:pt x="1298" y="1305"/>
                  <a:pt x="1298" y="1305"/>
                </a:cubicBezTo>
                <a:cubicBezTo>
                  <a:pt x="1292" y="1323"/>
                  <a:pt x="1292" y="1323"/>
                  <a:pt x="1292" y="1323"/>
                </a:cubicBezTo>
                <a:cubicBezTo>
                  <a:pt x="1292" y="1323"/>
                  <a:pt x="1260" y="1343"/>
                  <a:pt x="1266" y="1358"/>
                </a:cubicBezTo>
                <a:cubicBezTo>
                  <a:pt x="1266" y="1358"/>
                  <a:pt x="1285" y="1363"/>
                  <a:pt x="1286" y="1353"/>
                </a:cubicBezTo>
                <a:close/>
                <a:moveTo>
                  <a:pt x="1023" y="862"/>
                </a:moveTo>
                <a:cubicBezTo>
                  <a:pt x="1026" y="850"/>
                  <a:pt x="1002" y="849"/>
                  <a:pt x="1002" y="849"/>
                </a:cubicBezTo>
                <a:cubicBezTo>
                  <a:pt x="1002" y="849"/>
                  <a:pt x="1020" y="874"/>
                  <a:pt x="1023" y="862"/>
                </a:cubicBezTo>
                <a:close/>
                <a:moveTo>
                  <a:pt x="936" y="158"/>
                </a:moveTo>
                <a:cubicBezTo>
                  <a:pt x="943" y="158"/>
                  <a:pt x="944" y="140"/>
                  <a:pt x="944" y="132"/>
                </a:cubicBezTo>
                <a:cubicBezTo>
                  <a:pt x="944" y="124"/>
                  <a:pt x="954" y="112"/>
                  <a:pt x="950" y="108"/>
                </a:cubicBezTo>
                <a:cubicBezTo>
                  <a:pt x="946" y="104"/>
                  <a:pt x="934" y="116"/>
                  <a:pt x="932" y="121"/>
                </a:cubicBezTo>
                <a:cubicBezTo>
                  <a:pt x="931" y="126"/>
                  <a:pt x="930" y="158"/>
                  <a:pt x="936" y="158"/>
                </a:cubicBezTo>
                <a:close/>
                <a:moveTo>
                  <a:pt x="1337" y="1366"/>
                </a:moveTo>
                <a:cubicBezTo>
                  <a:pt x="1357" y="1363"/>
                  <a:pt x="1357" y="1363"/>
                  <a:pt x="1357" y="1363"/>
                </a:cubicBezTo>
                <a:cubicBezTo>
                  <a:pt x="1357" y="1363"/>
                  <a:pt x="1354" y="1374"/>
                  <a:pt x="1367" y="1374"/>
                </a:cubicBezTo>
                <a:cubicBezTo>
                  <a:pt x="1381" y="1374"/>
                  <a:pt x="1395" y="1374"/>
                  <a:pt x="1395" y="1374"/>
                </a:cubicBezTo>
                <a:cubicBezTo>
                  <a:pt x="1371" y="1363"/>
                  <a:pt x="1371" y="1363"/>
                  <a:pt x="1371" y="1363"/>
                </a:cubicBezTo>
                <a:cubicBezTo>
                  <a:pt x="1342" y="1350"/>
                  <a:pt x="1342" y="1350"/>
                  <a:pt x="1342" y="1350"/>
                </a:cubicBezTo>
                <a:cubicBezTo>
                  <a:pt x="1342" y="1350"/>
                  <a:pt x="1342" y="1339"/>
                  <a:pt x="1337" y="1334"/>
                </a:cubicBezTo>
                <a:cubicBezTo>
                  <a:pt x="1331" y="1329"/>
                  <a:pt x="1333" y="1354"/>
                  <a:pt x="1333" y="1354"/>
                </a:cubicBezTo>
                <a:lnTo>
                  <a:pt x="1337" y="1366"/>
                </a:lnTo>
                <a:close/>
                <a:moveTo>
                  <a:pt x="943" y="621"/>
                </a:moveTo>
                <a:cubicBezTo>
                  <a:pt x="943" y="621"/>
                  <a:pt x="930" y="633"/>
                  <a:pt x="932" y="637"/>
                </a:cubicBezTo>
                <a:cubicBezTo>
                  <a:pt x="935" y="641"/>
                  <a:pt x="943" y="654"/>
                  <a:pt x="943" y="654"/>
                </a:cubicBezTo>
                <a:cubicBezTo>
                  <a:pt x="943" y="654"/>
                  <a:pt x="918" y="653"/>
                  <a:pt x="919" y="657"/>
                </a:cubicBezTo>
                <a:cubicBezTo>
                  <a:pt x="920" y="661"/>
                  <a:pt x="935" y="664"/>
                  <a:pt x="946" y="662"/>
                </a:cubicBezTo>
                <a:cubicBezTo>
                  <a:pt x="956" y="661"/>
                  <a:pt x="966" y="656"/>
                  <a:pt x="955" y="644"/>
                </a:cubicBezTo>
                <a:cubicBezTo>
                  <a:pt x="944" y="632"/>
                  <a:pt x="963" y="617"/>
                  <a:pt x="943" y="621"/>
                </a:cubicBezTo>
                <a:close/>
                <a:moveTo>
                  <a:pt x="1037" y="797"/>
                </a:moveTo>
                <a:cubicBezTo>
                  <a:pt x="1032" y="811"/>
                  <a:pt x="1028" y="822"/>
                  <a:pt x="1028" y="822"/>
                </a:cubicBezTo>
                <a:cubicBezTo>
                  <a:pt x="1028" y="822"/>
                  <a:pt x="1037" y="814"/>
                  <a:pt x="1037" y="829"/>
                </a:cubicBezTo>
                <a:cubicBezTo>
                  <a:pt x="1037" y="843"/>
                  <a:pt x="1035" y="870"/>
                  <a:pt x="1035" y="870"/>
                </a:cubicBezTo>
                <a:cubicBezTo>
                  <a:pt x="1035" y="870"/>
                  <a:pt x="1053" y="873"/>
                  <a:pt x="1052" y="850"/>
                </a:cubicBezTo>
                <a:cubicBezTo>
                  <a:pt x="1051" y="827"/>
                  <a:pt x="1044" y="813"/>
                  <a:pt x="1044" y="813"/>
                </a:cubicBezTo>
                <a:cubicBezTo>
                  <a:pt x="1044" y="813"/>
                  <a:pt x="1052" y="773"/>
                  <a:pt x="1049" y="758"/>
                </a:cubicBezTo>
                <a:cubicBezTo>
                  <a:pt x="1047" y="743"/>
                  <a:pt x="1053" y="714"/>
                  <a:pt x="1045" y="714"/>
                </a:cubicBezTo>
                <a:cubicBezTo>
                  <a:pt x="1037" y="714"/>
                  <a:pt x="1033" y="718"/>
                  <a:pt x="1033" y="718"/>
                </a:cubicBezTo>
                <a:cubicBezTo>
                  <a:pt x="1033" y="718"/>
                  <a:pt x="1043" y="782"/>
                  <a:pt x="1037" y="797"/>
                </a:cubicBezTo>
                <a:close/>
                <a:moveTo>
                  <a:pt x="1014" y="713"/>
                </a:moveTo>
                <a:cubicBezTo>
                  <a:pt x="1014" y="713"/>
                  <a:pt x="1006" y="718"/>
                  <a:pt x="1011" y="722"/>
                </a:cubicBezTo>
                <a:cubicBezTo>
                  <a:pt x="1016" y="726"/>
                  <a:pt x="1024" y="736"/>
                  <a:pt x="1024" y="736"/>
                </a:cubicBezTo>
                <a:lnTo>
                  <a:pt x="1014" y="713"/>
                </a:lnTo>
                <a:close/>
                <a:moveTo>
                  <a:pt x="1049" y="879"/>
                </a:moveTo>
                <a:cubicBezTo>
                  <a:pt x="1044" y="877"/>
                  <a:pt x="1032" y="883"/>
                  <a:pt x="1032" y="883"/>
                </a:cubicBezTo>
                <a:cubicBezTo>
                  <a:pt x="1043" y="890"/>
                  <a:pt x="1043" y="890"/>
                  <a:pt x="1043" y="890"/>
                </a:cubicBezTo>
                <a:cubicBezTo>
                  <a:pt x="1036" y="900"/>
                  <a:pt x="1036" y="900"/>
                  <a:pt x="1036" y="900"/>
                </a:cubicBezTo>
                <a:cubicBezTo>
                  <a:pt x="1043" y="910"/>
                  <a:pt x="1043" y="910"/>
                  <a:pt x="1043" y="910"/>
                </a:cubicBezTo>
                <a:cubicBezTo>
                  <a:pt x="1035" y="915"/>
                  <a:pt x="1035" y="915"/>
                  <a:pt x="1035" y="915"/>
                </a:cubicBezTo>
                <a:cubicBezTo>
                  <a:pt x="1035" y="915"/>
                  <a:pt x="1061" y="920"/>
                  <a:pt x="1056" y="907"/>
                </a:cubicBezTo>
                <a:cubicBezTo>
                  <a:pt x="1051" y="894"/>
                  <a:pt x="1055" y="882"/>
                  <a:pt x="1049" y="879"/>
                </a:cubicBezTo>
                <a:close/>
                <a:moveTo>
                  <a:pt x="968" y="658"/>
                </a:moveTo>
                <a:cubicBezTo>
                  <a:pt x="986" y="680"/>
                  <a:pt x="986" y="680"/>
                  <a:pt x="986" y="680"/>
                </a:cubicBezTo>
                <a:cubicBezTo>
                  <a:pt x="1012" y="688"/>
                  <a:pt x="1012" y="688"/>
                  <a:pt x="1012" y="688"/>
                </a:cubicBezTo>
                <a:cubicBezTo>
                  <a:pt x="1012" y="688"/>
                  <a:pt x="1022" y="702"/>
                  <a:pt x="1028" y="701"/>
                </a:cubicBezTo>
                <a:cubicBezTo>
                  <a:pt x="1035" y="700"/>
                  <a:pt x="1016" y="672"/>
                  <a:pt x="1007" y="670"/>
                </a:cubicBezTo>
                <a:cubicBezTo>
                  <a:pt x="998" y="669"/>
                  <a:pt x="971" y="652"/>
                  <a:pt x="971" y="652"/>
                </a:cubicBezTo>
                <a:lnTo>
                  <a:pt x="968" y="658"/>
                </a:lnTo>
                <a:close/>
                <a:moveTo>
                  <a:pt x="971" y="98"/>
                </a:moveTo>
                <a:cubicBezTo>
                  <a:pt x="968" y="93"/>
                  <a:pt x="967" y="117"/>
                  <a:pt x="967" y="117"/>
                </a:cubicBezTo>
                <a:cubicBezTo>
                  <a:pt x="967" y="117"/>
                  <a:pt x="974" y="104"/>
                  <a:pt x="971" y="98"/>
                </a:cubicBezTo>
                <a:close/>
                <a:moveTo>
                  <a:pt x="1784" y="1774"/>
                </a:moveTo>
                <a:cubicBezTo>
                  <a:pt x="1761" y="1705"/>
                  <a:pt x="1761" y="1705"/>
                  <a:pt x="1761" y="1705"/>
                </a:cubicBezTo>
                <a:cubicBezTo>
                  <a:pt x="1754" y="1704"/>
                  <a:pt x="1754" y="1704"/>
                  <a:pt x="1754" y="1704"/>
                </a:cubicBezTo>
                <a:cubicBezTo>
                  <a:pt x="1774" y="1776"/>
                  <a:pt x="1774" y="1776"/>
                  <a:pt x="1774" y="1776"/>
                </a:cubicBezTo>
                <a:lnTo>
                  <a:pt x="1784" y="1774"/>
                </a:lnTo>
                <a:close/>
                <a:moveTo>
                  <a:pt x="1736" y="1180"/>
                </a:moveTo>
                <a:cubicBezTo>
                  <a:pt x="1737" y="1170"/>
                  <a:pt x="1748" y="1161"/>
                  <a:pt x="1748" y="1161"/>
                </a:cubicBezTo>
                <a:cubicBezTo>
                  <a:pt x="1709" y="1180"/>
                  <a:pt x="1709" y="1180"/>
                  <a:pt x="1709" y="1180"/>
                </a:cubicBezTo>
                <a:cubicBezTo>
                  <a:pt x="1709" y="1180"/>
                  <a:pt x="1734" y="1189"/>
                  <a:pt x="1736" y="1180"/>
                </a:cubicBezTo>
                <a:close/>
                <a:moveTo>
                  <a:pt x="1773" y="1785"/>
                </a:moveTo>
                <a:cubicBezTo>
                  <a:pt x="1770" y="1780"/>
                  <a:pt x="1742" y="1778"/>
                  <a:pt x="1753" y="1806"/>
                </a:cubicBezTo>
                <a:cubicBezTo>
                  <a:pt x="1758" y="1820"/>
                  <a:pt x="1776" y="1790"/>
                  <a:pt x="1773" y="1785"/>
                </a:cubicBezTo>
                <a:close/>
                <a:moveTo>
                  <a:pt x="1793" y="1157"/>
                </a:moveTo>
                <a:cubicBezTo>
                  <a:pt x="1786" y="1151"/>
                  <a:pt x="1777" y="1166"/>
                  <a:pt x="1777" y="1166"/>
                </a:cubicBezTo>
                <a:cubicBezTo>
                  <a:pt x="1781" y="1166"/>
                  <a:pt x="1800" y="1164"/>
                  <a:pt x="1793" y="1157"/>
                </a:cubicBezTo>
                <a:close/>
                <a:moveTo>
                  <a:pt x="1800" y="1132"/>
                </a:moveTo>
                <a:cubicBezTo>
                  <a:pt x="1786" y="1129"/>
                  <a:pt x="1786" y="1127"/>
                  <a:pt x="1801" y="1145"/>
                </a:cubicBezTo>
                <a:cubicBezTo>
                  <a:pt x="1801" y="1145"/>
                  <a:pt x="1813" y="1135"/>
                  <a:pt x="1800" y="1132"/>
                </a:cubicBezTo>
                <a:close/>
                <a:moveTo>
                  <a:pt x="1715" y="1673"/>
                </a:moveTo>
                <a:cubicBezTo>
                  <a:pt x="1718" y="1664"/>
                  <a:pt x="1712" y="1651"/>
                  <a:pt x="1712" y="1651"/>
                </a:cubicBezTo>
                <a:cubicBezTo>
                  <a:pt x="1688" y="1671"/>
                  <a:pt x="1688" y="1671"/>
                  <a:pt x="1688" y="1671"/>
                </a:cubicBezTo>
                <a:cubicBezTo>
                  <a:pt x="1688" y="1671"/>
                  <a:pt x="1711" y="1683"/>
                  <a:pt x="1715" y="1673"/>
                </a:cubicBezTo>
                <a:close/>
                <a:moveTo>
                  <a:pt x="1385" y="1506"/>
                </a:moveTo>
                <a:cubicBezTo>
                  <a:pt x="1375" y="1488"/>
                  <a:pt x="1370" y="1455"/>
                  <a:pt x="1370" y="1455"/>
                </a:cubicBezTo>
                <a:cubicBezTo>
                  <a:pt x="1354" y="1463"/>
                  <a:pt x="1354" y="1463"/>
                  <a:pt x="1354" y="1463"/>
                </a:cubicBezTo>
                <a:cubicBezTo>
                  <a:pt x="1366" y="1491"/>
                  <a:pt x="1366" y="1491"/>
                  <a:pt x="1366" y="1491"/>
                </a:cubicBezTo>
                <a:cubicBezTo>
                  <a:pt x="1366" y="1510"/>
                  <a:pt x="1366" y="1510"/>
                  <a:pt x="1366" y="1510"/>
                </a:cubicBezTo>
                <a:cubicBezTo>
                  <a:pt x="1366" y="1510"/>
                  <a:pt x="1394" y="1523"/>
                  <a:pt x="1385" y="1506"/>
                </a:cubicBezTo>
                <a:close/>
                <a:moveTo>
                  <a:pt x="1387" y="1430"/>
                </a:moveTo>
                <a:cubicBezTo>
                  <a:pt x="1391" y="1433"/>
                  <a:pt x="1401" y="1413"/>
                  <a:pt x="1401" y="1413"/>
                </a:cubicBezTo>
                <a:cubicBezTo>
                  <a:pt x="1397" y="1398"/>
                  <a:pt x="1397" y="1398"/>
                  <a:pt x="1397" y="1398"/>
                </a:cubicBezTo>
                <a:cubicBezTo>
                  <a:pt x="1397" y="1398"/>
                  <a:pt x="1375" y="1421"/>
                  <a:pt x="1387" y="1430"/>
                </a:cubicBezTo>
                <a:close/>
                <a:moveTo>
                  <a:pt x="1366" y="1135"/>
                </a:moveTo>
                <a:cubicBezTo>
                  <a:pt x="1358" y="1124"/>
                  <a:pt x="1334" y="1158"/>
                  <a:pt x="1334" y="1158"/>
                </a:cubicBezTo>
                <a:cubicBezTo>
                  <a:pt x="1341" y="1160"/>
                  <a:pt x="1347" y="1162"/>
                  <a:pt x="1347" y="1162"/>
                </a:cubicBezTo>
                <a:cubicBezTo>
                  <a:pt x="1347" y="1162"/>
                  <a:pt x="1374" y="1145"/>
                  <a:pt x="1366" y="1135"/>
                </a:cubicBezTo>
                <a:close/>
                <a:moveTo>
                  <a:pt x="1462" y="1432"/>
                </a:moveTo>
                <a:cubicBezTo>
                  <a:pt x="1468" y="1423"/>
                  <a:pt x="1451" y="1398"/>
                  <a:pt x="1451" y="1398"/>
                </a:cubicBezTo>
                <a:cubicBezTo>
                  <a:pt x="1451" y="1398"/>
                  <a:pt x="1448" y="1411"/>
                  <a:pt x="1446" y="1415"/>
                </a:cubicBezTo>
                <a:cubicBezTo>
                  <a:pt x="1443" y="1419"/>
                  <a:pt x="1417" y="1406"/>
                  <a:pt x="1411" y="1421"/>
                </a:cubicBezTo>
                <a:cubicBezTo>
                  <a:pt x="1426" y="1430"/>
                  <a:pt x="1426" y="1430"/>
                  <a:pt x="1426" y="1430"/>
                </a:cubicBezTo>
                <a:cubicBezTo>
                  <a:pt x="1426" y="1430"/>
                  <a:pt x="1455" y="1442"/>
                  <a:pt x="1462" y="1432"/>
                </a:cubicBezTo>
                <a:close/>
                <a:moveTo>
                  <a:pt x="1506" y="1688"/>
                </a:moveTo>
                <a:cubicBezTo>
                  <a:pt x="1515" y="1685"/>
                  <a:pt x="1479" y="1668"/>
                  <a:pt x="1479" y="1668"/>
                </a:cubicBezTo>
                <a:cubicBezTo>
                  <a:pt x="1482" y="1689"/>
                  <a:pt x="1496" y="1691"/>
                  <a:pt x="1506" y="1688"/>
                </a:cubicBezTo>
                <a:close/>
                <a:moveTo>
                  <a:pt x="1676" y="1664"/>
                </a:moveTo>
                <a:cubicBezTo>
                  <a:pt x="1677" y="1643"/>
                  <a:pt x="1677" y="1643"/>
                  <a:pt x="1677" y="1643"/>
                </a:cubicBezTo>
                <a:cubicBezTo>
                  <a:pt x="1677" y="1643"/>
                  <a:pt x="1643" y="1633"/>
                  <a:pt x="1627" y="1673"/>
                </a:cubicBezTo>
                <a:cubicBezTo>
                  <a:pt x="1664" y="1652"/>
                  <a:pt x="1664" y="1652"/>
                  <a:pt x="1664" y="1652"/>
                </a:cubicBezTo>
                <a:lnTo>
                  <a:pt x="1676" y="1664"/>
                </a:lnTo>
                <a:close/>
                <a:moveTo>
                  <a:pt x="1564" y="1494"/>
                </a:moveTo>
                <a:cubicBezTo>
                  <a:pt x="1580" y="1507"/>
                  <a:pt x="1580" y="1507"/>
                  <a:pt x="1580" y="1507"/>
                </a:cubicBezTo>
                <a:cubicBezTo>
                  <a:pt x="1580" y="1507"/>
                  <a:pt x="1571" y="1464"/>
                  <a:pt x="1564" y="1494"/>
                </a:cubicBezTo>
                <a:close/>
                <a:moveTo>
                  <a:pt x="874" y="251"/>
                </a:moveTo>
                <a:cubicBezTo>
                  <a:pt x="867" y="255"/>
                  <a:pt x="853" y="295"/>
                  <a:pt x="853" y="295"/>
                </a:cubicBezTo>
                <a:cubicBezTo>
                  <a:pt x="886" y="278"/>
                  <a:pt x="886" y="278"/>
                  <a:pt x="886" y="278"/>
                </a:cubicBezTo>
                <a:cubicBezTo>
                  <a:pt x="867" y="273"/>
                  <a:pt x="867" y="273"/>
                  <a:pt x="867" y="273"/>
                </a:cubicBezTo>
                <a:cubicBezTo>
                  <a:pt x="867" y="273"/>
                  <a:pt x="887" y="265"/>
                  <a:pt x="886" y="254"/>
                </a:cubicBezTo>
                <a:cubicBezTo>
                  <a:pt x="885" y="243"/>
                  <a:pt x="877" y="217"/>
                  <a:pt x="878" y="213"/>
                </a:cubicBezTo>
                <a:cubicBezTo>
                  <a:pt x="879" y="209"/>
                  <a:pt x="881" y="194"/>
                  <a:pt x="877" y="190"/>
                </a:cubicBezTo>
                <a:cubicBezTo>
                  <a:pt x="873" y="186"/>
                  <a:pt x="866" y="190"/>
                  <a:pt x="866" y="206"/>
                </a:cubicBezTo>
                <a:cubicBezTo>
                  <a:pt x="866" y="222"/>
                  <a:pt x="881" y="247"/>
                  <a:pt x="874" y="251"/>
                </a:cubicBezTo>
                <a:close/>
                <a:moveTo>
                  <a:pt x="878" y="605"/>
                </a:moveTo>
                <a:cubicBezTo>
                  <a:pt x="878" y="605"/>
                  <a:pt x="919" y="625"/>
                  <a:pt x="928" y="618"/>
                </a:cubicBezTo>
                <a:cubicBezTo>
                  <a:pt x="938" y="612"/>
                  <a:pt x="938" y="607"/>
                  <a:pt x="931" y="607"/>
                </a:cubicBezTo>
                <a:cubicBezTo>
                  <a:pt x="924" y="607"/>
                  <a:pt x="878" y="596"/>
                  <a:pt x="878" y="605"/>
                </a:cubicBezTo>
                <a:close/>
                <a:moveTo>
                  <a:pt x="1736" y="2453"/>
                </a:moveTo>
                <a:cubicBezTo>
                  <a:pt x="1732" y="2461"/>
                  <a:pt x="1748" y="2474"/>
                  <a:pt x="1748" y="2474"/>
                </a:cubicBezTo>
                <a:cubicBezTo>
                  <a:pt x="1758" y="2459"/>
                  <a:pt x="1758" y="2459"/>
                  <a:pt x="1758" y="2459"/>
                </a:cubicBezTo>
                <a:cubicBezTo>
                  <a:pt x="1756" y="2446"/>
                  <a:pt x="1756" y="2446"/>
                  <a:pt x="1756" y="2446"/>
                </a:cubicBezTo>
                <a:cubicBezTo>
                  <a:pt x="1752" y="2413"/>
                  <a:pt x="1740" y="2445"/>
                  <a:pt x="1736" y="2453"/>
                </a:cubicBezTo>
                <a:close/>
                <a:moveTo>
                  <a:pt x="1728" y="2408"/>
                </a:moveTo>
                <a:cubicBezTo>
                  <a:pt x="1728" y="2408"/>
                  <a:pt x="1719" y="2386"/>
                  <a:pt x="1726" y="2374"/>
                </a:cubicBezTo>
                <a:cubicBezTo>
                  <a:pt x="1733" y="2362"/>
                  <a:pt x="1733" y="2362"/>
                  <a:pt x="1733" y="2362"/>
                </a:cubicBezTo>
                <a:cubicBezTo>
                  <a:pt x="1733" y="2362"/>
                  <a:pt x="1717" y="2347"/>
                  <a:pt x="1723" y="2339"/>
                </a:cubicBezTo>
                <a:cubicBezTo>
                  <a:pt x="1728" y="2331"/>
                  <a:pt x="1728" y="2300"/>
                  <a:pt x="1728" y="2298"/>
                </a:cubicBezTo>
                <a:cubicBezTo>
                  <a:pt x="1728" y="2296"/>
                  <a:pt x="1750" y="2267"/>
                  <a:pt x="1750" y="2267"/>
                </a:cubicBezTo>
                <a:cubicBezTo>
                  <a:pt x="1750" y="2267"/>
                  <a:pt x="1738" y="2250"/>
                  <a:pt x="1734" y="2243"/>
                </a:cubicBezTo>
                <a:cubicBezTo>
                  <a:pt x="1730" y="2237"/>
                  <a:pt x="1704" y="2236"/>
                  <a:pt x="1719" y="2220"/>
                </a:cubicBezTo>
                <a:cubicBezTo>
                  <a:pt x="1734" y="2204"/>
                  <a:pt x="1739" y="2193"/>
                  <a:pt x="1731" y="2182"/>
                </a:cubicBezTo>
                <a:cubicBezTo>
                  <a:pt x="1723" y="2170"/>
                  <a:pt x="1709" y="2169"/>
                  <a:pt x="1699" y="2155"/>
                </a:cubicBezTo>
                <a:cubicBezTo>
                  <a:pt x="1689" y="2140"/>
                  <a:pt x="1688" y="2106"/>
                  <a:pt x="1688" y="2106"/>
                </a:cubicBezTo>
                <a:cubicBezTo>
                  <a:pt x="1688" y="2106"/>
                  <a:pt x="1655" y="2097"/>
                  <a:pt x="1649" y="2071"/>
                </a:cubicBezTo>
                <a:cubicBezTo>
                  <a:pt x="1643" y="2046"/>
                  <a:pt x="1643" y="2029"/>
                  <a:pt x="1641" y="2026"/>
                </a:cubicBezTo>
                <a:cubicBezTo>
                  <a:pt x="1639" y="2024"/>
                  <a:pt x="1612" y="1991"/>
                  <a:pt x="1612" y="1991"/>
                </a:cubicBezTo>
                <a:cubicBezTo>
                  <a:pt x="1587" y="2001"/>
                  <a:pt x="1587" y="2001"/>
                  <a:pt x="1587" y="2001"/>
                </a:cubicBezTo>
                <a:cubicBezTo>
                  <a:pt x="1573" y="1974"/>
                  <a:pt x="1573" y="1974"/>
                  <a:pt x="1573" y="1974"/>
                </a:cubicBezTo>
                <a:cubicBezTo>
                  <a:pt x="1573" y="1974"/>
                  <a:pt x="1583" y="1965"/>
                  <a:pt x="1582" y="1962"/>
                </a:cubicBezTo>
                <a:cubicBezTo>
                  <a:pt x="1581" y="1958"/>
                  <a:pt x="1567" y="1926"/>
                  <a:pt x="1567" y="1926"/>
                </a:cubicBezTo>
                <a:cubicBezTo>
                  <a:pt x="1567" y="1926"/>
                  <a:pt x="1574" y="1965"/>
                  <a:pt x="1566" y="1957"/>
                </a:cubicBezTo>
                <a:cubicBezTo>
                  <a:pt x="1558" y="1950"/>
                  <a:pt x="1548" y="1928"/>
                  <a:pt x="1548" y="1928"/>
                </a:cubicBezTo>
                <a:cubicBezTo>
                  <a:pt x="1548" y="1928"/>
                  <a:pt x="1532" y="1926"/>
                  <a:pt x="1529" y="1923"/>
                </a:cubicBezTo>
                <a:cubicBezTo>
                  <a:pt x="1527" y="1921"/>
                  <a:pt x="1527" y="1902"/>
                  <a:pt x="1529" y="1892"/>
                </a:cubicBezTo>
                <a:cubicBezTo>
                  <a:pt x="1531" y="1882"/>
                  <a:pt x="1541" y="1879"/>
                  <a:pt x="1539" y="1865"/>
                </a:cubicBezTo>
                <a:cubicBezTo>
                  <a:pt x="1537" y="1850"/>
                  <a:pt x="1533" y="1841"/>
                  <a:pt x="1535" y="1835"/>
                </a:cubicBezTo>
                <a:cubicBezTo>
                  <a:pt x="1536" y="1830"/>
                  <a:pt x="1550" y="1820"/>
                  <a:pt x="1544" y="1813"/>
                </a:cubicBezTo>
                <a:cubicBezTo>
                  <a:pt x="1539" y="1806"/>
                  <a:pt x="1548" y="1791"/>
                  <a:pt x="1538" y="1781"/>
                </a:cubicBezTo>
                <a:cubicBezTo>
                  <a:pt x="1528" y="1770"/>
                  <a:pt x="1506" y="1747"/>
                  <a:pt x="1504" y="1747"/>
                </a:cubicBezTo>
                <a:cubicBezTo>
                  <a:pt x="1503" y="1747"/>
                  <a:pt x="1506" y="1759"/>
                  <a:pt x="1506" y="1759"/>
                </a:cubicBezTo>
                <a:cubicBezTo>
                  <a:pt x="1506" y="1759"/>
                  <a:pt x="1531" y="1783"/>
                  <a:pt x="1530" y="1789"/>
                </a:cubicBezTo>
                <a:cubicBezTo>
                  <a:pt x="1530" y="1796"/>
                  <a:pt x="1525" y="1803"/>
                  <a:pt x="1518" y="1800"/>
                </a:cubicBezTo>
                <a:cubicBezTo>
                  <a:pt x="1511" y="1796"/>
                  <a:pt x="1477" y="1773"/>
                  <a:pt x="1474" y="1767"/>
                </a:cubicBezTo>
                <a:cubicBezTo>
                  <a:pt x="1471" y="1762"/>
                  <a:pt x="1456" y="1728"/>
                  <a:pt x="1449" y="1727"/>
                </a:cubicBezTo>
                <a:cubicBezTo>
                  <a:pt x="1441" y="1725"/>
                  <a:pt x="1439" y="1741"/>
                  <a:pt x="1439" y="1741"/>
                </a:cubicBezTo>
                <a:cubicBezTo>
                  <a:pt x="1439" y="1741"/>
                  <a:pt x="1457" y="1792"/>
                  <a:pt x="1450" y="1790"/>
                </a:cubicBezTo>
                <a:cubicBezTo>
                  <a:pt x="1444" y="1788"/>
                  <a:pt x="1426" y="1763"/>
                  <a:pt x="1426" y="1763"/>
                </a:cubicBezTo>
                <a:cubicBezTo>
                  <a:pt x="1426" y="1763"/>
                  <a:pt x="1413" y="1794"/>
                  <a:pt x="1408" y="1788"/>
                </a:cubicBezTo>
                <a:cubicBezTo>
                  <a:pt x="1404" y="1781"/>
                  <a:pt x="1394" y="1780"/>
                  <a:pt x="1397" y="1768"/>
                </a:cubicBezTo>
                <a:cubicBezTo>
                  <a:pt x="1400" y="1756"/>
                  <a:pt x="1406" y="1743"/>
                  <a:pt x="1404" y="1738"/>
                </a:cubicBezTo>
                <a:cubicBezTo>
                  <a:pt x="1402" y="1732"/>
                  <a:pt x="1409" y="1717"/>
                  <a:pt x="1404" y="1711"/>
                </a:cubicBezTo>
                <a:cubicBezTo>
                  <a:pt x="1400" y="1705"/>
                  <a:pt x="1394" y="1707"/>
                  <a:pt x="1394" y="1693"/>
                </a:cubicBezTo>
                <a:cubicBezTo>
                  <a:pt x="1395" y="1678"/>
                  <a:pt x="1403" y="1661"/>
                  <a:pt x="1401" y="1654"/>
                </a:cubicBezTo>
                <a:cubicBezTo>
                  <a:pt x="1398" y="1646"/>
                  <a:pt x="1382" y="1636"/>
                  <a:pt x="1380" y="1623"/>
                </a:cubicBezTo>
                <a:cubicBezTo>
                  <a:pt x="1378" y="1610"/>
                  <a:pt x="1373" y="1578"/>
                  <a:pt x="1368" y="1572"/>
                </a:cubicBezTo>
                <a:cubicBezTo>
                  <a:pt x="1363" y="1566"/>
                  <a:pt x="1331" y="1528"/>
                  <a:pt x="1329" y="1521"/>
                </a:cubicBezTo>
                <a:cubicBezTo>
                  <a:pt x="1326" y="1513"/>
                  <a:pt x="1326" y="1498"/>
                  <a:pt x="1338" y="1499"/>
                </a:cubicBezTo>
                <a:cubicBezTo>
                  <a:pt x="1350" y="1500"/>
                  <a:pt x="1356" y="1510"/>
                  <a:pt x="1356" y="1510"/>
                </a:cubicBezTo>
                <a:cubicBezTo>
                  <a:pt x="1356" y="1510"/>
                  <a:pt x="1348" y="1483"/>
                  <a:pt x="1340" y="1474"/>
                </a:cubicBezTo>
                <a:cubicBezTo>
                  <a:pt x="1332" y="1465"/>
                  <a:pt x="1312" y="1442"/>
                  <a:pt x="1312" y="1442"/>
                </a:cubicBezTo>
                <a:cubicBezTo>
                  <a:pt x="1312" y="1442"/>
                  <a:pt x="1312" y="1467"/>
                  <a:pt x="1302" y="1465"/>
                </a:cubicBezTo>
                <a:cubicBezTo>
                  <a:pt x="1291" y="1463"/>
                  <a:pt x="1292" y="1442"/>
                  <a:pt x="1285" y="1436"/>
                </a:cubicBezTo>
                <a:cubicBezTo>
                  <a:pt x="1279" y="1430"/>
                  <a:pt x="1257" y="1415"/>
                  <a:pt x="1257" y="1415"/>
                </a:cubicBezTo>
                <a:cubicBezTo>
                  <a:pt x="1257" y="1415"/>
                  <a:pt x="1238" y="1425"/>
                  <a:pt x="1238" y="1422"/>
                </a:cubicBezTo>
                <a:cubicBezTo>
                  <a:pt x="1238" y="1418"/>
                  <a:pt x="1240" y="1393"/>
                  <a:pt x="1237" y="1393"/>
                </a:cubicBezTo>
                <a:cubicBezTo>
                  <a:pt x="1235" y="1392"/>
                  <a:pt x="1213" y="1408"/>
                  <a:pt x="1213" y="1408"/>
                </a:cubicBezTo>
                <a:cubicBezTo>
                  <a:pt x="1213" y="1408"/>
                  <a:pt x="1210" y="1369"/>
                  <a:pt x="1207" y="1363"/>
                </a:cubicBezTo>
                <a:cubicBezTo>
                  <a:pt x="1203" y="1358"/>
                  <a:pt x="1194" y="1341"/>
                  <a:pt x="1194" y="1341"/>
                </a:cubicBezTo>
                <a:cubicBezTo>
                  <a:pt x="1194" y="1341"/>
                  <a:pt x="1179" y="1360"/>
                  <a:pt x="1176" y="1358"/>
                </a:cubicBezTo>
                <a:cubicBezTo>
                  <a:pt x="1174" y="1357"/>
                  <a:pt x="1146" y="1339"/>
                  <a:pt x="1146" y="1339"/>
                </a:cubicBezTo>
                <a:cubicBezTo>
                  <a:pt x="1153" y="1321"/>
                  <a:pt x="1153" y="1321"/>
                  <a:pt x="1153" y="1321"/>
                </a:cubicBezTo>
                <a:cubicBezTo>
                  <a:pt x="1153" y="1321"/>
                  <a:pt x="1136" y="1339"/>
                  <a:pt x="1131" y="1334"/>
                </a:cubicBezTo>
                <a:cubicBezTo>
                  <a:pt x="1127" y="1329"/>
                  <a:pt x="1105" y="1309"/>
                  <a:pt x="1093" y="1298"/>
                </a:cubicBezTo>
                <a:cubicBezTo>
                  <a:pt x="1080" y="1287"/>
                  <a:pt x="1060" y="1263"/>
                  <a:pt x="1060" y="1261"/>
                </a:cubicBezTo>
                <a:cubicBezTo>
                  <a:pt x="1060" y="1259"/>
                  <a:pt x="1076" y="1241"/>
                  <a:pt x="1076" y="1241"/>
                </a:cubicBezTo>
                <a:cubicBezTo>
                  <a:pt x="1076" y="1241"/>
                  <a:pt x="1083" y="1215"/>
                  <a:pt x="1078" y="1208"/>
                </a:cubicBezTo>
                <a:cubicBezTo>
                  <a:pt x="1072" y="1200"/>
                  <a:pt x="1069" y="1188"/>
                  <a:pt x="1068" y="1188"/>
                </a:cubicBezTo>
                <a:cubicBezTo>
                  <a:pt x="1066" y="1188"/>
                  <a:pt x="1050" y="1192"/>
                  <a:pt x="1050" y="1192"/>
                </a:cubicBezTo>
                <a:cubicBezTo>
                  <a:pt x="1050" y="1192"/>
                  <a:pt x="1041" y="1161"/>
                  <a:pt x="1043" y="1158"/>
                </a:cubicBezTo>
                <a:cubicBezTo>
                  <a:pt x="1044" y="1155"/>
                  <a:pt x="1063" y="1149"/>
                  <a:pt x="1063" y="1129"/>
                </a:cubicBezTo>
                <a:cubicBezTo>
                  <a:pt x="1063" y="1109"/>
                  <a:pt x="1057" y="1076"/>
                  <a:pt x="1057" y="1074"/>
                </a:cubicBezTo>
                <a:cubicBezTo>
                  <a:pt x="1057" y="1073"/>
                  <a:pt x="1050" y="1070"/>
                  <a:pt x="1048" y="1058"/>
                </a:cubicBezTo>
                <a:cubicBezTo>
                  <a:pt x="1046" y="1045"/>
                  <a:pt x="1038" y="1029"/>
                  <a:pt x="1038" y="1028"/>
                </a:cubicBezTo>
                <a:cubicBezTo>
                  <a:pt x="1038" y="1026"/>
                  <a:pt x="1050" y="1014"/>
                  <a:pt x="1050" y="1014"/>
                </a:cubicBezTo>
                <a:cubicBezTo>
                  <a:pt x="1050" y="1014"/>
                  <a:pt x="1030" y="1023"/>
                  <a:pt x="1030" y="1020"/>
                </a:cubicBezTo>
                <a:cubicBezTo>
                  <a:pt x="1030" y="1017"/>
                  <a:pt x="1015" y="994"/>
                  <a:pt x="1011" y="984"/>
                </a:cubicBezTo>
                <a:cubicBezTo>
                  <a:pt x="1008" y="975"/>
                  <a:pt x="996" y="961"/>
                  <a:pt x="992" y="947"/>
                </a:cubicBezTo>
                <a:cubicBezTo>
                  <a:pt x="988" y="934"/>
                  <a:pt x="998" y="922"/>
                  <a:pt x="998" y="922"/>
                </a:cubicBezTo>
                <a:cubicBezTo>
                  <a:pt x="992" y="910"/>
                  <a:pt x="992" y="910"/>
                  <a:pt x="992" y="910"/>
                </a:cubicBezTo>
                <a:cubicBezTo>
                  <a:pt x="992" y="910"/>
                  <a:pt x="1002" y="912"/>
                  <a:pt x="999" y="900"/>
                </a:cubicBezTo>
                <a:cubicBezTo>
                  <a:pt x="997" y="887"/>
                  <a:pt x="996" y="882"/>
                  <a:pt x="992" y="877"/>
                </a:cubicBezTo>
                <a:cubicBezTo>
                  <a:pt x="988" y="872"/>
                  <a:pt x="988" y="840"/>
                  <a:pt x="985" y="824"/>
                </a:cubicBezTo>
                <a:cubicBezTo>
                  <a:pt x="983" y="808"/>
                  <a:pt x="992" y="796"/>
                  <a:pt x="992" y="796"/>
                </a:cubicBezTo>
                <a:cubicBezTo>
                  <a:pt x="982" y="783"/>
                  <a:pt x="982" y="783"/>
                  <a:pt x="982" y="783"/>
                </a:cubicBezTo>
                <a:cubicBezTo>
                  <a:pt x="994" y="761"/>
                  <a:pt x="994" y="761"/>
                  <a:pt x="994" y="761"/>
                </a:cubicBezTo>
                <a:cubicBezTo>
                  <a:pt x="994" y="761"/>
                  <a:pt x="979" y="739"/>
                  <a:pt x="970" y="735"/>
                </a:cubicBezTo>
                <a:cubicBezTo>
                  <a:pt x="960" y="731"/>
                  <a:pt x="949" y="725"/>
                  <a:pt x="949" y="725"/>
                </a:cubicBezTo>
                <a:cubicBezTo>
                  <a:pt x="948" y="712"/>
                  <a:pt x="948" y="712"/>
                  <a:pt x="948" y="712"/>
                </a:cubicBezTo>
                <a:cubicBezTo>
                  <a:pt x="918" y="691"/>
                  <a:pt x="918" y="691"/>
                  <a:pt x="918" y="691"/>
                </a:cubicBezTo>
                <a:cubicBezTo>
                  <a:pt x="918" y="691"/>
                  <a:pt x="912" y="658"/>
                  <a:pt x="908" y="654"/>
                </a:cubicBezTo>
                <a:cubicBezTo>
                  <a:pt x="903" y="651"/>
                  <a:pt x="898" y="647"/>
                  <a:pt x="898" y="647"/>
                </a:cubicBezTo>
                <a:cubicBezTo>
                  <a:pt x="898" y="647"/>
                  <a:pt x="880" y="667"/>
                  <a:pt x="878" y="667"/>
                </a:cubicBezTo>
                <a:cubicBezTo>
                  <a:pt x="877" y="667"/>
                  <a:pt x="864" y="656"/>
                  <a:pt x="864" y="656"/>
                </a:cubicBezTo>
                <a:cubicBezTo>
                  <a:pt x="864" y="656"/>
                  <a:pt x="856" y="672"/>
                  <a:pt x="846" y="677"/>
                </a:cubicBezTo>
                <a:cubicBezTo>
                  <a:pt x="836" y="682"/>
                  <a:pt x="827" y="690"/>
                  <a:pt x="821" y="684"/>
                </a:cubicBezTo>
                <a:cubicBezTo>
                  <a:pt x="816" y="678"/>
                  <a:pt x="798" y="661"/>
                  <a:pt x="801" y="653"/>
                </a:cubicBezTo>
                <a:cubicBezTo>
                  <a:pt x="803" y="644"/>
                  <a:pt x="801" y="618"/>
                  <a:pt x="798" y="616"/>
                </a:cubicBezTo>
                <a:cubicBezTo>
                  <a:pt x="796" y="613"/>
                  <a:pt x="786" y="595"/>
                  <a:pt x="786" y="583"/>
                </a:cubicBezTo>
                <a:cubicBezTo>
                  <a:pt x="786" y="572"/>
                  <a:pt x="805" y="560"/>
                  <a:pt x="804" y="553"/>
                </a:cubicBezTo>
                <a:cubicBezTo>
                  <a:pt x="804" y="547"/>
                  <a:pt x="792" y="530"/>
                  <a:pt x="792" y="530"/>
                </a:cubicBezTo>
                <a:cubicBezTo>
                  <a:pt x="792" y="530"/>
                  <a:pt x="798" y="493"/>
                  <a:pt x="792" y="480"/>
                </a:cubicBezTo>
                <a:cubicBezTo>
                  <a:pt x="787" y="468"/>
                  <a:pt x="771" y="464"/>
                  <a:pt x="771" y="461"/>
                </a:cubicBezTo>
                <a:cubicBezTo>
                  <a:pt x="772" y="457"/>
                  <a:pt x="785" y="446"/>
                  <a:pt x="782" y="435"/>
                </a:cubicBezTo>
                <a:cubicBezTo>
                  <a:pt x="779" y="423"/>
                  <a:pt x="764" y="422"/>
                  <a:pt x="764" y="422"/>
                </a:cubicBezTo>
                <a:cubicBezTo>
                  <a:pt x="759" y="403"/>
                  <a:pt x="759" y="403"/>
                  <a:pt x="759" y="403"/>
                </a:cubicBezTo>
                <a:cubicBezTo>
                  <a:pt x="759" y="403"/>
                  <a:pt x="739" y="398"/>
                  <a:pt x="737" y="385"/>
                </a:cubicBezTo>
                <a:cubicBezTo>
                  <a:pt x="735" y="373"/>
                  <a:pt x="754" y="365"/>
                  <a:pt x="756" y="356"/>
                </a:cubicBezTo>
                <a:cubicBezTo>
                  <a:pt x="759" y="347"/>
                  <a:pt x="764" y="347"/>
                  <a:pt x="764" y="347"/>
                </a:cubicBezTo>
                <a:cubicBezTo>
                  <a:pt x="733" y="341"/>
                  <a:pt x="733" y="341"/>
                  <a:pt x="733" y="341"/>
                </a:cubicBezTo>
                <a:cubicBezTo>
                  <a:pt x="733" y="341"/>
                  <a:pt x="718" y="335"/>
                  <a:pt x="718" y="328"/>
                </a:cubicBezTo>
                <a:cubicBezTo>
                  <a:pt x="718" y="321"/>
                  <a:pt x="717" y="280"/>
                  <a:pt x="717" y="280"/>
                </a:cubicBezTo>
                <a:cubicBezTo>
                  <a:pt x="717" y="280"/>
                  <a:pt x="728" y="274"/>
                  <a:pt x="726" y="271"/>
                </a:cubicBezTo>
                <a:cubicBezTo>
                  <a:pt x="725" y="268"/>
                  <a:pt x="713" y="253"/>
                  <a:pt x="713" y="253"/>
                </a:cubicBezTo>
                <a:cubicBezTo>
                  <a:pt x="715" y="221"/>
                  <a:pt x="715" y="221"/>
                  <a:pt x="715" y="221"/>
                </a:cubicBezTo>
                <a:cubicBezTo>
                  <a:pt x="715" y="221"/>
                  <a:pt x="694" y="203"/>
                  <a:pt x="687" y="205"/>
                </a:cubicBezTo>
                <a:cubicBezTo>
                  <a:pt x="680" y="206"/>
                  <a:pt x="707" y="191"/>
                  <a:pt x="699" y="184"/>
                </a:cubicBezTo>
                <a:cubicBezTo>
                  <a:pt x="691" y="177"/>
                  <a:pt x="681" y="172"/>
                  <a:pt x="675" y="177"/>
                </a:cubicBezTo>
                <a:cubicBezTo>
                  <a:pt x="669" y="182"/>
                  <a:pt x="662" y="203"/>
                  <a:pt x="660" y="204"/>
                </a:cubicBezTo>
                <a:cubicBezTo>
                  <a:pt x="658" y="205"/>
                  <a:pt x="634" y="207"/>
                  <a:pt x="634" y="207"/>
                </a:cubicBezTo>
                <a:cubicBezTo>
                  <a:pt x="634" y="207"/>
                  <a:pt x="656" y="233"/>
                  <a:pt x="628" y="269"/>
                </a:cubicBezTo>
                <a:cubicBezTo>
                  <a:pt x="600" y="305"/>
                  <a:pt x="594" y="337"/>
                  <a:pt x="594" y="337"/>
                </a:cubicBezTo>
                <a:cubicBezTo>
                  <a:pt x="593" y="352"/>
                  <a:pt x="593" y="352"/>
                  <a:pt x="593" y="352"/>
                </a:cubicBezTo>
                <a:cubicBezTo>
                  <a:pt x="581" y="351"/>
                  <a:pt x="581" y="351"/>
                  <a:pt x="581" y="351"/>
                </a:cubicBezTo>
                <a:cubicBezTo>
                  <a:pt x="554" y="411"/>
                  <a:pt x="554" y="411"/>
                  <a:pt x="554" y="411"/>
                </a:cubicBezTo>
                <a:cubicBezTo>
                  <a:pt x="554" y="411"/>
                  <a:pt x="563" y="403"/>
                  <a:pt x="569" y="408"/>
                </a:cubicBezTo>
                <a:cubicBezTo>
                  <a:pt x="574" y="414"/>
                  <a:pt x="583" y="426"/>
                  <a:pt x="583" y="426"/>
                </a:cubicBezTo>
                <a:cubicBezTo>
                  <a:pt x="583" y="426"/>
                  <a:pt x="607" y="410"/>
                  <a:pt x="609" y="417"/>
                </a:cubicBezTo>
                <a:cubicBezTo>
                  <a:pt x="611" y="423"/>
                  <a:pt x="594" y="439"/>
                  <a:pt x="594" y="439"/>
                </a:cubicBezTo>
                <a:cubicBezTo>
                  <a:pt x="589" y="457"/>
                  <a:pt x="589" y="457"/>
                  <a:pt x="589" y="457"/>
                </a:cubicBezTo>
                <a:cubicBezTo>
                  <a:pt x="589" y="457"/>
                  <a:pt x="584" y="432"/>
                  <a:pt x="579" y="432"/>
                </a:cubicBezTo>
                <a:cubicBezTo>
                  <a:pt x="574" y="432"/>
                  <a:pt x="553" y="459"/>
                  <a:pt x="550" y="460"/>
                </a:cubicBezTo>
                <a:cubicBezTo>
                  <a:pt x="546" y="460"/>
                  <a:pt x="549" y="491"/>
                  <a:pt x="552" y="492"/>
                </a:cubicBezTo>
                <a:cubicBezTo>
                  <a:pt x="554" y="493"/>
                  <a:pt x="558" y="508"/>
                  <a:pt x="555" y="509"/>
                </a:cubicBezTo>
                <a:cubicBezTo>
                  <a:pt x="552" y="511"/>
                  <a:pt x="516" y="563"/>
                  <a:pt x="524" y="578"/>
                </a:cubicBezTo>
                <a:cubicBezTo>
                  <a:pt x="532" y="592"/>
                  <a:pt x="543" y="607"/>
                  <a:pt x="540" y="615"/>
                </a:cubicBezTo>
                <a:cubicBezTo>
                  <a:pt x="538" y="623"/>
                  <a:pt x="525" y="670"/>
                  <a:pt x="524" y="684"/>
                </a:cubicBezTo>
                <a:cubicBezTo>
                  <a:pt x="523" y="698"/>
                  <a:pt x="541" y="735"/>
                  <a:pt x="541" y="735"/>
                </a:cubicBezTo>
                <a:cubicBezTo>
                  <a:pt x="541" y="735"/>
                  <a:pt x="511" y="768"/>
                  <a:pt x="506" y="801"/>
                </a:cubicBezTo>
                <a:cubicBezTo>
                  <a:pt x="501" y="834"/>
                  <a:pt x="499" y="867"/>
                  <a:pt x="499" y="867"/>
                </a:cubicBezTo>
                <a:cubicBezTo>
                  <a:pt x="499" y="867"/>
                  <a:pt x="485" y="902"/>
                  <a:pt x="479" y="917"/>
                </a:cubicBezTo>
                <a:cubicBezTo>
                  <a:pt x="472" y="931"/>
                  <a:pt x="455" y="965"/>
                  <a:pt x="442" y="970"/>
                </a:cubicBezTo>
                <a:cubicBezTo>
                  <a:pt x="430" y="974"/>
                  <a:pt x="425" y="1024"/>
                  <a:pt x="425" y="1024"/>
                </a:cubicBezTo>
                <a:cubicBezTo>
                  <a:pt x="425" y="1024"/>
                  <a:pt x="382" y="1055"/>
                  <a:pt x="371" y="1057"/>
                </a:cubicBezTo>
                <a:cubicBezTo>
                  <a:pt x="360" y="1058"/>
                  <a:pt x="323" y="1065"/>
                  <a:pt x="320" y="1063"/>
                </a:cubicBezTo>
                <a:cubicBezTo>
                  <a:pt x="316" y="1061"/>
                  <a:pt x="291" y="1045"/>
                  <a:pt x="285" y="1042"/>
                </a:cubicBezTo>
                <a:cubicBezTo>
                  <a:pt x="279" y="1039"/>
                  <a:pt x="265" y="1037"/>
                  <a:pt x="264" y="1035"/>
                </a:cubicBezTo>
                <a:cubicBezTo>
                  <a:pt x="264" y="1033"/>
                  <a:pt x="255" y="1012"/>
                  <a:pt x="246" y="1011"/>
                </a:cubicBezTo>
                <a:cubicBezTo>
                  <a:pt x="238" y="1010"/>
                  <a:pt x="219" y="1007"/>
                  <a:pt x="216" y="998"/>
                </a:cubicBezTo>
                <a:cubicBezTo>
                  <a:pt x="213" y="989"/>
                  <a:pt x="235" y="979"/>
                  <a:pt x="205" y="959"/>
                </a:cubicBezTo>
                <a:cubicBezTo>
                  <a:pt x="175" y="940"/>
                  <a:pt x="173" y="947"/>
                  <a:pt x="171" y="946"/>
                </a:cubicBezTo>
                <a:cubicBezTo>
                  <a:pt x="170" y="945"/>
                  <a:pt x="153" y="930"/>
                  <a:pt x="153" y="930"/>
                </a:cubicBezTo>
                <a:cubicBezTo>
                  <a:pt x="153" y="930"/>
                  <a:pt x="121" y="937"/>
                  <a:pt x="95" y="918"/>
                </a:cubicBezTo>
                <a:cubicBezTo>
                  <a:pt x="89" y="913"/>
                  <a:pt x="83" y="907"/>
                  <a:pt x="78" y="901"/>
                </a:cubicBezTo>
                <a:cubicBezTo>
                  <a:pt x="30" y="2088"/>
                  <a:pt x="30" y="2088"/>
                  <a:pt x="30" y="2088"/>
                </a:cubicBezTo>
                <a:cubicBezTo>
                  <a:pt x="30" y="2088"/>
                  <a:pt x="18" y="2088"/>
                  <a:pt x="0" y="2088"/>
                </a:cubicBezTo>
                <a:cubicBezTo>
                  <a:pt x="12" y="2097"/>
                  <a:pt x="20" y="2103"/>
                  <a:pt x="20" y="2103"/>
                </a:cubicBezTo>
                <a:cubicBezTo>
                  <a:pt x="373" y="2113"/>
                  <a:pt x="373" y="2113"/>
                  <a:pt x="373" y="2113"/>
                </a:cubicBezTo>
                <a:cubicBezTo>
                  <a:pt x="351" y="2490"/>
                  <a:pt x="351" y="2490"/>
                  <a:pt x="351" y="2490"/>
                </a:cubicBezTo>
                <a:cubicBezTo>
                  <a:pt x="1227" y="2573"/>
                  <a:pt x="1227" y="2573"/>
                  <a:pt x="1227" y="2573"/>
                </a:cubicBezTo>
                <a:cubicBezTo>
                  <a:pt x="1291" y="2529"/>
                  <a:pt x="1291" y="2529"/>
                  <a:pt x="1291" y="2529"/>
                </a:cubicBezTo>
                <a:cubicBezTo>
                  <a:pt x="1331" y="2537"/>
                  <a:pt x="1331" y="2537"/>
                  <a:pt x="1331" y="2537"/>
                </a:cubicBezTo>
                <a:cubicBezTo>
                  <a:pt x="1371" y="2537"/>
                  <a:pt x="1371" y="2537"/>
                  <a:pt x="1371" y="2537"/>
                </a:cubicBezTo>
                <a:cubicBezTo>
                  <a:pt x="1395" y="2565"/>
                  <a:pt x="1395" y="2565"/>
                  <a:pt x="1395" y="2565"/>
                </a:cubicBezTo>
                <a:cubicBezTo>
                  <a:pt x="1439" y="2561"/>
                  <a:pt x="1439" y="2561"/>
                  <a:pt x="1439" y="2561"/>
                </a:cubicBezTo>
                <a:cubicBezTo>
                  <a:pt x="1479" y="2597"/>
                  <a:pt x="1479" y="2597"/>
                  <a:pt x="1479" y="2597"/>
                </a:cubicBezTo>
                <a:cubicBezTo>
                  <a:pt x="1483" y="2629"/>
                  <a:pt x="1483" y="2629"/>
                  <a:pt x="1483" y="2629"/>
                </a:cubicBezTo>
                <a:cubicBezTo>
                  <a:pt x="1519" y="2601"/>
                  <a:pt x="1519" y="2601"/>
                  <a:pt x="1519" y="2601"/>
                </a:cubicBezTo>
                <a:cubicBezTo>
                  <a:pt x="1519" y="2601"/>
                  <a:pt x="1547" y="2617"/>
                  <a:pt x="1551" y="2601"/>
                </a:cubicBezTo>
                <a:cubicBezTo>
                  <a:pt x="1555" y="2585"/>
                  <a:pt x="1563" y="2557"/>
                  <a:pt x="1563" y="2557"/>
                </a:cubicBezTo>
                <a:cubicBezTo>
                  <a:pt x="1623" y="2541"/>
                  <a:pt x="1623" y="2541"/>
                  <a:pt x="1623" y="2541"/>
                </a:cubicBezTo>
                <a:cubicBezTo>
                  <a:pt x="1671" y="2557"/>
                  <a:pt x="1671" y="2557"/>
                  <a:pt x="1671" y="2557"/>
                </a:cubicBezTo>
                <a:cubicBezTo>
                  <a:pt x="1703" y="2565"/>
                  <a:pt x="1703" y="2565"/>
                  <a:pt x="1703" y="2565"/>
                </a:cubicBezTo>
                <a:cubicBezTo>
                  <a:pt x="1707" y="2549"/>
                  <a:pt x="1707" y="2549"/>
                  <a:pt x="1707" y="2549"/>
                </a:cubicBezTo>
                <a:cubicBezTo>
                  <a:pt x="1739" y="2549"/>
                  <a:pt x="1739" y="2549"/>
                  <a:pt x="1739" y="2549"/>
                </a:cubicBezTo>
                <a:cubicBezTo>
                  <a:pt x="1737" y="2541"/>
                  <a:pt x="1733" y="2530"/>
                  <a:pt x="1733" y="2524"/>
                </a:cubicBezTo>
                <a:cubicBezTo>
                  <a:pt x="1732" y="2515"/>
                  <a:pt x="1737" y="2495"/>
                  <a:pt x="1740" y="2488"/>
                </a:cubicBezTo>
                <a:cubicBezTo>
                  <a:pt x="1743" y="2481"/>
                  <a:pt x="1710" y="2426"/>
                  <a:pt x="1710" y="2426"/>
                </a:cubicBezTo>
                <a:lnTo>
                  <a:pt x="1728" y="2408"/>
                </a:lnTo>
                <a:close/>
                <a:moveTo>
                  <a:pt x="790" y="348"/>
                </a:moveTo>
                <a:cubicBezTo>
                  <a:pt x="790" y="348"/>
                  <a:pt x="790" y="338"/>
                  <a:pt x="789" y="325"/>
                </a:cubicBezTo>
                <a:cubicBezTo>
                  <a:pt x="787" y="311"/>
                  <a:pt x="762" y="326"/>
                  <a:pt x="762" y="326"/>
                </a:cubicBezTo>
                <a:cubicBezTo>
                  <a:pt x="775" y="333"/>
                  <a:pt x="775" y="333"/>
                  <a:pt x="775" y="333"/>
                </a:cubicBezTo>
                <a:lnTo>
                  <a:pt x="790" y="348"/>
                </a:lnTo>
                <a:close/>
                <a:moveTo>
                  <a:pt x="660" y="72"/>
                </a:moveTo>
                <a:cubicBezTo>
                  <a:pt x="669" y="61"/>
                  <a:pt x="686" y="43"/>
                  <a:pt x="678" y="44"/>
                </a:cubicBezTo>
                <a:cubicBezTo>
                  <a:pt x="670" y="45"/>
                  <a:pt x="670" y="53"/>
                  <a:pt x="658" y="59"/>
                </a:cubicBezTo>
                <a:cubicBezTo>
                  <a:pt x="646" y="64"/>
                  <a:pt x="642" y="85"/>
                  <a:pt x="642" y="85"/>
                </a:cubicBezTo>
                <a:cubicBezTo>
                  <a:pt x="642" y="85"/>
                  <a:pt x="650" y="82"/>
                  <a:pt x="660" y="72"/>
                </a:cubicBezTo>
                <a:close/>
                <a:moveTo>
                  <a:pt x="678" y="12"/>
                </a:moveTo>
                <a:cubicBezTo>
                  <a:pt x="672" y="0"/>
                  <a:pt x="656" y="5"/>
                  <a:pt x="656" y="12"/>
                </a:cubicBezTo>
                <a:cubicBezTo>
                  <a:pt x="656" y="12"/>
                  <a:pt x="685" y="24"/>
                  <a:pt x="678" y="12"/>
                </a:cubicBezTo>
                <a:close/>
                <a:moveTo>
                  <a:pt x="241" y="978"/>
                </a:moveTo>
                <a:cubicBezTo>
                  <a:pt x="241" y="978"/>
                  <a:pt x="242" y="983"/>
                  <a:pt x="253" y="983"/>
                </a:cubicBezTo>
                <a:cubicBezTo>
                  <a:pt x="263" y="983"/>
                  <a:pt x="269" y="978"/>
                  <a:pt x="269" y="978"/>
                </a:cubicBezTo>
                <a:cubicBezTo>
                  <a:pt x="258" y="966"/>
                  <a:pt x="258" y="966"/>
                  <a:pt x="258" y="966"/>
                </a:cubicBezTo>
                <a:lnTo>
                  <a:pt x="241" y="978"/>
                </a:lnTo>
                <a:close/>
                <a:moveTo>
                  <a:pt x="1786" y="1395"/>
                </a:moveTo>
                <a:cubicBezTo>
                  <a:pt x="1770" y="1403"/>
                  <a:pt x="1770" y="1403"/>
                  <a:pt x="1770" y="1403"/>
                </a:cubicBezTo>
                <a:cubicBezTo>
                  <a:pt x="1774" y="1419"/>
                  <a:pt x="1774" y="1419"/>
                  <a:pt x="1774" y="1419"/>
                </a:cubicBezTo>
                <a:cubicBezTo>
                  <a:pt x="1792" y="1401"/>
                  <a:pt x="1792" y="1401"/>
                  <a:pt x="1792" y="1401"/>
                </a:cubicBezTo>
                <a:cubicBezTo>
                  <a:pt x="1806" y="1389"/>
                  <a:pt x="1806" y="1389"/>
                  <a:pt x="1806" y="1389"/>
                </a:cubicBezTo>
                <a:cubicBezTo>
                  <a:pt x="1789" y="1387"/>
                  <a:pt x="1789" y="1387"/>
                  <a:pt x="1789" y="1387"/>
                </a:cubicBezTo>
                <a:lnTo>
                  <a:pt x="1786" y="1395"/>
                </a:lnTo>
                <a:close/>
                <a:moveTo>
                  <a:pt x="1866" y="1766"/>
                </a:moveTo>
                <a:cubicBezTo>
                  <a:pt x="1873" y="1773"/>
                  <a:pt x="1873" y="1773"/>
                  <a:pt x="1873" y="1773"/>
                </a:cubicBezTo>
                <a:cubicBezTo>
                  <a:pt x="1903" y="1741"/>
                  <a:pt x="1903" y="1741"/>
                  <a:pt x="1903" y="1741"/>
                </a:cubicBezTo>
                <a:cubicBezTo>
                  <a:pt x="1893" y="1738"/>
                  <a:pt x="1893" y="1738"/>
                  <a:pt x="1893" y="1738"/>
                </a:cubicBezTo>
                <a:lnTo>
                  <a:pt x="1866" y="1766"/>
                </a:lnTo>
                <a:close/>
                <a:moveTo>
                  <a:pt x="2062" y="1825"/>
                </a:moveTo>
                <a:cubicBezTo>
                  <a:pt x="2058" y="1825"/>
                  <a:pt x="2043" y="1833"/>
                  <a:pt x="2043" y="1833"/>
                </a:cubicBezTo>
                <a:cubicBezTo>
                  <a:pt x="2043" y="1833"/>
                  <a:pt x="2036" y="1839"/>
                  <a:pt x="2058" y="1839"/>
                </a:cubicBezTo>
                <a:cubicBezTo>
                  <a:pt x="2079" y="1839"/>
                  <a:pt x="2083" y="1822"/>
                  <a:pt x="2083" y="1822"/>
                </a:cubicBezTo>
                <a:cubicBezTo>
                  <a:pt x="2083" y="1822"/>
                  <a:pt x="2066" y="1825"/>
                  <a:pt x="2062" y="1825"/>
                </a:cubicBezTo>
                <a:close/>
                <a:moveTo>
                  <a:pt x="1760" y="1648"/>
                </a:moveTo>
                <a:cubicBezTo>
                  <a:pt x="1760" y="1648"/>
                  <a:pt x="1772" y="1653"/>
                  <a:pt x="1772" y="1661"/>
                </a:cubicBezTo>
                <a:cubicBezTo>
                  <a:pt x="1772" y="1669"/>
                  <a:pt x="1774" y="1681"/>
                  <a:pt x="1774" y="1681"/>
                </a:cubicBezTo>
                <a:cubicBezTo>
                  <a:pt x="1774" y="1681"/>
                  <a:pt x="1784" y="1671"/>
                  <a:pt x="1784" y="1665"/>
                </a:cubicBezTo>
                <a:cubicBezTo>
                  <a:pt x="1784" y="1660"/>
                  <a:pt x="1798" y="1652"/>
                  <a:pt x="1790" y="1637"/>
                </a:cubicBezTo>
                <a:cubicBezTo>
                  <a:pt x="1782" y="1623"/>
                  <a:pt x="1760" y="1648"/>
                  <a:pt x="1760" y="1648"/>
                </a:cubicBezTo>
                <a:close/>
                <a:moveTo>
                  <a:pt x="1781" y="2115"/>
                </a:moveTo>
                <a:cubicBezTo>
                  <a:pt x="1776" y="2106"/>
                  <a:pt x="1762" y="2117"/>
                  <a:pt x="1762" y="2121"/>
                </a:cubicBezTo>
                <a:cubicBezTo>
                  <a:pt x="1762" y="2125"/>
                  <a:pt x="1768" y="2141"/>
                  <a:pt x="1765" y="2156"/>
                </a:cubicBezTo>
                <a:cubicBezTo>
                  <a:pt x="1762" y="2171"/>
                  <a:pt x="1745" y="2157"/>
                  <a:pt x="1745" y="2168"/>
                </a:cubicBezTo>
                <a:cubicBezTo>
                  <a:pt x="1745" y="2179"/>
                  <a:pt x="1766" y="2180"/>
                  <a:pt x="1766" y="2180"/>
                </a:cubicBezTo>
                <a:cubicBezTo>
                  <a:pt x="1790" y="2149"/>
                  <a:pt x="1790" y="2149"/>
                  <a:pt x="1790" y="2149"/>
                </a:cubicBezTo>
                <a:cubicBezTo>
                  <a:pt x="1778" y="2129"/>
                  <a:pt x="1778" y="2129"/>
                  <a:pt x="1778" y="2129"/>
                </a:cubicBezTo>
                <a:lnTo>
                  <a:pt x="1781" y="2115"/>
                </a:lnTo>
                <a:close/>
                <a:moveTo>
                  <a:pt x="1733" y="2219"/>
                </a:moveTo>
                <a:cubicBezTo>
                  <a:pt x="1732" y="2228"/>
                  <a:pt x="1744" y="2229"/>
                  <a:pt x="1744" y="2229"/>
                </a:cubicBezTo>
                <a:cubicBezTo>
                  <a:pt x="1760" y="2196"/>
                  <a:pt x="1760" y="2196"/>
                  <a:pt x="1760" y="2196"/>
                </a:cubicBezTo>
                <a:cubicBezTo>
                  <a:pt x="1760" y="2196"/>
                  <a:pt x="1756" y="2188"/>
                  <a:pt x="1748" y="2180"/>
                </a:cubicBezTo>
                <a:cubicBezTo>
                  <a:pt x="1740" y="2172"/>
                  <a:pt x="1734" y="2209"/>
                  <a:pt x="1733" y="2219"/>
                </a:cubicBezTo>
                <a:close/>
                <a:moveTo>
                  <a:pt x="243" y="932"/>
                </a:moveTo>
                <a:cubicBezTo>
                  <a:pt x="259" y="908"/>
                  <a:pt x="259" y="908"/>
                  <a:pt x="259" y="908"/>
                </a:cubicBezTo>
                <a:cubicBezTo>
                  <a:pt x="289" y="906"/>
                  <a:pt x="289" y="906"/>
                  <a:pt x="289" y="906"/>
                </a:cubicBezTo>
                <a:cubicBezTo>
                  <a:pt x="289" y="906"/>
                  <a:pt x="282" y="888"/>
                  <a:pt x="275" y="888"/>
                </a:cubicBezTo>
                <a:cubicBezTo>
                  <a:pt x="269" y="888"/>
                  <a:pt x="259" y="895"/>
                  <a:pt x="259" y="895"/>
                </a:cubicBezTo>
                <a:cubicBezTo>
                  <a:pt x="259" y="895"/>
                  <a:pt x="243" y="884"/>
                  <a:pt x="229" y="898"/>
                </a:cubicBezTo>
                <a:cubicBezTo>
                  <a:pt x="214" y="911"/>
                  <a:pt x="212" y="947"/>
                  <a:pt x="212" y="947"/>
                </a:cubicBezTo>
                <a:cubicBezTo>
                  <a:pt x="219" y="932"/>
                  <a:pt x="219" y="932"/>
                  <a:pt x="219" y="932"/>
                </a:cubicBezTo>
                <a:lnTo>
                  <a:pt x="243" y="932"/>
                </a:lnTo>
                <a:close/>
                <a:moveTo>
                  <a:pt x="851" y="536"/>
                </a:moveTo>
                <a:cubicBezTo>
                  <a:pt x="853" y="501"/>
                  <a:pt x="853" y="501"/>
                  <a:pt x="853" y="501"/>
                </a:cubicBezTo>
                <a:cubicBezTo>
                  <a:pt x="853" y="501"/>
                  <a:pt x="838" y="479"/>
                  <a:pt x="833" y="467"/>
                </a:cubicBezTo>
                <a:cubicBezTo>
                  <a:pt x="827" y="455"/>
                  <a:pt x="833" y="434"/>
                  <a:pt x="833" y="430"/>
                </a:cubicBezTo>
                <a:cubicBezTo>
                  <a:pt x="833" y="426"/>
                  <a:pt x="826" y="411"/>
                  <a:pt x="826" y="411"/>
                </a:cubicBezTo>
                <a:cubicBezTo>
                  <a:pt x="846" y="386"/>
                  <a:pt x="846" y="386"/>
                  <a:pt x="846" y="386"/>
                </a:cubicBezTo>
                <a:cubicBezTo>
                  <a:pt x="846" y="386"/>
                  <a:pt x="845" y="380"/>
                  <a:pt x="837" y="380"/>
                </a:cubicBezTo>
                <a:cubicBezTo>
                  <a:pt x="829" y="380"/>
                  <a:pt x="835" y="362"/>
                  <a:pt x="835" y="362"/>
                </a:cubicBezTo>
                <a:cubicBezTo>
                  <a:pt x="826" y="348"/>
                  <a:pt x="830" y="386"/>
                  <a:pt x="830" y="386"/>
                </a:cubicBezTo>
                <a:cubicBezTo>
                  <a:pt x="813" y="408"/>
                  <a:pt x="813" y="408"/>
                  <a:pt x="813" y="408"/>
                </a:cubicBezTo>
                <a:cubicBezTo>
                  <a:pt x="813" y="408"/>
                  <a:pt x="819" y="418"/>
                  <a:pt x="825" y="430"/>
                </a:cubicBezTo>
                <a:cubicBezTo>
                  <a:pt x="830" y="442"/>
                  <a:pt x="822" y="458"/>
                  <a:pt x="822" y="467"/>
                </a:cubicBezTo>
                <a:cubicBezTo>
                  <a:pt x="822" y="476"/>
                  <a:pt x="830" y="481"/>
                  <a:pt x="837" y="505"/>
                </a:cubicBezTo>
                <a:cubicBezTo>
                  <a:pt x="843" y="529"/>
                  <a:pt x="851" y="536"/>
                  <a:pt x="851" y="536"/>
                </a:cubicBezTo>
                <a:close/>
                <a:moveTo>
                  <a:pt x="843" y="315"/>
                </a:moveTo>
                <a:cubicBezTo>
                  <a:pt x="830" y="340"/>
                  <a:pt x="830" y="340"/>
                  <a:pt x="830" y="340"/>
                </a:cubicBezTo>
                <a:cubicBezTo>
                  <a:pt x="843" y="329"/>
                  <a:pt x="843" y="329"/>
                  <a:pt x="843" y="329"/>
                </a:cubicBezTo>
                <a:lnTo>
                  <a:pt x="843" y="315"/>
                </a:lnTo>
                <a:close/>
                <a:moveTo>
                  <a:pt x="778" y="282"/>
                </a:moveTo>
                <a:cubicBezTo>
                  <a:pt x="787" y="287"/>
                  <a:pt x="799" y="287"/>
                  <a:pt x="799" y="287"/>
                </a:cubicBezTo>
                <a:cubicBezTo>
                  <a:pt x="781" y="262"/>
                  <a:pt x="781" y="262"/>
                  <a:pt x="781" y="262"/>
                </a:cubicBezTo>
                <a:cubicBezTo>
                  <a:pt x="781" y="262"/>
                  <a:pt x="769" y="277"/>
                  <a:pt x="778" y="282"/>
                </a:cubicBezTo>
                <a:close/>
                <a:moveTo>
                  <a:pt x="795" y="470"/>
                </a:moveTo>
                <a:cubicBezTo>
                  <a:pt x="810" y="460"/>
                  <a:pt x="810" y="460"/>
                  <a:pt x="810" y="460"/>
                </a:cubicBezTo>
                <a:cubicBezTo>
                  <a:pt x="810" y="460"/>
                  <a:pt x="823" y="452"/>
                  <a:pt x="810" y="435"/>
                </a:cubicBezTo>
                <a:cubicBezTo>
                  <a:pt x="797" y="418"/>
                  <a:pt x="774" y="406"/>
                  <a:pt x="773" y="412"/>
                </a:cubicBezTo>
                <a:cubicBezTo>
                  <a:pt x="773" y="412"/>
                  <a:pt x="798" y="431"/>
                  <a:pt x="798" y="435"/>
                </a:cubicBezTo>
                <a:cubicBezTo>
                  <a:pt x="798" y="439"/>
                  <a:pt x="802" y="444"/>
                  <a:pt x="799" y="452"/>
                </a:cubicBezTo>
                <a:cubicBezTo>
                  <a:pt x="797" y="460"/>
                  <a:pt x="795" y="470"/>
                  <a:pt x="795" y="470"/>
                </a:cubicBezTo>
                <a:close/>
                <a:moveTo>
                  <a:pt x="783" y="400"/>
                </a:moveTo>
                <a:cubicBezTo>
                  <a:pt x="789" y="396"/>
                  <a:pt x="759" y="382"/>
                  <a:pt x="759" y="382"/>
                </a:cubicBezTo>
                <a:cubicBezTo>
                  <a:pt x="759" y="382"/>
                  <a:pt x="778" y="404"/>
                  <a:pt x="783" y="400"/>
                </a:cubicBezTo>
                <a:close/>
                <a:moveTo>
                  <a:pt x="877" y="588"/>
                </a:moveTo>
                <a:cubicBezTo>
                  <a:pt x="883" y="581"/>
                  <a:pt x="855" y="537"/>
                  <a:pt x="850" y="551"/>
                </a:cubicBezTo>
                <a:cubicBezTo>
                  <a:pt x="850" y="551"/>
                  <a:pt x="870" y="595"/>
                  <a:pt x="877" y="588"/>
                </a:cubicBezTo>
                <a:close/>
                <a:moveTo>
                  <a:pt x="821" y="548"/>
                </a:moveTo>
                <a:cubicBezTo>
                  <a:pt x="826" y="529"/>
                  <a:pt x="826" y="529"/>
                  <a:pt x="826" y="529"/>
                </a:cubicBezTo>
                <a:cubicBezTo>
                  <a:pt x="811" y="509"/>
                  <a:pt x="814" y="557"/>
                  <a:pt x="814" y="557"/>
                </a:cubicBezTo>
                <a:lnTo>
                  <a:pt x="821" y="548"/>
                </a:lnTo>
                <a:close/>
                <a:moveTo>
                  <a:pt x="869" y="165"/>
                </a:moveTo>
                <a:cubicBezTo>
                  <a:pt x="871" y="174"/>
                  <a:pt x="877" y="156"/>
                  <a:pt x="877" y="141"/>
                </a:cubicBezTo>
                <a:cubicBezTo>
                  <a:pt x="877" y="126"/>
                  <a:pt x="894" y="86"/>
                  <a:pt x="903" y="81"/>
                </a:cubicBezTo>
                <a:cubicBezTo>
                  <a:pt x="912" y="76"/>
                  <a:pt x="918" y="65"/>
                  <a:pt x="918" y="65"/>
                </a:cubicBezTo>
                <a:cubicBezTo>
                  <a:pt x="903" y="60"/>
                  <a:pt x="886" y="94"/>
                  <a:pt x="877" y="105"/>
                </a:cubicBezTo>
                <a:cubicBezTo>
                  <a:pt x="867" y="116"/>
                  <a:pt x="866" y="156"/>
                  <a:pt x="869" y="165"/>
                </a:cubicBezTo>
                <a:close/>
                <a:moveTo>
                  <a:pt x="877" y="20"/>
                </a:moveTo>
                <a:cubicBezTo>
                  <a:pt x="878" y="5"/>
                  <a:pt x="865" y="31"/>
                  <a:pt x="863" y="37"/>
                </a:cubicBezTo>
                <a:cubicBezTo>
                  <a:pt x="863" y="37"/>
                  <a:pt x="875" y="35"/>
                  <a:pt x="877" y="20"/>
                </a:cubicBezTo>
                <a:close/>
                <a:moveTo>
                  <a:pt x="815" y="104"/>
                </a:moveTo>
                <a:cubicBezTo>
                  <a:pt x="819" y="104"/>
                  <a:pt x="839" y="96"/>
                  <a:pt x="839" y="96"/>
                </a:cubicBezTo>
                <a:cubicBezTo>
                  <a:pt x="854" y="113"/>
                  <a:pt x="854" y="113"/>
                  <a:pt x="854" y="113"/>
                </a:cubicBezTo>
                <a:cubicBezTo>
                  <a:pt x="854" y="113"/>
                  <a:pt x="858" y="102"/>
                  <a:pt x="869" y="90"/>
                </a:cubicBezTo>
                <a:cubicBezTo>
                  <a:pt x="879" y="78"/>
                  <a:pt x="894" y="56"/>
                  <a:pt x="890" y="57"/>
                </a:cubicBezTo>
                <a:cubicBezTo>
                  <a:pt x="886" y="59"/>
                  <a:pt x="869" y="76"/>
                  <a:pt x="869" y="76"/>
                </a:cubicBezTo>
                <a:cubicBezTo>
                  <a:pt x="862" y="56"/>
                  <a:pt x="862" y="56"/>
                  <a:pt x="862" y="56"/>
                </a:cubicBezTo>
                <a:cubicBezTo>
                  <a:pt x="862" y="56"/>
                  <a:pt x="862" y="70"/>
                  <a:pt x="858" y="73"/>
                </a:cubicBezTo>
                <a:cubicBezTo>
                  <a:pt x="854" y="76"/>
                  <a:pt x="841" y="84"/>
                  <a:pt x="841" y="84"/>
                </a:cubicBezTo>
                <a:cubicBezTo>
                  <a:pt x="794" y="84"/>
                  <a:pt x="794" y="84"/>
                  <a:pt x="794" y="84"/>
                </a:cubicBezTo>
                <a:cubicBezTo>
                  <a:pt x="794" y="84"/>
                  <a:pt x="811" y="104"/>
                  <a:pt x="815" y="104"/>
                </a:cubicBezTo>
                <a:close/>
                <a:moveTo>
                  <a:pt x="910" y="51"/>
                </a:moveTo>
                <a:cubicBezTo>
                  <a:pt x="916" y="49"/>
                  <a:pt x="906" y="39"/>
                  <a:pt x="906" y="39"/>
                </a:cubicBezTo>
                <a:cubicBezTo>
                  <a:pt x="906" y="39"/>
                  <a:pt x="903" y="52"/>
                  <a:pt x="910" y="51"/>
                </a:cubicBezTo>
                <a:close/>
                <a:moveTo>
                  <a:pt x="881" y="315"/>
                </a:moveTo>
                <a:cubicBezTo>
                  <a:pt x="874" y="305"/>
                  <a:pt x="859" y="314"/>
                  <a:pt x="859" y="314"/>
                </a:cubicBezTo>
                <a:cubicBezTo>
                  <a:pt x="866" y="322"/>
                  <a:pt x="866" y="322"/>
                  <a:pt x="866" y="322"/>
                </a:cubicBezTo>
                <a:cubicBezTo>
                  <a:pt x="869" y="336"/>
                  <a:pt x="869" y="336"/>
                  <a:pt x="869" y="336"/>
                </a:cubicBezTo>
                <a:cubicBezTo>
                  <a:pt x="869" y="336"/>
                  <a:pt x="887" y="326"/>
                  <a:pt x="881" y="315"/>
                </a:cubicBezTo>
                <a:close/>
                <a:moveTo>
                  <a:pt x="847" y="628"/>
                </a:moveTo>
                <a:cubicBezTo>
                  <a:pt x="871" y="618"/>
                  <a:pt x="871" y="618"/>
                  <a:pt x="871" y="618"/>
                </a:cubicBezTo>
                <a:cubicBezTo>
                  <a:pt x="857" y="610"/>
                  <a:pt x="857" y="610"/>
                  <a:pt x="857" y="610"/>
                </a:cubicBezTo>
                <a:lnTo>
                  <a:pt x="847" y="628"/>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grpSp>
        <p:nvGrpSpPr>
          <p:cNvPr id="47" name="Gruppieren 46"/>
          <p:cNvGrpSpPr/>
          <p:nvPr/>
        </p:nvGrpSpPr>
        <p:grpSpPr>
          <a:xfrm>
            <a:off x="1674348" y="1223858"/>
            <a:ext cx="1449834" cy="1446172"/>
            <a:chOff x="1674348" y="1223858"/>
            <a:chExt cx="1449834" cy="1446172"/>
          </a:xfrm>
        </p:grpSpPr>
        <p:sp>
          <p:nvSpPr>
            <p:cNvPr id="32" name="Oval 43" descr="© INSCALE GmbH, 05.05.2010&#10;http://www.presentationload.com/"/>
            <p:cNvSpPr>
              <a:spLocks noChangeArrowheads="1"/>
            </p:cNvSpPr>
            <p:nvPr>
              <p:custDataLst>
                <p:tags r:id="rId1"/>
              </p:custDataLst>
            </p:nvPr>
          </p:nvSpPr>
          <p:spPr bwMode="auto">
            <a:xfrm>
              <a:off x="1674348" y="1223858"/>
              <a:ext cx="1449834" cy="1446172"/>
            </a:xfrm>
            <a:prstGeom prst="ellipse">
              <a:avLst/>
            </a:prstGeom>
            <a:gradFill rotWithShape="1">
              <a:gsLst>
                <a:gs pos="0">
                  <a:srgbClr val="C0C0C0">
                    <a:gamma/>
                    <a:tint val="0"/>
                    <a:invGamma/>
                  </a:srgbClr>
                </a:gs>
                <a:gs pos="100000">
                  <a:srgbClr val="C0C0C0"/>
                </a:gs>
              </a:gsLst>
              <a:path path="shape">
                <a:fillToRect l="50000" t="50000" r="50000" b="50000"/>
              </a:path>
            </a:gradFill>
            <a:ln w="28575">
              <a:solidFill>
                <a:schemeClr val="bg1"/>
              </a:solidFill>
              <a:round/>
              <a:headEnd/>
              <a:tailEnd/>
            </a:ln>
            <a:effectLst/>
          </p:spPr>
          <p:txBody>
            <a:bodyPr wrap="none" anchor="ctr"/>
            <a:lstStyle/>
            <a:p>
              <a:endParaRPr lang="en-GB"/>
            </a:p>
          </p:txBody>
        </p:sp>
        <p:sp>
          <p:nvSpPr>
            <p:cNvPr id="44" name="Freeform 20" descr="© INSCALE GmbH, 05.05.2010&#10;http://www.presentationload.com/"/>
            <p:cNvSpPr>
              <a:spLocks noChangeAspect="1" noEditPoints="1"/>
            </p:cNvSpPr>
            <p:nvPr/>
          </p:nvSpPr>
          <p:spPr bwMode="auto">
            <a:xfrm>
              <a:off x="1929873" y="1472466"/>
              <a:ext cx="889524" cy="1012232"/>
            </a:xfrm>
            <a:custGeom>
              <a:avLst/>
              <a:gdLst/>
              <a:ahLst/>
              <a:cxnLst>
                <a:cxn ang="0">
                  <a:pos x="694" y="1084"/>
                </a:cxn>
                <a:cxn ang="0">
                  <a:pos x="713" y="1086"/>
                </a:cxn>
                <a:cxn ang="0">
                  <a:pos x="683" y="1086"/>
                </a:cxn>
                <a:cxn ang="0">
                  <a:pos x="943" y="1224"/>
                </a:cxn>
                <a:cxn ang="0">
                  <a:pos x="831" y="1241"/>
                </a:cxn>
                <a:cxn ang="0">
                  <a:pos x="844" y="1269"/>
                </a:cxn>
                <a:cxn ang="0">
                  <a:pos x="904" y="1268"/>
                </a:cxn>
                <a:cxn ang="0">
                  <a:pos x="943" y="1262"/>
                </a:cxn>
                <a:cxn ang="0">
                  <a:pos x="959" y="1244"/>
                </a:cxn>
                <a:cxn ang="0">
                  <a:pos x="979" y="1239"/>
                </a:cxn>
                <a:cxn ang="0">
                  <a:pos x="983" y="1260"/>
                </a:cxn>
                <a:cxn ang="0">
                  <a:pos x="979" y="1239"/>
                </a:cxn>
                <a:cxn ang="0">
                  <a:pos x="996" y="0"/>
                </a:cxn>
                <a:cxn ang="0">
                  <a:pos x="0" y="13"/>
                </a:cxn>
                <a:cxn ang="0">
                  <a:pos x="129" y="713"/>
                </a:cxn>
                <a:cxn ang="0">
                  <a:pos x="265" y="697"/>
                </a:cxn>
                <a:cxn ang="0">
                  <a:pos x="403" y="765"/>
                </a:cxn>
                <a:cxn ang="0">
                  <a:pos x="485" y="787"/>
                </a:cxn>
                <a:cxn ang="0">
                  <a:pos x="514" y="781"/>
                </a:cxn>
                <a:cxn ang="0">
                  <a:pos x="547" y="792"/>
                </a:cxn>
                <a:cxn ang="0">
                  <a:pos x="554" y="829"/>
                </a:cxn>
                <a:cxn ang="0">
                  <a:pos x="600" y="843"/>
                </a:cxn>
                <a:cxn ang="0">
                  <a:pos x="585" y="865"/>
                </a:cxn>
                <a:cxn ang="0">
                  <a:pos x="609" y="910"/>
                </a:cxn>
                <a:cxn ang="0">
                  <a:pos x="659" y="944"/>
                </a:cxn>
                <a:cxn ang="0">
                  <a:pos x="688" y="1000"/>
                </a:cxn>
                <a:cxn ang="0">
                  <a:pos x="716" y="1054"/>
                </a:cxn>
                <a:cxn ang="0">
                  <a:pos x="724" y="1098"/>
                </a:cxn>
                <a:cxn ang="0">
                  <a:pos x="746" y="1136"/>
                </a:cxn>
                <a:cxn ang="0">
                  <a:pos x="766" y="1086"/>
                </a:cxn>
                <a:cxn ang="0">
                  <a:pos x="796" y="1062"/>
                </a:cxn>
                <a:cxn ang="0">
                  <a:pos x="865" y="998"/>
                </a:cxn>
                <a:cxn ang="0">
                  <a:pos x="925" y="943"/>
                </a:cxn>
                <a:cxn ang="0">
                  <a:pos x="973" y="885"/>
                </a:cxn>
                <a:cxn ang="0">
                  <a:pos x="989" y="863"/>
                </a:cxn>
                <a:cxn ang="0">
                  <a:pos x="974" y="923"/>
                </a:cxn>
                <a:cxn ang="0">
                  <a:pos x="930" y="1050"/>
                </a:cxn>
                <a:cxn ang="0">
                  <a:pos x="895" y="1135"/>
                </a:cxn>
                <a:cxn ang="0">
                  <a:pos x="906" y="1182"/>
                </a:cxn>
                <a:cxn ang="0">
                  <a:pos x="931" y="1182"/>
                </a:cxn>
                <a:cxn ang="0">
                  <a:pos x="957" y="1159"/>
                </a:cxn>
                <a:cxn ang="0">
                  <a:pos x="982" y="1075"/>
                </a:cxn>
                <a:cxn ang="0">
                  <a:pos x="1006" y="1036"/>
                </a:cxn>
                <a:cxn ang="0">
                  <a:pos x="1018" y="1076"/>
                </a:cxn>
                <a:cxn ang="0">
                  <a:pos x="1051" y="1138"/>
                </a:cxn>
                <a:cxn ang="0">
                  <a:pos x="1030" y="1195"/>
                </a:cxn>
                <a:cxn ang="0">
                  <a:pos x="1036" y="1235"/>
                </a:cxn>
                <a:cxn ang="0">
                  <a:pos x="1095" y="1200"/>
                </a:cxn>
                <a:cxn ang="0">
                  <a:pos x="1112" y="1241"/>
                </a:cxn>
                <a:cxn ang="0">
                  <a:pos x="1155" y="1316"/>
                </a:cxn>
                <a:cxn ang="0">
                  <a:pos x="1145" y="1411"/>
                </a:cxn>
                <a:cxn ang="0">
                  <a:pos x="1241" y="1556"/>
                </a:cxn>
                <a:cxn ang="0">
                  <a:pos x="1369" y="25"/>
                </a:cxn>
              </a:cxnLst>
              <a:rect l="0" t="0" r="r" b="b"/>
              <a:pathLst>
                <a:path w="1369" h="1556">
                  <a:moveTo>
                    <a:pt x="683" y="1086"/>
                  </a:moveTo>
                  <a:cubicBezTo>
                    <a:pt x="694" y="1084"/>
                    <a:pt x="694" y="1084"/>
                    <a:pt x="694" y="1084"/>
                  </a:cubicBezTo>
                  <a:cubicBezTo>
                    <a:pt x="705" y="1095"/>
                    <a:pt x="705" y="1095"/>
                    <a:pt x="705" y="1095"/>
                  </a:cubicBezTo>
                  <a:cubicBezTo>
                    <a:pt x="713" y="1086"/>
                    <a:pt x="713" y="1086"/>
                    <a:pt x="713" y="1086"/>
                  </a:cubicBezTo>
                  <a:cubicBezTo>
                    <a:pt x="691" y="1070"/>
                    <a:pt x="691" y="1070"/>
                    <a:pt x="691" y="1070"/>
                  </a:cubicBezTo>
                  <a:lnTo>
                    <a:pt x="683" y="1086"/>
                  </a:lnTo>
                  <a:close/>
                  <a:moveTo>
                    <a:pt x="947" y="1239"/>
                  </a:moveTo>
                  <a:cubicBezTo>
                    <a:pt x="943" y="1224"/>
                    <a:pt x="943" y="1224"/>
                    <a:pt x="943" y="1224"/>
                  </a:cubicBezTo>
                  <a:cubicBezTo>
                    <a:pt x="911" y="1203"/>
                    <a:pt x="910" y="1220"/>
                    <a:pt x="887" y="1228"/>
                  </a:cubicBezTo>
                  <a:cubicBezTo>
                    <a:pt x="864" y="1236"/>
                    <a:pt x="831" y="1241"/>
                    <a:pt x="831" y="1241"/>
                  </a:cubicBezTo>
                  <a:cubicBezTo>
                    <a:pt x="830" y="1262"/>
                    <a:pt x="830" y="1262"/>
                    <a:pt x="830" y="1262"/>
                  </a:cubicBezTo>
                  <a:cubicBezTo>
                    <a:pt x="844" y="1269"/>
                    <a:pt x="844" y="1269"/>
                    <a:pt x="844" y="1269"/>
                  </a:cubicBezTo>
                  <a:cubicBezTo>
                    <a:pt x="844" y="1269"/>
                    <a:pt x="867" y="1280"/>
                    <a:pt x="880" y="1280"/>
                  </a:cubicBezTo>
                  <a:cubicBezTo>
                    <a:pt x="894" y="1280"/>
                    <a:pt x="896" y="1269"/>
                    <a:pt x="904" y="1268"/>
                  </a:cubicBezTo>
                  <a:cubicBezTo>
                    <a:pt x="912" y="1266"/>
                    <a:pt x="919" y="1282"/>
                    <a:pt x="931" y="1284"/>
                  </a:cubicBezTo>
                  <a:cubicBezTo>
                    <a:pt x="943" y="1285"/>
                    <a:pt x="943" y="1262"/>
                    <a:pt x="943" y="1262"/>
                  </a:cubicBezTo>
                  <a:cubicBezTo>
                    <a:pt x="961" y="1260"/>
                    <a:pt x="961" y="1260"/>
                    <a:pt x="961" y="1260"/>
                  </a:cubicBezTo>
                  <a:cubicBezTo>
                    <a:pt x="961" y="1260"/>
                    <a:pt x="959" y="1248"/>
                    <a:pt x="959" y="1244"/>
                  </a:cubicBezTo>
                  <a:cubicBezTo>
                    <a:pt x="959" y="1240"/>
                    <a:pt x="947" y="1239"/>
                    <a:pt x="947" y="1239"/>
                  </a:cubicBezTo>
                  <a:close/>
                  <a:moveTo>
                    <a:pt x="979" y="1239"/>
                  </a:moveTo>
                  <a:cubicBezTo>
                    <a:pt x="968" y="1249"/>
                    <a:pt x="968" y="1249"/>
                    <a:pt x="968" y="1249"/>
                  </a:cubicBezTo>
                  <a:cubicBezTo>
                    <a:pt x="983" y="1260"/>
                    <a:pt x="983" y="1260"/>
                    <a:pt x="983" y="1260"/>
                  </a:cubicBezTo>
                  <a:cubicBezTo>
                    <a:pt x="996" y="1256"/>
                    <a:pt x="996" y="1256"/>
                    <a:pt x="996" y="1256"/>
                  </a:cubicBezTo>
                  <a:cubicBezTo>
                    <a:pt x="996" y="1256"/>
                    <a:pt x="992" y="1239"/>
                    <a:pt x="979" y="1239"/>
                  </a:cubicBezTo>
                  <a:close/>
                  <a:moveTo>
                    <a:pt x="1016" y="15"/>
                  </a:moveTo>
                  <a:cubicBezTo>
                    <a:pt x="1016" y="15"/>
                    <a:pt x="1008" y="9"/>
                    <a:pt x="996" y="0"/>
                  </a:cubicBezTo>
                  <a:cubicBezTo>
                    <a:pt x="749" y="0"/>
                    <a:pt x="749" y="0"/>
                    <a:pt x="749" y="0"/>
                  </a:cubicBezTo>
                  <a:cubicBezTo>
                    <a:pt x="702" y="0"/>
                    <a:pt x="213" y="9"/>
                    <a:pt x="0" y="13"/>
                  </a:cubicBezTo>
                  <a:cubicBezTo>
                    <a:pt x="28" y="725"/>
                    <a:pt x="28" y="725"/>
                    <a:pt x="28" y="725"/>
                  </a:cubicBezTo>
                  <a:cubicBezTo>
                    <a:pt x="48" y="720"/>
                    <a:pt x="116" y="713"/>
                    <a:pt x="129" y="713"/>
                  </a:cubicBezTo>
                  <a:cubicBezTo>
                    <a:pt x="143" y="713"/>
                    <a:pt x="239" y="715"/>
                    <a:pt x="240" y="713"/>
                  </a:cubicBezTo>
                  <a:cubicBezTo>
                    <a:pt x="241" y="712"/>
                    <a:pt x="243" y="692"/>
                    <a:pt x="265" y="697"/>
                  </a:cubicBezTo>
                  <a:cubicBezTo>
                    <a:pt x="287" y="702"/>
                    <a:pt x="379" y="766"/>
                    <a:pt x="379" y="766"/>
                  </a:cubicBezTo>
                  <a:cubicBezTo>
                    <a:pt x="379" y="766"/>
                    <a:pt x="402" y="767"/>
                    <a:pt x="403" y="765"/>
                  </a:cubicBezTo>
                  <a:cubicBezTo>
                    <a:pt x="404" y="764"/>
                    <a:pt x="403" y="751"/>
                    <a:pt x="417" y="753"/>
                  </a:cubicBezTo>
                  <a:cubicBezTo>
                    <a:pt x="430" y="755"/>
                    <a:pt x="485" y="787"/>
                    <a:pt x="485" y="787"/>
                  </a:cubicBezTo>
                  <a:cubicBezTo>
                    <a:pt x="497" y="796"/>
                    <a:pt x="497" y="796"/>
                    <a:pt x="497" y="796"/>
                  </a:cubicBezTo>
                  <a:cubicBezTo>
                    <a:pt x="514" y="781"/>
                    <a:pt x="514" y="781"/>
                    <a:pt x="514" y="781"/>
                  </a:cubicBezTo>
                  <a:cubicBezTo>
                    <a:pt x="527" y="799"/>
                    <a:pt x="527" y="799"/>
                    <a:pt x="527" y="799"/>
                  </a:cubicBezTo>
                  <a:cubicBezTo>
                    <a:pt x="527" y="799"/>
                    <a:pt x="527" y="777"/>
                    <a:pt x="547" y="792"/>
                  </a:cubicBezTo>
                  <a:cubicBezTo>
                    <a:pt x="566" y="807"/>
                    <a:pt x="566" y="814"/>
                    <a:pt x="564" y="814"/>
                  </a:cubicBezTo>
                  <a:cubicBezTo>
                    <a:pt x="562" y="814"/>
                    <a:pt x="545" y="828"/>
                    <a:pt x="554" y="829"/>
                  </a:cubicBezTo>
                  <a:cubicBezTo>
                    <a:pt x="562" y="830"/>
                    <a:pt x="582" y="819"/>
                    <a:pt x="582" y="819"/>
                  </a:cubicBezTo>
                  <a:cubicBezTo>
                    <a:pt x="582" y="819"/>
                    <a:pt x="601" y="840"/>
                    <a:pt x="600" y="843"/>
                  </a:cubicBezTo>
                  <a:cubicBezTo>
                    <a:pt x="599" y="846"/>
                    <a:pt x="579" y="853"/>
                    <a:pt x="579" y="853"/>
                  </a:cubicBezTo>
                  <a:cubicBezTo>
                    <a:pt x="579" y="853"/>
                    <a:pt x="592" y="859"/>
                    <a:pt x="585" y="865"/>
                  </a:cubicBezTo>
                  <a:cubicBezTo>
                    <a:pt x="577" y="872"/>
                    <a:pt x="576" y="877"/>
                    <a:pt x="576" y="877"/>
                  </a:cubicBezTo>
                  <a:cubicBezTo>
                    <a:pt x="609" y="910"/>
                    <a:pt x="609" y="910"/>
                    <a:pt x="609" y="910"/>
                  </a:cubicBezTo>
                  <a:cubicBezTo>
                    <a:pt x="609" y="910"/>
                    <a:pt x="623" y="900"/>
                    <a:pt x="637" y="910"/>
                  </a:cubicBezTo>
                  <a:cubicBezTo>
                    <a:pt x="651" y="921"/>
                    <a:pt x="659" y="939"/>
                    <a:pt x="659" y="944"/>
                  </a:cubicBezTo>
                  <a:cubicBezTo>
                    <a:pt x="659" y="949"/>
                    <a:pt x="663" y="973"/>
                    <a:pt x="663" y="973"/>
                  </a:cubicBezTo>
                  <a:cubicBezTo>
                    <a:pt x="663" y="973"/>
                    <a:pt x="677" y="994"/>
                    <a:pt x="688" y="1000"/>
                  </a:cubicBezTo>
                  <a:cubicBezTo>
                    <a:pt x="699" y="1006"/>
                    <a:pt x="708" y="1019"/>
                    <a:pt x="704" y="1024"/>
                  </a:cubicBezTo>
                  <a:cubicBezTo>
                    <a:pt x="700" y="1030"/>
                    <a:pt x="717" y="1052"/>
                    <a:pt x="716" y="1054"/>
                  </a:cubicBezTo>
                  <a:cubicBezTo>
                    <a:pt x="715" y="1055"/>
                    <a:pt x="714" y="1076"/>
                    <a:pt x="719" y="1078"/>
                  </a:cubicBezTo>
                  <a:cubicBezTo>
                    <a:pt x="724" y="1080"/>
                    <a:pt x="724" y="1098"/>
                    <a:pt x="724" y="1098"/>
                  </a:cubicBezTo>
                  <a:cubicBezTo>
                    <a:pt x="724" y="1098"/>
                    <a:pt x="717" y="1102"/>
                    <a:pt x="717" y="1104"/>
                  </a:cubicBezTo>
                  <a:cubicBezTo>
                    <a:pt x="717" y="1106"/>
                    <a:pt x="742" y="1142"/>
                    <a:pt x="746" y="1136"/>
                  </a:cubicBezTo>
                  <a:cubicBezTo>
                    <a:pt x="750" y="1130"/>
                    <a:pt x="773" y="1115"/>
                    <a:pt x="772" y="1111"/>
                  </a:cubicBezTo>
                  <a:cubicBezTo>
                    <a:pt x="771" y="1108"/>
                    <a:pt x="758" y="1091"/>
                    <a:pt x="766" y="1086"/>
                  </a:cubicBezTo>
                  <a:cubicBezTo>
                    <a:pt x="774" y="1081"/>
                    <a:pt x="788" y="1085"/>
                    <a:pt x="789" y="1082"/>
                  </a:cubicBezTo>
                  <a:cubicBezTo>
                    <a:pt x="789" y="1078"/>
                    <a:pt x="796" y="1065"/>
                    <a:pt x="796" y="1062"/>
                  </a:cubicBezTo>
                  <a:cubicBezTo>
                    <a:pt x="796" y="1060"/>
                    <a:pt x="815" y="1029"/>
                    <a:pt x="824" y="1021"/>
                  </a:cubicBezTo>
                  <a:cubicBezTo>
                    <a:pt x="834" y="1013"/>
                    <a:pt x="853" y="998"/>
                    <a:pt x="865" y="998"/>
                  </a:cubicBezTo>
                  <a:cubicBezTo>
                    <a:pt x="877" y="998"/>
                    <a:pt x="886" y="990"/>
                    <a:pt x="896" y="986"/>
                  </a:cubicBezTo>
                  <a:cubicBezTo>
                    <a:pt x="906" y="982"/>
                    <a:pt x="920" y="953"/>
                    <a:pt x="925" y="943"/>
                  </a:cubicBezTo>
                  <a:cubicBezTo>
                    <a:pt x="929" y="934"/>
                    <a:pt x="937" y="921"/>
                    <a:pt x="942" y="911"/>
                  </a:cubicBezTo>
                  <a:cubicBezTo>
                    <a:pt x="947" y="901"/>
                    <a:pt x="973" y="895"/>
                    <a:pt x="973" y="885"/>
                  </a:cubicBezTo>
                  <a:cubicBezTo>
                    <a:pt x="973" y="874"/>
                    <a:pt x="970" y="851"/>
                    <a:pt x="973" y="847"/>
                  </a:cubicBezTo>
                  <a:cubicBezTo>
                    <a:pt x="976" y="842"/>
                    <a:pt x="989" y="855"/>
                    <a:pt x="989" y="863"/>
                  </a:cubicBezTo>
                  <a:cubicBezTo>
                    <a:pt x="989" y="870"/>
                    <a:pt x="1002" y="903"/>
                    <a:pt x="996" y="911"/>
                  </a:cubicBezTo>
                  <a:cubicBezTo>
                    <a:pt x="990" y="919"/>
                    <a:pt x="974" y="915"/>
                    <a:pt x="974" y="923"/>
                  </a:cubicBezTo>
                  <a:cubicBezTo>
                    <a:pt x="975" y="931"/>
                    <a:pt x="991" y="954"/>
                    <a:pt x="988" y="961"/>
                  </a:cubicBezTo>
                  <a:cubicBezTo>
                    <a:pt x="984" y="968"/>
                    <a:pt x="925" y="1039"/>
                    <a:pt x="930" y="1050"/>
                  </a:cubicBezTo>
                  <a:cubicBezTo>
                    <a:pt x="935" y="1061"/>
                    <a:pt x="940" y="1129"/>
                    <a:pt x="930" y="1134"/>
                  </a:cubicBezTo>
                  <a:cubicBezTo>
                    <a:pt x="919" y="1140"/>
                    <a:pt x="910" y="1129"/>
                    <a:pt x="895" y="1135"/>
                  </a:cubicBezTo>
                  <a:cubicBezTo>
                    <a:pt x="881" y="1141"/>
                    <a:pt x="866" y="1158"/>
                    <a:pt x="879" y="1168"/>
                  </a:cubicBezTo>
                  <a:cubicBezTo>
                    <a:pt x="892" y="1177"/>
                    <a:pt x="905" y="1184"/>
                    <a:pt x="906" y="1182"/>
                  </a:cubicBezTo>
                  <a:cubicBezTo>
                    <a:pt x="907" y="1179"/>
                    <a:pt x="931" y="1157"/>
                    <a:pt x="931" y="1157"/>
                  </a:cubicBezTo>
                  <a:cubicBezTo>
                    <a:pt x="931" y="1157"/>
                    <a:pt x="931" y="1176"/>
                    <a:pt x="931" y="1182"/>
                  </a:cubicBezTo>
                  <a:cubicBezTo>
                    <a:pt x="931" y="1187"/>
                    <a:pt x="938" y="1203"/>
                    <a:pt x="948" y="1203"/>
                  </a:cubicBezTo>
                  <a:cubicBezTo>
                    <a:pt x="958" y="1203"/>
                    <a:pt x="957" y="1175"/>
                    <a:pt x="957" y="1159"/>
                  </a:cubicBezTo>
                  <a:cubicBezTo>
                    <a:pt x="957" y="1143"/>
                    <a:pt x="977" y="1126"/>
                    <a:pt x="977" y="1112"/>
                  </a:cubicBezTo>
                  <a:cubicBezTo>
                    <a:pt x="977" y="1098"/>
                    <a:pt x="977" y="1080"/>
                    <a:pt x="982" y="1075"/>
                  </a:cubicBezTo>
                  <a:cubicBezTo>
                    <a:pt x="988" y="1070"/>
                    <a:pt x="993" y="1074"/>
                    <a:pt x="993" y="1061"/>
                  </a:cubicBezTo>
                  <a:cubicBezTo>
                    <a:pt x="993" y="1049"/>
                    <a:pt x="1002" y="1041"/>
                    <a:pt x="1006" y="1036"/>
                  </a:cubicBezTo>
                  <a:cubicBezTo>
                    <a:pt x="1010" y="1031"/>
                    <a:pt x="1026" y="1054"/>
                    <a:pt x="1026" y="1054"/>
                  </a:cubicBezTo>
                  <a:cubicBezTo>
                    <a:pt x="1026" y="1054"/>
                    <a:pt x="1019" y="1065"/>
                    <a:pt x="1018" y="1076"/>
                  </a:cubicBezTo>
                  <a:cubicBezTo>
                    <a:pt x="1017" y="1087"/>
                    <a:pt x="1031" y="1105"/>
                    <a:pt x="1034" y="1112"/>
                  </a:cubicBezTo>
                  <a:cubicBezTo>
                    <a:pt x="1037" y="1118"/>
                    <a:pt x="1051" y="1125"/>
                    <a:pt x="1051" y="1138"/>
                  </a:cubicBezTo>
                  <a:cubicBezTo>
                    <a:pt x="1050" y="1151"/>
                    <a:pt x="1042" y="1162"/>
                    <a:pt x="1039" y="1163"/>
                  </a:cubicBezTo>
                  <a:cubicBezTo>
                    <a:pt x="1036" y="1165"/>
                    <a:pt x="1038" y="1187"/>
                    <a:pt x="1030" y="1195"/>
                  </a:cubicBezTo>
                  <a:cubicBezTo>
                    <a:pt x="1021" y="1203"/>
                    <a:pt x="988" y="1215"/>
                    <a:pt x="994" y="1226"/>
                  </a:cubicBezTo>
                  <a:cubicBezTo>
                    <a:pt x="1000" y="1236"/>
                    <a:pt x="1012" y="1238"/>
                    <a:pt x="1036" y="1235"/>
                  </a:cubicBezTo>
                  <a:cubicBezTo>
                    <a:pt x="1060" y="1231"/>
                    <a:pt x="1045" y="1227"/>
                    <a:pt x="1057" y="1220"/>
                  </a:cubicBezTo>
                  <a:cubicBezTo>
                    <a:pt x="1069" y="1214"/>
                    <a:pt x="1077" y="1203"/>
                    <a:pt x="1095" y="1200"/>
                  </a:cubicBezTo>
                  <a:cubicBezTo>
                    <a:pt x="1114" y="1196"/>
                    <a:pt x="1137" y="1181"/>
                    <a:pt x="1127" y="1196"/>
                  </a:cubicBezTo>
                  <a:cubicBezTo>
                    <a:pt x="1116" y="1211"/>
                    <a:pt x="1110" y="1225"/>
                    <a:pt x="1112" y="1241"/>
                  </a:cubicBezTo>
                  <a:cubicBezTo>
                    <a:pt x="1114" y="1257"/>
                    <a:pt x="1122" y="1261"/>
                    <a:pt x="1131" y="1270"/>
                  </a:cubicBezTo>
                  <a:cubicBezTo>
                    <a:pt x="1140" y="1279"/>
                    <a:pt x="1153" y="1305"/>
                    <a:pt x="1155" y="1316"/>
                  </a:cubicBezTo>
                  <a:cubicBezTo>
                    <a:pt x="1157" y="1327"/>
                    <a:pt x="1179" y="1379"/>
                    <a:pt x="1169" y="1388"/>
                  </a:cubicBezTo>
                  <a:cubicBezTo>
                    <a:pt x="1158" y="1398"/>
                    <a:pt x="1145" y="1409"/>
                    <a:pt x="1145" y="1411"/>
                  </a:cubicBezTo>
                  <a:cubicBezTo>
                    <a:pt x="1145" y="1414"/>
                    <a:pt x="1138" y="1442"/>
                    <a:pt x="1189" y="1486"/>
                  </a:cubicBezTo>
                  <a:cubicBezTo>
                    <a:pt x="1232" y="1543"/>
                    <a:pt x="1241" y="1556"/>
                    <a:pt x="1241" y="1556"/>
                  </a:cubicBezTo>
                  <a:cubicBezTo>
                    <a:pt x="1278" y="1555"/>
                    <a:pt x="1278" y="1555"/>
                    <a:pt x="1278" y="1555"/>
                  </a:cubicBezTo>
                  <a:cubicBezTo>
                    <a:pt x="1369" y="25"/>
                    <a:pt x="1369" y="25"/>
                    <a:pt x="1369" y="25"/>
                  </a:cubicBezTo>
                  <a:lnTo>
                    <a:pt x="1016" y="15"/>
                  </a:lnTo>
                  <a:close/>
                </a:path>
              </a:pathLst>
            </a:custGeom>
            <a:gradFill rotWithShape="1">
              <a:gsLst>
                <a:gs pos="0">
                  <a:srgbClr val="9B2219">
                    <a:gamma/>
                    <a:tint val="68627"/>
                    <a:invGamma/>
                  </a:srgbClr>
                </a:gs>
                <a:gs pos="100000">
                  <a:srgbClr val="9B2219"/>
                </a:gs>
              </a:gsLst>
              <a:lin ang="5400000" scaled="1"/>
            </a:gradFill>
            <a:ln w="3175" cap="flat" cmpd="sng">
              <a:prstDash val="solid"/>
              <a:miter lim="800000"/>
              <a:headEnd type="none" w="med" len="med"/>
              <a:tailEnd type="none" w="med" len="med"/>
            </a:ln>
            <a:effectLst/>
            <a:scene3d>
              <a:camera prst="legacyObliqueBottom"/>
              <a:lightRig rig="legacyFlat4" dir="b"/>
            </a:scene3d>
            <a:sp3d extrusionH="125400" prstMaterial="legacyMatte">
              <a:bevelT w="13500" h="13500" prst="angle"/>
              <a:bevelB w="13500" h="13500" prst="angle"/>
              <a:extrusionClr>
                <a:srgbClr val="9B2219"/>
              </a:extrusionClr>
            </a:sp3d>
          </p:spPr>
          <p:txBody>
            <a:bodyPr>
              <a:flatTx/>
            </a:bodyPr>
            <a:lstStyle/>
            <a:p>
              <a:pPr>
                <a:spcBef>
                  <a:spcPct val="20000"/>
                </a:spcBef>
              </a:pPr>
              <a:endParaRPr lang="en-GB" sz="1200">
                <a:solidFill>
                  <a:srgbClr val="FFFFFF"/>
                </a:solidFill>
              </a:endParaRPr>
            </a:p>
          </p:txBody>
        </p:sp>
      </p:grpSp>
      <p:sp>
        <p:nvSpPr>
          <p:cNvPr id="34" name="Freeform 48" descr="© INSCALE GmbH, 05.05.2010&#10;http://www.presentationload.com/"/>
          <p:cNvSpPr>
            <a:spLocks/>
          </p:cNvSpPr>
          <p:nvPr/>
        </p:nvSpPr>
        <p:spPr bwMode="auto">
          <a:xfrm rot="20526575" flipH="1">
            <a:off x="1344321" y="2050783"/>
            <a:ext cx="684837" cy="293404"/>
          </a:xfrm>
          <a:custGeom>
            <a:avLst/>
            <a:gdLst/>
            <a:ahLst/>
            <a:cxnLst>
              <a:cxn ang="0">
                <a:pos x="631" y="282"/>
              </a:cxn>
              <a:cxn ang="0">
                <a:pos x="112" y="57"/>
              </a:cxn>
              <a:cxn ang="0">
                <a:pos x="100" y="0"/>
              </a:cxn>
              <a:cxn ang="0">
                <a:pos x="0" y="169"/>
              </a:cxn>
              <a:cxn ang="0">
                <a:pos x="147" y="306"/>
              </a:cxn>
              <a:cxn ang="0">
                <a:pos x="135" y="238"/>
              </a:cxn>
              <a:cxn ang="0">
                <a:pos x="631" y="282"/>
              </a:cxn>
            </a:cxnLst>
            <a:rect l="0" t="0" r="r" b="b"/>
            <a:pathLst>
              <a:path w="631" h="306">
                <a:moveTo>
                  <a:pt x="631" y="282"/>
                </a:moveTo>
                <a:cubicBezTo>
                  <a:pt x="631" y="282"/>
                  <a:pt x="328" y="32"/>
                  <a:pt x="112" y="57"/>
                </a:cubicBezTo>
                <a:cubicBezTo>
                  <a:pt x="100" y="0"/>
                  <a:pt x="100" y="0"/>
                  <a:pt x="100" y="0"/>
                </a:cubicBezTo>
                <a:cubicBezTo>
                  <a:pt x="0" y="169"/>
                  <a:pt x="0" y="169"/>
                  <a:pt x="0" y="169"/>
                </a:cubicBezTo>
                <a:cubicBezTo>
                  <a:pt x="147" y="306"/>
                  <a:pt x="147" y="306"/>
                  <a:pt x="147" y="306"/>
                </a:cubicBezTo>
                <a:cubicBezTo>
                  <a:pt x="135" y="238"/>
                  <a:pt x="135" y="238"/>
                  <a:pt x="135" y="238"/>
                </a:cubicBezTo>
                <a:cubicBezTo>
                  <a:pt x="135" y="238"/>
                  <a:pt x="162" y="161"/>
                  <a:pt x="631" y="282"/>
                </a:cubicBezTo>
                <a:close/>
              </a:path>
            </a:pathLst>
          </a:custGeom>
          <a:gradFill rotWithShape="1">
            <a:gsLst>
              <a:gs pos="0">
                <a:srgbClr val="FFFFFF">
                  <a:gamma/>
                  <a:shade val="88235"/>
                  <a:invGamma/>
                </a:srgbClr>
              </a:gs>
              <a:gs pos="50000">
                <a:srgbClr val="FFFFFF"/>
              </a:gs>
              <a:gs pos="100000">
                <a:srgbClr val="FFFFFF">
                  <a:gamma/>
                  <a:shade val="88235"/>
                  <a:invGamma/>
                </a:srgbClr>
              </a:gs>
            </a:gsLst>
            <a:lin ang="0" scaled="1"/>
          </a:gradFill>
          <a:ln w="9525" cap="flat" cmpd="sng">
            <a:solidFill>
              <a:schemeClr val="tx2"/>
            </a:solidFill>
            <a:prstDash val="solid"/>
            <a:round/>
            <a:headEnd type="none" w="med" len="med"/>
            <a:tailEnd type="none" w="med" len="med"/>
          </a:ln>
          <a:effectLst>
            <a:outerShdw dist="91581" dir="3378596" algn="ctr" rotWithShape="0">
              <a:schemeClr val="tx2">
                <a:alpha val="50000"/>
              </a:schemeClr>
            </a:outerShdw>
          </a:effectLst>
        </p:spPr>
        <p:txBody>
          <a:bodyPr/>
          <a:lstStyle/>
          <a:p>
            <a:endParaRPr lang="en-GB"/>
          </a:p>
        </p:txBody>
      </p:sp>
      <p:sp>
        <p:nvSpPr>
          <p:cNvPr id="51" name="Rectangle 5"/>
          <p:cNvSpPr>
            <a:spLocks noChangeArrowheads="1"/>
          </p:cNvSpPr>
          <p:nvPr/>
        </p:nvSpPr>
        <p:spPr bwMode="gray">
          <a:xfrm>
            <a:off x="639763" y="4627750"/>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Zuerst klicken Sie auf die weißen Konturlinien des Landes und </a:t>
            </a:r>
            <a:r>
              <a:rPr lang="de-DE" sz="1200" dirty="0" err="1" smtClean="0">
                <a:latin typeface="Myriad Pro" pitchFamily="34" charset="0"/>
                <a:ea typeface="Arial Unicode MS" pitchFamily="34" charset="-128"/>
                <a:cs typeface="Arial" charset="0"/>
              </a:rPr>
              <a:t>Degruppieren</a:t>
            </a:r>
            <a:r>
              <a:rPr lang="de-DE" sz="1200" dirty="0" smtClean="0">
                <a:latin typeface="Myriad Pro" pitchFamily="34" charset="0"/>
                <a:ea typeface="Arial Unicode MS" pitchFamily="34" charset="-128"/>
                <a:cs typeface="Arial" charset="0"/>
              </a:rPr>
              <a:t> diese.  Anschließend können Sie ihre gewünschte Region einfärben indem sie auf die Konturlinie der Region klicken.</a:t>
            </a:r>
            <a:endParaRPr lang="de-DE" sz="1200" dirty="0">
              <a:latin typeface="Myriad Pro" pitchFamily="34" charset="0"/>
              <a:ea typeface="Arial Unicode MS" pitchFamily="34" charset="-128"/>
              <a:cs typeface="Arial" charset="0"/>
            </a:endParaRPr>
          </a:p>
        </p:txBody>
      </p:sp>
      <p:sp>
        <p:nvSpPr>
          <p:cNvPr id="52" name="PPTShape_5"/>
          <p:cNvSpPr>
            <a:spLocks noChangeArrowheads="1"/>
          </p:cNvSpPr>
          <p:nvPr/>
        </p:nvSpPr>
        <p:spPr bwMode="gray">
          <a:xfrm>
            <a:off x="639763" y="5244706"/>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Danach kopieren Sie die neu eingefärbte Fläche und platzieren diese im Kreis. Um den 3D Effekt der Vorlage zu erzielen verwenden Sie die Format Übertragen Funktion.</a:t>
            </a:r>
            <a:endParaRPr lang="de-DE" dirty="0">
              <a:solidFill>
                <a:srgbClr val="000000"/>
              </a:solidFill>
              <a:ea typeface="Arial Unicode MS" pitchFamily="34" charset="-128"/>
              <a:cs typeface="Arial" charset="0"/>
            </a:endParaRPr>
          </a:p>
        </p:txBody>
      </p:sp>
      <p:grpSp>
        <p:nvGrpSpPr>
          <p:cNvPr id="54" name="Gruppieren 275"/>
          <p:cNvGrpSpPr/>
          <p:nvPr/>
        </p:nvGrpSpPr>
        <p:grpSpPr>
          <a:xfrm>
            <a:off x="203518" y="4627750"/>
            <a:ext cx="347663" cy="338138"/>
            <a:chOff x="203518" y="4378643"/>
            <a:chExt cx="347663" cy="338138"/>
          </a:xfrm>
        </p:grpSpPr>
        <p:pic>
          <p:nvPicPr>
            <p:cNvPr id="55" name="Grafik 54" descr="schatten.png"/>
            <p:cNvPicPr>
              <a:picLocks noChangeAspect="1"/>
            </p:cNvPicPr>
            <p:nvPr/>
          </p:nvPicPr>
          <p:blipFill>
            <a:blip r:embed="rId6" cstate="print">
              <a:lum bright="30000"/>
            </a:blip>
            <a:srcRect l="17603" t="9404" r="15359" b="14528"/>
            <a:stretch>
              <a:fillRect/>
            </a:stretch>
          </p:blipFill>
          <p:spPr>
            <a:xfrm>
              <a:off x="203518" y="4378643"/>
              <a:ext cx="347663" cy="338138"/>
            </a:xfrm>
            <a:prstGeom prst="rect">
              <a:avLst/>
            </a:prstGeom>
          </p:spPr>
        </p:pic>
        <p:sp>
          <p:nvSpPr>
            <p:cNvPr id="56"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57" name="Gruppieren 278"/>
          <p:cNvGrpSpPr/>
          <p:nvPr/>
        </p:nvGrpSpPr>
        <p:grpSpPr>
          <a:xfrm>
            <a:off x="203518" y="5244706"/>
            <a:ext cx="347663" cy="338138"/>
            <a:chOff x="203518" y="4966018"/>
            <a:chExt cx="347663" cy="338138"/>
          </a:xfrm>
        </p:grpSpPr>
        <p:pic>
          <p:nvPicPr>
            <p:cNvPr id="58" name="Grafik 57" descr="schatten.png"/>
            <p:cNvPicPr>
              <a:picLocks noChangeAspect="1"/>
            </p:cNvPicPr>
            <p:nvPr/>
          </p:nvPicPr>
          <p:blipFill>
            <a:blip r:embed="rId6" cstate="print">
              <a:lum bright="30000"/>
            </a:blip>
            <a:srcRect l="17603" t="9404" r="15359" b="14528"/>
            <a:stretch>
              <a:fillRect/>
            </a:stretch>
          </p:blipFill>
          <p:spPr>
            <a:xfrm>
              <a:off x="203518" y="4966018"/>
              <a:ext cx="347663" cy="338138"/>
            </a:xfrm>
            <a:prstGeom prst="rect">
              <a:avLst/>
            </a:prstGeom>
          </p:spPr>
        </p:pic>
        <p:sp>
          <p:nvSpPr>
            <p:cNvPr id="59"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82" name="Group 45"/>
          <p:cNvGrpSpPr>
            <a:grpSpLocks/>
          </p:cNvGrpSpPr>
          <p:nvPr/>
        </p:nvGrpSpPr>
        <p:grpSpPr bwMode="auto">
          <a:xfrm rot="20287264">
            <a:off x="1795923" y="2909662"/>
            <a:ext cx="374650" cy="609600"/>
            <a:chOff x="1950" y="1045"/>
            <a:chExt cx="568" cy="928"/>
          </a:xfrm>
        </p:grpSpPr>
        <p:sp>
          <p:nvSpPr>
            <p:cNvPr id="104"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dirty="0">
                <a:latin typeface="Myriad Pro" pitchFamily="34" charset="0"/>
              </a:endParaRPr>
            </a:p>
          </p:txBody>
        </p:sp>
        <p:sp>
          <p:nvSpPr>
            <p:cNvPr id="105"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dirty="0"/>
            </a:p>
          </p:txBody>
        </p:sp>
        <p:sp>
          <p:nvSpPr>
            <p:cNvPr id="106"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107"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dirty="0"/>
            </a:p>
          </p:txBody>
        </p:sp>
        <p:sp>
          <p:nvSpPr>
            <p:cNvPr id="108"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109"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dirty="0"/>
            </a:p>
          </p:txBody>
        </p:sp>
        <p:sp>
          <p:nvSpPr>
            <p:cNvPr id="110"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dirty="0"/>
            </a:p>
          </p:txBody>
        </p:sp>
        <p:sp>
          <p:nvSpPr>
            <p:cNvPr id="111"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dirty="0">
                <a:latin typeface="Myriad Pro" pitchFamily="34" charset="0"/>
              </a:endParaRPr>
            </a:p>
          </p:txBody>
        </p:sp>
        <p:sp>
          <p:nvSpPr>
            <p:cNvPr id="112"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dirty="0"/>
            </a:p>
          </p:txBody>
        </p:sp>
        <p:sp>
          <p:nvSpPr>
            <p:cNvPr id="113"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dirty="0"/>
            </a:p>
          </p:txBody>
        </p:sp>
        <p:sp>
          <p:nvSpPr>
            <p:cNvPr id="114"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dirty="0"/>
            </a:p>
          </p:txBody>
        </p:sp>
        <p:sp>
          <p:nvSpPr>
            <p:cNvPr id="115"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dirty="0"/>
            </a:p>
          </p:txBody>
        </p:sp>
      </p:grpSp>
      <p:grpSp>
        <p:nvGrpSpPr>
          <p:cNvPr id="353" name="Gruppieren 352"/>
          <p:cNvGrpSpPr/>
          <p:nvPr/>
        </p:nvGrpSpPr>
        <p:grpSpPr>
          <a:xfrm>
            <a:off x="3362324" y="1119875"/>
            <a:ext cx="2040619" cy="1219374"/>
            <a:chOff x="6526032" y="-1759215"/>
            <a:chExt cx="2214744" cy="1323423"/>
          </a:xfrm>
        </p:grpSpPr>
        <p:pic>
          <p:nvPicPr>
            <p:cNvPr id="3074" name="Picture 2"/>
            <p:cNvPicPr>
              <a:picLocks noChangeAspect="1" noChangeArrowheads="1"/>
            </p:cNvPicPr>
            <p:nvPr/>
          </p:nvPicPr>
          <p:blipFill>
            <a:blip r:embed="rId7"/>
            <a:srcRect/>
            <a:stretch>
              <a:fillRect/>
            </a:stretch>
          </p:blipFill>
          <p:spPr bwMode="auto">
            <a:xfrm>
              <a:off x="7502526" y="-1362605"/>
              <a:ext cx="1238250" cy="41275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137" name="Picture 2"/>
            <p:cNvPicPr>
              <a:picLocks noChangeAspect="1" noChangeArrowheads="1"/>
            </p:cNvPicPr>
            <p:nvPr/>
          </p:nvPicPr>
          <p:blipFill>
            <a:blip r:embed="rId8"/>
            <a:srcRect/>
            <a:stretch>
              <a:fillRect/>
            </a:stretch>
          </p:blipFill>
          <p:spPr bwMode="auto">
            <a:xfrm>
              <a:off x="6526032" y="-1759215"/>
              <a:ext cx="975454" cy="1323423"/>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sp>
          <p:nvSpPr>
            <p:cNvPr id="135" name="Rechteck 134"/>
            <p:cNvSpPr/>
            <p:nvPr/>
          </p:nvSpPr>
          <p:spPr>
            <a:xfrm>
              <a:off x="6528384" y="-1364343"/>
              <a:ext cx="949013" cy="13063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6" name="Rechteck 135"/>
            <p:cNvSpPr/>
            <p:nvPr/>
          </p:nvSpPr>
          <p:spPr>
            <a:xfrm>
              <a:off x="7523163" y="-1094468"/>
              <a:ext cx="1202735" cy="12926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19" name="Gruppieren 418"/>
          <p:cNvGrpSpPr/>
          <p:nvPr/>
        </p:nvGrpSpPr>
        <p:grpSpPr>
          <a:xfrm>
            <a:off x="5182750" y="2225629"/>
            <a:ext cx="711636" cy="1274809"/>
            <a:chOff x="4691520" y="1082948"/>
            <a:chExt cx="1349514" cy="2417490"/>
          </a:xfrm>
        </p:grpSpPr>
        <p:pic>
          <p:nvPicPr>
            <p:cNvPr id="358" name="Picture 5"/>
            <p:cNvPicPr>
              <a:picLocks noChangeAspect="1" noChangeArrowheads="1"/>
            </p:cNvPicPr>
            <p:nvPr/>
          </p:nvPicPr>
          <p:blipFill>
            <a:blip r:embed="rId9"/>
            <a:srcRect/>
            <a:stretch>
              <a:fillRect/>
            </a:stretch>
          </p:blipFill>
          <p:spPr bwMode="auto">
            <a:xfrm>
              <a:off x="4691520" y="1697356"/>
              <a:ext cx="1340753" cy="1803082"/>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sp>
          <p:nvSpPr>
            <p:cNvPr id="356" name="Rechteck 355"/>
            <p:cNvSpPr/>
            <p:nvPr/>
          </p:nvSpPr>
          <p:spPr>
            <a:xfrm>
              <a:off x="5196521" y="1082948"/>
              <a:ext cx="844513" cy="182881"/>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57" name="Gruppieren 278"/>
            <p:cNvGrpSpPr/>
            <p:nvPr/>
          </p:nvGrpSpPr>
          <p:grpSpPr>
            <a:xfrm>
              <a:off x="5737330" y="1184010"/>
              <a:ext cx="218637" cy="381654"/>
              <a:chOff x="2806936" y="1682676"/>
              <a:chExt cx="852584" cy="1488282"/>
            </a:xfrm>
            <a:effectLst>
              <a:outerShdw blurRad="50800" dist="38100" dir="2700000" algn="tl" rotWithShape="0">
                <a:prstClr val="black">
                  <a:alpha val="40000"/>
                </a:prstClr>
              </a:outerShdw>
            </a:effectLst>
          </p:grpSpPr>
          <p:sp>
            <p:nvSpPr>
              <p:cNvPr id="398" name="Freeform 209"/>
              <p:cNvSpPr>
                <a:spLocks/>
              </p:cNvSpPr>
              <p:nvPr/>
            </p:nvSpPr>
            <p:spPr bwMode="auto">
              <a:xfrm>
                <a:off x="2877569" y="1823942"/>
                <a:ext cx="639853" cy="1276382"/>
              </a:xfrm>
              <a:custGeom>
                <a:avLst/>
                <a:gdLst/>
                <a:ahLst/>
                <a:cxnLst>
                  <a:cxn ang="0">
                    <a:pos x="770" y="1366"/>
                  </a:cxn>
                  <a:cxn ang="0">
                    <a:pos x="770" y="1536"/>
                  </a:cxn>
                  <a:cxn ang="0">
                    <a:pos x="598" y="1536"/>
                  </a:cxn>
                  <a:cxn ang="0">
                    <a:pos x="598" y="1366"/>
                  </a:cxn>
                  <a:cxn ang="0">
                    <a:pos x="513" y="1366"/>
                  </a:cxn>
                  <a:cxn ang="0">
                    <a:pos x="513" y="1195"/>
                  </a:cxn>
                  <a:cxn ang="0">
                    <a:pos x="428" y="1195"/>
                  </a:cxn>
                  <a:cxn ang="0">
                    <a:pos x="428" y="1023"/>
                  </a:cxn>
                  <a:cxn ang="0">
                    <a:pos x="343" y="1023"/>
                  </a:cxn>
                  <a:cxn ang="0">
                    <a:pos x="343" y="853"/>
                  </a:cxn>
                  <a:cxn ang="0">
                    <a:pos x="258" y="853"/>
                  </a:cxn>
                  <a:cxn ang="0">
                    <a:pos x="258" y="938"/>
                  </a:cxn>
                  <a:cxn ang="0">
                    <a:pos x="173" y="938"/>
                  </a:cxn>
                  <a:cxn ang="0">
                    <a:pos x="173" y="1023"/>
                  </a:cxn>
                  <a:cxn ang="0">
                    <a:pos x="87" y="1023"/>
                  </a:cxn>
                  <a:cxn ang="0">
                    <a:pos x="87" y="1108"/>
                  </a:cxn>
                  <a:cxn ang="0">
                    <a:pos x="0" y="1108"/>
                  </a:cxn>
                  <a:cxn ang="0">
                    <a:pos x="0" y="0"/>
                  </a:cxn>
                  <a:cxn ang="0">
                    <a:pos x="87" y="0"/>
                  </a:cxn>
                  <a:cxn ang="0">
                    <a:pos x="87" y="85"/>
                  </a:cxn>
                  <a:cxn ang="0">
                    <a:pos x="173" y="85"/>
                  </a:cxn>
                  <a:cxn ang="0">
                    <a:pos x="173" y="170"/>
                  </a:cxn>
                  <a:cxn ang="0">
                    <a:pos x="258" y="170"/>
                  </a:cxn>
                  <a:cxn ang="0">
                    <a:pos x="258" y="255"/>
                  </a:cxn>
                  <a:cxn ang="0">
                    <a:pos x="343" y="255"/>
                  </a:cxn>
                  <a:cxn ang="0">
                    <a:pos x="343" y="340"/>
                  </a:cxn>
                  <a:cxn ang="0">
                    <a:pos x="428" y="340"/>
                  </a:cxn>
                  <a:cxn ang="0">
                    <a:pos x="428" y="425"/>
                  </a:cxn>
                  <a:cxn ang="0">
                    <a:pos x="513" y="425"/>
                  </a:cxn>
                  <a:cxn ang="0">
                    <a:pos x="513" y="513"/>
                  </a:cxn>
                  <a:cxn ang="0">
                    <a:pos x="598" y="513"/>
                  </a:cxn>
                  <a:cxn ang="0">
                    <a:pos x="598" y="598"/>
                  </a:cxn>
                  <a:cxn ang="0">
                    <a:pos x="683" y="598"/>
                  </a:cxn>
                  <a:cxn ang="0">
                    <a:pos x="683" y="683"/>
                  </a:cxn>
                  <a:cxn ang="0">
                    <a:pos x="770" y="683"/>
                  </a:cxn>
                  <a:cxn ang="0">
                    <a:pos x="770" y="768"/>
                  </a:cxn>
                  <a:cxn ang="0">
                    <a:pos x="513" y="768"/>
                  </a:cxn>
                  <a:cxn ang="0">
                    <a:pos x="513" y="1023"/>
                  </a:cxn>
                  <a:cxn ang="0">
                    <a:pos x="598" y="1023"/>
                  </a:cxn>
                  <a:cxn ang="0">
                    <a:pos x="598" y="1195"/>
                  </a:cxn>
                  <a:cxn ang="0">
                    <a:pos x="683" y="1195"/>
                  </a:cxn>
                  <a:cxn ang="0">
                    <a:pos x="683" y="1366"/>
                  </a:cxn>
                  <a:cxn ang="0">
                    <a:pos x="770" y="1366"/>
                  </a:cxn>
                </a:cxnLst>
                <a:rect l="0" t="0" r="r" b="b"/>
                <a:pathLst>
                  <a:path w="770" h="1536">
                    <a:moveTo>
                      <a:pt x="770" y="1366"/>
                    </a:moveTo>
                    <a:lnTo>
                      <a:pt x="770" y="1536"/>
                    </a:lnTo>
                    <a:lnTo>
                      <a:pt x="598" y="1536"/>
                    </a:lnTo>
                    <a:lnTo>
                      <a:pt x="598" y="1366"/>
                    </a:lnTo>
                    <a:lnTo>
                      <a:pt x="513" y="1366"/>
                    </a:lnTo>
                    <a:lnTo>
                      <a:pt x="513" y="1195"/>
                    </a:lnTo>
                    <a:lnTo>
                      <a:pt x="428" y="1195"/>
                    </a:lnTo>
                    <a:lnTo>
                      <a:pt x="428" y="1023"/>
                    </a:lnTo>
                    <a:lnTo>
                      <a:pt x="343" y="1023"/>
                    </a:lnTo>
                    <a:lnTo>
                      <a:pt x="343" y="853"/>
                    </a:lnTo>
                    <a:lnTo>
                      <a:pt x="258" y="853"/>
                    </a:lnTo>
                    <a:lnTo>
                      <a:pt x="258" y="938"/>
                    </a:lnTo>
                    <a:lnTo>
                      <a:pt x="173" y="938"/>
                    </a:lnTo>
                    <a:lnTo>
                      <a:pt x="173" y="1023"/>
                    </a:lnTo>
                    <a:lnTo>
                      <a:pt x="87" y="1023"/>
                    </a:lnTo>
                    <a:lnTo>
                      <a:pt x="87" y="1108"/>
                    </a:lnTo>
                    <a:lnTo>
                      <a:pt x="0" y="1108"/>
                    </a:lnTo>
                    <a:lnTo>
                      <a:pt x="0" y="0"/>
                    </a:lnTo>
                    <a:lnTo>
                      <a:pt x="87" y="0"/>
                    </a:lnTo>
                    <a:lnTo>
                      <a:pt x="87" y="85"/>
                    </a:lnTo>
                    <a:lnTo>
                      <a:pt x="173" y="85"/>
                    </a:lnTo>
                    <a:lnTo>
                      <a:pt x="173" y="170"/>
                    </a:lnTo>
                    <a:lnTo>
                      <a:pt x="258" y="170"/>
                    </a:lnTo>
                    <a:lnTo>
                      <a:pt x="258" y="255"/>
                    </a:lnTo>
                    <a:lnTo>
                      <a:pt x="343" y="255"/>
                    </a:lnTo>
                    <a:lnTo>
                      <a:pt x="343" y="340"/>
                    </a:lnTo>
                    <a:lnTo>
                      <a:pt x="428" y="340"/>
                    </a:lnTo>
                    <a:lnTo>
                      <a:pt x="428" y="425"/>
                    </a:lnTo>
                    <a:lnTo>
                      <a:pt x="513" y="425"/>
                    </a:lnTo>
                    <a:lnTo>
                      <a:pt x="513" y="513"/>
                    </a:lnTo>
                    <a:lnTo>
                      <a:pt x="598" y="513"/>
                    </a:lnTo>
                    <a:lnTo>
                      <a:pt x="598" y="598"/>
                    </a:lnTo>
                    <a:lnTo>
                      <a:pt x="683" y="598"/>
                    </a:lnTo>
                    <a:lnTo>
                      <a:pt x="683" y="683"/>
                    </a:lnTo>
                    <a:lnTo>
                      <a:pt x="770" y="683"/>
                    </a:lnTo>
                    <a:lnTo>
                      <a:pt x="770" y="768"/>
                    </a:lnTo>
                    <a:lnTo>
                      <a:pt x="513" y="768"/>
                    </a:lnTo>
                    <a:lnTo>
                      <a:pt x="513" y="1023"/>
                    </a:lnTo>
                    <a:lnTo>
                      <a:pt x="598" y="1023"/>
                    </a:lnTo>
                    <a:lnTo>
                      <a:pt x="598" y="1195"/>
                    </a:lnTo>
                    <a:lnTo>
                      <a:pt x="683" y="1195"/>
                    </a:lnTo>
                    <a:lnTo>
                      <a:pt x="683" y="1366"/>
                    </a:lnTo>
                    <a:lnTo>
                      <a:pt x="770" y="1366"/>
                    </a:lnTo>
                    <a:close/>
                  </a:path>
                </a:pathLst>
              </a:custGeom>
              <a:gradFill flip="none" rotWithShape="1">
                <a:gsLst>
                  <a:gs pos="0">
                    <a:schemeClr val="bg1">
                      <a:lumMod val="85000"/>
                    </a:schemeClr>
                  </a:gs>
                  <a:gs pos="50000">
                    <a:schemeClr val="bg1">
                      <a:lumMod val="95000"/>
                    </a:schemeClr>
                  </a:gs>
                  <a:gs pos="100000">
                    <a:schemeClr val="bg1">
                      <a:shade val="100000"/>
                      <a:satMod val="11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399" name="Freeform 210"/>
              <p:cNvSpPr>
                <a:spLocks/>
              </p:cNvSpPr>
              <p:nvPr/>
            </p:nvSpPr>
            <p:spPr bwMode="auto">
              <a:xfrm>
                <a:off x="3303861" y="2391501"/>
                <a:ext cx="355659" cy="282533"/>
              </a:xfrm>
              <a:custGeom>
                <a:avLst/>
                <a:gdLst/>
                <a:ahLst/>
                <a:cxnLst>
                  <a:cxn ang="0">
                    <a:pos x="428" y="85"/>
                  </a:cxn>
                  <a:cxn ang="0">
                    <a:pos x="428" y="170"/>
                  </a:cxn>
                  <a:cxn ang="0">
                    <a:pos x="85" y="170"/>
                  </a:cxn>
                  <a:cxn ang="0">
                    <a:pos x="85" y="340"/>
                  </a:cxn>
                  <a:cxn ang="0">
                    <a:pos x="0" y="340"/>
                  </a:cxn>
                  <a:cxn ang="0">
                    <a:pos x="0" y="85"/>
                  </a:cxn>
                  <a:cxn ang="0">
                    <a:pos x="257" y="85"/>
                  </a:cxn>
                  <a:cxn ang="0">
                    <a:pos x="257" y="0"/>
                  </a:cxn>
                  <a:cxn ang="0">
                    <a:pos x="343" y="0"/>
                  </a:cxn>
                  <a:cxn ang="0">
                    <a:pos x="343" y="85"/>
                  </a:cxn>
                  <a:cxn ang="0">
                    <a:pos x="428" y="85"/>
                  </a:cxn>
                </a:cxnLst>
                <a:rect l="0" t="0" r="r" b="b"/>
                <a:pathLst>
                  <a:path w="428" h="340">
                    <a:moveTo>
                      <a:pt x="428" y="85"/>
                    </a:moveTo>
                    <a:lnTo>
                      <a:pt x="428" y="170"/>
                    </a:lnTo>
                    <a:lnTo>
                      <a:pt x="85" y="170"/>
                    </a:lnTo>
                    <a:lnTo>
                      <a:pt x="85" y="340"/>
                    </a:lnTo>
                    <a:lnTo>
                      <a:pt x="0" y="340"/>
                    </a:lnTo>
                    <a:lnTo>
                      <a:pt x="0" y="85"/>
                    </a:lnTo>
                    <a:lnTo>
                      <a:pt x="257" y="85"/>
                    </a:lnTo>
                    <a:lnTo>
                      <a:pt x="257" y="0"/>
                    </a:lnTo>
                    <a:lnTo>
                      <a:pt x="343" y="0"/>
                    </a:lnTo>
                    <a:lnTo>
                      <a:pt x="343" y="85"/>
                    </a:lnTo>
                    <a:lnTo>
                      <a:pt x="428" y="85"/>
                    </a:lnTo>
                    <a:close/>
                  </a:path>
                </a:pathLst>
              </a:custGeom>
              <a:solidFill>
                <a:schemeClr val="bg1">
                  <a:lumMod val="50000"/>
                </a:schemeClr>
              </a:solidFill>
              <a:ln w="9525">
                <a:noFill/>
                <a:round/>
                <a:headEnd/>
                <a:tailEnd/>
              </a:ln>
            </p:spPr>
            <p:txBody>
              <a:bodyPr/>
              <a:lstStyle/>
              <a:p>
                <a:pPr>
                  <a:defRPr/>
                </a:pPr>
                <a:endParaRPr lang="de-DE"/>
              </a:p>
            </p:txBody>
          </p:sp>
          <p:sp>
            <p:nvSpPr>
              <p:cNvPr id="400" name="Rectangle 211"/>
              <p:cNvSpPr>
                <a:spLocks noChangeArrowheads="1"/>
              </p:cNvSpPr>
              <p:nvPr/>
            </p:nvSpPr>
            <p:spPr bwMode="auto">
              <a:xfrm>
                <a:off x="3517423" y="2959058"/>
                <a:ext cx="71464" cy="141266"/>
              </a:xfrm>
              <a:prstGeom prst="rect">
                <a:avLst/>
              </a:prstGeom>
              <a:solidFill>
                <a:schemeClr val="bg1">
                  <a:lumMod val="50000"/>
                </a:schemeClr>
              </a:solidFill>
              <a:ln w="9525">
                <a:noFill/>
                <a:miter lim="800000"/>
                <a:headEnd/>
                <a:tailEnd/>
              </a:ln>
            </p:spPr>
            <p:txBody>
              <a:bodyPr/>
              <a:lstStyle/>
              <a:p>
                <a:pPr>
                  <a:defRPr/>
                </a:pPr>
                <a:endParaRPr lang="de-DE"/>
              </a:p>
            </p:txBody>
          </p:sp>
          <p:sp>
            <p:nvSpPr>
              <p:cNvPr id="401" name="Rectangle 212"/>
              <p:cNvSpPr>
                <a:spLocks noChangeArrowheads="1"/>
              </p:cNvSpPr>
              <p:nvPr/>
            </p:nvSpPr>
            <p:spPr bwMode="auto">
              <a:xfrm>
                <a:off x="3374495" y="3100325"/>
                <a:ext cx="142928"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402" name="Rectangle 213"/>
              <p:cNvSpPr>
                <a:spLocks noChangeArrowheads="1"/>
              </p:cNvSpPr>
              <p:nvPr/>
            </p:nvSpPr>
            <p:spPr bwMode="auto">
              <a:xfrm>
                <a:off x="3445128" y="2816961"/>
                <a:ext cx="72295" cy="142098"/>
              </a:xfrm>
              <a:prstGeom prst="rect">
                <a:avLst/>
              </a:prstGeom>
              <a:solidFill>
                <a:schemeClr val="bg1">
                  <a:lumMod val="50000"/>
                </a:schemeClr>
              </a:solidFill>
              <a:ln w="9525">
                <a:noFill/>
                <a:miter lim="800000"/>
                <a:headEnd/>
                <a:tailEnd/>
              </a:ln>
            </p:spPr>
            <p:txBody>
              <a:bodyPr/>
              <a:lstStyle/>
              <a:p>
                <a:pPr>
                  <a:defRPr/>
                </a:pPr>
                <a:endParaRPr lang="de-DE"/>
              </a:p>
            </p:txBody>
          </p:sp>
          <p:sp>
            <p:nvSpPr>
              <p:cNvPr id="403" name="Rectangle 214"/>
              <p:cNvSpPr>
                <a:spLocks noChangeArrowheads="1"/>
              </p:cNvSpPr>
              <p:nvPr/>
            </p:nvSpPr>
            <p:spPr bwMode="auto">
              <a:xfrm>
                <a:off x="3445128" y="2320867"/>
                <a:ext cx="72295"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404" name="Rectangle 215"/>
              <p:cNvSpPr>
                <a:spLocks noChangeArrowheads="1"/>
              </p:cNvSpPr>
              <p:nvPr/>
            </p:nvSpPr>
            <p:spPr bwMode="auto">
              <a:xfrm>
                <a:off x="3374495" y="2674033"/>
                <a:ext cx="70633" cy="142928"/>
              </a:xfrm>
              <a:prstGeom prst="rect">
                <a:avLst/>
              </a:prstGeom>
              <a:solidFill>
                <a:schemeClr val="bg1">
                  <a:lumMod val="50000"/>
                </a:schemeClr>
              </a:solidFill>
              <a:ln w="9525">
                <a:noFill/>
                <a:miter lim="800000"/>
                <a:headEnd/>
                <a:tailEnd/>
              </a:ln>
            </p:spPr>
            <p:txBody>
              <a:bodyPr/>
              <a:lstStyle/>
              <a:p>
                <a:pPr>
                  <a:defRPr/>
                </a:pPr>
                <a:endParaRPr lang="de-DE"/>
              </a:p>
            </p:txBody>
          </p:sp>
          <p:sp>
            <p:nvSpPr>
              <p:cNvPr id="405" name="Rectangle 216"/>
              <p:cNvSpPr>
                <a:spLocks noChangeArrowheads="1"/>
              </p:cNvSpPr>
              <p:nvPr/>
            </p:nvSpPr>
            <p:spPr bwMode="auto">
              <a:xfrm>
                <a:off x="3374495" y="2250234"/>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406" name="Rectangle 217"/>
              <p:cNvSpPr>
                <a:spLocks noChangeArrowheads="1"/>
              </p:cNvSpPr>
              <p:nvPr/>
            </p:nvSpPr>
            <p:spPr bwMode="auto">
              <a:xfrm>
                <a:off x="3303861" y="2959058"/>
                <a:ext cx="70633" cy="141266"/>
              </a:xfrm>
              <a:prstGeom prst="rect">
                <a:avLst/>
              </a:prstGeom>
              <a:solidFill>
                <a:schemeClr val="bg1">
                  <a:lumMod val="50000"/>
                </a:schemeClr>
              </a:solidFill>
              <a:ln w="9525">
                <a:noFill/>
                <a:miter lim="800000"/>
                <a:headEnd/>
                <a:tailEnd/>
              </a:ln>
            </p:spPr>
            <p:txBody>
              <a:bodyPr/>
              <a:lstStyle/>
              <a:p>
                <a:pPr>
                  <a:defRPr/>
                </a:pPr>
                <a:endParaRPr lang="de-DE"/>
              </a:p>
            </p:txBody>
          </p:sp>
          <p:sp>
            <p:nvSpPr>
              <p:cNvPr id="407" name="Rectangle 218"/>
              <p:cNvSpPr>
                <a:spLocks noChangeArrowheads="1"/>
              </p:cNvSpPr>
              <p:nvPr/>
            </p:nvSpPr>
            <p:spPr bwMode="auto">
              <a:xfrm>
                <a:off x="3303861" y="2177108"/>
                <a:ext cx="70633" cy="73126"/>
              </a:xfrm>
              <a:prstGeom prst="rect">
                <a:avLst/>
              </a:prstGeom>
              <a:solidFill>
                <a:schemeClr val="bg1">
                  <a:lumMod val="50000"/>
                </a:schemeClr>
              </a:solidFill>
              <a:ln w="9525">
                <a:noFill/>
                <a:miter lim="800000"/>
                <a:headEnd/>
                <a:tailEnd/>
              </a:ln>
            </p:spPr>
            <p:txBody>
              <a:bodyPr/>
              <a:lstStyle/>
              <a:p>
                <a:pPr>
                  <a:defRPr/>
                </a:pPr>
                <a:endParaRPr lang="de-DE"/>
              </a:p>
            </p:txBody>
          </p:sp>
          <p:sp>
            <p:nvSpPr>
              <p:cNvPr id="408" name="Rectangle 219"/>
              <p:cNvSpPr>
                <a:spLocks noChangeArrowheads="1"/>
              </p:cNvSpPr>
              <p:nvPr/>
            </p:nvSpPr>
            <p:spPr bwMode="auto">
              <a:xfrm>
                <a:off x="3233228" y="2816961"/>
                <a:ext cx="70633" cy="142098"/>
              </a:xfrm>
              <a:prstGeom prst="rect">
                <a:avLst/>
              </a:prstGeom>
              <a:solidFill>
                <a:schemeClr val="bg1">
                  <a:lumMod val="50000"/>
                </a:schemeClr>
              </a:solidFill>
              <a:ln w="9525">
                <a:noFill/>
                <a:miter lim="800000"/>
                <a:headEnd/>
                <a:tailEnd/>
              </a:ln>
            </p:spPr>
            <p:txBody>
              <a:bodyPr/>
              <a:lstStyle/>
              <a:p>
                <a:pPr>
                  <a:defRPr/>
                </a:pPr>
                <a:endParaRPr lang="de-DE"/>
              </a:p>
            </p:txBody>
          </p:sp>
          <p:sp>
            <p:nvSpPr>
              <p:cNvPr id="409" name="Rectangle 220"/>
              <p:cNvSpPr>
                <a:spLocks noChangeArrowheads="1"/>
              </p:cNvSpPr>
              <p:nvPr/>
            </p:nvSpPr>
            <p:spPr bwMode="auto">
              <a:xfrm>
                <a:off x="3233228" y="2106475"/>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410" name="Rectangle 221"/>
              <p:cNvSpPr>
                <a:spLocks noChangeArrowheads="1"/>
              </p:cNvSpPr>
              <p:nvPr/>
            </p:nvSpPr>
            <p:spPr bwMode="auto">
              <a:xfrm>
                <a:off x="3162595" y="2674033"/>
                <a:ext cx="70633" cy="142928"/>
              </a:xfrm>
              <a:prstGeom prst="rect">
                <a:avLst/>
              </a:prstGeom>
              <a:solidFill>
                <a:schemeClr val="bg1">
                  <a:lumMod val="50000"/>
                </a:schemeClr>
              </a:solidFill>
              <a:ln w="9525">
                <a:noFill/>
                <a:miter lim="800000"/>
                <a:headEnd/>
                <a:tailEnd/>
              </a:ln>
            </p:spPr>
            <p:txBody>
              <a:bodyPr/>
              <a:lstStyle/>
              <a:p>
                <a:pPr>
                  <a:defRPr/>
                </a:pPr>
                <a:endParaRPr lang="de-DE"/>
              </a:p>
            </p:txBody>
          </p:sp>
          <p:sp>
            <p:nvSpPr>
              <p:cNvPr id="411" name="Rectangle 222"/>
              <p:cNvSpPr>
                <a:spLocks noChangeArrowheads="1"/>
              </p:cNvSpPr>
              <p:nvPr/>
            </p:nvSpPr>
            <p:spPr bwMode="auto">
              <a:xfrm>
                <a:off x="3162595" y="2035842"/>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412" name="Freeform 223"/>
              <p:cNvSpPr>
                <a:spLocks/>
              </p:cNvSpPr>
              <p:nvPr/>
            </p:nvSpPr>
            <p:spPr bwMode="auto">
              <a:xfrm>
                <a:off x="3021328" y="2532767"/>
                <a:ext cx="141266" cy="141266"/>
              </a:xfrm>
              <a:custGeom>
                <a:avLst/>
                <a:gdLst/>
                <a:ahLst/>
                <a:cxnLst>
                  <a:cxn ang="0">
                    <a:pos x="170" y="0"/>
                  </a:cxn>
                  <a:cxn ang="0">
                    <a:pos x="170" y="170"/>
                  </a:cxn>
                  <a:cxn ang="0">
                    <a:pos x="0" y="170"/>
                  </a:cxn>
                  <a:cxn ang="0">
                    <a:pos x="0" y="85"/>
                  </a:cxn>
                  <a:cxn ang="0">
                    <a:pos x="85" y="85"/>
                  </a:cxn>
                  <a:cxn ang="0">
                    <a:pos x="85" y="0"/>
                  </a:cxn>
                  <a:cxn ang="0">
                    <a:pos x="170" y="0"/>
                  </a:cxn>
                </a:cxnLst>
                <a:rect l="0" t="0" r="r" b="b"/>
                <a:pathLst>
                  <a:path w="170" h="170">
                    <a:moveTo>
                      <a:pt x="170" y="0"/>
                    </a:moveTo>
                    <a:lnTo>
                      <a:pt x="170" y="170"/>
                    </a:lnTo>
                    <a:lnTo>
                      <a:pt x="0" y="170"/>
                    </a:lnTo>
                    <a:lnTo>
                      <a:pt x="0" y="85"/>
                    </a:lnTo>
                    <a:lnTo>
                      <a:pt x="85" y="85"/>
                    </a:lnTo>
                    <a:lnTo>
                      <a:pt x="85" y="0"/>
                    </a:lnTo>
                    <a:lnTo>
                      <a:pt x="170" y="0"/>
                    </a:lnTo>
                    <a:close/>
                  </a:path>
                </a:pathLst>
              </a:custGeom>
              <a:solidFill>
                <a:schemeClr val="bg1">
                  <a:lumMod val="50000"/>
                </a:schemeClr>
              </a:solidFill>
              <a:ln w="9525">
                <a:noFill/>
                <a:round/>
                <a:headEnd/>
                <a:tailEnd/>
              </a:ln>
            </p:spPr>
            <p:txBody>
              <a:bodyPr/>
              <a:lstStyle/>
              <a:p>
                <a:pPr>
                  <a:defRPr/>
                </a:pPr>
                <a:endParaRPr lang="de-DE"/>
              </a:p>
            </p:txBody>
          </p:sp>
          <p:sp>
            <p:nvSpPr>
              <p:cNvPr id="413" name="Rectangle 224"/>
              <p:cNvSpPr>
                <a:spLocks noChangeArrowheads="1"/>
              </p:cNvSpPr>
              <p:nvPr/>
            </p:nvSpPr>
            <p:spPr bwMode="auto">
              <a:xfrm>
                <a:off x="3091962" y="1965209"/>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414" name="Rectangle 225"/>
              <p:cNvSpPr>
                <a:spLocks noChangeArrowheads="1"/>
              </p:cNvSpPr>
              <p:nvPr/>
            </p:nvSpPr>
            <p:spPr bwMode="auto">
              <a:xfrm>
                <a:off x="3021328" y="1894576"/>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415" name="Rectangle 226"/>
              <p:cNvSpPr>
                <a:spLocks noChangeArrowheads="1"/>
              </p:cNvSpPr>
              <p:nvPr/>
            </p:nvSpPr>
            <p:spPr bwMode="auto">
              <a:xfrm>
                <a:off x="2949864" y="2674033"/>
                <a:ext cx="71464"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416" name="Rectangle 227"/>
              <p:cNvSpPr>
                <a:spLocks noChangeArrowheads="1"/>
              </p:cNvSpPr>
              <p:nvPr/>
            </p:nvSpPr>
            <p:spPr bwMode="auto">
              <a:xfrm>
                <a:off x="2949864" y="1823942"/>
                <a:ext cx="71464"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417" name="Freeform 228"/>
              <p:cNvSpPr>
                <a:spLocks/>
              </p:cNvSpPr>
              <p:nvPr/>
            </p:nvSpPr>
            <p:spPr bwMode="auto">
              <a:xfrm>
                <a:off x="2806936" y="1682676"/>
                <a:ext cx="142928" cy="1205749"/>
              </a:xfrm>
              <a:custGeom>
                <a:avLst/>
                <a:gdLst/>
                <a:ahLst/>
                <a:cxnLst>
                  <a:cxn ang="0">
                    <a:pos x="172" y="1278"/>
                  </a:cxn>
                  <a:cxn ang="0">
                    <a:pos x="172" y="1365"/>
                  </a:cxn>
                  <a:cxn ang="0">
                    <a:pos x="85" y="1365"/>
                  </a:cxn>
                  <a:cxn ang="0">
                    <a:pos x="85" y="1451"/>
                  </a:cxn>
                  <a:cxn ang="0">
                    <a:pos x="0" y="1451"/>
                  </a:cxn>
                  <a:cxn ang="0">
                    <a:pos x="0" y="0"/>
                  </a:cxn>
                  <a:cxn ang="0">
                    <a:pos x="85" y="0"/>
                  </a:cxn>
                  <a:cxn ang="0">
                    <a:pos x="85" y="85"/>
                  </a:cxn>
                  <a:cxn ang="0">
                    <a:pos x="172" y="85"/>
                  </a:cxn>
                  <a:cxn ang="0">
                    <a:pos x="172" y="170"/>
                  </a:cxn>
                  <a:cxn ang="0">
                    <a:pos x="85" y="170"/>
                  </a:cxn>
                  <a:cxn ang="0">
                    <a:pos x="85" y="1278"/>
                  </a:cxn>
                  <a:cxn ang="0">
                    <a:pos x="172" y="1278"/>
                  </a:cxn>
                </a:cxnLst>
                <a:rect l="0" t="0" r="r" b="b"/>
                <a:pathLst>
                  <a:path w="172" h="1451">
                    <a:moveTo>
                      <a:pt x="172" y="1278"/>
                    </a:moveTo>
                    <a:lnTo>
                      <a:pt x="172" y="1365"/>
                    </a:lnTo>
                    <a:lnTo>
                      <a:pt x="85" y="1365"/>
                    </a:lnTo>
                    <a:lnTo>
                      <a:pt x="85" y="1451"/>
                    </a:lnTo>
                    <a:lnTo>
                      <a:pt x="0" y="1451"/>
                    </a:lnTo>
                    <a:lnTo>
                      <a:pt x="0" y="0"/>
                    </a:lnTo>
                    <a:lnTo>
                      <a:pt x="85" y="0"/>
                    </a:lnTo>
                    <a:lnTo>
                      <a:pt x="85" y="85"/>
                    </a:lnTo>
                    <a:lnTo>
                      <a:pt x="172" y="85"/>
                    </a:lnTo>
                    <a:lnTo>
                      <a:pt x="172" y="170"/>
                    </a:lnTo>
                    <a:lnTo>
                      <a:pt x="85" y="170"/>
                    </a:lnTo>
                    <a:lnTo>
                      <a:pt x="85" y="1278"/>
                    </a:lnTo>
                    <a:lnTo>
                      <a:pt x="172" y="1278"/>
                    </a:lnTo>
                    <a:close/>
                  </a:path>
                </a:pathLst>
              </a:custGeom>
              <a:solidFill>
                <a:schemeClr val="bg1">
                  <a:lumMod val="50000"/>
                </a:schemeClr>
              </a:solidFill>
              <a:ln w="9525">
                <a:noFill/>
                <a:round/>
                <a:headEnd/>
                <a:tailEnd/>
              </a:ln>
            </p:spPr>
            <p:txBody>
              <a:bodyPr/>
              <a:lstStyle/>
              <a:p>
                <a:pPr>
                  <a:defRPr/>
                </a:pPr>
                <a:endParaRPr lang="de-DE"/>
              </a:p>
            </p:txBody>
          </p:sp>
        </p:grpSp>
      </p:grpSp>
      <p:grpSp>
        <p:nvGrpSpPr>
          <p:cNvPr id="420" name="Gruppieren 275"/>
          <p:cNvGrpSpPr/>
          <p:nvPr/>
        </p:nvGrpSpPr>
        <p:grpSpPr>
          <a:xfrm>
            <a:off x="2946718" y="1190816"/>
            <a:ext cx="347663" cy="338138"/>
            <a:chOff x="203518" y="4378643"/>
            <a:chExt cx="347663" cy="338138"/>
          </a:xfrm>
        </p:grpSpPr>
        <p:pic>
          <p:nvPicPr>
            <p:cNvPr id="421" name="Grafik 420" descr="schatten.png"/>
            <p:cNvPicPr>
              <a:picLocks noChangeAspect="1"/>
            </p:cNvPicPr>
            <p:nvPr/>
          </p:nvPicPr>
          <p:blipFill>
            <a:blip r:embed="rId6" cstate="print">
              <a:lum bright="30000"/>
            </a:blip>
            <a:srcRect l="17603" t="9404" r="15359" b="14528"/>
            <a:stretch>
              <a:fillRect/>
            </a:stretch>
          </p:blipFill>
          <p:spPr>
            <a:xfrm>
              <a:off x="203518" y="4378643"/>
              <a:ext cx="347663" cy="338138"/>
            </a:xfrm>
            <a:prstGeom prst="rect">
              <a:avLst/>
            </a:prstGeom>
          </p:spPr>
        </p:pic>
        <p:sp>
          <p:nvSpPr>
            <p:cNvPr id="422"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423" name="Gruppieren 275"/>
          <p:cNvGrpSpPr/>
          <p:nvPr/>
        </p:nvGrpSpPr>
        <p:grpSpPr>
          <a:xfrm>
            <a:off x="2961640" y="2598930"/>
            <a:ext cx="347663" cy="338138"/>
            <a:chOff x="203518" y="4378643"/>
            <a:chExt cx="347663" cy="338138"/>
          </a:xfrm>
        </p:grpSpPr>
        <p:pic>
          <p:nvPicPr>
            <p:cNvPr id="424" name="Grafik 423" descr="schatten.png"/>
            <p:cNvPicPr>
              <a:picLocks noChangeAspect="1"/>
            </p:cNvPicPr>
            <p:nvPr/>
          </p:nvPicPr>
          <p:blipFill>
            <a:blip r:embed="rId6" cstate="print">
              <a:lum bright="30000"/>
            </a:blip>
            <a:srcRect l="17603" t="9404" r="15359" b="14528"/>
            <a:stretch>
              <a:fillRect/>
            </a:stretch>
          </p:blipFill>
          <p:spPr>
            <a:xfrm>
              <a:off x="203518" y="4378643"/>
              <a:ext cx="347663" cy="338138"/>
            </a:xfrm>
            <a:prstGeom prst="rect">
              <a:avLst/>
            </a:prstGeom>
          </p:spPr>
        </p:pic>
        <p:sp>
          <p:nvSpPr>
            <p:cNvPr id="425"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pic>
        <p:nvPicPr>
          <p:cNvPr id="128" name="Picture 5"/>
          <p:cNvPicPr>
            <a:picLocks noChangeAspect="1" noChangeArrowheads="1"/>
          </p:cNvPicPr>
          <p:nvPr/>
        </p:nvPicPr>
        <p:blipFill>
          <a:blip r:embed="rId10"/>
          <a:srcRect/>
          <a:stretch>
            <a:fillRect/>
          </a:stretch>
        </p:blipFill>
        <p:spPr bwMode="auto">
          <a:xfrm>
            <a:off x="5180831" y="2548585"/>
            <a:ext cx="705863" cy="95332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129" name="Picture 2" descr="C:\Users\patrick.z\Desktop\Tutorials\Landkarten\DE\08_Regionen hervorheben.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984818" y="2941057"/>
            <a:ext cx="1683133" cy="766760"/>
          </a:xfrm>
          <a:prstGeom prst="rect">
            <a:avLst/>
          </a:prstGeom>
          <a:ln>
            <a:noFill/>
          </a:ln>
          <a:effectLst>
            <a:outerShdw blurRad="50800" dist="38100" dir="2700000" algn="tl" rotWithShape="0">
              <a:prstClr val="black">
                <a:alpha val="40000"/>
              </a:prstClr>
            </a:outerShdw>
            <a:reflection blurRad="6350" stA="50000" endA="300" endPos="55000" dir="5400000" sy="-100000" algn="bl" rotWithShape="0"/>
          </a:effectLst>
          <a:extLst>
            <a:ext uri="{909E8E84-426E-40DD-AFC4-6F175D3DCCD1}">
              <a14:hiddenFill xmlns:a14="http://schemas.microsoft.com/office/drawing/2010/main">
                <a:solidFill>
                  <a:srgbClr val="FFFFFF"/>
                </a:solidFill>
              </a14:hiddenFill>
            </a:ext>
          </a:extLst>
        </p:spPr>
      </p:pic>
      <p:sp>
        <p:nvSpPr>
          <p:cNvPr id="130" name="Rechteck 129"/>
          <p:cNvSpPr/>
          <p:nvPr/>
        </p:nvSpPr>
        <p:spPr>
          <a:xfrm>
            <a:off x="3502640" y="3360707"/>
            <a:ext cx="1120427" cy="189124"/>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23501424"/>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 name="Picture 2"/>
          <p:cNvPicPr>
            <a:picLocks noChangeAspect="1" noChangeArrowheads="1"/>
          </p:cNvPicPr>
          <p:nvPr/>
        </p:nvPicPr>
        <p:blipFill>
          <a:blip r:embed="rId3"/>
          <a:srcRect/>
          <a:stretch>
            <a:fillRect/>
          </a:stretch>
        </p:blipFill>
        <p:spPr bwMode="auto">
          <a:xfrm>
            <a:off x="-6350" y="3054350"/>
            <a:ext cx="9156700" cy="3359150"/>
          </a:xfrm>
          <a:prstGeom prst="rect">
            <a:avLst/>
          </a:prstGeom>
          <a:noFill/>
          <a:ln w="9525">
            <a:noFill/>
            <a:miter lim="800000"/>
            <a:headEnd/>
            <a:tailEnd/>
          </a:ln>
          <a:effectLst/>
        </p:spPr>
      </p:pic>
      <p:pic>
        <p:nvPicPr>
          <p:cNvPr id="70" name="Picture 3"/>
          <p:cNvPicPr>
            <a:picLocks noChangeAspect="1" noChangeArrowheads="1"/>
          </p:cNvPicPr>
          <p:nvPr/>
        </p:nvPicPr>
        <p:blipFill>
          <a:blip r:embed="rId4"/>
          <a:srcRect/>
          <a:stretch>
            <a:fillRect/>
          </a:stretch>
        </p:blipFill>
        <p:spPr bwMode="auto">
          <a:xfrm>
            <a:off x="5507588" y="1249774"/>
            <a:ext cx="3384000" cy="2538000"/>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pic>
        <p:nvPicPr>
          <p:cNvPr id="71" name="Picture 4"/>
          <p:cNvPicPr>
            <a:picLocks noChangeAspect="1" noChangeArrowheads="1"/>
          </p:cNvPicPr>
          <p:nvPr/>
        </p:nvPicPr>
        <p:blipFill>
          <a:blip r:embed="rId5"/>
          <a:srcRect/>
          <a:stretch>
            <a:fillRect/>
          </a:stretch>
        </p:blipFill>
        <p:spPr bwMode="auto">
          <a:xfrm>
            <a:off x="645076" y="1249774"/>
            <a:ext cx="3384000" cy="2538000"/>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sp>
        <p:nvSpPr>
          <p:cNvPr id="27651" name="Titel 7"/>
          <p:cNvSpPr>
            <a:spLocks noGrp="1"/>
          </p:cNvSpPr>
          <p:nvPr>
            <p:ph type="title"/>
          </p:nvPr>
        </p:nvSpPr>
        <p:spPr bwMode="auto">
          <a:xfrm>
            <a:off x="131763" y="274638"/>
            <a:ext cx="9015412" cy="461962"/>
          </a:xfrm>
          <a:noFill/>
          <a:ln>
            <a:miter lim="800000"/>
            <a:headEnd/>
            <a:tailEnd/>
          </a:ln>
        </p:spPr>
        <p:txBody>
          <a:bodyPr vert="horz" wrap="square" lIns="91440" tIns="45720" rIns="91440" bIns="45720" numCol="1" anchor="t" anchorCtr="0" compatLnSpc="1">
            <a:prstTxWarp prst="textNoShape">
              <a:avLst/>
            </a:prstTxWarp>
          </a:bodyPr>
          <a:lstStyle/>
          <a:p>
            <a:r>
              <a:rPr lang="de-DE" dirty="0" smtClean="0"/>
              <a:t>Folie kopieren</a:t>
            </a:r>
          </a:p>
        </p:txBody>
      </p:sp>
      <p:sp>
        <p:nvSpPr>
          <p:cNvPr id="98" name="Rechteck 97">
            <a:hlinkClick r:id="rId6"/>
          </p:cNvPr>
          <p:cNvSpPr/>
          <p:nvPr/>
        </p:nvSpPr>
        <p:spPr>
          <a:xfrm>
            <a:off x="6648450" y="6296025"/>
            <a:ext cx="2495550" cy="56197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3</a:t>
            </a:r>
            <a:endParaRPr lang="de-DE" sz="900" dirty="0">
              <a:solidFill>
                <a:schemeClr val="bg1">
                  <a:lumMod val="50000"/>
                </a:schemeClr>
              </a:solidFill>
            </a:endParaRPr>
          </a:p>
        </p:txBody>
      </p:sp>
      <p:grpSp>
        <p:nvGrpSpPr>
          <p:cNvPr id="2" name="Gruppieren 77"/>
          <p:cNvGrpSpPr/>
          <p:nvPr/>
        </p:nvGrpSpPr>
        <p:grpSpPr>
          <a:xfrm>
            <a:off x="203518" y="5538253"/>
            <a:ext cx="347663" cy="338138"/>
            <a:chOff x="203518" y="4966018"/>
            <a:chExt cx="347663" cy="338138"/>
          </a:xfrm>
        </p:grpSpPr>
        <p:pic>
          <p:nvPicPr>
            <p:cNvPr id="249" name="Grafik 248" descr="schatten.png"/>
            <p:cNvPicPr>
              <a:picLocks noChangeAspect="1"/>
            </p:cNvPicPr>
            <p:nvPr/>
          </p:nvPicPr>
          <p:blipFill>
            <a:blip r:embed="rId7" cstate="print">
              <a:lum bright="30000"/>
            </a:blip>
            <a:srcRect l="17603" t="9404" r="15359" b="14528"/>
            <a:stretch>
              <a:fillRect/>
            </a:stretch>
          </p:blipFill>
          <p:spPr>
            <a:xfrm>
              <a:off x="203518" y="4966018"/>
              <a:ext cx="347663" cy="338138"/>
            </a:xfrm>
            <a:prstGeom prst="rect">
              <a:avLst/>
            </a:prstGeom>
          </p:spPr>
        </p:pic>
        <p:sp>
          <p:nvSpPr>
            <p:cNvPr id="250"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251"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Um eine Folie aus einer bestehenden Präsentation zu kopieren, wählen Sie die gewünschte Folie mit der linken Maustaste aus.</a:t>
            </a:r>
            <a:endParaRPr lang="de-DE" sz="1200" dirty="0">
              <a:latin typeface="Myriad Pro" pitchFamily="34" charset="0"/>
              <a:ea typeface="Arial Unicode MS" pitchFamily="34" charset="-128"/>
              <a:cs typeface="Arial" charset="0"/>
            </a:endParaRPr>
          </a:p>
        </p:txBody>
      </p:sp>
      <p:grpSp>
        <p:nvGrpSpPr>
          <p:cNvPr id="3" name="Gruppieren 73"/>
          <p:cNvGrpSpPr/>
          <p:nvPr/>
        </p:nvGrpSpPr>
        <p:grpSpPr>
          <a:xfrm>
            <a:off x="203518" y="4979777"/>
            <a:ext cx="347663" cy="338138"/>
            <a:chOff x="203518" y="4378643"/>
            <a:chExt cx="347663" cy="338138"/>
          </a:xfrm>
        </p:grpSpPr>
        <p:pic>
          <p:nvPicPr>
            <p:cNvPr id="254" name="Grafik 253" descr="schatten.png"/>
            <p:cNvPicPr>
              <a:picLocks noChangeAspect="1"/>
            </p:cNvPicPr>
            <p:nvPr/>
          </p:nvPicPr>
          <p:blipFill>
            <a:blip r:embed="rId7" cstate="print">
              <a:lum bright="30000"/>
            </a:blip>
            <a:srcRect l="17603" t="9404" r="15359" b="14528"/>
            <a:stretch>
              <a:fillRect/>
            </a:stretch>
          </p:blipFill>
          <p:spPr>
            <a:xfrm>
              <a:off x="203518" y="4378643"/>
              <a:ext cx="347663" cy="338138"/>
            </a:xfrm>
            <a:prstGeom prst="rect">
              <a:avLst/>
            </a:prstGeom>
          </p:spPr>
        </p:pic>
        <p:sp>
          <p:nvSpPr>
            <p:cNvPr id="255"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284" name="Rectangle 5"/>
          <p:cNvSpPr>
            <a:spLocks noChangeArrowheads="1"/>
          </p:cNvSpPr>
          <p:nvPr/>
        </p:nvSpPr>
        <p:spPr bwMode="gray">
          <a:xfrm>
            <a:off x="639763" y="5538253"/>
            <a:ext cx="7894637" cy="667814"/>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Drücken Sie auf Ihrer Tastatur die „Strg“ und  „C“ Taste, somit kopieren Sie die Folie in die Zwischenablage. Anschließend fügen Sie, durch drücken der Tasten  „Strg“ und „V“ die in der Zwischenablage befindliche Folie in die gewünschte Präsentation ein.</a:t>
            </a:r>
            <a:endParaRPr lang="de-DE" sz="1200" dirty="0">
              <a:solidFill>
                <a:srgbClr val="000000"/>
              </a:solidFill>
              <a:ea typeface="Arial Unicode MS" pitchFamily="34" charset="-128"/>
              <a:cs typeface="Arial" charset="0"/>
            </a:endParaRPr>
          </a:p>
        </p:txBody>
      </p:sp>
      <p:grpSp>
        <p:nvGrpSpPr>
          <p:cNvPr id="4" name="Gruppieren 77"/>
          <p:cNvGrpSpPr/>
          <p:nvPr/>
        </p:nvGrpSpPr>
        <p:grpSpPr>
          <a:xfrm>
            <a:off x="5087118" y="1376067"/>
            <a:ext cx="347663" cy="338138"/>
            <a:chOff x="203518" y="4966018"/>
            <a:chExt cx="347663" cy="338138"/>
          </a:xfrm>
        </p:grpSpPr>
        <p:pic>
          <p:nvPicPr>
            <p:cNvPr id="77" name="Grafik 76" descr="schatten.png"/>
            <p:cNvPicPr>
              <a:picLocks noChangeAspect="1"/>
            </p:cNvPicPr>
            <p:nvPr/>
          </p:nvPicPr>
          <p:blipFill>
            <a:blip r:embed="rId7" cstate="print">
              <a:lum bright="30000"/>
            </a:blip>
            <a:srcRect l="17603" t="9404" r="15359" b="14528"/>
            <a:stretch>
              <a:fillRect/>
            </a:stretch>
          </p:blipFill>
          <p:spPr>
            <a:xfrm>
              <a:off x="203518" y="4966018"/>
              <a:ext cx="347663" cy="338138"/>
            </a:xfrm>
            <a:prstGeom prst="rect">
              <a:avLst/>
            </a:prstGeom>
          </p:spPr>
        </p:pic>
        <p:sp>
          <p:nvSpPr>
            <p:cNvPr id="78"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5" name="Gruppieren 73"/>
          <p:cNvGrpSpPr/>
          <p:nvPr/>
        </p:nvGrpSpPr>
        <p:grpSpPr>
          <a:xfrm>
            <a:off x="199247" y="1376067"/>
            <a:ext cx="347663" cy="338138"/>
            <a:chOff x="203518" y="4378643"/>
            <a:chExt cx="347663" cy="338138"/>
          </a:xfrm>
        </p:grpSpPr>
        <p:pic>
          <p:nvPicPr>
            <p:cNvPr id="80" name="Grafik 79" descr="schatten.png"/>
            <p:cNvPicPr>
              <a:picLocks noChangeAspect="1"/>
            </p:cNvPicPr>
            <p:nvPr/>
          </p:nvPicPr>
          <p:blipFill>
            <a:blip r:embed="rId7" cstate="print">
              <a:lum bright="30000"/>
            </a:blip>
            <a:srcRect l="17603" t="9404" r="15359" b="14528"/>
            <a:stretch>
              <a:fillRect/>
            </a:stretch>
          </p:blipFill>
          <p:spPr>
            <a:xfrm>
              <a:off x="203518" y="4378643"/>
              <a:ext cx="347663" cy="338138"/>
            </a:xfrm>
            <a:prstGeom prst="rect">
              <a:avLst/>
            </a:prstGeom>
          </p:spPr>
        </p:pic>
        <p:sp>
          <p:nvSpPr>
            <p:cNvPr id="81"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6" name="Gruppieren 115"/>
          <p:cNvGrpSpPr/>
          <p:nvPr/>
        </p:nvGrpSpPr>
        <p:grpSpPr>
          <a:xfrm>
            <a:off x="641402" y="1648543"/>
            <a:ext cx="5297173" cy="1340363"/>
            <a:chOff x="641402" y="1648543"/>
            <a:chExt cx="5297173" cy="1340363"/>
          </a:xfrm>
        </p:grpSpPr>
        <p:sp>
          <p:nvSpPr>
            <p:cNvPr id="225" name="Rechteck 224"/>
            <p:cNvSpPr/>
            <p:nvPr/>
          </p:nvSpPr>
          <p:spPr>
            <a:xfrm>
              <a:off x="5503903" y="1648543"/>
              <a:ext cx="284916" cy="19735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2" name="Rechteck 71"/>
            <p:cNvSpPr/>
            <p:nvPr/>
          </p:nvSpPr>
          <p:spPr>
            <a:xfrm>
              <a:off x="641402" y="1648543"/>
              <a:ext cx="284916" cy="19735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7" name="Group 45"/>
            <p:cNvGrpSpPr>
              <a:grpSpLocks/>
            </p:cNvGrpSpPr>
            <p:nvPr/>
          </p:nvGrpSpPr>
          <p:grpSpPr bwMode="auto">
            <a:xfrm rot="20287264">
              <a:off x="924386" y="1722111"/>
              <a:ext cx="374650" cy="609600"/>
              <a:chOff x="1950" y="1045"/>
              <a:chExt cx="568" cy="928"/>
            </a:xfrm>
          </p:grpSpPr>
          <p:sp>
            <p:nvSpPr>
              <p:cNvPr id="270"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dirty="0">
                  <a:latin typeface="Myriad Pro" pitchFamily="34" charset="0"/>
                </a:endParaRPr>
              </a:p>
            </p:txBody>
          </p:sp>
          <p:sp>
            <p:nvSpPr>
              <p:cNvPr id="271"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dirty="0"/>
              </a:p>
            </p:txBody>
          </p:sp>
          <p:sp>
            <p:nvSpPr>
              <p:cNvPr id="272"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273"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dirty="0"/>
              </a:p>
            </p:txBody>
          </p:sp>
          <p:sp>
            <p:nvSpPr>
              <p:cNvPr id="274"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275"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dirty="0"/>
              </a:p>
            </p:txBody>
          </p:sp>
          <p:sp>
            <p:nvSpPr>
              <p:cNvPr id="276"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dirty="0"/>
              </a:p>
            </p:txBody>
          </p:sp>
          <p:sp>
            <p:nvSpPr>
              <p:cNvPr id="277"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dirty="0">
                  <a:latin typeface="Myriad Pro" pitchFamily="34" charset="0"/>
                </a:endParaRPr>
              </a:p>
            </p:txBody>
          </p:sp>
          <p:sp>
            <p:nvSpPr>
              <p:cNvPr id="278"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dirty="0"/>
              </a:p>
            </p:txBody>
          </p:sp>
          <p:sp>
            <p:nvSpPr>
              <p:cNvPr id="279"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dirty="0"/>
              </a:p>
            </p:txBody>
          </p:sp>
          <p:sp>
            <p:nvSpPr>
              <p:cNvPr id="280"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dirty="0"/>
              </a:p>
            </p:txBody>
          </p:sp>
          <p:sp>
            <p:nvSpPr>
              <p:cNvPr id="281"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dirty="0"/>
              </a:p>
            </p:txBody>
          </p:sp>
        </p:grpSp>
        <p:grpSp>
          <p:nvGrpSpPr>
            <p:cNvPr id="8" name="Gruppieren 278"/>
            <p:cNvGrpSpPr/>
            <p:nvPr/>
          </p:nvGrpSpPr>
          <p:grpSpPr>
            <a:xfrm>
              <a:off x="5719938" y="1796681"/>
              <a:ext cx="218637" cy="381655"/>
              <a:chOff x="2806936" y="1682676"/>
              <a:chExt cx="852584" cy="1488282"/>
            </a:xfrm>
            <a:effectLst>
              <a:outerShdw blurRad="50800" dist="38100" dir="2700000" algn="tl" rotWithShape="0">
                <a:prstClr val="black">
                  <a:alpha val="40000"/>
                </a:prstClr>
              </a:outerShdw>
            </a:effectLst>
          </p:grpSpPr>
          <p:sp>
            <p:nvSpPr>
              <p:cNvPr id="227" name="Freeform 209"/>
              <p:cNvSpPr>
                <a:spLocks/>
              </p:cNvSpPr>
              <p:nvPr/>
            </p:nvSpPr>
            <p:spPr bwMode="auto">
              <a:xfrm>
                <a:off x="2877569" y="1823942"/>
                <a:ext cx="639853" cy="1276382"/>
              </a:xfrm>
              <a:custGeom>
                <a:avLst/>
                <a:gdLst/>
                <a:ahLst/>
                <a:cxnLst>
                  <a:cxn ang="0">
                    <a:pos x="770" y="1366"/>
                  </a:cxn>
                  <a:cxn ang="0">
                    <a:pos x="770" y="1536"/>
                  </a:cxn>
                  <a:cxn ang="0">
                    <a:pos x="598" y="1536"/>
                  </a:cxn>
                  <a:cxn ang="0">
                    <a:pos x="598" y="1366"/>
                  </a:cxn>
                  <a:cxn ang="0">
                    <a:pos x="513" y="1366"/>
                  </a:cxn>
                  <a:cxn ang="0">
                    <a:pos x="513" y="1195"/>
                  </a:cxn>
                  <a:cxn ang="0">
                    <a:pos x="428" y="1195"/>
                  </a:cxn>
                  <a:cxn ang="0">
                    <a:pos x="428" y="1023"/>
                  </a:cxn>
                  <a:cxn ang="0">
                    <a:pos x="343" y="1023"/>
                  </a:cxn>
                  <a:cxn ang="0">
                    <a:pos x="343" y="853"/>
                  </a:cxn>
                  <a:cxn ang="0">
                    <a:pos x="258" y="853"/>
                  </a:cxn>
                  <a:cxn ang="0">
                    <a:pos x="258" y="938"/>
                  </a:cxn>
                  <a:cxn ang="0">
                    <a:pos x="173" y="938"/>
                  </a:cxn>
                  <a:cxn ang="0">
                    <a:pos x="173" y="1023"/>
                  </a:cxn>
                  <a:cxn ang="0">
                    <a:pos x="87" y="1023"/>
                  </a:cxn>
                  <a:cxn ang="0">
                    <a:pos x="87" y="1108"/>
                  </a:cxn>
                  <a:cxn ang="0">
                    <a:pos x="0" y="1108"/>
                  </a:cxn>
                  <a:cxn ang="0">
                    <a:pos x="0" y="0"/>
                  </a:cxn>
                  <a:cxn ang="0">
                    <a:pos x="87" y="0"/>
                  </a:cxn>
                  <a:cxn ang="0">
                    <a:pos x="87" y="85"/>
                  </a:cxn>
                  <a:cxn ang="0">
                    <a:pos x="173" y="85"/>
                  </a:cxn>
                  <a:cxn ang="0">
                    <a:pos x="173" y="170"/>
                  </a:cxn>
                  <a:cxn ang="0">
                    <a:pos x="258" y="170"/>
                  </a:cxn>
                  <a:cxn ang="0">
                    <a:pos x="258" y="255"/>
                  </a:cxn>
                  <a:cxn ang="0">
                    <a:pos x="343" y="255"/>
                  </a:cxn>
                  <a:cxn ang="0">
                    <a:pos x="343" y="340"/>
                  </a:cxn>
                  <a:cxn ang="0">
                    <a:pos x="428" y="340"/>
                  </a:cxn>
                  <a:cxn ang="0">
                    <a:pos x="428" y="425"/>
                  </a:cxn>
                  <a:cxn ang="0">
                    <a:pos x="513" y="425"/>
                  </a:cxn>
                  <a:cxn ang="0">
                    <a:pos x="513" y="513"/>
                  </a:cxn>
                  <a:cxn ang="0">
                    <a:pos x="598" y="513"/>
                  </a:cxn>
                  <a:cxn ang="0">
                    <a:pos x="598" y="598"/>
                  </a:cxn>
                  <a:cxn ang="0">
                    <a:pos x="683" y="598"/>
                  </a:cxn>
                  <a:cxn ang="0">
                    <a:pos x="683" y="683"/>
                  </a:cxn>
                  <a:cxn ang="0">
                    <a:pos x="770" y="683"/>
                  </a:cxn>
                  <a:cxn ang="0">
                    <a:pos x="770" y="768"/>
                  </a:cxn>
                  <a:cxn ang="0">
                    <a:pos x="513" y="768"/>
                  </a:cxn>
                  <a:cxn ang="0">
                    <a:pos x="513" y="1023"/>
                  </a:cxn>
                  <a:cxn ang="0">
                    <a:pos x="598" y="1023"/>
                  </a:cxn>
                  <a:cxn ang="0">
                    <a:pos x="598" y="1195"/>
                  </a:cxn>
                  <a:cxn ang="0">
                    <a:pos x="683" y="1195"/>
                  </a:cxn>
                  <a:cxn ang="0">
                    <a:pos x="683" y="1366"/>
                  </a:cxn>
                  <a:cxn ang="0">
                    <a:pos x="770" y="1366"/>
                  </a:cxn>
                </a:cxnLst>
                <a:rect l="0" t="0" r="r" b="b"/>
                <a:pathLst>
                  <a:path w="770" h="1536">
                    <a:moveTo>
                      <a:pt x="770" y="1366"/>
                    </a:moveTo>
                    <a:lnTo>
                      <a:pt x="770" y="1536"/>
                    </a:lnTo>
                    <a:lnTo>
                      <a:pt x="598" y="1536"/>
                    </a:lnTo>
                    <a:lnTo>
                      <a:pt x="598" y="1366"/>
                    </a:lnTo>
                    <a:lnTo>
                      <a:pt x="513" y="1366"/>
                    </a:lnTo>
                    <a:lnTo>
                      <a:pt x="513" y="1195"/>
                    </a:lnTo>
                    <a:lnTo>
                      <a:pt x="428" y="1195"/>
                    </a:lnTo>
                    <a:lnTo>
                      <a:pt x="428" y="1023"/>
                    </a:lnTo>
                    <a:lnTo>
                      <a:pt x="343" y="1023"/>
                    </a:lnTo>
                    <a:lnTo>
                      <a:pt x="343" y="853"/>
                    </a:lnTo>
                    <a:lnTo>
                      <a:pt x="258" y="853"/>
                    </a:lnTo>
                    <a:lnTo>
                      <a:pt x="258" y="938"/>
                    </a:lnTo>
                    <a:lnTo>
                      <a:pt x="173" y="938"/>
                    </a:lnTo>
                    <a:lnTo>
                      <a:pt x="173" y="1023"/>
                    </a:lnTo>
                    <a:lnTo>
                      <a:pt x="87" y="1023"/>
                    </a:lnTo>
                    <a:lnTo>
                      <a:pt x="87" y="1108"/>
                    </a:lnTo>
                    <a:lnTo>
                      <a:pt x="0" y="1108"/>
                    </a:lnTo>
                    <a:lnTo>
                      <a:pt x="0" y="0"/>
                    </a:lnTo>
                    <a:lnTo>
                      <a:pt x="87" y="0"/>
                    </a:lnTo>
                    <a:lnTo>
                      <a:pt x="87" y="85"/>
                    </a:lnTo>
                    <a:lnTo>
                      <a:pt x="173" y="85"/>
                    </a:lnTo>
                    <a:lnTo>
                      <a:pt x="173" y="170"/>
                    </a:lnTo>
                    <a:lnTo>
                      <a:pt x="258" y="170"/>
                    </a:lnTo>
                    <a:lnTo>
                      <a:pt x="258" y="255"/>
                    </a:lnTo>
                    <a:lnTo>
                      <a:pt x="343" y="255"/>
                    </a:lnTo>
                    <a:lnTo>
                      <a:pt x="343" y="340"/>
                    </a:lnTo>
                    <a:lnTo>
                      <a:pt x="428" y="340"/>
                    </a:lnTo>
                    <a:lnTo>
                      <a:pt x="428" y="425"/>
                    </a:lnTo>
                    <a:lnTo>
                      <a:pt x="513" y="425"/>
                    </a:lnTo>
                    <a:lnTo>
                      <a:pt x="513" y="513"/>
                    </a:lnTo>
                    <a:lnTo>
                      <a:pt x="598" y="513"/>
                    </a:lnTo>
                    <a:lnTo>
                      <a:pt x="598" y="598"/>
                    </a:lnTo>
                    <a:lnTo>
                      <a:pt x="683" y="598"/>
                    </a:lnTo>
                    <a:lnTo>
                      <a:pt x="683" y="683"/>
                    </a:lnTo>
                    <a:lnTo>
                      <a:pt x="770" y="683"/>
                    </a:lnTo>
                    <a:lnTo>
                      <a:pt x="770" y="768"/>
                    </a:lnTo>
                    <a:lnTo>
                      <a:pt x="513" y="768"/>
                    </a:lnTo>
                    <a:lnTo>
                      <a:pt x="513" y="1023"/>
                    </a:lnTo>
                    <a:lnTo>
                      <a:pt x="598" y="1023"/>
                    </a:lnTo>
                    <a:lnTo>
                      <a:pt x="598" y="1195"/>
                    </a:lnTo>
                    <a:lnTo>
                      <a:pt x="683" y="1195"/>
                    </a:lnTo>
                    <a:lnTo>
                      <a:pt x="683" y="1366"/>
                    </a:lnTo>
                    <a:lnTo>
                      <a:pt x="770" y="1366"/>
                    </a:lnTo>
                    <a:close/>
                  </a:path>
                </a:pathLst>
              </a:custGeom>
              <a:gradFill flip="none" rotWithShape="1">
                <a:gsLst>
                  <a:gs pos="0">
                    <a:schemeClr val="bg1">
                      <a:lumMod val="85000"/>
                    </a:schemeClr>
                  </a:gs>
                  <a:gs pos="50000">
                    <a:schemeClr val="bg1">
                      <a:lumMod val="95000"/>
                    </a:schemeClr>
                  </a:gs>
                  <a:gs pos="100000">
                    <a:schemeClr val="bg1">
                      <a:shade val="100000"/>
                      <a:satMod val="11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229" name="Freeform 210"/>
              <p:cNvSpPr>
                <a:spLocks/>
              </p:cNvSpPr>
              <p:nvPr/>
            </p:nvSpPr>
            <p:spPr bwMode="auto">
              <a:xfrm>
                <a:off x="3303861" y="2391501"/>
                <a:ext cx="355659" cy="282533"/>
              </a:xfrm>
              <a:custGeom>
                <a:avLst/>
                <a:gdLst/>
                <a:ahLst/>
                <a:cxnLst>
                  <a:cxn ang="0">
                    <a:pos x="428" y="85"/>
                  </a:cxn>
                  <a:cxn ang="0">
                    <a:pos x="428" y="170"/>
                  </a:cxn>
                  <a:cxn ang="0">
                    <a:pos x="85" y="170"/>
                  </a:cxn>
                  <a:cxn ang="0">
                    <a:pos x="85" y="340"/>
                  </a:cxn>
                  <a:cxn ang="0">
                    <a:pos x="0" y="340"/>
                  </a:cxn>
                  <a:cxn ang="0">
                    <a:pos x="0" y="85"/>
                  </a:cxn>
                  <a:cxn ang="0">
                    <a:pos x="257" y="85"/>
                  </a:cxn>
                  <a:cxn ang="0">
                    <a:pos x="257" y="0"/>
                  </a:cxn>
                  <a:cxn ang="0">
                    <a:pos x="343" y="0"/>
                  </a:cxn>
                  <a:cxn ang="0">
                    <a:pos x="343" y="85"/>
                  </a:cxn>
                  <a:cxn ang="0">
                    <a:pos x="428" y="85"/>
                  </a:cxn>
                </a:cxnLst>
                <a:rect l="0" t="0" r="r" b="b"/>
                <a:pathLst>
                  <a:path w="428" h="340">
                    <a:moveTo>
                      <a:pt x="428" y="85"/>
                    </a:moveTo>
                    <a:lnTo>
                      <a:pt x="428" y="170"/>
                    </a:lnTo>
                    <a:lnTo>
                      <a:pt x="85" y="170"/>
                    </a:lnTo>
                    <a:lnTo>
                      <a:pt x="85" y="340"/>
                    </a:lnTo>
                    <a:lnTo>
                      <a:pt x="0" y="340"/>
                    </a:lnTo>
                    <a:lnTo>
                      <a:pt x="0" y="85"/>
                    </a:lnTo>
                    <a:lnTo>
                      <a:pt x="257" y="85"/>
                    </a:lnTo>
                    <a:lnTo>
                      <a:pt x="257" y="0"/>
                    </a:lnTo>
                    <a:lnTo>
                      <a:pt x="343" y="0"/>
                    </a:lnTo>
                    <a:lnTo>
                      <a:pt x="343" y="85"/>
                    </a:lnTo>
                    <a:lnTo>
                      <a:pt x="428" y="85"/>
                    </a:lnTo>
                    <a:close/>
                  </a:path>
                </a:pathLst>
              </a:custGeom>
              <a:solidFill>
                <a:schemeClr val="bg1">
                  <a:lumMod val="50000"/>
                </a:schemeClr>
              </a:solidFill>
              <a:ln w="9525">
                <a:noFill/>
                <a:round/>
                <a:headEnd/>
                <a:tailEnd/>
              </a:ln>
            </p:spPr>
            <p:txBody>
              <a:bodyPr/>
              <a:lstStyle/>
              <a:p>
                <a:pPr>
                  <a:defRPr/>
                </a:pPr>
                <a:endParaRPr lang="de-DE" dirty="0"/>
              </a:p>
            </p:txBody>
          </p:sp>
          <p:sp>
            <p:nvSpPr>
              <p:cNvPr id="230" name="Rectangle 211"/>
              <p:cNvSpPr>
                <a:spLocks noChangeArrowheads="1"/>
              </p:cNvSpPr>
              <p:nvPr/>
            </p:nvSpPr>
            <p:spPr bwMode="auto">
              <a:xfrm>
                <a:off x="3517423" y="2959058"/>
                <a:ext cx="71464" cy="14126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1" name="Rectangle 212"/>
              <p:cNvSpPr>
                <a:spLocks noChangeArrowheads="1"/>
              </p:cNvSpPr>
              <p:nvPr/>
            </p:nvSpPr>
            <p:spPr bwMode="auto">
              <a:xfrm>
                <a:off x="3374495" y="3100325"/>
                <a:ext cx="142928"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2" name="Rectangle 213"/>
              <p:cNvSpPr>
                <a:spLocks noChangeArrowheads="1"/>
              </p:cNvSpPr>
              <p:nvPr/>
            </p:nvSpPr>
            <p:spPr bwMode="auto">
              <a:xfrm>
                <a:off x="3445128" y="2816961"/>
                <a:ext cx="72295" cy="14209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3" name="Rectangle 214"/>
              <p:cNvSpPr>
                <a:spLocks noChangeArrowheads="1"/>
              </p:cNvSpPr>
              <p:nvPr/>
            </p:nvSpPr>
            <p:spPr bwMode="auto">
              <a:xfrm>
                <a:off x="3445128" y="2320867"/>
                <a:ext cx="72295"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4" name="Rectangle 215"/>
              <p:cNvSpPr>
                <a:spLocks noChangeArrowheads="1"/>
              </p:cNvSpPr>
              <p:nvPr/>
            </p:nvSpPr>
            <p:spPr bwMode="auto">
              <a:xfrm>
                <a:off x="3374495" y="2674033"/>
                <a:ext cx="70633" cy="14292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5" name="Rectangle 216"/>
              <p:cNvSpPr>
                <a:spLocks noChangeArrowheads="1"/>
              </p:cNvSpPr>
              <p:nvPr/>
            </p:nvSpPr>
            <p:spPr bwMode="auto">
              <a:xfrm>
                <a:off x="3374495" y="2250234"/>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6" name="Rectangle 217"/>
              <p:cNvSpPr>
                <a:spLocks noChangeArrowheads="1"/>
              </p:cNvSpPr>
              <p:nvPr/>
            </p:nvSpPr>
            <p:spPr bwMode="auto">
              <a:xfrm>
                <a:off x="3303861" y="2959058"/>
                <a:ext cx="70633" cy="14126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7" name="Rectangle 218"/>
              <p:cNvSpPr>
                <a:spLocks noChangeArrowheads="1"/>
              </p:cNvSpPr>
              <p:nvPr/>
            </p:nvSpPr>
            <p:spPr bwMode="auto">
              <a:xfrm>
                <a:off x="3303861" y="2177108"/>
                <a:ext cx="70633" cy="7312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8" name="Rectangle 219"/>
              <p:cNvSpPr>
                <a:spLocks noChangeArrowheads="1"/>
              </p:cNvSpPr>
              <p:nvPr/>
            </p:nvSpPr>
            <p:spPr bwMode="auto">
              <a:xfrm>
                <a:off x="3233228" y="2816961"/>
                <a:ext cx="70633" cy="14209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9" name="Rectangle 220"/>
              <p:cNvSpPr>
                <a:spLocks noChangeArrowheads="1"/>
              </p:cNvSpPr>
              <p:nvPr/>
            </p:nvSpPr>
            <p:spPr bwMode="auto">
              <a:xfrm>
                <a:off x="3233228" y="2106475"/>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0" name="Rectangle 221"/>
              <p:cNvSpPr>
                <a:spLocks noChangeArrowheads="1"/>
              </p:cNvSpPr>
              <p:nvPr/>
            </p:nvSpPr>
            <p:spPr bwMode="auto">
              <a:xfrm>
                <a:off x="3162595" y="2674033"/>
                <a:ext cx="70633" cy="14292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1" name="Rectangle 222"/>
              <p:cNvSpPr>
                <a:spLocks noChangeArrowheads="1"/>
              </p:cNvSpPr>
              <p:nvPr/>
            </p:nvSpPr>
            <p:spPr bwMode="auto">
              <a:xfrm>
                <a:off x="3162595" y="2035842"/>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2" name="Freeform 223"/>
              <p:cNvSpPr>
                <a:spLocks/>
              </p:cNvSpPr>
              <p:nvPr/>
            </p:nvSpPr>
            <p:spPr bwMode="auto">
              <a:xfrm>
                <a:off x="3021328" y="2532767"/>
                <a:ext cx="141266" cy="141266"/>
              </a:xfrm>
              <a:custGeom>
                <a:avLst/>
                <a:gdLst/>
                <a:ahLst/>
                <a:cxnLst>
                  <a:cxn ang="0">
                    <a:pos x="170" y="0"/>
                  </a:cxn>
                  <a:cxn ang="0">
                    <a:pos x="170" y="170"/>
                  </a:cxn>
                  <a:cxn ang="0">
                    <a:pos x="0" y="170"/>
                  </a:cxn>
                  <a:cxn ang="0">
                    <a:pos x="0" y="85"/>
                  </a:cxn>
                  <a:cxn ang="0">
                    <a:pos x="85" y="85"/>
                  </a:cxn>
                  <a:cxn ang="0">
                    <a:pos x="85" y="0"/>
                  </a:cxn>
                  <a:cxn ang="0">
                    <a:pos x="170" y="0"/>
                  </a:cxn>
                </a:cxnLst>
                <a:rect l="0" t="0" r="r" b="b"/>
                <a:pathLst>
                  <a:path w="170" h="170">
                    <a:moveTo>
                      <a:pt x="170" y="0"/>
                    </a:moveTo>
                    <a:lnTo>
                      <a:pt x="170" y="170"/>
                    </a:lnTo>
                    <a:lnTo>
                      <a:pt x="0" y="170"/>
                    </a:lnTo>
                    <a:lnTo>
                      <a:pt x="0" y="85"/>
                    </a:lnTo>
                    <a:lnTo>
                      <a:pt x="85" y="85"/>
                    </a:lnTo>
                    <a:lnTo>
                      <a:pt x="85" y="0"/>
                    </a:lnTo>
                    <a:lnTo>
                      <a:pt x="170" y="0"/>
                    </a:lnTo>
                    <a:close/>
                  </a:path>
                </a:pathLst>
              </a:custGeom>
              <a:solidFill>
                <a:schemeClr val="bg1">
                  <a:lumMod val="50000"/>
                </a:schemeClr>
              </a:solidFill>
              <a:ln w="9525">
                <a:noFill/>
                <a:round/>
                <a:headEnd/>
                <a:tailEnd/>
              </a:ln>
            </p:spPr>
            <p:txBody>
              <a:bodyPr/>
              <a:lstStyle/>
              <a:p>
                <a:pPr>
                  <a:defRPr/>
                </a:pPr>
                <a:endParaRPr lang="de-DE" dirty="0"/>
              </a:p>
            </p:txBody>
          </p:sp>
          <p:sp>
            <p:nvSpPr>
              <p:cNvPr id="243" name="Rectangle 224"/>
              <p:cNvSpPr>
                <a:spLocks noChangeArrowheads="1"/>
              </p:cNvSpPr>
              <p:nvPr/>
            </p:nvSpPr>
            <p:spPr bwMode="auto">
              <a:xfrm>
                <a:off x="3091962" y="1965209"/>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4" name="Rectangle 225"/>
              <p:cNvSpPr>
                <a:spLocks noChangeArrowheads="1"/>
              </p:cNvSpPr>
              <p:nvPr/>
            </p:nvSpPr>
            <p:spPr bwMode="auto">
              <a:xfrm>
                <a:off x="3021328" y="1894576"/>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5" name="Rectangle 226"/>
              <p:cNvSpPr>
                <a:spLocks noChangeArrowheads="1"/>
              </p:cNvSpPr>
              <p:nvPr/>
            </p:nvSpPr>
            <p:spPr bwMode="auto">
              <a:xfrm>
                <a:off x="2949864" y="2674033"/>
                <a:ext cx="71464"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6" name="Rectangle 227"/>
              <p:cNvSpPr>
                <a:spLocks noChangeArrowheads="1"/>
              </p:cNvSpPr>
              <p:nvPr/>
            </p:nvSpPr>
            <p:spPr bwMode="auto">
              <a:xfrm>
                <a:off x="2949864" y="1823942"/>
                <a:ext cx="71464"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7" name="Freeform 228"/>
              <p:cNvSpPr>
                <a:spLocks/>
              </p:cNvSpPr>
              <p:nvPr/>
            </p:nvSpPr>
            <p:spPr bwMode="auto">
              <a:xfrm>
                <a:off x="2806936" y="1682676"/>
                <a:ext cx="142928" cy="1205749"/>
              </a:xfrm>
              <a:custGeom>
                <a:avLst/>
                <a:gdLst/>
                <a:ahLst/>
                <a:cxnLst>
                  <a:cxn ang="0">
                    <a:pos x="172" y="1278"/>
                  </a:cxn>
                  <a:cxn ang="0">
                    <a:pos x="172" y="1365"/>
                  </a:cxn>
                  <a:cxn ang="0">
                    <a:pos x="85" y="1365"/>
                  </a:cxn>
                  <a:cxn ang="0">
                    <a:pos x="85" y="1451"/>
                  </a:cxn>
                  <a:cxn ang="0">
                    <a:pos x="0" y="1451"/>
                  </a:cxn>
                  <a:cxn ang="0">
                    <a:pos x="0" y="0"/>
                  </a:cxn>
                  <a:cxn ang="0">
                    <a:pos x="85" y="0"/>
                  </a:cxn>
                  <a:cxn ang="0">
                    <a:pos x="85" y="85"/>
                  </a:cxn>
                  <a:cxn ang="0">
                    <a:pos x="172" y="85"/>
                  </a:cxn>
                  <a:cxn ang="0">
                    <a:pos x="172" y="170"/>
                  </a:cxn>
                  <a:cxn ang="0">
                    <a:pos x="85" y="170"/>
                  </a:cxn>
                  <a:cxn ang="0">
                    <a:pos x="85" y="1278"/>
                  </a:cxn>
                  <a:cxn ang="0">
                    <a:pos x="172" y="1278"/>
                  </a:cxn>
                </a:cxnLst>
                <a:rect l="0" t="0" r="r" b="b"/>
                <a:pathLst>
                  <a:path w="172" h="1451">
                    <a:moveTo>
                      <a:pt x="172" y="1278"/>
                    </a:moveTo>
                    <a:lnTo>
                      <a:pt x="172" y="1365"/>
                    </a:lnTo>
                    <a:lnTo>
                      <a:pt x="85" y="1365"/>
                    </a:lnTo>
                    <a:lnTo>
                      <a:pt x="85" y="1451"/>
                    </a:lnTo>
                    <a:lnTo>
                      <a:pt x="0" y="1451"/>
                    </a:lnTo>
                    <a:lnTo>
                      <a:pt x="0" y="0"/>
                    </a:lnTo>
                    <a:lnTo>
                      <a:pt x="85" y="0"/>
                    </a:lnTo>
                    <a:lnTo>
                      <a:pt x="85" y="85"/>
                    </a:lnTo>
                    <a:lnTo>
                      <a:pt x="172" y="85"/>
                    </a:lnTo>
                    <a:lnTo>
                      <a:pt x="172" y="170"/>
                    </a:lnTo>
                    <a:lnTo>
                      <a:pt x="85" y="170"/>
                    </a:lnTo>
                    <a:lnTo>
                      <a:pt x="85" y="1278"/>
                    </a:lnTo>
                    <a:lnTo>
                      <a:pt x="172" y="1278"/>
                    </a:lnTo>
                    <a:close/>
                  </a:path>
                </a:pathLst>
              </a:custGeom>
              <a:solidFill>
                <a:schemeClr val="bg1">
                  <a:lumMod val="50000"/>
                </a:schemeClr>
              </a:solidFill>
              <a:ln w="9525">
                <a:noFill/>
                <a:round/>
                <a:headEnd/>
                <a:tailEnd/>
              </a:ln>
            </p:spPr>
            <p:txBody>
              <a:bodyPr/>
              <a:lstStyle/>
              <a:p>
                <a:pPr>
                  <a:defRPr/>
                </a:pPr>
                <a:endParaRPr lang="de-DE" dirty="0"/>
              </a:p>
            </p:txBody>
          </p:sp>
        </p:grpSp>
        <p:grpSp>
          <p:nvGrpSpPr>
            <p:cNvPr id="9" name="Gruppieren 203"/>
            <p:cNvGrpSpPr/>
            <p:nvPr/>
          </p:nvGrpSpPr>
          <p:grpSpPr>
            <a:xfrm>
              <a:off x="4146245" y="1933288"/>
              <a:ext cx="1265559" cy="400110"/>
              <a:chOff x="7878441" y="163855"/>
              <a:chExt cx="1265559" cy="400110"/>
            </a:xfrm>
          </p:grpSpPr>
          <p:pic>
            <p:nvPicPr>
              <p:cNvPr id="109" name="Grafik 108" descr="strg.png"/>
              <p:cNvPicPr>
                <a:picLocks noChangeAspect="1"/>
              </p:cNvPicPr>
              <p:nvPr/>
            </p:nvPicPr>
            <p:blipFill>
              <a:blip r:embed="rId8" cstate="print"/>
              <a:stretch>
                <a:fillRect/>
              </a:stretch>
            </p:blipFill>
            <p:spPr>
              <a:xfrm>
                <a:off x="7878441" y="184160"/>
                <a:ext cx="508093" cy="359500"/>
              </a:xfrm>
              <a:prstGeom prst="rect">
                <a:avLst/>
              </a:prstGeom>
            </p:spPr>
          </p:pic>
          <p:sp>
            <p:nvSpPr>
              <p:cNvPr id="110" name="Textfeld 109"/>
              <p:cNvSpPr txBox="1"/>
              <p:nvPr/>
            </p:nvSpPr>
            <p:spPr>
              <a:xfrm>
                <a:off x="8417831" y="163855"/>
                <a:ext cx="357052" cy="400110"/>
              </a:xfrm>
              <a:prstGeom prst="rect">
                <a:avLst/>
              </a:prstGeom>
              <a:noFill/>
            </p:spPr>
            <p:txBody>
              <a:bodyPr wrap="square" rtlCol="0">
                <a:spAutoFit/>
              </a:bodyPr>
              <a:lstStyle/>
              <a:p>
                <a:r>
                  <a:rPr lang="de-DE" dirty="0" smtClean="0"/>
                  <a:t>+</a:t>
                </a:r>
                <a:endParaRPr lang="de-DE" sz="2000" dirty="0"/>
              </a:p>
            </p:txBody>
          </p:sp>
          <p:pic>
            <p:nvPicPr>
              <p:cNvPr id="111" name="Grafik 110" descr="C_gr.png"/>
              <p:cNvPicPr>
                <a:picLocks noChangeAspect="1"/>
              </p:cNvPicPr>
              <p:nvPr/>
            </p:nvPicPr>
            <p:blipFill>
              <a:blip r:embed="rId9" cstate="print"/>
              <a:stretch>
                <a:fillRect/>
              </a:stretch>
            </p:blipFill>
            <p:spPr>
              <a:xfrm>
                <a:off x="8786400" y="183660"/>
                <a:ext cx="357600" cy="360000"/>
              </a:xfrm>
              <a:prstGeom prst="rect">
                <a:avLst/>
              </a:prstGeom>
            </p:spPr>
          </p:pic>
        </p:grpSp>
        <p:grpSp>
          <p:nvGrpSpPr>
            <p:cNvPr id="10" name="Gruppieren 204"/>
            <p:cNvGrpSpPr/>
            <p:nvPr/>
          </p:nvGrpSpPr>
          <p:grpSpPr>
            <a:xfrm>
              <a:off x="4146245" y="2588796"/>
              <a:ext cx="1265559" cy="400110"/>
              <a:chOff x="7878441" y="1350587"/>
              <a:chExt cx="1265559" cy="400110"/>
            </a:xfrm>
          </p:grpSpPr>
          <p:pic>
            <p:nvPicPr>
              <p:cNvPr id="113" name="Grafik 112" descr="strg.png"/>
              <p:cNvPicPr>
                <a:picLocks noChangeAspect="1"/>
              </p:cNvPicPr>
              <p:nvPr/>
            </p:nvPicPr>
            <p:blipFill>
              <a:blip r:embed="rId8" cstate="print"/>
              <a:stretch>
                <a:fillRect/>
              </a:stretch>
            </p:blipFill>
            <p:spPr>
              <a:xfrm>
                <a:off x="7878441" y="1370892"/>
                <a:ext cx="508093" cy="359500"/>
              </a:xfrm>
              <a:prstGeom prst="rect">
                <a:avLst/>
              </a:prstGeom>
            </p:spPr>
          </p:pic>
          <p:sp>
            <p:nvSpPr>
              <p:cNvPr id="114" name="Textfeld 113"/>
              <p:cNvSpPr txBox="1"/>
              <p:nvPr/>
            </p:nvSpPr>
            <p:spPr>
              <a:xfrm>
                <a:off x="8417831" y="1350587"/>
                <a:ext cx="357052" cy="400110"/>
              </a:xfrm>
              <a:prstGeom prst="rect">
                <a:avLst/>
              </a:prstGeom>
              <a:noFill/>
            </p:spPr>
            <p:txBody>
              <a:bodyPr wrap="square" rtlCol="0">
                <a:spAutoFit/>
              </a:bodyPr>
              <a:lstStyle/>
              <a:p>
                <a:r>
                  <a:rPr lang="de-DE" dirty="0" smtClean="0"/>
                  <a:t>+</a:t>
                </a:r>
                <a:endParaRPr lang="de-DE" sz="2000" dirty="0"/>
              </a:p>
            </p:txBody>
          </p:sp>
          <p:pic>
            <p:nvPicPr>
              <p:cNvPr id="115" name="Grafik 114" descr="V_gr.png"/>
              <p:cNvPicPr>
                <a:picLocks noChangeAspect="1"/>
              </p:cNvPicPr>
              <p:nvPr/>
            </p:nvPicPr>
            <p:blipFill>
              <a:blip r:embed="rId10" cstate="print"/>
              <a:stretch>
                <a:fillRect/>
              </a:stretch>
            </p:blipFill>
            <p:spPr>
              <a:xfrm>
                <a:off x="8786400" y="1370392"/>
                <a:ext cx="357600" cy="360000"/>
              </a:xfrm>
              <a:prstGeom prst="rect">
                <a:avLst/>
              </a:prstGeom>
            </p:spPr>
          </p:pic>
        </p:grpSp>
      </p:gr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 name="Picture 2"/>
          <p:cNvPicPr>
            <a:picLocks noChangeAspect="1" noChangeArrowheads="1"/>
          </p:cNvPicPr>
          <p:nvPr/>
        </p:nvPicPr>
        <p:blipFill>
          <a:blip r:embed="rId3"/>
          <a:srcRect/>
          <a:stretch>
            <a:fillRect/>
          </a:stretch>
        </p:blipFill>
        <p:spPr bwMode="auto">
          <a:xfrm>
            <a:off x="-6350" y="3054350"/>
            <a:ext cx="9156700" cy="3359150"/>
          </a:xfrm>
          <a:prstGeom prst="rect">
            <a:avLst/>
          </a:prstGeom>
          <a:noFill/>
          <a:ln w="9525">
            <a:noFill/>
            <a:miter lim="800000"/>
            <a:headEnd/>
            <a:tailEnd/>
          </a:ln>
          <a:effectLst/>
        </p:spPr>
      </p:pic>
      <p:sp>
        <p:nvSpPr>
          <p:cNvPr id="27651" name="Titel 7"/>
          <p:cNvSpPr>
            <a:spLocks noGrp="1"/>
          </p:cNvSpPr>
          <p:nvPr>
            <p:ph type="title"/>
          </p:nvPr>
        </p:nvSpPr>
        <p:spPr bwMode="auto">
          <a:xfrm>
            <a:off x="131763" y="274638"/>
            <a:ext cx="9015412" cy="461962"/>
          </a:xfrm>
          <a:noFill/>
          <a:ln>
            <a:miter lim="800000"/>
            <a:headEnd/>
            <a:tailEnd/>
          </a:ln>
        </p:spPr>
        <p:txBody>
          <a:bodyPr vert="horz" wrap="square" lIns="91440" tIns="45720" rIns="91440" bIns="45720" numCol="1" anchor="t" anchorCtr="0" compatLnSpc="1">
            <a:prstTxWarp prst="textNoShape">
              <a:avLst/>
            </a:prstTxWarp>
          </a:bodyPr>
          <a:lstStyle/>
          <a:p>
            <a:r>
              <a:rPr lang="de-DE" dirty="0" smtClean="0"/>
              <a:t>Karte kopieren</a:t>
            </a:r>
          </a:p>
        </p:txBody>
      </p:sp>
      <p:sp>
        <p:nvSpPr>
          <p:cNvPr id="98" name="Rechteck 97">
            <a:hlinkClick r:id="rId4"/>
          </p:cNvPr>
          <p:cNvSpPr/>
          <p:nvPr/>
        </p:nvSpPr>
        <p:spPr>
          <a:xfrm>
            <a:off x="6648450" y="6296025"/>
            <a:ext cx="2495550" cy="56197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10</a:t>
            </a:r>
            <a:endParaRPr lang="de-DE" sz="900" dirty="0">
              <a:solidFill>
                <a:schemeClr val="bg1">
                  <a:lumMod val="50000"/>
                </a:schemeClr>
              </a:solidFill>
            </a:endParaRPr>
          </a:p>
        </p:txBody>
      </p:sp>
      <p:grpSp>
        <p:nvGrpSpPr>
          <p:cNvPr id="204" name="Gruppieren 203"/>
          <p:cNvGrpSpPr/>
          <p:nvPr/>
        </p:nvGrpSpPr>
        <p:grpSpPr>
          <a:xfrm>
            <a:off x="3939221" y="2097182"/>
            <a:ext cx="1265559" cy="400110"/>
            <a:chOff x="7878441" y="163855"/>
            <a:chExt cx="1265559" cy="400110"/>
          </a:xfrm>
        </p:grpSpPr>
        <p:pic>
          <p:nvPicPr>
            <p:cNvPr id="198" name="Grafik 197" descr="strg.png"/>
            <p:cNvPicPr>
              <a:picLocks noChangeAspect="1"/>
            </p:cNvPicPr>
            <p:nvPr/>
          </p:nvPicPr>
          <p:blipFill>
            <a:blip r:embed="rId5" cstate="print"/>
            <a:stretch>
              <a:fillRect/>
            </a:stretch>
          </p:blipFill>
          <p:spPr>
            <a:xfrm>
              <a:off x="7878441" y="184160"/>
              <a:ext cx="508093" cy="359500"/>
            </a:xfrm>
            <a:prstGeom prst="rect">
              <a:avLst/>
            </a:prstGeom>
          </p:spPr>
        </p:pic>
        <p:sp>
          <p:nvSpPr>
            <p:cNvPr id="199" name="Textfeld 198"/>
            <p:cNvSpPr txBox="1"/>
            <p:nvPr/>
          </p:nvSpPr>
          <p:spPr>
            <a:xfrm>
              <a:off x="8417831" y="163855"/>
              <a:ext cx="357052" cy="400110"/>
            </a:xfrm>
            <a:prstGeom prst="rect">
              <a:avLst/>
            </a:prstGeom>
            <a:noFill/>
          </p:spPr>
          <p:txBody>
            <a:bodyPr wrap="square" rtlCol="0">
              <a:spAutoFit/>
            </a:bodyPr>
            <a:lstStyle/>
            <a:p>
              <a:r>
                <a:rPr lang="de-DE" dirty="0" smtClean="0"/>
                <a:t>+</a:t>
              </a:r>
              <a:endParaRPr lang="de-DE" sz="2000" dirty="0"/>
            </a:p>
          </p:txBody>
        </p:sp>
        <p:pic>
          <p:nvPicPr>
            <p:cNvPr id="202" name="Grafik 201" descr="C_gr.png"/>
            <p:cNvPicPr>
              <a:picLocks noChangeAspect="1"/>
            </p:cNvPicPr>
            <p:nvPr/>
          </p:nvPicPr>
          <p:blipFill>
            <a:blip r:embed="rId6" cstate="print"/>
            <a:stretch>
              <a:fillRect/>
            </a:stretch>
          </p:blipFill>
          <p:spPr>
            <a:xfrm>
              <a:off x="8786400" y="183660"/>
              <a:ext cx="357600" cy="360000"/>
            </a:xfrm>
            <a:prstGeom prst="rect">
              <a:avLst/>
            </a:prstGeom>
          </p:spPr>
        </p:pic>
      </p:grpSp>
      <p:grpSp>
        <p:nvGrpSpPr>
          <p:cNvPr id="205" name="Gruppieren 204"/>
          <p:cNvGrpSpPr/>
          <p:nvPr/>
        </p:nvGrpSpPr>
        <p:grpSpPr>
          <a:xfrm>
            <a:off x="3939221" y="2752690"/>
            <a:ext cx="1265559" cy="400110"/>
            <a:chOff x="7878441" y="1350587"/>
            <a:chExt cx="1265559" cy="400110"/>
          </a:xfrm>
        </p:grpSpPr>
        <p:pic>
          <p:nvPicPr>
            <p:cNvPr id="200" name="Grafik 199" descr="strg.png"/>
            <p:cNvPicPr>
              <a:picLocks noChangeAspect="1"/>
            </p:cNvPicPr>
            <p:nvPr/>
          </p:nvPicPr>
          <p:blipFill>
            <a:blip r:embed="rId5" cstate="print"/>
            <a:stretch>
              <a:fillRect/>
            </a:stretch>
          </p:blipFill>
          <p:spPr>
            <a:xfrm>
              <a:off x="7878441" y="1370892"/>
              <a:ext cx="508093" cy="359500"/>
            </a:xfrm>
            <a:prstGeom prst="rect">
              <a:avLst/>
            </a:prstGeom>
          </p:spPr>
        </p:pic>
        <p:sp>
          <p:nvSpPr>
            <p:cNvPr id="201" name="Textfeld 200"/>
            <p:cNvSpPr txBox="1"/>
            <p:nvPr/>
          </p:nvSpPr>
          <p:spPr>
            <a:xfrm>
              <a:off x="8417831" y="1350587"/>
              <a:ext cx="357052" cy="400110"/>
            </a:xfrm>
            <a:prstGeom prst="rect">
              <a:avLst/>
            </a:prstGeom>
            <a:noFill/>
          </p:spPr>
          <p:txBody>
            <a:bodyPr wrap="square" rtlCol="0">
              <a:spAutoFit/>
            </a:bodyPr>
            <a:lstStyle/>
            <a:p>
              <a:r>
                <a:rPr lang="de-DE" dirty="0" smtClean="0"/>
                <a:t>+</a:t>
              </a:r>
              <a:endParaRPr lang="de-DE" sz="2000" dirty="0"/>
            </a:p>
          </p:txBody>
        </p:sp>
        <p:pic>
          <p:nvPicPr>
            <p:cNvPr id="203" name="Grafik 202" descr="V_gr.png"/>
            <p:cNvPicPr>
              <a:picLocks noChangeAspect="1"/>
            </p:cNvPicPr>
            <p:nvPr/>
          </p:nvPicPr>
          <p:blipFill>
            <a:blip r:embed="rId7" cstate="print"/>
            <a:stretch>
              <a:fillRect/>
            </a:stretch>
          </p:blipFill>
          <p:spPr>
            <a:xfrm>
              <a:off x="8786400" y="1370392"/>
              <a:ext cx="357600" cy="360000"/>
            </a:xfrm>
            <a:prstGeom prst="rect">
              <a:avLst/>
            </a:prstGeom>
          </p:spPr>
        </p:pic>
      </p:grpSp>
      <p:grpSp>
        <p:nvGrpSpPr>
          <p:cNvPr id="209" name="Gruppieren 77"/>
          <p:cNvGrpSpPr/>
          <p:nvPr/>
        </p:nvGrpSpPr>
        <p:grpSpPr>
          <a:xfrm>
            <a:off x="211756" y="5538253"/>
            <a:ext cx="347663" cy="338138"/>
            <a:chOff x="203518" y="4966018"/>
            <a:chExt cx="347663" cy="338138"/>
          </a:xfrm>
        </p:grpSpPr>
        <p:pic>
          <p:nvPicPr>
            <p:cNvPr id="210" name="Grafik 209" descr="schatten.png"/>
            <p:cNvPicPr>
              <a:picLocks noChangeAspect="1"/>
            </p:cNvPicPr>
            <p:nvPr/>
          </p:nvPicPr>
          <p:blipFill>
            <a:blip r:embed="rId8" cstate="print">
              <a:lum bright="30000"/>
            </a:blip>
            <a:srcRect l="17603" t="9404" r="15359" b="14528"/>
            <a:stretch>
              <a:fillRect/>
            </a:stretch>
          </p:blipFill>
          <p:spPr>
            <a:xfrm>
              <a:off x="203518" y="4966018"/>
              <a:ext cx="347663" cy="338138"/>
            </a:xfrm>
            <a:prstGeom prst="rect">
              <a:avLst/>
            </a:prstGeom>
          </p:spPr>
        </p:pic>
        <p:sp>
          <p:nvSpPr>
            <p:cNvPr id="211"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212"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Zum kopieren, wählen Sie das gewünschte Objekt mit der linken Maustaste aus.</a:t>
            </a:r>
            <a:endParaRPr lang="de-DE" sz="1200" dirty="0">
              <a:latin typeface="Myriad Pro" pitchFamily="34" charset="0"/>
              <a:ea typeface="Arial Unicode MS" pitchFamily="34" charset="-128"/>
              <a:cs typeface="Arial" charset="0"/>
            </a:endParaRPr>
          </a:p>
        </p:txBody>
      </p:sp>
      <p:sp>
        <p:nvSpPr>
          <p:cNvPr id="213" name="Rectangle 5"/>
          <p:cNvSpPr>
            <a:spLocks noChangeArrowheads="1"/>
          </p:cNvSpPr>
          <p:nvPr/>
        </p:nvSpPr>
        <p:spPr bwMode="gray">
          <a:xfrm>
            <a:off x="639763" y="5538253"/>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Um das Objekt in die Zwischenablage zu kopieren, drücken Sie auf Ihrer Tastatur die „Strg“ und „C“ Taste. Anschließend drücken Sie „Strg“ und „V“ um das Objekt wieder einzufügen.</a:t>
            </a:r>
            <a:endParaRPr lang="de-DE" sz="1200" dirty="0">
              <a:solidFill>
                <a:srgbClr val="000000"/>
              </a:solidFill>
              <a:ea typeface="Arial Unicode MS" pitchFamily="34" charset="-128"/>
              <a:cs typeface="Arial" charset="0"/>
            </a:endParaRPr>
          </a:p>
        </p:txBody>
      </p:sp>
      <p:grpSp>
        <p:nvGrpSpPr>
          <p:cNvPr id="214" name="Gruppieren 73"/>
          <p:cNvGrpSpPr/>
          <p:nvPr/>
        </p:nvGrpSpPr>
        <p:grpSpPr>
          <a:xfrm>
            <a:off x="211756" y="4979777"/>
            <a:ext cx="347663" cy="338138"/>
            <a:chOff x="203518" y="4378643"/>
            <a:chExt cx="347663" cy="338138"/>
          </a:xfrm>
        </p:grpSpPr>
        <p:pic>
          <p:nvPicPr>
            <p:cNvPr id="215" name="Grafik 214" descr="schatten.png"/>
            <p:cNvPicPr>
              <a:picLocks noChangeAspect="1"/>
            </p:cNvPicPr>
            <p:nvPr/>
          </p:nvPicPr>
          <p:blipFill>
            <a:blip r:embed="rId8" cstate="print">
              <a:lum bright="30000"/>
            </a:blip>
            <a:srcRect l="17603" t="9404" r="15359" b="14528"/>
            <a:stretch>
              <a:fillRect/>
            </a:stretch>
          </p:blipFill>
          <p:spPr>
            <a:xfrm>
              <a:off x="203518" y="4378643"/>
              <a:ext cx="347663" cy="338138"/>
            </a:xfrm>
            <a:prstGeom prst="rect">
              <a:avLst/>
            </a:prstGeom>
          </p:spPr>
        </p:pic>
        <p:sp>
          <p:nvSpPr>
            <p:cNvPr id="228"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2050" name="Freeform 2"/>
          <p:cNvSpPr>
            <a:spLocks noEditPoints="1"/>
          </p:cNvSpPr>
          <p:nvPr/>
        </p:nvSpPr>
        <p:spPr bwMode="auto">
          <a:xfrm>
            <a:off x="749033" y="998538"/>
            <a:ext cx="2380553" cy="3223236"/>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dirty="0"/>
          </a:p>
        </p:txBody>
      </p:sp>
      <p:sp>
        <p:nvSpPr>
          <p:cNvPr id="68" name="Freeform 2"/>
          <p:cNvSpPr>
            <a:spLocks noEditPoints="1"/>
          </p:cNvSpPr>
          <p:nvPr/>
        </p:nvSpPr>
        <p:spPr bwMode="auto">
          <a:xfrm>
            <a:off x="6251598" y="998538"/>
            <a:ext cx="2380553" cy="3223236"/>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dirty="0"/>
          </a:p>
        </p:txBody>
      </p:sp>
      <p:grpSp>
        <p:nvGrpSpPr>
          <p:cNvPr id="95" name="Gruppieren 94"/>
          <p:cNvGrpSpPr/>
          <p:nvPr/>
        </p:nvGrpSpPr>
        <p:grpSpPr>
          <a:xfrm>
            <a:off x="619125" y="760647"/>
            <a:ext cx="2692321" cy="3575855"/>
            <a:chOff x="619125" y="760647"/>
            <a:chExt cx="2692321" cy="3575855"/>
          </a:xfrm>
        </p:grpSpPr>
        <p:sp>
          <p:nvSpPr>
            <p:cNvPr id="83" name="Rechteck 82"/>
            <p:cNvSpPr/>
            <p:nvPr/>
          </p:nvSpPr>
          <p:spPr>
            <a:xfrm>
              <a:off x="663818" y="981307"/>
              <a:ext cx="2612782" cy="333034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84" name="Rechteck 83"/>
            <p:cNvSpPr/>
            <p:nvPr/>
          </p:nvSpPr>
          <p:spPr>
            <a:xfrm>
              <a:off x="633525" y="26090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5" name="Rechteck 84"/>
            <p:cNvSpPr/>
            <p:nvPr/>
          </p:nvSpPr>
          <p:spPr>
            <a:xfrm>
              <a:off x="1934686" y="427530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6" name="Ellipse 85"/>
            <p:cNvSpPr/>
            <p:nvPr/>
          </p:nvSpPr>
          <p:spPr>
            <a:xfrm>
              <a:off x="3235846" y="94287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7" name="Ellipse 86"/>
            <p:cNvSpPr/>
            <p:nvPr/>
          </p:nvSpPr>
          <p:spPr>
            <a:xfrm>
              <a:off x="619125" y="4260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8" name="Rechteck 87"/>
            <p:cNvSpPr/>
            <p:nvPr/>
          </p:nvSpPr>
          <p:spPr>
            <a:xfrm>
              <a:off x="3250246" y="26090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9" name="Ellipse 88"/>
            <p:cNvSpPr/>
            <p:nvPr/>
          </p:nvSpPr>
          <p:spPr>
            <a:xfrm>
              <a:off x="3235846" y="4260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90" name="Gruppieren 139"/>
            <p:cNvGrpSpPr/>
            <p:nvPr/>
          </p:nvGrpSpPr>
          <p:grpSpPr>
            <a:xfrm>
              <a:off x="1927486" y="760647"/>
              <a:ext cx="75600" cy="257824"/>
              <a:chOff x="5656766" y="771104"/>
              <a:chExt cx="75600" cy="257824"/>
            </a:xfrm>
          </p:grpSpPr>
          <p:sp>
            <p:nvSpPr>
              <p:cNvPr id="92" name="Ellipse 91"/>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solidFill>
                  <a:latin typeface="+mn-lt"/>
                </a:endParaRPr>
              </a:p>
            </p:txBody>
          </p:sp>
          <p:sp>
            <p:nvSpPr>
              <p:cNvPr id="93" name="Rechteck 92"/>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4" name="Gerade Verbindung 93"/>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91" name="Ellipse 90"/>
            <p:cNvSpPr/>
            <p:nvPr/>
          </p:nvSpPr>
          <p:spPr>
            <a:xfrm>
              <a:off x="619125" y="94287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96" name="Gruppieren 95"/>
          <p:cNvGrpSpPr/>
          <p:nvPr/>
        </p:nvGrpSpPr>
        <p:grpSpPr>
          <a:xfrm>
            <a:off x="6096000" y="760647"/>
            <a:ext cx="2692321" cy="3575855"/>
            <a:chOff x="619125" y="760647"/>
            <a:chExt cx="2692321" cy="3575855"/>
          </a:xfrm>
        </p:grpSpPr>
        <p:sp>
          <p:nvSpPr>
            <p:cNvPr id="100" name="Rechteck 99"/>
            <p:cNvSpPr/>
            <p:nvPr/>
          </p:nvSpPr>
          <p:spPr>
            <a:xfrm>
              <a:off x="663818" y="981307"/>
              <a:ext cx="2612782" cy="333034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101" name="Rechteck 100"/>
            <p:cNvSpPr/>
            <p:nvPr/>
          </p:nvSpPr>
          <p:spPr>
            <a:xfrm>
              <a:off x="633525" y="26090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2" name="Rechteck 101"/>
            <p:cNvSpPr/>
            <p:nvPr/>
          </p:nvSpPr>
          <p:spPr>
            <a:xfrm>
              <a:off x="1934686" y="427530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3" name="Ellipse 102"/>
            <p:cNvSpPr/>
            <p:nvPr/>
          </p:nvSpPr>
          <p:spPr>
            <a:xfrm>
              <a:off x="3235846" y="94287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4" name="Ellipse 103"/>
            <p:cNvSpPr/>
            <p:nvPr/>
          </p:nvSpPr>
          <p:spPr>
            <a:xfrm>
              <a:off x="619125" y="4260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5" name="Rechteck 104"/>
            <p:cNvSpPr/>
            <p:nvPr/>
          </p:nvSpPr>
          <p:spPr>
            <a:xfrm>
              <a:off x="3250246" y="26090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6" name="Ellipse 105"/>
            <p:cNvSpPr/>
            <p:nvPr/>
          </p:nvSpPr>
          <p:spPr>
            <a:xfrm>
              <a:off x="3235846" y="4260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07" name="Gruppieren 139"/>
            <p:cNvGrpSpPr/>
            <p:nvPr/>
          </p:nvGrpSpPr>
          <p:grpSpPr>
            <a:xfrm>
              <a:off x="1927486" y="760647"/>
              <a:ext cx="75600" cy="257824"/>
              <a:chOff x="5656766" y="771104"/>
              <a:chExt cx="75600" cy="257824"/>
            </a:xfrm>
          </p:grpSpPr>
          <p:sp>
            <p:nvSpPr>
              <p:cNvPr id="109" name="Ellipse 108"/>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lt1"/>
                  </a:solidFill>
                  <a:latin typeface="+mn-lt"/>
                </a:endParaRPr>
              </a:p>
            </p:txBody>
          </p:sp>
          <p:sp>
            <p:nvSpPr>
              <p:cNvPr id="110" name="Rechteck 109"/>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11" name="Gerade Verbindung 110"/>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108" name="Ellipse 107"/>
            <p:cNvSpPr/>
            <p:nvPr/>
          </p:nvSpPr>
          <p:spPr>
            <a:xfrm>
              <a:off x="619125" y="94287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84" name="Group 45"/>
          <p:cNvGrpSpPr>
            <a:grpSpLocks/>
          </p:cNvGrpSpPr>
          <p:nvPr/>
        </p:nvGrpSpPr>
        <p:grpSpPr bwMode="auto">
          <a:xfrm rot="20287264">
            <a:off x="2428042" y="3966262"/>
            <a:ext cx="374650" cy="609600"/>
            <a:chOff x="1950" y="1045"/>
            <a:chExt cx="568" cy="928"/>
          </a:xfrm>
        </p:grpSpPr>
        <p:sp>
          <p:nvSpPr>
            <p:cNvPr id="185"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dirty="0">
                <a:latin typeface="Myriad Pro" pitchFamily="34" charset="0"/>
              </a:endParaRPr>
            </a:p>
          </p:txBody>
        </p:sp>
        <p:sp>
          <p:nvSpPr>
            <p:cNvPr id="186"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dirty="0"/>
            </a:p>
          </p:txBody>
        </p:sp>
        <p:sp>
          <p:nvSpPr>
            <p:cNvPr id="187"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188"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dirty="0"/>
            </a:p>
          </p:txBody>
        </p:sp>
        <p:sp>
          <p:nvSpPr>
            <p:cNvPr id="189"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190"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dirty="0"/>
            </a:p>
          </p:txBody>
        </p:sp>
        <p:sp>
          <p:nvSpPr>
            <p:cNvPr id="191"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dirty="0"/>
            </a:p>
          </p:txBody>
        </p:sp>
        <p:sp>
          <p:nvSpPr>
            <p:cNvPr id="192"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dirty="0">
                <a:latin typeface="Myriad Pro" pitchFamily="34" charset="0"/>
              </a:endParaRPr>
            </a:p>
          </p:txBody>
        </p:sp>
        <p:sp>
          <p:nvSpPr>
            <p:cNvPr id="193"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dirty="0"/>
            </a:p>
          </p:txBody>
        </p:sp>
        <p:sp>
          <p:nvSpPr>
            <p:cNvPr id="194"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dirty="0"/>
            </a:p>
          </p:txBody>
        </p:sp>
        <p:sp>
          <p:nvSpPr>
            <p:cNvPr id="195"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dirty="0"/>
            </a:p>
          </p:txBody>
        </p:sp>
        <p:sp>
          <p:nvSpPr>
            <p:cNvPr id="196"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dirty="0"/>
            </a:p>
          </p:txBody>
        </p:sp>
      </p:grpSp>
      <p:grpSp>
        <p:nvGrpSpPr>
          <p:cNvPr id="69" name="Gruppieren 73"/>
          <p:cNvGrpSpPr/>
          <p:nvPr/>
        </p:nvGrpSpPr>
        <p:grpSpPr>
          <a:xfrm>
            <a:off x="207485" y="1046547"/>
            <a:ext cx="347663" cy="338138"/>
            <a:chOff x="203518" y="4378643"/>
            <a:chExt cx="347663" cy="338138"/>
          </a:xfrm>
        </p:grpSpPr>
        <p:pic>
          <p:nvPicPr>
            <p:cNvPr id="70" name="Grafik 69" descr="schatten.png"/>
            <p:cNvPicPr>
              <a:picLocks noChangeAspect="1"/>
            </p:cNvPicPr>
            <p:nvPr/>
          </p:nvPicPr>
          <p:blipFill>
            <a:blip r:embed="rId8" cstate="print">
              <a:lum bright="30000"/>
            </a:blip>
            <a:srcRect l="17603" t="9404" r="15359" b="14528"/>
            <a:stretch>
              <a:fillRect/>
            </a:stretch>
          </p:blipFill>
          <p:spPr>
            <a:xfrm>
              <a:off x="203518" y="4378643"/>
              <a:ext cx="347663" cy="338138"/>
            </a:xfrm>
            <a:prstGeom prst="rect">
              <a:avLst/>
            </a:prstGeom>
          </p:spPr>
        </p:pic>
        <p:sp>
          <p:nvSpPr>
            <p:cNvPr id="71"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72" name="Gruppieren 73"/>
          <p:cNvGrpSpPr/>
          <p:nvPr/>
        </p:nvGrpSpPr>
        <p:grpSpPr>
          <a:xfrm>
            <a:off x="5720379" y="1054785"/>
            <a:ext cx="347663" cy="338138"/>
            <a:chOff x="203518" y="4378643"/>
            <a:chExt cx="347663" cy="338138"/>
          </a:xfrm>
        </p:grpSpPr>
        <p:pic>
          <p:nvPicPr>
            <p:cNvPr id="73" name="Grafik 72" descr="schatten.png"/>
            <p:cNvPicPr>
              <a:picLocks noChangeAspect="1"/>
            </p:cNvPicPr>
            <p:nvPr/>
          </p:nvPicPr>
          <p:blipFill>
            <a:blip r:embed="rId8" cstate="print">
              <a:lum bright="30000"/>
            </a:blip>
            <a:srcRect l="17603" t="9404" r="15359" b="14528"/>
            <a:stretch>
              <a:fillRect/>
            </a:stretch>
          </p:blipFill>
          <p:spPr>
            <a:xfrm>
              <a:off x="203518" y="4378643"/>
              <a:ext cx="347663" cy="338138"/>
            </a:xfrm>
            <a:prstGeom prst="rect">
              <a:avLst/>
            </a:prstGeom>
          </p:spPr>
        </p:pic>
        <p:sp>
          <p:nvSpPr>
            <p:cNvPr id="74"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spTree>
    <p:extLst>
      <p:ext uri="{BB962C8B-B14F-4D97-AF65-F5344CB8AC3E}">
        <p14:creationId xmlns:p14="http://schemas.microsoft.com/office/powerpoint/2010/main" val="130436970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 name="Picture 2"/>
          <p:cNvPicPr>
            <a:picLocks noChangeAspect="1" noChangeArrowheads="1"/>
          </p:cNvPicPr>
          <p:nvPr/>
        </p:nvPicPr>
        <p:blipFill>
          <a:blip r:embed="rId3"/>
          <a:srcRect/>
          <a:stretch>
            <a:fillRect/>
          </a:stretch>
        </p:blipFill>
        <p:spPr bwMode="auto">
          <a:xfrm>
            <a:off x="-6350" y="3054350"/>
            <a:ext cx="9156700" cy="3359150"/>
          </a:xfrm>
          <a:prstGeom prst="rect">
            <a:avLst/>
          </a:prstGeom>
          <a:noFill/>
          <a:ln w="9525">
            <a:noFill/>
            <a:miter lim="800000"/>
            <a:headEnd/>
            <a:tailEnd/>
          </a:ln>
          <a:effectLst/>
        </p:spPr>
      </p:pic>
      <p:sp>
        <p:nvSpPr>
          <p:cNvPr id="27651" name="Titel 7"/>
          <p:cNvSpPr>
            <a:spLocks noGrp="1"/>
          </p:cNvSpPr>
          <p:nvPr>
            <p:ph type="title"/>
          </p:nvPr>
        </p:nvSpPr>
        <p:spPr bwMode="auto">
          <a:xfrm>
            <a:off x="131763" y="274638"/>
            <a:ext cx="9015412" cy="461962"/>
          </a:xfrm>
          <a:noFill/>
          <a:ln>
            <a:miter lim="800000"/>
            <a:headEnd/>
            <a:tailEnd/>
          </a:ln>
        </p:spPr>
        <p:txBody>
          <a:bodyPr vert="horz" wrap="square" lIns="91440" tIns="45720" rIns="91440" bIns="45720" numCol="1" anchor="t" anchorCtr="0" compatLnSpc="1">
            <a:prstTxWarp prst="textNoShape">
              <a:avLst/>
            </a:prstTxWarp>
          </a:bodyPr>
          <a:lstStyle/>
          <a:p>
            <a:r>
              <a:rPr lang="de-DE" dirty="0" smtClean="0"/>
              <a:t>Folie kopieren</a:t>
            </a:r>
          </a:p>
        </p:txBody>
      </p:sp>
      <p:grpSp>
        <p:nvGrpSpPr>
          <p:cNvPr id="2" name="Gruppieren 77"/>
          <p:cNvGrpSpPr/>
          <p:nvPr/>
        </p:nvGrpSpPr>
        <p:grpSpPr>
          <a:xfrm>
            <a:off x="5087118" y="1376067"/>
            <a:ext cx="347663" cy="338138"/>
            <a:chOff x="203518" y="4966018"/>
            <a:chExt cx="347663" cy="338138"/>
          </a:xfrm>
        </p:grpSpPr>
        <p:pic>
          <p:nvPicPr>
            <p:cNvPr id="152" name="Grafik 151" descr="schatten.png"/>
            <p:cNvPicPr>
              <a:picLocks noChangeAspect="1"/>
            </p:cNvPicPr>
            <p:nvPr/>
          </p:nvPicPr>
          <p:blipFill>
            <a:blip r:embed="rId4" cstate="print">
              <a:lum bright="30000"/>
            </a:blip>
            <a:srcRect l="17603" t="9404" r="15359" b="14528"/>
            <a:stretch>
              <a:fillRect/>
            </a:stretch>
          </p:blipFill>
          <p:spPr>
            <a:xfrm>
              <a:off x="203518" y="4966018"/>
              <a:ext cx="347663" cy="338138"/>
            </a:xfrm>
            <a:prstGeom prst="rect">
              <a:avLst/>
            </a:prstGeom>
          </p:spPr>
        </p:pic>
        <p:sp>
          <p:nvSpPr>
            <p:cNvPr id="153"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3" name="Gruppieren 73"/>
          <p:cNvGrpSpPr/>
          <p:nvPr/>
        </p:nvGrpSpPr>
        <p:grpSpPr>
          <a:xfrm>
            <a:off x="207485" y="1376067"/>
            <a:ext cx="347663" cy="338138"/>
            <a:chOff x="203518" y="4378643"/>
            <a:chExt cx="347663" cy="338138"/>
          </a:xfrm>
        </p:grpSpPr>
        <p:pic>
          <p:nvPicPr>
            <p:cNvPr id="155" name="Grafik 154" descr="schatten.png"/>
            <p:cNvPicPr>
              <a:picLocks noChangeAspect="1"/>
            </p:cNvPicPr>
            <p:nvPr/>
          </p:nvPicPr>
          <p:blipFill>
            <a:blip r:embed="rId4" cstate="print">
              <a:lum bright="30000"/>
            </a:blip>
            <a:srcRect l="17603" t="9404" r="15359" b="14528"/>
            <a:stretch>
              <a:fillRect/>
            </a:stretch>
          </p:blipFill>
          <p:spPr>
            <a:xfrm>
              <a:off x="203518" y="4378643"/>
              <a:ext cx="347663" cy="338138"/>
            </a:xfrm>
            <a:prstGeom prst="rect">
              <a:avLst/>
            </a:prstGeom>
          </p:spPr>
        </p:pic>
        <p:sp>
          <p:nvSpPr>
            <p:cNvPr id="156"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98" name="Rechteck 97">
            <a:hlinkClick r:id="rId5"/>
          </p:cNvPr>
          <p:cNvSpPr/>
          <p:nvPr/>
        </p:nvSpPr>
        <p:spPr>
          <a:xfrm>
            <a:off x="6648450" y="6296025"/>
            <a:ext cx="2495550" cy="56197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4" name="Gruppieren 216"/>
          <p:cNvGrpSpPr/>
          <p:nvPr/>
        </p:nvGrpSpPr>
        <p:grpSpPr>
          <a:xfrm>
            <a:off x="4139518" y="1949113"/>
            <a:ext cx="1265559" cy="400110"/>
            <a:chOff x="7878441" y="163855"/>
            <a:chExt cx="1265559" cy="400110"/>
          </a:xfrm>
        </p:grpSpPr>
        <p:pic>
          <p:nvPicPr>
            <p:cNvPr id="218" name="Grafik 217" descr="strg.png"/>
            <p:cNvPicPr>
              <a:picLocks noChangeAspect="1"/>
            </p:cNvPicPr>
            <p:nvPr/>
          </p:nvPicPr>
          <p:blipFill>
            <a:blip r:embed="rId6" cstate="print"/>
            <a:stretch>
              <a:fillRect/>
            </a:stretch>
          </p:blipFill>
          <p:spPr>
            <a:xfrm>
              <a:off x="7878441" y="184160"/>
              <a:ext cx="508093" cy="359500"/>
            </a:xfrm>
            <a:prstGeom prst="rect">
              <a:avLst/>
            </a:prstGeom>
          </p:spPr>
        </p:pic>
        <p:sp>
          <p:nvSpPr>
            <p:cNvPr id="219" name="Textfeld 218"/>
            <p:cNvSpPr txBox="1"/>
            <p:nvPr/>
          </p:nvSpPr>
          <p:spPr>
            <a:xfrm>
              <a:off x="8417831" y="163855"/>
              <a:ext cx="357052" cy="400110"/>
            </a:xfrm>
            <a:prstGeom prst="rect">
              <a:avLst/>
            </a:prstGeom>
            <a:noFill/>
          </p:spPr>
          <p:txBody>
            <a:bodyPr wrap="square" rtlCol="0">
              <a:spAutoFit/>
            </a:bodyPr>
            <a:lstStyle/>
            <a:p>
              <a:r>
                <a:rPr lang="de-DE" dirty="0" smtClean="0"/>
                <a:t>+</a:t>
              </a:r>
              <a:endParaRPr lang="de-DE" sz="2000" dirty="0"/>
            </a:p>
          </p:txBody>
        </p:sp>
        <p:pic>
          <p:nvPicPr>
            <p:cNvPr id="220" name="Grafik 219" descr="C_gr.png"/>
            <p:cNvPicPr>
              <a:picLocks noChangeAspect="1"/>
            </p:cNvPicPr>
            <p:nvPr/>
          </p:nvPicPr>
          <p:blipFill>
            <a:blip r:embed="rId7" cstate="print"/>
            <a:stretch>
              <a:fillRect/>
            </a:stretch>
          </p:blipFill>
          <p:spPr>
            <a:xfrm>
              <a:off x="8786400" y="183660"/>
              <a:ext cx="357600" cy="360000"/>
            </a:xfrm>
            <a:prstGeom prst="rect">
              <a:avLst/>
            </a:prstGeom>
          </p:spPr>
        </p:pic>
      </p:grpSp>
      <p:grpSp>
        <p:nvGrpSpPr>
          <p:cNvPr id="5" name="Gruppieren 220"/>
          <p:cNvGrpSpPr/>
          <p:nvPr/>
        </p:nvGrpSpPr>
        <p:grpSpPr>
          <a:xfrm>
            <a:off x="4139518" y="2604621"/>
            <a:ext cx="1265559" cy="400110"/>
            <a:chOff x="7878441" y="1350587"/>
            <a:chExt cx="1265559" cy="400110"/>
          </a:xfrm>
        </p:grpSpPr>
        <p:pic>
          <p:nvPicPr>
            <p:cNvPr id="222" name="Grafik 221" descr="strg.png"/>
            <p:cNvPicPr>
              <a:picLocks noChangeAspect="1"/>
            </p:cNvPicPr>
            <p:nvPr/>
          </p:nvPicPr>
          <p:blipFill>
            <a:blip r:embed="rId6" cstate="print"/>
            <a:stretch>
              <a:fillRect/>
            </a:stretch>
          </p:blipFill>
          <p:spPr>
            <a:xfrm>
              <a:off x="7878441" y="1370892"/>
              <a:ext cx="508093" cy="359500"/>
            </a:xfrm>
            <a:prstGeom prst="rect">
              <a:avLst/>
            </a:prstGeom>
          </p:spPr>
        </p:pic>
        <p:sp>
          <p:nvSpPr>
            <p:cNvPr id="223" name="Textfeld 222"/>
            <p:cNvSpPr txBox="1"/>
            <p:nvPr/>
          </p:nvSpPr>
          <p:spPr>
            <a:xfrm>
              <a:off x="8417831" y="1350587"/>
              <a:ext cx="357052" cy="400110"/>
            </a:xfrm>
            <a:prstGeom prst="rect">
              <a:avLst/>
            </a:prstGeom>
            <a:noFill/>
          </p:spPr>
          <p:txBody>
            <a:bodyPr wrap="square" rtlCol="0">
              <a:spAutoFit/>
            </a:bodyPr>
            <a:lstStyle/>
            <a:p>
              <a:r>
                <a:rPr lang="de-DE" dirty="0" smtClean="0"/>
                <a:t>+</a:t>
              </a:r>
              <a:endParaRPr lang="de-DE" sz="2000" dirty="0"/>
            </a:p>
          </p:txBody>
        </p:sp>
        <p:pic>
          <p:nvPicPr>
            <p:cNvPr id="224" name="Grafik 223" descr="V_gr.png"/>
            <p:cNvPicPr>
              <a:picLocks noChangeAspect="1"/>
            </p:cNvPicPr>
            <p:nvPr/>
          </p:nvPicPr>
          <p:blipFill>
            <a:blip r:embed="rId8" cstate="print"/>
            <a:stretch>
              <a:fillRect/>
            </a:stretch>
          </p:blipFill>
          <p:spPr>
            <a:xfrm>
              <a:off x="8786400" y="1370392"/>
              <a:ext cx="357600" cy="360000"/>
            </a:xfrm>
            <a:prstGeom prst="rect">
              <a:avLst/>
            </a:prstGeom>
          </p:spPr>
        </p:pic>
      </p:grpSp>
      <p:grpSp>
        <p:nvGrpSpPr>
          <p:cNvPr id="68" name="Group 67"/>
          <p:cNvGrpSpPr/>
          <p:nvPr/>
        </p:nvGrpSpPr>
        <p:grpSpPr>
          <a:xfrm>
            <a:off x="5503903" y="1321888"/>
            <a:ext cx="3387685" cy="2465886"/>
            <a:chOff x="5503903" y="1321888"/>
            <a:chExt cx="3387685" cy="2465886"/>
          </a:xfrm>
        </p:grpSpPr>
        <p:pic>
          <p:nvPicPr>
            <p:cNvPr id="71" name="Picture 4"/>
            <p:cNvPicPr>
              <a:picLocks noChangeAspect="1" noChangeArrowheads="1"/>
            </p:cNvPicPr>
            <p:nvPr/>
          </p:nvPicPr>
          <p:blipFill>
            <a:blip r:embed="rId9"/>
            <a:srcRect/>
            <a:stretch>
              <a:fillRect/>
            </a:stretch>
          </p:blipFill>
          <p:spPr bwMode="auto">
            <a:xfrm>
              <a:off x="5507038" y="1321888"/>
              <a:ext cx="3384550" cy="2465886"/>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sp>
          <p:nvSpPr>
            <p:cNvPr id="225" name="Rechteck 224"/>
            <p:cNvSpPr/>
            <p:nvPr/>
          </p:nvSpPr>
          <p:spPr>
            <a:xfrm>
              <a:off x="5503903" y="1948612"/>
              <a:ext cx="284916" cy="19735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7" name="Gruppieren 77"/>
          <p:cNvGrpSpPr/>
          <p:nvPr/>
        </p:nvGrpSpPr>
        <p:grpSpPr>
          <a:xfrm>
            <a:off x="211756" y="5538253"/>
            <a:ext cx="347663" cy="338138"/>
            <a:chOff x="203518" y="4966018"/>
            <a:chExt cx="347663" cy="338138"/>
          </a:xfrm>
        </p:grpSpPr>
        <p:pic>
          <p:nvPicPr>
            <p:cNvPr id="249" name="Grafik 248" descr="schatten.png"/>
            <p:cNvPicPr>
              <a:picLocks noChangeAspect="1"/>
            </p:cNvPicPr>
            <p:nvPr/>
          </p:nvPicPr>
          <p:blipFill>
            <a:blip r:embed="rId4" cstate="print">
              <a:lum bright="30000"/>
            </a:blip>
            <a:srcRect l="17603" t="9404" r="15359" b="14528"/>
            <a:stretch>
              <a:fillRect/>
            </a:stretch>
          </p:blipFill>
          <p:spPr>
            <a:xfrm>
              <a:off x="203518" y="4966018"/>
              <a:ext cx="347663" cy="338138"/>
            </a:xfrm>
            <a:prstGeom prst="rect">
              <a:avLst/>
            </a:prstGeom>
          </p:spPr>
        </p:pic>
        <p:sp>
          <p:nvSpPr>
            <p:cNvPr id="250"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251"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Um eine Folie aus einer bestehenden Präsentation zu kopieren, wählen Sie die gewünschte Folie mit der linken Maustaste aus.</a:t>
            </a:r>
            <a:endParaRPr lang="de-DE" sz="1200" dirty="0">
              <a:latin typeface="Myriad Pro" pitchFamily="34" charset="0"/>
              <a:ea typeface="Arial Unicode MS" pitchFamily="34" charset="-128"/>
              <a:cs typeface="Arial" charset="0"/>
            </a:endParaRPr>
          </a:p>
        </p:txBody>
      </p:sp>
      <p:grpSp>
        <p:nvGrpSpPr>
          <p:cNvPr id="8" name="Gruppieren 73"/>
          <p:cNvGrpSpPr/>
          <p:nvPr/>
        </p:nvGrpSpPr>
        <p:grpSpPr>
          <a:xfrm>
            <a:off x="211756" y="4979777"/>
            <a:ext cx="347663" cy="338138"/>
            <a:chOff x="203518" y="4378643"/>
            <a:chExt cx="347663" cy="338138"/>
          </a:xfrm>
        </p:grpSpPr>
        <p:pic>
          <p:nvPicPr>
            <p:cNvPr id="254" name="Grafik 253" descr="schatten.png"/>
            <p:cNvPicPr>
              <a:picLocks noChangeAspect="1"/>
            </p:cNvPicPr>
            <p:nvPr/>
          </p:nvPicPr>
          <p:blipFill>
            <a:blip r:embed="rId4" cstate="print">
              <a:lum bright="30000"/>
            </a:blip>
            <a:srcRect l="17603" t="9404" r="15359" b="14528"/>
            <a:stretch>
              <a:fillRect/>
            </a:stretch>
          </p:blipFill>
          <p:spPr>
            <a:xfrm>
              <a:off x="203518" y="4378643"/>
              <a:ext cx="347663" cy="338138"/>
            </a:xfrm>
            <a:prstGeom prst="rect">
              <a:avLst/>
            </a:prstGeom>
          </p:spPr>
        </p:pic>
        <p:sp>
          <p:nvSpPr>
            <p:cNvPr id="255"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284" name="Rectangle 5"/>
          <p:cNvSpPr>
            <a:spLocks noChangeArrowheads="1"/>
          </p:cNvSpPr>
          <p:nvPr/>
        </p:nvSpPr>
        <p:spPr bwMode="gray">
          <a:xfrm>
            <a:off x="639763" y="5538253"/>
            <a:ext cx="7894637" cy="667814"/>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Drücken Sie auf Ihrer Tastatur die „Strg“  und „C“ Taste, somit kopieren Sie die Folie in die Zwischenablage. Anschließend fügen Sie durch drücken der Tasten  „Strg“ und „V“, die in der Zwischenablage befindliche Folie, in die gewünschte Präsentation ein.</a:t>
            </a:r>
            <a:endParaRPr lang="de-DE" sz="1200" dirty="0">
              <a:solidFill>
                <a:srgbClr val="000000"/>
              </a:solidFill>
              <a:ea typeface="Arial Unicode MS" pitchFamily="34" charset="-128"/>
              <a:cs typeface="Arial" charset="0"/>
            </a:endParaRPr>
          </a:p>
        </p:txBody>
      </p:sp>
      <p:grpSp>
        <p:nvGrpSpPr>
          <p:cNvPr id="66" name="Group 65"/>
          <p:cNvGrpSpPr/>
          <p:nvPr/>
        </p:nvGrpSpPr>
        <p:grpSpPr>
          <a:xfrm>
            <a:off x="636639" y="1321888"/>
            <a:ext cx="3392437" cy="2465886"/>
            <a:chOff x="636639" y="1321888"/>
            <a:chExt cx="3392437" cy="2465886"/>
          </a:xfrm>
        </p:grpSpPr>
        <p:pic>
          <p:nvPicPr>
            <p:cNvPr id="70" name="Picture 3"/>
            <p:cNvPicPr>
              <a:picLocks noChangeAspect="1" noChangeArrowheads="1"/>
            </p:cNvPicPr>
            <p:nvPr/>
          </p:nvPicPr>
          <p:blipFill>
            <a:blip r:embed="rId10"/>
            <a:srcRect/>
            <a:stretch>
              <a:fillRect/>
            </a:stretch>
          </p:blipFill>
          <p:spPr bwMode="auto">
            <a:xfrm>
              <a:off x="644526" y="1321888"/>
              <a:ext cx="3384550" cy="2465886"/>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sp>
          <p:nvSpPr>
            <p:cNvPr id="72" name="Rechteck 71"/>
            <p:cNvSpPr/>
            <p:nvPr/>
          </p:nvSpPr>
          <p:spPr>
            <a:xfrm>
              <a:off x="636639" y="1948612"/>
              <a:ext cx="284916" cy="19735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69" name="Group 68"/>
          <p:cNvGrpSpPr/>
          <p:nvPr/>
        </p:nvGrpSpPr>
        <p:grpSpPr>
          <a:xfrm>
            <a:off x="919623" y="2022180"/>
            <a:ext cx="5028478" cy="609600"/>
            <a:chOff x="919623" y="2022180"/>
            <a:chExt cx="5028478" cy="609600"/>
          </a:xfrm>
        </p:grpSpPr>
        <p:grpSp>
          <p:nvGrpSpPr>
            <p:cNvPr id="9" name="Group 45"/>
            <p:cNvGrpSpPr>
              <a:grpSpLocks/>
            </p:cNvGrpSpPr>
            <p:nvPr/>
          </p:nvGrpSpPr>
          <p:grpSpPr bwMode="auto">
            <a:xfrm rot="20287264">
              <a:off x="919623" y="2022180"/>
              <a:ext cx="374650" cy="609600"/>
              <a:chOff x="1950" y="1045"/>
              <a:chExt cx="568" cy="928"/>
            </a:xfrm>
          </p:grpSpPr>
          <p:sp>
            <p:nvSpPr>
              <p:cNvPr id="270"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dirty="0">
                  <a:latin typeface="Myriad Pro" pitchFamily="34" charset="0"/>
                </a:endParaRPr>
              </a:p>
            </p:txBody>
          </p:sp>
          <p:sp>
            <p:nvSpPr>
              <p:cNvPr id="271"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dirty="0"/>
              </a:p>
            </p:txBody>
          </p:sp>
          <p:sp>
            <p:nvSpPr>
              <p:cNvPr id="272"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273"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dirty="0"/>
              </a:p>
            </p:txBody>
          </p:sp>
          <p:sp>
            <p:nvSpPr>
              <p:cNvPr id="274"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275"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dirty="0"/>
              </a:p>
            </p:txBody>
          </p:sp>
          <p:sp>
            <p:nvSpPr>
              <p:cNvPr id="276"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dirty="0"/>
              </a:p>
            </p:txBody>
          </p:sp>
          <p:sp>
            <p:nvSpPr>
              <p:cNvPr id="277"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dirty="0">
                  <a:latin typeface="Myriad Pro" pitchFamily="34" charset="0"/>
                </a:endParaRPr>
              </a:p>
            </p:txBody>
          </p:sp>
          <p:sp>
            <p:nvSpPr>
              <p:cNvPr id="278"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dirty="0"/>
              </a:p>
            </p:txBody>
          </p:sp>
          <p:sp>
            <p:nvSpPr>
              <p:cNvPr id="279"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dirty="0"/>
              </a:p>
            </p:txBody>
          </p:sp>
          <p:sp>
            <p:nvSpPr>
              <p:cNvPr id="280"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dirty="0"/>
              </a:p>
            </p:txBody>
          </p:sp>
          <p:sp>
            <p:nvSpPr>
              <p:cNvPr id="281"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dirty="0"/>
              </a:p>
            </p:txBody>
          </p:sp>
        </p:grpSp>
        <p:grpSp>
          <p:nvGrpSpPr>
            <p:cNvPr id="6" name="Gruppieren 278"/>
            <p:cNvGrpSpPr/>
            <p:nvPr/>
          </p:nvGrpSpPr>
          <p:grpSpPr>
            <a:xfrm>
              <a:off x="5729464" y="2096750"/>
              <a:ext cx="218637" cy="381655"/>
              <a:chOff x="2806936" y="1682676"/>
              <a:chExt cx="852584" cy="1488282"/>
            </a:xfrm>
            <a:effectLst>
              <a:outerShdw blurRad="50800" dist="38100" dir="2700000" algn="tl" rotWithShape="0">
                <a:prstClr val="black">
                  <a:alpha val="40000"/>
                </a:prstClr>
              </a:outerShdw>
            </a:effectLst>
          </p:grpSpPr>
          <p:sp>
            <p:nvSpPr>
              <p:cNvPr id="227" name="Freeform 209"/>
              <p:cNvSpPr>
                <a:spLocks/>
              </p:cNvSpPr>
              <p:nvPr/>
            </p:nvSpPr>
            <p:spPr bwMode="auto">
              <a:xfrm>
                <a:off x="2877569" y="1823942"/>
                <a:ext cx="639853" cy="1276382"/>
              </a:xfrm>
              <a:custGeom>
                <a:avLst/>
                <a:gdLst/>
                <a:ahLst/>
                <a:cxnLst>
                  <a:cxn ang="0">
                    <a:pos x="770" y="1366"/>
                  </a:cxn>
                  <a:cxn ang="0">
                    <a:pos x="770" y="1536"/>
                  </a:cxn>
                  <a:cxn ang="0">
                    <a:pos x="598" y="1536"/>
                  </a:cxn>
                  <a:cxn ang="0">
                    <a:pos x="598" y="1366"/>
                  </a:cxn>
                  <a:cxn ang="0">
                    <a:pos x="513" y="1366"/>
                  </a:cxn>
                  <a:cxn ang="0">
                    <a:pos x="513" y="1195"/>
                  </a:cxn>
                  <a:cxn ang="0">
                    <a:pos x="428" y="1195"/>
                  </a:cxn>
                  <a:cxn ang="0">
                    <a:pos x="428" y="1023"/>
                  </a:cxn>
                  <a:cxn ang="0">
                    <a:pos x="343" y="1023"/>
                  </a:cxn>
                  <a:cxn ang="0">
                    <a:pos x="343" y="853"/>
                  </a:cxn>
                  <a:cxn ang="0">
                    <a:pos x="258" y="853"/>
                  </a:cxn>
                  <a:cxn ang="0">
                    <a:pos x="258" y="938"/>
                  </a:cxn>
                  <a:cxn ang="0">
                    <a:pos x="173" y="938"/>
                  </a:cxn>
                  <a:cxn ang="0">
                    <a:pos x="173" y="1023"/>
                  </a:cxn>
                  <a:cxn ang="0">
                    <a:pos x="87" y="1023"/>
                  </a:cxn>
                  <a:cxn ang="0">
                    <a:pos x="87" y="1108"/>
                  </a:cxn>
                  <a:cxn ang="0">
                    <a:pos x="0" y="1108"/>
                  </a:cxn>
                  <a:cxn ang="0">
                    <a:pos x="0" y="0"/>
                  </a:cxn>
                  <a:cxn ang="0">
                    <a:pos x="87" y="0"/>
                  </a:cxn>
                  <a:cxn ang="0">
                    <a:pos x="87" y="85"/>
                  </a:cxn>
                  <a:cxn ang="0">
                    <a:pos x="173" y="85"/>
                  </a:cxn>
                  <a:cxn ang="0">
                    <a:pos x="173" y="170"/>
                  </a:cxn>
                  <a:cxn ang="0">
                    <a:pos x="258" y="170"/>
                  </a:cxn>
                  <a:cxn ang="0">
                    <a:pos x="258" y="255"/>
                  </a:cxn>
                  <a:cxn ang="0">
                    <a:pos x="343" y="255"/>
                  </a:cxn>
                  <a:cxn ang="0">
                    <a:pos x="343" y="340"/>
                  </a:cxn>
                  <a:cxn ang="0">
                    <a:pos x="428" y="340"/>
                  </a:cxn>
                  <a:cxn ang="0">
                    <a:pos x="428" y="425"/>
                  </a:cxn>
                  <a:cxn ang="0">
                    <a:pos x="513" y="425"/>
                  </a:cxn>
                  <a:cxn ang="0">
                    <a:pos x="513" y="513"/>
                  </a:cxn>
                  <a:cxn ang="0">
                    <a:pos x="598" y="513"/>
                  </a:cxn>
                  <a:cxn ang="0">
                    <a:pos x="598" y="598"/>
                  </a:cxn>
                  <a:cxn ang="0">
                    <a:pos x="683" y="598"/>
                  </a:cxn>
                  <a:cxn ang="0">
                    <a:pos x="683" y="683"/>
                  </a:cxn>
                  <a:cxn ang="0">
                    <a:pos x="770" y="683"/>
                  </a:cxn>
                  <a:cxn ang="0">
                    <a:pos x="770" y="768"/>
                  </a:cxn>
                  <a:cxn ang="0">
                    <a:pos x="513" y="768"/>
                  </a:cxn>
                  <a:cxn ang="0">
                    <a:pos x="513" y="1023"/>
                  </a:cxn>
                  <a:cxn ang="0">
                    <a:pos x="598" y="1023"/>
                  </a:cxn>
                  <a:cxn ang="0">
                    <a:pos x="598" y="1195"/>
                  </a:cxn>
                  <a:cxn ang="0">
                    <a:pos x="683" y="1195"/>
                  </a:cxn>
                  <a:cxn ang="0">
                    <a:pos x="683" y="1366"/>
                  </a:cxn>
                  <a:cxn ang="0">
                    <a:pos x="770" y="1366"/>
                  </a:cxn>
                </a:cxnLst>
                <a:rect l="0" t="0" r="r" b="b"/>
                <a:pathLst>
                  <a:path w="770" h="1536">
                    <a:moveTo>
                      <a:pt x="770" y="1366"/>
                    </a:moveTo>
                    <a:lnTo>
                      <a:pt x="770" y="1536"/>
                    </a:lnTo>
                    <a:lnTo>
                      <a:pt x="598" y="1536"/>
                    </a:lnTo>
                    <a:lnTo>
                      <a:pt x="598" y="1366"/>
                    </a:lnTo>
                    <a:lnTo>
                      <a:pt x="513" y="1366"/>
                    </a:lnTo>
                    <a:lnTo>
                      <a:pt x="513" y="1195"/>
                    </a:lnTo>
                    <a:lnTo>
                      <a:pt x="428" y="1195"/>
                    </a:lnTo>
                    <a:lnTo>
                      <a:pt x="428" y="1023"/>
                    </a:lnTo>
                    <a:lnTo>
                      <a:pt x="343" y="1023"/>
                    </a:lnTo>
                    <a:lnTo>
                      <a:pt x="343" y="853"/>
                    </a:lnTo>
                    <a:lnTo>
                      <a:pt x="258" y="853"/>
                    </a:lnTo>
                    <a:lnTo>
                      <a:pt x="258" y="938"/>
                    </a:lnTo>
                    <a:lnTo>
                      <a:pt x="173" y="938"/>
                    </a:lnTo>
                    <a:lnTo>
                      <a:pt x="173" y="1023"/>
                    </a:lnTo>
                    <a:lnTo>
                      <a:pt x="87" y="1023"/>
                    </a:lnTo>
                    <a:lnTo>
                      <a:pt x="87" y="1108"/>
                    </a:lnTo>
                    <a:lnTo>
                      <a:pt x="0" y="1108"/>
                    </a:lnTo>
                    <a:lnTo>
                      <a:pt x="0" y="0"/>
                    </a:lnTo>
                    <a:lnTo>
                      <a:pt x="87" y="0"/>
                    </a:lnTo>
                    <a:lnTo>
                      <a:pt x="87" y="85"/>
                    </a:lnTo>
                    <a:lnTo>
                      <a:pt x="173" y="85"/>
                    </a:lnTo>
                    <a:lnTo>
                      <a:pt x="173" y="170"/>
                    </a:lnTo>
                    <a:lnTo>
                      <a:pt x="258" y="170"/>
                    </a:lnTo>
                    <a:lnTo>
                      <a:pt x="258" y="255"/>
                    </a:lnTo>
                    <a:lnTo>
                      <a:pt x="343" y="255"/>
                    </a:lnTo>
                    <a:lnTo>
                      <a:pt x="343" y="340"/>
                    </a:lnTo>
                    <a:lnTo>
                      <a:pt x="428" y="340"/>
                    </a:lnTo>
                    <a:lnTo>
                      <a:pt x="428" y="425"/>
                    </a:lnTo>
                    <a:lnTo>
                      <a:pt x="513" y="425"/>
                    </a:lnTo>
                    <a:lnTo>
                      <a:pt x="513" y="513"/>
                    </a:lnTo>
                    <a:lnTo>
                      <a:pt x="598" y="513"/>
                    </a:lnTo>
                    <a:lnTo>
                      <a:pt x="598" y="598"/>
                    </a:lnTo>
                    <a:lnTo>
                      <a:pt x="683" y="598"/>
                    </a:lnTo>
                    <a:lnTo>
                      <a:pt x="683" y="683"/>
                    </a:lnTo>
                    <a:lnTo>
                      <a:pt x="770" y="683"/>
                    </a:lnTo>
                    <a:lnTo>
                      <a:pt x="770" y="768"/>
                    </a:lnTo>
                    <a:lnTo>
                      <a:pt x="513" y="768"/>
                    </a:lnTo>
                    <a:lnTo>
                      <a:pt x="513" y="1023"/>
                    </a:lnTo>
                    <a:lnTo>
                      <a:pt x="598" y="1023"/>
                    </a:lnTo>
                    <a:lnTo>
                      <a:pt x="598" y="1195"/>
                    </a:lnTo>
                    <a:lnTo>
                      <a:pt x="683" y="1195"/>
                    </a:lnTo>
                    <a:lnTo>
                      <a:pt x="683" y="1366"/>
                    </a:lnTo>
                    <a:lnTo>
                      <a:pt x="770" y="1366"/>
                    </a:lnTo>
                    <a:close/>
                  </a:path>
                </a:pathLst>
              </a:custGeom>
              <a:gradFill flip="none" rotWithShape="1">
                <a:gsLst>
                  <a:gs pos="0">
                    <a:schemeClr val="bg1">
                      <a:lumMod val="85000"/>
                    </a:schemeClr>
                  </a:gs>
                  <a:gs pos="50000">
                    <a:schemeClr val="bg1">
                      <a:lumMod val="95000"/>
                    </a:schemeClr>
                  </a:gs>
                  <a:gs pos="100000">
                    <a:schemeClr val="bg1">
                      <a:shade val="100000"/>
                      <a:satMod val="11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229" name="Freeform 210"/>
              <p:cNvSpPr>
                <a:spLocks/>
              </p:cNvSpPr>
              <p:nvPr/>
            </p:nvSpPr>
            <p:spPr bwMode="auto">
              <a:xfrm>
                <a:off x="3303861" y="2391501"/>
                <a:ext cx="355659" cy="282533"/>
              </a:xfrm>
              <a:custGeom>
                <a:avLst/>
                <a:gdLst/>
                <a:ahLst/>
                <a:cxnLst>
                  <a:cxn ang="0">
                    <a:pos x="428" y="85"/>
                  </a:cxn>
                  <a:cxn ang="0">
                    <a:pos x="428" y="170"/>
                  </a:cxn>
                  <a:cxn ang="0">
                    <a:pos x="85" y="170"/>
                  </a:cxn>
                  <a:cxn ang="0">
                    <a:pos x="85" y="340"/>
                  </a:cxn>
                  <a:cxn ang="0">
                    <a:pos x="0" y="340"/>
                  </a:cxn>
                  <a:cxn ang="0">
                    <a:pos x="0" y="85"/>
                  </a:cxn>
                  <a:cxn ang="0">
                    <a:pos x="257" y="85"/>
                  </a:cxn>
                  <a:cxn ang="0">
                    <a:pos x="257" y="0"/>
                  </a:cxn>
                  <a:cxn ang="0">
                    <a:pos x="343" y="0"/>
                  </a:cxn>
                  <a:cxn ang="0">
                    <a:pos x="343" y="85"/>
                  </a:cxn>
                  <a:cxn ang="0">
                    <a:pos x="428" y="85"/>
                  </a:cxn>
                </a:cxnLst>
                <a:rect l="0" t="0" r="r" b="b"/>
                <a:pathLst>
                  <a:path w="428" h="340">
                    <a:moveTo>
                      <a:pt x="428" y="85"/>
                    </a:moveTo>
                    <a:lnTo>
                      <a:pt x="428" y="170"/>
                    </a:lnTo>
                    <a:lnTo>
                      <a:pt x="85" y="170"/>
                    </a:lnTo>
                    <a:lnTo>
                      <a:pt x="85" y="340"/>
                    </a:lnTo>
                    <a:lnTo>
                      <a:pt x="0" y="340"/>
                    </a:lnTo>
                    <a:lnTo>
                      <a:pt x="0" y="85"/>
                    </a:lnTo>
                    <a:lnTo>
                      <a:pt x="257" y="85"/>
                    </a:lnTo>
                    <a:lnTo>
                      <a:pt x="257" y="0"/>
                    </a:lnTo>
                    <a:lnTo>
                      <a:pt x="343" y="0"/>
                    </a:lnTo>
                    <a:lnTo>
                      <a:pt x="343" y="85"/>
                    </a:lnTo>
                    <a:lnTo>
                      <a:pt x="428" y="85"/>
                    </a:lnTo>
                    <a:close/>
                  </a:path>
                </a:pathLst>
              </a:custGeom>
              <a:solidFill>
                <a:schemeClr val="bg1">
                  <a:lumMod val="50000"/>
                </a:schemeClr>
              </a:solidFill>
              <a:ln w="9525">
                <a:noFill/>
                <a:round/>
                <a:headEnd/>
                <a:tailEnd/>
              </a:ln>
            </p:spPr>
            <p:txBody>
              <a:bodyPr/>
              <a:lstStyle/>
              <a:p>
                <a:pPr>
                  <a:defRPr/>
                </a:pPr>
                <a:endParaRPr lang="de-DE" dirty="0"/>
              </a:p>
            </p:txBody>
          </p:sp>
          <p:sp>
            <p:nvSpPr>
              <p:cNvPr id="230" name="Rectangle 211"/>
              <p:cNvSpPr>
                <a:spLocks noChangeArrowheads="1"/>
              </p:cNvSpPr>
              <p:nvPr/>
            </p:nvSpPr>
            <p:spPr bwMode="auto">
              <a:xfrm>
                <a:off x="3517423" y="2959058"/>
                <a:ext cx="71464" cy="14126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1" name="Rectangle 212"/>
              <p:cNvSpPr>
                <a:spLocks noChangeArrowheads="1"/>
              </p:cNvSpPr>
              <p:nvPr/>
            </p:nvSpPr>
            <p:spPr bwMode="auto">
              <a:xfrm>
                <a:off x="3374495" y="3100325"/>
                <a:ext cx="142928"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2" name="Rectangle 213"/>
              <p:cNvSpPr>
                <a:spLocks noChangeArrowheads="1"/>
              </p:cNvSpPr>
              <p:nvPr/>
            </p:nvSpPr>
            <p:spPr bwMode="auto">
              <a:xfrm>
                <a:off x="3445128" y="2816961"/>
                <a:ext cx="72295" cy="14209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3" name="Rectangle 214"/>
              <p:cNvSpPr>
                <a:spLocks noChangeArrowheads="1"/>
              </p:cNvSpPr>
              <p:nvPr/>
            </p:nvSpPr>
            <p:spPr bwMode="auto">
              <a:xfrm>
                <a:off x="3445128" y="2320867"/>
                <a:ext cx="72295"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4" name="Rectangle 215"/>
              <p:cNvSpPr>
                <a:spLocks noChangeArrowheads="1"/>
              </p:cNvSpPr>
              <p:nvPr/>
            </p:nvSpPr>
            <p:spPr bwMode="auto">
              <a:xfrm>
                <a:off x="3374495" y="2674033"/>
                <a:ext cx="70633" cy="14292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5" name="Rectangle 216"/>
              <p:cNvSpPr>
                <a:spLocks noChangeArrowheads="1"/>
              </p:cNvSpPr>
              <p:nvPr/>
            </p:nvSpPr>
            <p:spPr bwMode="auto">
              <a:xfrm>
                <a:off x="3374495" y="2250234"/>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6" name="Rectangle 217"/>
              <p:cNvSpPr>
                <a:spLocks noChangeArrowheads="1"/>
              </p:cNvSpPr>
              <p:nvPr/>
            </p:nvSpPr>
            <p:spPr bwMode="auto">
              <a:xfrm>
                <a:off x="3303861" y="2959058"/>
                <a:ext cx="70633" cy="14126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7" name="Rectangle 218"/>
              <p:cNvSpPr>
                <a:spLocks noChangeArrowheads="1"/>
              </p:cNvSpPr>
              <p:nvPr/>
            </p:nvSpPr>
            <p:spPr bwMode="auto">
              <a:xfrm>
                <a:off x="3303861" y="2177108"/>
                <a:ext cx="70633" cy="7312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8" name="Rectangle 219"/>
              <p:cNvSpPr>
                <a:spLocks noChangeArrowheads="1"/>
              </p:cNvSpPr>
              <p:nvPr/>
            </p:nvSpPr>
            <p:spPr bwMode="auto">
              <a:xfrm>
                <a:off x="3233228" y="2816961"/>
                <a:ext cx="70633" cy="14209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39" name="Rectangle 220"/>
              <p:cNvSpPr>
                <a:spLocks noChangeArrowheads="1"/>
              </p:cNvSpPr>
              <p:nvPr/>
            </p:nvSpPr>
            <p:spPr bwMode="auto">
              <a:xfrm>
                <a:off x="3233228" y="2106475"/>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0" name="Rectangle 221"/>
              <p:cNvSpPr>
                <a:spLocks noChangeArrowheads="1"/>
              </p:cNvSpPr>
              <p:nvPr/>
            </p:nvSpPr>
            <p:spPr bwMode="auto">
              <a:xfrm>
                <a:off x="3162595" y="2674033"/>
                <a:ext cx="70633" cy="14292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1" name="Rectangle 222"/>
              <p:cNvSpPr>
                <a:spLocks noChangeArrowheads="1"/>
              </p:cNvSpPr>
              <p:nvPr/>
            </p:nvSpPr>
            <p:spPr bwMode="auto">
              <a:xfrm>
                <a:off x="3162595" y="2035842"/>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2" name="Freeform 223"/>
              <p:cNvSpPr>
                <a:spLocks/>
              </p:cNvSpPr>
              <p:nvPr/>
            </p:nvSpPr>
            <p:spPr bwMode="auto">
              <a:xfrm>
                <a:off x="3021328" y="2532767"/>
                <a:ext cx="141266" cy="141266"/>
              </a:xfrm>
              <a:custGeom>
                <a:avLst/>
                <a:gdLst/>
                <a:ahLst/>
                <a:cxnLst>
                  <a:cxn ang="0">
                    <a:pos x="170" y="0"/>
                  </a:cxn>
                  <a:cxn ang="0">
                    <a:pos x="170" y="170"/>
                  </a:cxn>
                  <a:cxn ang="0">
                    <a:pos x="0" y="170"/>
                  </a:cxn>
                  <a:cxn ang="0">
                    <a:pos x="0" y="85"/>
                  </a:cxn>
                  <a:cxn ang="0">
                    <a:pos x="85" y="85"/>
                  </a:cxn>
                  <a:cxn ang="0">
                    <a:pos x="85" y="0"/>
                  </a:cxn>
                  <a:cxn ang="0">
                    <a:pos x="170" y="0"/>
                  </a:cxn>
                </a:cxnLst>
                <a:rect l="0" t="0" r="r" b="b"/>
                <a:pathLst>
                  <a:path w="170" h="170">
                    <a:moveTo>
                      <a:pt x="170" y="0"/>
                    </a:moveTo>
                    <a:lnTo>
                      <a:pt x="170" y="170"/>
                    </a:lnTo>
                    <a:lnTo>
                      <a:pt x="0" y="170"/>
                    </a:lnTo>
                    <a:lnTo>
                      <a:pt x="0" y="85"/>
                    </a:lnTo>
                    <a:lnTo>
                      <a:pt x="85" y="85"/>
                    </a:lnTo>
                    <a:lnTo>
                      <a:pt x="85" y="0"/>
                    </a:lnTo>
                    <a:lnTo>
                      <a:pt x="170" y="0"/>
                    </a:lnTo>
                    <a:close/>
                  </a:path>
                </a:pathLst>
              </a:custGeom>
              <a:solidFill>
                <a:schemeClr val="bg1">
                  <a:lumMod val="50000"/>
                </a:schemeClr>
              </a:solidFill>
              <a:ln w="9525">
                <a:noFill/>
                <a:round/>
                <a:headEnd/>
                <a:tailEnd/>
              </a:ln>
            </p:spPr>
            <p:txBody>
              <a:bodyPr/>
              <a:lstStyle/>
              <a:p>
                <a:pPr>
                  <a:defRPr/>
                </a:pPr>
                <a:endParaRPr lang="de-DE" dirty="0"/>
              </a:p>
            </p:txBody>
          </p:sp>
          <p:sp>
            <p:nvSpPr>
              <p:cNvPr id="243" name="Rectangle 224"/>
              <p:cNvSpPr>
                <a:spLocks noChangeArrowheads="1"/>
              </p:cNvSpPr>
              <p:nvPr/>
            </p:nvSpPr>
            <p:spPr bwMode="auto">
              <a:xfrm>
                <a:off x="3091962" y="1965209"/>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4" name="Rectangle 225"/>
              <p:cNvSpPr>
                <a:spLocks noChangeArrowheads="1"/>
              </p:cNvSpPr>
              <p:nvPr/>
            </p:nvSpPr>
            <p:spPr bwMode="auto">
              <a:xfrm>
                <a:off x="3021328" y="1894576"/>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5" name="Rectangle 226"/>
              <p:cNvSpPr>
                <a:spLocks noChangeArrowheads="1"/>
              </p:cNvSpPr>
              <p:nvPr/>
            </p:nvSpPr>
            <p:spPr bwMode="auto">
              <a:xfrm>
                <a:off x="2949864" y="2674033"/>
                <a:ext cx="71464"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6" name="Rectangle 227"/>
              <p:cNvSpPr>
                <a:spLocks noChangeArrowheads="1"/>
              </p:cNvSpPr>
              <p:nvPr/>
            </p:nvSpPr>
            <p:spPr bwMode="auto">
              <a:xfrm>
                <a:off x="2949864" y="1823942"/>
                <a:ext cx="71464"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47" name="Freeform 228"/>
              <p:cNvSpPr>
                <a:spLocks/>
              </p:cNvSpPr>
              <p:nvPr/>
            </p:nvSpPr>
            <p:spPr bwMode="auto">
              <a:xfrm>
                <a:off x="2806936" y="1682676"/>
                <a:ext cx="142928" cy="1205749"/>
              </a:xfrm>
              <a:custGeom>
                <a:avLst/>
                <a:gdLst/>
                <a:ahLst/>
                <a:cxnLst>
                  <a:cxn ang="0">
                    <a:pos x="172" y="1278"/>
                  </a:cxn>
                  <a:cxn ang="0">
                    <a:pos x="172" y="1365"/>
                  </a:cxn>
                  <a:cxn ang="0">
                    <a:pos x="85" y="1365"/>
                  </a:cxn>
                  <a:cxn ang="0">
                    <a:pos x="85" y="1451"/>
                  </a:cxn>
                  <a:cxn ang="0">
                    <a:pos x="0" y="1451"/>
                  </a:cxn>
                  <a:cxn ang="0">
                    <a:pos x="0" y="0"/>
                  </a:cxn>
                  <a:cxn ang="0">
                    <a:pos x="85" y="0"/>
                  </a:cxn>
                  <a:cxn ang="0">
                    <a:pos x="85" y="85"/>
                  </a:cxn>
                  <a:cxn ang="0">
                    <a:pos x="172" y="85"/>
                  </a:cxn>
                  <a:cxn ang="0">
                    <a:pos x="172" y="170"/>
                  </a:cxn>
                  <a:cxn ang="0">
                    <a:pos x="85" y="170"/>
                  </a:cxn>
                  <a:cxn ang="0">
                    <a:pos x="85" y="1278"/>
                  </a:cxn>
                  <a:cxn ang="0">
                    <a:pos x="172" y="1278"/>
                  </a:cxn>
                </a:cxnLst>
                <a:rect l="0" t="0" r="r" b="b"/>
                <a:pathLst>
                  <a:path w="172" h="1451">
                    <a:moveTo>
                      <a:pt x="172" y="1278"/>
                    </a:moveTo>
                    <a:lnTo>
                      <a:pt x="172" y="1365"/>
                    </a:lnTo>
                    <a:lnTo>
                      <a:pt x="85" y="1365"/>
                    </a:lnTo>
                    <a:lnTo>
                      <a:pt x="85" y="1451"/>
                    </a:lnTo>
                    <a:lnTo>
                      <a:pt x="0" y="1451"/>
                    </a:lnTo>
                    <a:lnTo>
                      <a:pt x="0" y="0"/>
                    </a:lnTo>
                    <a:lnTo>
                      <a:pt x="85" y="0"/>
                    </a:lnTo>
                    <a:lnTo>
                      <a:pt x="85" y="85"/>
                    </a:lnTo>
                    <a:lnTo>
                      <a:pt x="172" y="85"/>
                    </a:lnTo>
                    <a:lnTo>
                      <a:pt x="172" y="170"/>
                    </a:lnTo>
                    <a:lnTo>
                      <a:pt x="85" y="170"/>
                    </a:lnTo>
                    <a:lnTo>
                      <a:pt x="85" y="1278"/>
                    </a:lnTo>
                    <a:lnTo>
                      <a:pt x="172" y="1278"/>
                    </a:lnTo>
                    <a:close/>
                  </a:path>
                </a:pathLst>
              </a:custGeom>
              <a:solidFill>
                <a:schemeClr val="bg1">
                  <a:lumMod val="50000"/>
                </a:schemeClr>
              </a:solidFill>
              <a:ln w="9525">
                <a:noFill/>
                <a:round/>
                <a:headEnd/>
                <a:tailEnd/>
              </a:ln>
            </p:spPr>
            <p:txBody>
              <a:bodyPr/>
              <a:lstStyle/>
              <a:p>
                <a:pPr>
                  <a:defRPr/>
                </a:pPr>
                <a:endParaRPr lang="de-DE" dirty="0"/>
              </a:p>
            </p:txBody>
          </p:sp>
        </p:grpSp>
      </p:grpSp>
      <p:sp>
        <p:nvSpPr>
          <p:cNvPr id="67"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10</a:t>
            </a:r>
            <a:endParaRPr lang="de-DE" sz="900" dirty="0">
              <a:solidFill>
                <a:schemeClr val="bg1">
                  <a:lumMod val="50000"/>
                </a:schemeClr>
              </a:solidFill>
            </a:endParaRPr>
          </a:p>
        </p:txBody>
      </p:sp>
    </p:spTree>
    <p:extLst>
      <p:ext uri="{BB962C8B-B14F-4D97-AF65-F5344CB8AC3E}">
        <p14:creationId xmlns:p14="http://schemas.microsoft.com/office/powerpoint/2010/main" val="349593050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 name="Picture 2"/>
          <p:cNvPicPr>
            <a:picLocks noChangeAspect="1" noChangeArrowheads="1"/>
          </p:cNvPicPr>
          <p:nvPr/>
        </p:nvPicPr>
        <p:blipFill>
          <a:blip r:embed="rId35"/>
          <a:srcRect/>
          <a:stretch>
            <a:fillRect/>
          </a:stretch>
        </p:blipFill>
        <p:spPr bwMode="auto">
          <a:xfrm>
            <a:off x="-6350" y="3054350"/>
            <a:ext cx="9156700" cy="3359150"/>
          </a:xfrm>
          <a:prstGeom prst="rect">
            <a:avLst/>
          </a:prstGeom>
          <a:noFill/>
          <a:ln w="9525">
            <a:noFill/>
            <a:miter lim="800000"/>
            <a:headEnd/>
            <a:tailEnd/>
          </a:ln>
          <a:effectLst/>
        </p:spPr>
      </p:pic>
      <p:sp>
        <p:nvSpPr>
          <p:cNvPr id="27651" name="Titel 7"/>
          <p:cNvSpPr>
            <a:spLocks noGrp="1"/>
          </p:cNvSpPr>
          <p:nvPr>
            <p:ph type="title"/>
          </p:nvPr>
        </p:nvSpPr>
        <p:spPr bwMode="auto">
          <a:xfrm>
            <a:off x="131763" y="274638"/>
            <a:ext cx="9015412" cy="461962"/>
          </a:xfrm>
          <a:noFill/>
          <a:ln>
            <a:miter lim="800000"/>
            <a:headEnd/>
            <a:tailEnd/>
          </a:ln>
        </p:spPr>
        <p:txBody>
          <a:bodyPr vert="horz" wrap="square" lIns="91440" tIns="45720" rIns="91440" bIns="45720" numCol="1" anchor="t" anchorCtr="0" compatLnSpc="1">
            <a:prstTxWarp prst="textNoShape">
              <a:avLst/>
            </a:prstTxWarp>
          </a:bodyPr>
          <a:lstStyle/>
          <a:p>
            <a:r>
              <a:rPr lang="de-DE" dirty="0" smtClean="0"/>
              <a:t>Karte gruppieren</a:t>
            </a:r>
          </a:p>
        </p:txBody>
      </p:sp>
      <p:grpSp>
        <p:nvGrpSpPr>
          <p:cNvPr id="3" name="Gruppieren 73"/>
          <p:cNvGrpSpPr/>
          <p:nvPr/>
        </p:nvGrpSpPr>
        <p:grpSpPr>
          <a:xfrm>
            <a:off x="204899" y="1440498"/>
            <a:ext cx="347663" cy="338138"/>
            <a:chOff x="203518" y="4378643"/>
            <a:chExt cx="347663" cy="338138"/>
          </a:xfrm>
        </p:grpSpPr>
        <p:pic>
          <p:nvPicPr>
            <p:cNvPr id="155" name="Grafik 154" descr="schatten.png"/>
            <p:cNvPicPr>
              <a:picLocks noChangeAspect="1"/>
            </p:cNvPicPr>
            <p:nvPr/>
          </p:nvPicPr>
          <p:blipFill>
            <a:blip r:embed="rId36" cstate="print">
              <a:lum bright="30000"/>
            </a:blip>
            <a:srcRect l="17603" t="9404" r="15359" b="14528"/>
            <a:stretch>
              <a:fillRect/>
            </a:stretch>
          </p:blipFill>
          <p:spPr>
            <a:xfrm>
              <a:off x="203518" y="4378643"/>
              <a:ext cx="347663" cy="338138"/>
            </a:xfrm>
            <a:prstGeom prst="rect">
              <a:avLst/>
            </a:prstGeom>
          </p:spPr>
        </p:pic>
        <p:sp>
          <p:nvSpPr>
            <p:cNvPr id="156"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98" name="Rechteck 97">
            <a:hlinkClick r:id="rId37"/>
          </p:cNvPr>
          <p:cNvSpPr/>
          <p:nvPr/>
        </p:nvSpPr>
        <p:spPr>
          <a:xfrm>
            <a:off x="6648450" y="6296025"/>
            <a:ext cx="2495550" cy="56197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10</a:t>
            </a:r>
            <a:endParaRPr lang="de-DE" sz="900" dirty="0">
              <a:solidFill>
                <a:schemeClr val="bg1">
                  <a:lumMod val="50000"/>
                </a:schemeClr>
              </a:solidFill>
            </a:endParaRPr>
          </a:p>
        </p:txBody>
      </p:sp>
      <p:grpSp>
        <p:nvGrpSpPr>
          <p:cNvPr id="6" name="Gruppieren 77"/>
          <p:cNvGrpSpPr/>
          <p:nvPr/>
        </p:nvGrpSpPr>
        <p:grpSpPr>
          <a:xfrm>
            <a:off x="211756" y="5538253"/>
            <a:ext cx="347663" cy="338138"/>
            <a:chOff x="203518" y="4966018"/>
            <a:chExt cx="347663" cy="338138"/>
          </a:xfrm>
        </p:grpSpPr>
        <p:pic>
          <p:nvPicPr>
            <p:cNvPr id="210" name="Grafik 209" descr="schatten.png"/>
            <p:cNvPicPr>
              <a:picLocks noChangeAspect="1"/>
            </p:cNvPicPr>
            <p:nvPr/>
          </p:nvPicPr>
          <p:blipFill>
            <a:blip r:embed="rId36" cstate="print">
              <a:lum bright="30000"/>
            </a:blip>
            <a:srcRect l="17603" t="9404" r="15359" b="14528"/>
            <a:stretch>
              <a:fillRect/>
            </a:stretch>
          </p:blipFill>
          <p:spPr>
            <a:xfrm>
              <a:off x="203518" y="4966018"/>
              <a:ext cx="347663" cy="338138"/>
            </a:xfrm>
            <a:prstGeom prst="rect">
              <a:avLst/>
            </a:prstGeom>
          </p:spPr>
        </p:pic>
        <p:sp>
          <p:nvSpPr>
            <p:cNvPr id="211"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212"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Wählen Sie die Objekt aus, welche Sie Gruppieren möchten. </a:t>
            </a:r>
            <a:endParaRPr lang="de-DE" sz="1200" dirty="0">
              <a:latin typeface="Myriad Pro" pitchFamily="34" charset="0"/>
              <a:ea typeface="Arial Unicode MS" pitchFamily="34" charset="-128"/>
              <a:cs typeface="Arial" charset="0"/>
            </a:endParaRPr>
          </a:p>
        </p:txBody>
      </p:sp>
      <p:sp>
        <p:nvSpPr>
          <p:cNvPr id="213" name="Rectangle 5"/>
          <p:cNvSpPr>
            <a:spLocks noChangeArrowheads="1"/>
          </p:cNvSpPr>
          <p:nvPr/>
        </p:nvSpPr>
        <p:spPr bwMode="gray">
          <a:xfrm>
            <a:off x="639763" y="5538253"/>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Anschließend klicken Sie auf die Rechte Maustaste und wählen die Funktion „Gruppieren“ aus.</a:t>
            </a:r>
            <a:endParaRPr lang="de-DE" sz="1200" dirty="0">
              <a:solidFill>
                <a:srgbClr val="000000"/>
              </a:solidFill>
              <a:ea typeface="Arial Unicode MS" pitchFamily="34" charset="-128"/>
              <a:cs typeface="Arial" charset="0"/>
            </a:endParaRPr>
          </a:p>
        </p:txBody>
      </p:sp>
      <p:grpSp>
        <p:nvGrpSpPr>
          <p:cNvPr id="7" name="Gruppieren 73"/>
          <p:cNvGrpSpPr/>
          <p:nvPr/>
        </p:nvGrpSpPr>
        <p:grpSpPr>
          <a:xfrm>
            <a:off x="211756" y="4979777"/>
            <a:ext cx="347663" cy="338138"/>
            <a:chOff x="203518" y="4378643"/>
            <a:chExt cx="347663" cy="338138"/>
          </a:xfrm>
        </p:grpSpPr>
        <p:pic>
          <p:nvPicPr>
            <p:cNvPr id="215" name="Grafik 214" descr="schatten.png"/>
            <p:cNvPicPr>
              <a:picLocks noChangeAspect="1"/>
            </p:cNvPicPr>
            <p:nvPr/>
          </p:nvPicPr>
          <p:blipFill>
            <a:blip r:embed="rId36" cstate="print">
              <a:lum bright="30000"/>
            </a:blip>
            <a:srcRect l="17603" t="9404" r="15359" b="14528"/>
            <a:stretch>
              <a:fillRect/>
            </a:stretch>
          </p:blipFill>
          <p:spPr>
            <a:xfrm>
              <a:off x="203518" y="4378643"/>
              <a:ext cx="347663" cy="338138"/>
            </a:xfrm>
            <a:prstGeom prst="rect">
              <a:avLst/>
            </a:prstGeom>
          </p:spPr>
        </p:pic>
        <p:sp>
          <p:nvSpPr>
            <p:cNvPr id="228"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216" name="Gruppieren 215"/>
          <p:cNvGrpSpPr/>
          <p:nvPr/>
        </p:nvGrpSpPr>
        <p:grpSpPr>
          <a:xfrm>
            <a:off x="5740530" y="555859"/>
            <a:ext cx="2949496" cy="4004480"/>
            <a:chOff x="5476875" y="360597"/>
            <a:chExt cx="2949496" cy="4004480"/>
          </a:xfrm>
        </p:grpSpPr>
        <p:sp>
          <p:nvSpPr>
            <p:cNvPr id="217" name="Rechteck 216"/>
            <p:cNvSpPr/>
            <p:nvPr/>
          </p:nvSpPr>
          <p:spPr>
            <a:xfrm>
              <a:off x="5521568" y="581257"/>
              <a:ext cx="2873132" cy="3754999"/>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8" name="Rechteck 217"/>
            <p:cNvSpPr/>
            <p:nvPr/>
          </p:nvSpPr>
          <p:spPr>
            <a:xfrm>
              <a:off x="5491275" y="2423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9" name="Rechteck 218"/>
            <p:cNvSpPr/>
            <p:nvPr/>
          </p:nvSpPr>
          <p:spPr>
            <a:xfrm>
              <a:off x="6921023" y="430387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0" name="Ellipse 219"/>
            <p:cNvSpPr/>
            <p:nvPr/>
          </p:nvSpPr>
          <p:spPr>
            <a:xfrm>
              <a:off x="8350771" y="542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1" name="Ellipse 220"/>
            <p:cNvSpPr/>
            <p:nvPr/>
          </p:nvSpPr>
          <p:spPr>
            <a:xfrm>
              <a:off x="5476875"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2" name="Rechteck 221"/>
            <p:cNvSpPr/>
            <p:nvPr/>
          </p:nvSpPr>
          <p:spPr>
            <a:xfrm>
              <a:off x="8365171" y="2423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3" name="Ellipse 222"/>
            <p:cNvSpPr/>
            <p:nvPr/>
          </p:nvSpPr>
          <p:spPr>
            <a:xfrm>
              <a:off x="8350771"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24" name="Gruppieren 139"/>
            <p:cNvGrpSpPr/>
            <p:nvPr/>
          </p:nvGrpSpPr>
          <p:grpSpPr>
            <a:xfrm>
              <a:off x="6913823" y="360597"/>
              <a:ext cx="75600" cy="257824"/>
              <a:chOff x="5656766" y="771104"/>
              <a:chExt cx="75600" cy="257824"/>
            </a:xfrm>
          </p:grpSpPr>
          <p:sp>
            <p:nvSpPr>
              <p:cNvPr id="226" name="Ellipse 225"/>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227" name="Rechteck 226"/>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29" name="Gerade Verbindung 228"/>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225" name="Ellipse 224"/>
            <p:cNvSpPr/>
            <p:nvPr/>
          </p:nvSpPr>
          <p:spPr>
            <a:xfrm>
              <a:off x="5476875" y="542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31" name="Gruppieren 330"/>
          <p:cNvGrpSpPr/>
          <p:nvPr/>
        </p:nvGrpSpPr>
        <p:grpSpPr>
          <a:xfrm>
            <a:off x="1254848" y="566370"/>
            <a:ext cx="1107254" cy="1110862"/>
            <a:chOff x="1254848" y="566370"/>
            <a:chExt cx="1107254" cy="1110862"/>
          </a:xfrm>
        </p:grpSpPr>
        <p:sp>
          <p:nvSpPr>
            <p:cNvPr id="319" name="Rechteck 318"/>
            <p:cNvSpPr/>
            <p:nvPr/>
          </p:nvSpPr>
          <p:spPr>
            <a:xfrm>
              <a:off x="1293019" y="792180"/>
              <a:ext cx="1031081" cy="86201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20" name="Rechteck 319"/>
            <p:cNvSpPr/>
            <p:nvPr/>
          </p:nvSpPr>
          <p:spPr>
            <a:xfrm>
              <a:off x="1269248" y="119056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1" name="Rechteck 320"/>
            <p:cNvSpPr/>
            <p:nvPr/>
          </p:nvSpPr>
          <p:spPr>
            <a:xfrm>
              <a:off x="1777875" y="161603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2" name="Ellipse 321"/>
            <p:cNvSpPr/>
            <p:nvPr/>
          </p:nvSpPr>
          <p:spPr>
            <a:xfrm>
              <a:off x="2286502" y="76510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3" name="Ellipse 322"/>
            <p:cNvSpPr/>
            <p:nvPr/>
          </p:nvSpPr>
          <p:spPr>
            <a:xfrm>
              <a:off x="1254848" y="160163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4" name="Rechteck 323"/>
            <p:cNvSpPr/>
            <p:nvPr/>
          </p:nvSpPr>
          <p:spPr>
            <a:xfrm>
              <a:off x="2286502" y="119056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5" name="Ellipse 324"/>
            <p:cNvSpPr/>
            <p:nvPr/>
          </p:nvSpPr>
          <p:spPr>
            <a:xfrm>
              <a:off x="2286502" y="160163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6" name="Ellipse 325"/>
            <p:cNvSpPr/>
            <p:nvPr/>
          </p:nvSpPr>
          <p:spPr>
            <a:xfrm>
              <a:off x="1254848" y="76510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27" name="Gruppieren 139"/>
            <p:cNvGrpSpPr/>
            <p:nvPr/>
          </p:nvGrpSpPr>
          <p:grpSpPr>
            <a:xfrm>
              <a:off x="1770675" y="566370"/>
              <a:ext cx="75600" cy="257824"/>
              <a:chOff x="5656766" y="771104"/>
              <a:chExt cx="75600" cy="257824"/>
            </a:xfrm>
          </p:grpSpPr>
          <p:sp>
            <p:nvSpPr>
              <p:cNvPr id="328" name="Ellipse 327"/>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29" name="Rechteck 328"/>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30" name="Gerade Verbindung 329"/>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503" name="Gruppieren 73"/>
          <p:cNvGrpSpPr/>
          <p:nvPr/>
        </p:nvGrpSpPr>
        <p:grpSpPr>
          <a:xfrm>
            <a:off x="3516748" y="1440498"/>
            <a:ext cx="347663" cy="338138"/>
            <a:chOff x="203518" y="4378643"/>
            <a:chExt cx="347663" cy="338138"/>
          </a:xfrm>
        </p:grpSpPr>
        <p:pic>
          <p:nvPicPr>
            <p:cNvPr id="504" name="Grafik 503" descr="schatten.png"/>
            <p:cNvPicPr>
              <a:picLocks noChangeAspect="1"/>
            </p:cNvPicPr>
            <p:nvPr/>
          </p:nvPicPr>
          <p:blipFill>
            <a:blip r:embed="rId36" cstate="print">
              <a:lum bright="30000"/>
            </a:blip>
            <a:srcRect l="17603" t="9404" r="15359" b="14528"/>
            <a:stretch>
              <a:fillRect/>
            </a:stretch>
          </p:blipFill>
          <p:spPr>
            <a:xfrm>
              <a:off x="203518" y="4378643"/>
              <a:ext cx="347663" cy="338138"/>
            </a:xfrm>
            <a:prstGeom prst="rect">
              <a:avLst/>
            </a:prstGeom>
          </p:spPr>
        </p:pic>
        <p:sp>
          <p:nvSpPr>
            <p:cNvPr id="505"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grpSp>
        <p:nvGrpSpPr>
          <p:cNvPr id="506" name="Gruppieren 73"/>
          <p:cNvGrpSpPr/>
          <p:nvPr/>
        </p:nvGrpSpPr>
        <p:grpSpPr>
          <a:xfrm>
            <a:off x="5369083" y="1440498"/>
            <a:ext cx="347663" cy="338138"/>
            <a:chOff x="203518" y="4378643"/>
            <a:chExt cx="347663" cy="338138"/>
          </a:xfrm>
        </p:grpSpPr>
        <p:pic>
          <p:nvPicPr>
            <p:cNvPr id="507" name="Grafik 506" descr="schatten.png"/>
            <p:cNvPicPr>
              <a:picLocks noChangeAspect="1"/>
            </p:cNvPicPr>
            <p:nvPr/>
          </p:nvPicPr>
          <p:blipFill>
            <a:blip r:embed="rId36" cstate="print">
              <a:lum bright="30000"/>
            </a:blip>
            <a:srcRect l="17603" t="9404" r="15359" b="14528"/>
            <a:stretch>
              <a:fillRect/>
            </a:stretch>
          </p:blipFill>
          <p:spPr>
            <a:xfrm>
              <a:off x="203518" y="4378643"/>
              <a:ext cx="347663" cy="338138"/>
            </a:xfrm>
            <a:prstGeom prst="rect">
              <a:avLst/>
            </a:prstGeom>
          </p:spPr>
        </p:pic>
        <p:sp>
          <p:nvSpPr>
            <p:cNvPr id="508"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364" name="Group 363"/>
          <p:cNvGrpSpPr/>
          <p:nvPr/>
        </p:nvGrpSpPr>
        <p:grpSpPr>
          <a:xfrm>
            <a:off x="585673" y="822244"/>
            <a:ext cx="7942724" cy="4124223"/>
            <a:chOff x="585673" y="822244"/>
            <a:chExt cx="7942724" cy="4124223"/>
          </a:xfrm>
        </p:grpSpPr>
        <p:grpSp>
          <p:nvGrpSpPr>
            <p:cNvPr id="142" name="Group 19"/>
            <p:cNvGrpSpPr>
              <a:grpSpLocks/>
            </p:cNvGrpSpPr>
            <p:nvPr/>
          </p:nvGrpSpPr>
          <p:grpSpPr bwMode="auto">
            <a:xfrm>
              <a:off x="685800" y="822244"/>
              <a:ext cx="2678442" cy="3626574"/>
              <a:chOff x="670" y="640"/>
              <a:chExt cx="2195" cy="2972"/>
            </a:xfrm>
          </p:grpSpPr>
          <p:sp>
            <p:nvSpPr>
              <p:cNvPr id="143" name="Freeform 20"/>
              <p:cNvSpPr>
                <a:spLocks/>
              </p:cNvSpPr>
              <p:nvPr>
                <p:custDataLst>
                  <p:tags r:id="rId17"/>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4" name="Freeform 21"/>
              <p:cNvSpPr>
                <a:spLocks/>
              </p:cNvSpPr>
              <p:nvPr>
                <p:custDataLst>
                  <p:tags r:id="rId18"/>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5" name="Freeform 22"/>
              <p:cNvSpPr>
                <a:spLocks/>
              </p:cNvSpPr>
              <p:nvPr>
                <p:custDataLst>
                  <p:tags r:id="rId19"/>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6" name="Freeform 23"/>
              <p:cNvSpPr>
                <a:spLocks/>
              </p:cNvSpPr>
              <p:nvPr>
                <p:custDataLst>
                  <p:tags r:id="rId20"/>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7" name="Freeform 24"/>
              <p:cNvSpPr>
                <a:spLocks noEditPoints="1"/>
              </p:cNvSpPr>
              <p:nvPr>
                <p:custDataLst>
                  <p:tags r:id="rId21"/>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8" name="Freeform 25"/>
              <p:cNvSpPr>
                <a:spLocks/>
              </p:cNvSpPr>
              <p:nvPr>
                <p:custDataLst>
                  <p:tags r:id="rId22"/>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9" name="Freeform 26"/>
              <p:cNvSpPr>
                <a:spLocks/>
              </p:cNvSpPr>
              <p:nvPr>
                <p:custDataLst>
                  <p:tags r:id="rId23"/>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0" name="Freeform 27"/>
              <p:cNvSpPr>
                <a:spLocks/>
              </p:cNvSpPr>
              <p:nvPr>
                <p:custDataLst>
                  <p:tags r:id="rId24"/>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1" name="Freeform 28"/>
              <p:cNvSpPr>
                <a:spLocks/>
              </p:cNvSpPr>
              <p:nvPr>
                <p:custDataLst>
                  <p:tags r:id="rId25"/>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4" name="Freeform 29"/>
              <p:cNvSpPr>
                <a:spLocks/>
              </p:cNvSpPr>
              <p:nvPr>
                <p:custDataLst>
                  <p:tags r:id="rId26"/>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7" name="Freeform 30"/>
              <p:cNvSpPr>
                <a:spLocks noEditPoints="1"/>
              </p:cNvSpPr>
              <p:nvPr>
                <p:custDataLst>
                  <p:tags r:id="rId27"/>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8" name="Freeform 31"/>
              <p:cNvSpPr>
                <a:spLocks noEditPoints="1"/>
              </p:cNvSpPr>
              <p:nvPr>
                <p:custDataLst>
                  <p:tags r:id="rId28"/>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59" name="Freeform 32"/>
              <p:cNvSpPr>
                <a:spLocks/>
              </p:cNvSpPr>
              <p:nvPr>
                <p:custDataLst>
                  <p:tags r:id="rId29"/>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60" name="Freeform 33"/>
              <p:cNvSpPr>
                <a:spLocks noEditPoints="1"/>
              </p:cNvSpPr>
              <p:nvPr>
                <p:custDataLst>
                  <p:tags r:id="rId30"/>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61" name="Freeform 34"/>
              <p:cNvSpPr>
                <a:spLocks noEditPoints="1"/>
              </p:cNvSpPr>
              <p:nvPr>
                <p:custDataLst>
                  <p:tags r:id="rId31"/>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62" name="Freeform 35"/>
              <p:cNvSpPr>
                <a:spLocks noEditPoints="1"/>
              </p:cNvSpPr>
              <p:nvPr>
                <p:custDataLst>
                  <p:tags r:id="rId32"/>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176" name="Group 19"/>
            <p:cNvGrpSpPr>
              <a:grpSpLocks/>
            </p:cNvGrpSpPr>
            <p:nvPr/>
          </p:nvGrpSpPr>
          <p:grpSpPr bwMode="auto">
            <a:xfrm>
              <a:off x="5849955" y="822244"/>
              <a:ext cx="2678442" cy="3626574"/>
              <a:chOff x="670" y="640"/>
              <a:chExt cx="2195" cy="2972"/>
            </a:xfrm>
          </p:grpSpPr>
          <p:sp>
            <p:nvSpPr>
              <p:cNvPr id="177"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78"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79"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80"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81"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82"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83"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84"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97"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4"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5"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6"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7"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8"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09"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214"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245" name="Gruppieren 244"/>
            <p:cNvGrpSpPr/>
            <p:nvPr/>
          </p:nvGrpSpPr>
          <p:grpSpPr>
            <a:xfrm>
              <a:off x="863328" y="1073582"/>
              <a:ext cx="1600121" cy="1602170"/>
              <a:chOff x="863328" y="1073582"/>
              <a:chExt cx="1600121" cy="1602170"/>
            </a:xfrm>
          </p:grpSpPr>
          <p:sp>
            <p:nvSpPr>
              <p:cNvPr id="233" name="Rechteck 232"/>
              <p:cNvSpPr/>
              <p:nvPr/>
            </p:nvSpPr>
            <p:spPr>
              <a:xfrm>
                <a:off x="895349" y="1307603"/>
                <a:ext cx="1531425" cy="1333997"/>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4" name="Rechteck 233"/>
              <p:cNvSpPr/>
              <p:nvPr/>
            </p:nvSpPr>
            <p:spPr>
              <a:xfrm>
                <a:off x="877728" y="1943434"/>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5" name="Rechteck 234"/>
              <p:cNvSpPr/>
              <p:nvPr/>
            </p:nvSpPr>
            <p:spPr>
              <a:xfrm>
                <a:off x="1632788" y="261455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6" name="Ellipse 235"/>
              <p:cNvSpPr/>
              <p:nvPr/>
            </p:nvSpPr>
            <p:spPr>
              <a:xfrm>
                <a:off x="2387849" y="1272316"/>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7" name="Ellipse 236"/>
              <p:cNvSpPr/>
              <p:nvPr/>
            </p:nvSpPr>
            <p:spPr>
              <a:xfrm>
                <a:off x="863328" y="260015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8" name="Rechteck 237"/>
              <p:cNvSpPr/>
              <p:nvPr/>
            </p:nvSpPr>
            <p:spPr>
              <a:xfrm>
                <a:off x="2387849" y="1943434"/>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9" name="Ellipse 238"/>
              <p:cNvSpPr/>
              <p:nvPr/>
            </p:nvSpPr>
            <p:spPr>
              <a:xfrm>
                <a:off x="2387849" y="260015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0" name="Ellipse 239"/>
              <p:cNvSpPr/>
              <p:nvPr/>
            </p:nvSpPr>
            <p:spPr>
              <a:xfrm>
                <a:off x="863328" y="1272316"/>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1" name="Gruppieren 139"/>
              <p:cNvGrpSpPr/>
              <p:nvPr/>
            </p:nvGrpSpPr>
            <p:grpSpPr>
              <a:xfrm>
                <a:off x="1625588" y="1073582"/>
                <a:ext cx="75600" cy="257824"/>
                <a:chOff x="5656766" y="771104"/>
                <a:chExt cx="75600" cy="257824"/>
              </a:xfrm>
            </p:grpSpPr>
            <p:sp>
              <p:nvSpPr>
                <p:cNvPr id="242" name="Ellipse 241"/>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243" name="Rechteck 242"/>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44" name="Gerade Verbindung 243"/>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231" name="Gruppieren 230"/>
            <p:cNvGrpSpPr/>
            <p:nvPr/>
          </p:nvGrpSpPr>
          <p:grpSpPr>
            <a:xfrm>
              <a:off x="1499235" y="2615543"/>
              <a:ext cx="1692196" cy="2002220"/>
              <a:chOff x="1499235" y="2615543"/>
              <a:chExt cx="1692196" cy="2002220"/>
            </a:xfrm>
          </p:grpSpPr>
          <p:sp>
            <p:nvSpPr>
              <p:cNvPr id="164" name="Rechteck 163"/>
              <p:cNvSpPr/>
              <p:nvPr/>
            </p:nvSpPr>
            <p:spPr>
              <a:xfrm>
                <a:off x="1537335" y="2852739"/>
                <a:ext cx="1611072" cy="1733824"/>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5" name="Rechteck 164"/>
              <p:cNvSpPr/>
              <p:nvPr/>
            </p:nvSpPr>
            <p:spPr>
              <a:xfrm>
                <a:off x="1513635" y="375717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6" name="Rechteck 165"/>
              <p:cNvSpPr/>
              <p:nvPr/>
            </p:nvSpPr>
            <p:spPr>
              <a:xfrm>
                <a:off x="2314733" y="455656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Ellipse 166"/>
              <p:cNvSpPr/>
              <p:nvPr/>
            </p:nvSpPr>
            <p:spPr>
              <a:xfrm>
                <a:off x="3115831" y="28206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8" name="Ellipse 167"/>
              <p:cNvSpPr/>
              <p:nvPr/>
            </p:nvSpPr>
            <p:spPr>
              <a:xfrm>
                <a:off x="1499235" y="454216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9" name="Rechteck 168"/>
              <p:cNvSpPr/>
              <p:nvPr/>
            </p:nvSpPr>
            <p:spPr>
              <a:xfrm>
                <a:off x="3115831" y="375717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0" name="Ellipse 169"/>
              <p:cNvSpPr/>
              <p:nvPr/>
            </p:nvSpPr>
            <p:spPr>
              <a:xfrm>
                <a:off x="3115831" y="454216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Ellipse 171"/>
              <p:cNvSpPr/>
              <p:nvPr/>
            </p:nvSpPr>
            <p:spPr>
              <a:xfrm>
                <a:off x="1499235" y="28206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71" name="Gruppieren 139"/>
              <p:cNvGrpSpPr/>
              <p:nvPr/>
            </p:nvGrpSpPr>
            <p:grpSpPr>
              <a:xfrm>
                <a:off x="2284673" y="2615543"/>
                <a:ext cx="75600" cy="257824"/>
                <a:chOff x="5656766" y="771104"/>
                <a:chExt cx="75600" cy="257824"/>
              </a:xfrm>
            </p:grpSpPr>
            <p:sp>
              <p:nvSpPr>
                <p:cNvPr id="173" name="Ellipse 172"/>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174" name="Rechteck 173"/>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75" name="Gerade Verbindung 174"/>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289" name="Gruppieren 288"/>
            <p:cNvGrpSpPr/>
            <p:nvPr/>
          </p:nvGrpSpPr>
          <p:grpSpPr>
            <a:xfrm>
              <a:off x="2196827" y="1228340"/>
              <a:ext cx="1197732" cy="1380737"/>
              <a:chOff x="2196827" y="1228340"/>
              <a:chExt cx="1197732" cy="1380737"/>
            </a:xfrm>
          </p:grpSpPr>
          <p:sp>
            <p:nvSpPr>
              <p:cNvPr id="277" name="Rechteck 276"/>
              <p:cNvSpPr/>
              <p:nvPr/>
            </p:nvSpPr>
            <p:spPr>
              <a:xfrm>
                <a:off x="2245519" y="1460003"/>
                <a:ext cx="1121848" cy="1126035"/>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78" name="Rechteck 277"/>
              <p:cNvSpPr/>
              <p:nvPr/>
            </p:nvSpPr>
            <p:spPr>
              <a:xfrm>
                <a:off x="2211227" y="198747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9" name="Rechteck 278"/>
              <p:cNvSpPr/>
              <p:nvPr/>
            </p:nvSpPr>
            <p:spPr>
              <a:xfrm>
                <a:off x="2765093" y="254787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0" name="Ellipse 279"/>
              <p:cNvSpPr/>
              <p:nvPr/>
            </p:nvSpPr>
            <p:spPr>
              <a:xfrm>
                <a:off x="3318959" y="14270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1" name="Ellipse 280"/>
              <p:cNvSpPr/>
              <p:nvPr/>
            </p:nvSpPr>
            <p:spPr>
              <a:xfrm>
                <a:off x="2196827" y="2533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2" name="Rechteck 281"/>
              <p:cNvSpPr/>
              <p:nvPr/>
            </p:nvSpPr>
            <p:spPr>
              <a:xfrm>
                <a:off x="3318959" y="198747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3" name="Ellipse 282"/>
              <p:cNvSpPr/>
              <p:nvPr/>
            </p:nvSpPr>
            <p:spPr>
              <a:xfrm>
                <a:off x="3318959" y="2533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4" name="Ellipse 283"/>
              <p:cNvSpPr/>
              <p:nvPr/>
            </p:nvSpPr>
            <p:spPr>
              <a:xfrm>
                <a:off x="2196827" y="14270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85" name="Gruppieren 139"/>
              <p:cNvGrpSpPr/>
              <p:nvPr/>
            </p:nvGrpSpPr>
            <p:grpSpPr>
              <a:xfrm>
                <a:off x="2757893" y="1228340"/>
                <a:ext cx="75600" cy="257824"/>
                <a:chOff x="5656766" y="771104"/>
                <a:chExt cx="75600" cy="257824"/>
              </a:xfrm>
            </p:grpSpPr>
            <p:sp>
              <p:nvSpPr>
                <p:cNvPr id="286" name="Ellipse 285"/>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287" name="Rechteck 286"/>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88" name="Gerade Verbindung 287"/>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303" name="Gruppieren 302"/>
            <p:cNvGrpSpPr/>
            <p:nvPr/>
          </p:nvGrpSpPr>
          <p:grpSpPr>
            <a:xfrm>
              <a:off x="2680264" y="1640107"/>
              <a:ext cx="385773" cy="538020"/>
              <a:chOff x="2680264" y="1640107"/>
              <a:chExt cx="385773" cy="538020"/>
            </a:xfrm>
          </p:grpSpPr>
          <p:sp>
            <p:nvSpPr>
              <p:cNvPr id="291" name="Rechteck 290"/>
              <p:cNvSpPr/>
              <p:nvPr/>
            </p:nvSpPr>
            <p:spPr>
              <a:xfrm>
                <a:off x="2717005" y="1869579"/>
                <a:ext cx="319367" cy="278310"/>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2" name="Rechteck 291"/>
              <p:cNvSpPr/>
              <p:nvPr/>
            </p:nvSpPr>
            <p:spPr>
              <a:xfrm>
                <a:off x="2694664" y="197439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3" name="Rechteck 292"/>
              <p:cNvSpPr/>
              <p:nvPr/>
            </p:nvSpPr>
            <p:spPr>
              <a:xfrm>
                <a:off x="2842550" y="211205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4" name="Ellipse 293"/>
              <p:cNvSpPr/>
              <p:nvPr/>
            </p:nvSpPr>
            <p:spPr>
              <a:xfrm>
                <a:off x="2990437" y="1831855"/>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5" name="Ellipse 294"/>
              <p:cNvSpPr/>
              <p:nvPr/>
            </p:nvSpPr>
            <p:spPr>
              <a:xfrm>
                <a:off x="2680264" y="21025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6" name="Rechteck 295"/>
              <p:cNvSpPr/>
              <p:nvPr/>
            </p:nvSpPr>
            <p:spPr>
              <a:xfrm>
                <a:off x="2999913" y="197439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7" name="Ellipse 296"/>
              <p:cNvSpPr/>
              <p:nvPr/>
            </p:nvSpPr>
            <p:spPr>
              <a:xfrm>
                <a:off x="2990437" y="21025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8" name="Ellipse 297"/>
              <p:cNvSpPr/>
              <p:nvPr/>
            </p:nvSpPr>
            <p:spPr>
              <a:xfrm>
                <a:off x="2685027" y="1831855"/>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99" name="Gruppieren 139"/>
              <p:cNvGrpSpPr/>
              <p:nvPr/>
            </p:nvGrpSpPr>
            <p:grpSpPr>
              <a:xfrm>
                <a:off x="2837732" y="1640107"/>
                <a:ext cx="75600" cy="257824"/>
                <a:chOff x="5656766" y="771104"/>
                <a:chExt cx="75600" cy="257824"/>
              </a:xfrm>
            </p:grpSpPr>
            <p:sp>
              <p:nvSpPr>
                <p:cNvPr id="300" name="Ellipse 299"/>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01" name="Rechteck 300"/>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02" name="Gerade Verbindung 301"/>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345" name="Gruppieren 344"/>
            <p:cNvGrpSpPr/>
            <p:nvPr/>
          </p:nvGrpSpPr>
          <p:grpSpPr>
            <a:xfrm>
              <a:off x="1716732" y="1190050"/>
              <a:ext cx="400022" cy="493567"/>
              <a:chOff x="1716732" y="1190050"/>
              <a:chExt cx="400022" cy="493567"/>
            </a:xfrm>
          </p:grpSpPr>
          <p:sp>
            <p:nvSpPr>
              <p:cNvPr id="333" name="Rechteck 332"/>
              <p:cNvSpPr/>
              <p:nvPr/>
            </p:nvSpPr>
            <p:spPr>
              <a:xfrm>
                <a:off x="1754981" y="1423212"/>
                <a:ext cx="338153" cy="236520"/>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34" name="Rechteck 333"/>
              <p:cNvSpPr/>
              <p:nvPr/>
            </p:nvSpPr>
            <p:spPr>
              <a:xfrm>
                <a:off x="1721608" y="149772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5" name="Rechteck 334"/>
              <p:cNvSpPr/>
              <p:nvPr/>
            </p:nvSpPr>
            <p:spPr>
              <a:xfrm>
                <a:off x="1886143" y="161765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6" name="Ellipse 335"/>
              <p:cNvSpPr/>
              <p:nvPr/>
            </p:nvSpPr>
            <p:spPr>
              <a:xfrm>
                <a:off x="2041154" y="1386560"/>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7" name="Ellipse 336"/>
              <p:cNvSpPr/>
              <p:nvPr/>
            </p:nvSpPr>
            <p:spPr>
              <a:xfrm>
                <a:off x="1716732" y="137303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8" name="Rechteck 337"/>
              <p:cNvSpPr/>
              <p:nvPr/>
            </p:nvSpPr>
            <p:spPr>
              <a:xfrm>
                <a:off x="2048411" y="150489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9" name="Ellipse 338"/>
              <p:cNvSpPr/>
              <p:nvPr/>
            </p:nvSpPr>
            <p:spPr>
              <a:xfrm>
                <a:off x="2041154" y="160801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0" name="Ellipse 339"/>
              <p:cNvSpPr/>
              <p:nvPr/>
            </p:nvSpPr>
            <p:spPr>
              <a:xfrm>
                <a:off x="1716732" y="160801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41" name="Gruppieren 139"/>
              <p:cNvGrpSpPr/>
              <p:nvPr/>
            </p:nvGrpSpPr>
            <p:grpSpPr>
              <a:xfrm>
                <a:off x="1878943" y="1190050"/>
                <a:ext cx="75600" cy="257824"/>
                <a:chOff x="5656766" y="771104"/>
                <a:chExt cx="75600" cy="257824"/>
              </a:xfrm>
            </p:grpSpPr>
            <p:sp>
              <p:nvSpPr>
                <p:cNvPr id="342" name="Ellipse 341"/>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43" name="Rechteck 342"/>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44" name="Gerade Verbindung 343"/>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359" name="Gruppieren 358"/>
            <p:cNvGrpSpPr/>
            <p:nvPr/>
          </p:nvGrpSpPr>
          <p:grpSpPr>
            <a:xfrm>
              <a:off x="585673" y="1716307"/>
              <a:ext cx="1256515" cy="1347646"/>
              <a:chOff x="585673" y="1716307"/>
              <a:chExt cx="1256515" cy="1347646"/>
            </a:xfrm>
          </p:grpSpPr>
          <p:sp>
            <p:nvSpPr>
              <p:cNvPr id="347" name="Rechteck 346"/>
              <p:cNvSpPr/>
              <p:nvPr/>
            </p:nvSpPr>
            <p:spPr>
              <a:xfrm>
                <a:off x="623888" y="1962150"/>
                <a:ext cx="1185862" cy="1064112"/>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48" name="Rechteck 347"/>
              <p:cNvSpPr/>
              <p:nvPr/>
            </p:nvSpPr>
            <p:spPr>
              <a:xfrm>
                <a:off x="585673" y="245268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9" name="Rechteck 348"/>
              <p:cNvSpPr/>
              <p:nvPr/>
            </p:nvSpPr>
            <p:spPr>
              <a:xfrm>
                <a:off x="1168986" y="298835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0" name="Ellipse 349"/>
              <p:cNvSpPr/>
              <p:nvPr/>
            </p:nvSpPr>
            <p:spPr>
              <a:xfrm>
                <a:off x="1766588" y="191758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1" name="Ellipse 350"/>
              <p:cNvSpPr/>
              <p:nvPr/>
            </p:nvSpPr>
            <p:spPr>
              <a:xfrm>
                <a:off x="585673" y="29808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2" name="Rechteck 351"/>
              <p:cNvSpPr/>
              <p:nvPr/>
            </p:nvSpPr>
            <p:spPr>
              <a:xfrm>
                <a:off x="1780988" y="246016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3" name="Ellipse 352"/>
              <p:cNvSpPr/>
              <p:nvPr/>
            </p:nvSpPr>
            <p:spPr>
              <a:xfrm>
                <a:off x="1766588" y="298835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4" name="Ellipse 353"/>
              <p:cNvSpPr/>
              <p:nvPr/>
            </p:nvSpPr>
            <p:spPr>
              <a:xfrm>
                <a:off x="585673" y="19101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55" name="Gruppieren 139"/>
              <p:cNvGrpSpPr/>
              <p:nvPr/>
            </p:nvGrpSpPr>
            <p:grpSpPr>
              <a:xfrm>
                <a:off x="1192857" y="1716307"/>
                <a:ext cx="75600" cy="257824"/>
                <a:chOff x="5656766" y="771104"/>
                <a:chExt cx="75600" cy="257824"/>
              </a:xfrm>
            </p:grpSpPr>
            <p:sp>
              <p:nvSpPr>
                <p:cNvPr id="356" name="Ellipse 355"/>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57" name="Rechteck 356"/>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8" name="Gerade Verbindung 357"/>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03" name="Gruppieren 402"/>
            <p:cNvGrpSpPr/>
            <p:nvPr/>
          </p:nvGrpSpPr>
          <p:grpSpPr>
            <a:xfrm>
              <a:off x="646113" y="2440207"/>
              <a:ext cx="885040" cy="1277796"/>
              <a:chOff x="646113" y="2440207"/>
              <a:chExt cx="885040" cy="1277796"/>
            </a:xfrm>
          </p:grpSpPr>
          <p:sp>
            <p:nvSpPr>
              <p:cNvPr id="391" name="Rechteck 390"/>
              <p:cNvSpPr/>
              <p:nvPr/>
            </p:nvSpPr>
            <p:spPr>
              <a:xfrm>
                <a:off x="679450" y="2663824"/>
                <a:ext cx="819265" cy="1016487"/>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92" name="Rechteck 391"/>
              <p:cNvSpPr/>
              <p:nvPr/>
            </p:nvSpPr>
            <p:spPr>
              <a:xfrm>
                <a:off x="646113" y="314325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3" name="Rechteck 392"/>
              <p:cNvSpPr/>
              <p:nvPr/>
            </p:nvSpPr>
            <p:spPr>
              <a:xfrm>
                <a:off x="1058033" y="364240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4" name="Ellipse 393"/>
              <p:cNvSpPr/>
              <p:nvPr/>
            </p:nvSpPr>
            <p:spPr>
              <a:xfrm>
                <a:off x="1455553" y="2644656"/>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5" name="Ellipse 394"/>
              <p:cNvSpPr/>
              <p:nvPr/>
            </p:nvSpPr>
            <p:spPr>
              <a:xfrm>
                <a:off x="646113" y="363492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6" name="Rechteck 395"/>
              <p:cNvSpPr/>
              <p:nvPr/>
            </p:nvSpPr>
            <p:spPr>
              <a:xfrm>
                <a:off x="1469953" y="3150730"/>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7" name="Ellipse 396"/>
              <p:cNvSpPr/>
              <p:nvPr/>
            </p:nvSpPr>
            <p:spPr>
              <a:xfrm>
                <a:off x="1455553" y="364240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8" name="Ellipse 397"/>
              <p:cNvSpPr/>
              <p:nvPr/>
            </p:nvSpPr>
            <p:spPr>
              <a:xfrm>
                <a:off x="646113" y="26371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99" name="Gruppieren 139"/>
              <p:cNvGrpSpPr/>
              <p:nvPr/>
            </p:nvGrpSpPr>
            <p:grpSpPr>
              <a:xfrm>
                <a:off x="1050833" y="2440207"/>
                <a:ext cx="75600" cy="257824"/>
                <a:chOff x="5656766" y="771104"/>
                <a:chExt cx="75600" cy="257824"/>
              </a:xfrm>
            </p:grpSpPr>
            <p:sp>
              <p:nvSpPr>
                <p:cNvPr id="400" name="Ellipse 399"/>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01" name="Rechteck 400"/>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02" name="Gerade Verbindung 401"/>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17" name="Gruppieren 416"/>
            <p:cNvGrpSpPr/>
            <p:nvPr/>
          </p:nvGrpSpPr>
          <p:grpSpPr>
            <a:xfrm>
              <a:off x="719138" y="3037107"/>
              <a:ext cx="459590" cy="611046"/>
              <a:chOff x="719138" y="3037107"/>
              <a:chExt cx="459590" cy="611046"/>
            </a:xfrm>
          </p:grpSpPr>
          <p:sp>
            <p:nvSpPr>
              <p:cNvPr id="405" name="Rechteck 404"/>
              <p:cNvSpPr/>
              <p:nvPr/>
            </p:nvSpPr>
            <p:spPr>
              <a:xfrm>
                <a:off x="752475" y="3273424"/>
                <a:ext cx="384290" cy="342901"/>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6" name="Rechteck 405"/>
              <p:cNvSpPr/>
              <p:nvPr/>
            </p:nvSpPr>
            <p:spPr>
              <a:xfrm>
                <a:off x="719138" y="340360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7" name="Rechteck 406"/>
              <p:cNvSpPr/>
              <p:nvPr/>
            </p:nvSpPr>
            <p:spPr>
              <a:xfrm>
                <a:off x="918333" y="357890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8" name="Ellipse 407"/>
              <p:cNvSpPr/>
              <p:nvPr/>
            </p:nvSpPr>
            <p:spPr>
              <a:xfrm>
                <a:off x="1103128" y="3235206"/>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9" name="Ellipse 408"/>
              <p:cNvSpPr/>
              <p:nvPr/>
            </p:nvSpPr>
            <p:spPr>
              <a:xfrm>
                <a:off x="719138" y="35650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0" name="Rechteck 409"/>
              <p:cNvSpPr/>
              <p:nvPr/>
            </p:nvSpPr>
            <p:spPr>
              <a:xfrm>
                <a:off x="1114353" y="3411080"/>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1" name="Ellipse 410"/>
              <p:cNvSpPr/>
              <p:nvPr/>
            </p:nvSpPr>
            <p:spPr>
              <a:xfrm>
                <a:off x="1103128" y="357255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2" name="Ellipse 411"/>
              <p:cNvSpPr/>
              <p:nvPr/>
            </p:nvSpPr>
            <p:spPr>
              <a:xfrm>
                <a:off x="719138" y="32277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13" name="Gruppieren 139"/>
              <p:cNvGrpSpPr/>
              <p:nvPr/>
            </p:nvGrpSpPr>
            <p:grpSpPr>
              <a:xfrm>
                <a:off x="911133" y="3037107"/>
                <a:ext cx="75600" cy="257824"/>
                <a:chOff x="5656766" y="771104"/>
                <a:chExt cx="75600" cy="257824"/>
              </a:xfrm>
            </p:grpSpPr>
            <p:sp>
              <p:nvSpPr>
                <p:cNvPr id="414" name="Ellipse 413"/>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15" name="Rechteck 414"/>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16" name="Gerade Verbindung 415"/>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31" name="Gruppieren 430"/>
            <p:cNvGrpSpPr/>
            <p:nvPr/>
          </p:nvGrpSpPr>
          <p:grpSpPr>
            <a:xfrm>
              <a:off x="1173163" y="2138582"/>
              <a:ext cx="897740" cy="1407971"/>
              <a:chOff x="1173163" y="2138582"/>
              <a:chExt cx="897740" cy="1407971"/>
            </a:xfrm>
          </p:grpSpPr>
          <p:sp>
            <p:nvSpPr>
              <p:cNvPr id="419" name="Rechteck 418"/>
              <p:cNvSpPr/>
              <p:nvPr/>
            </p:nvSpPr>
            <p:spPr>
              <a:xfrm>
                <a:off x="1212850" y="2374899"/>
                <a:ext cx="816090" cy="1125539"/>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20" name="Rechteck 419"/>
              <p:cNvSpPr/>
              <p:nvPr/>
            </p:nvSpPr>
            <p:spPr>
              <a:xfrm>
                <a:off x="1173163" y="290353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1" name="Rechteck 420"/>
              <p:cNvSpPr/>
              <p:nvPr/>
            </p:nvSpPr>
            <p:spPr>
              <a:xfrm>
                <a:off x="1591433" y="347730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2" name="Ellipse 421"/>
              <p:cNvSpPr/>
              <p:nvPr/>
            </p:nvSpPr>
            <p:spPr>
              <a:xfrm>
                <a:off x="1995303" y="233668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3" name="Ellipse 422"/>
              <p:cNvSpPr/>
              <p:nvPr/>
            </p:nvSpPr>
            <p:spPr>
              <a:xfrm>
                <a:off x="1173163" y="34634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4" name="Rechteck 423"/>
              <p:cNvSpPr/>
              <p:nvPr/>
            </p:nvSpPr>
            <p:spPr>
              <a:xfrm>
                <a:off x="2006528" y="291101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5" name="Ellipse 424"/>
              <p:cNvSpPr/>
              <p:nvPr/>
            </p:nvSpPr>
            <p:spPr>
              <a:xfrm>
                <a:off x="1995303" y="347095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6" name="Ellipse 425"/>
              <p:cNvSpPr/>
              <p:nvPr/>
            </p:nvSpPr>
            <p:spPr>
              <a:xfrm>
                <a:off x="1173163" y="23292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7" name="Gruppieren 139"/>
              <p:cNvGrpSpPr/>
              <p:nvPr/>
            </p:nvGrpSpPr>
            <p:grpSpPr>
              <a:xfrm>
                <a:off x="1584233" y="2138582"/>
                <a:ext cx="75600" cy="257824"/>
                <a:chOff x="5656766" y="771104"/>
                <a:chExt cx="75600" cy="257824"/>
              </a:xfrm>
            </p:grpSpPr>
            <p:sp>
              <p:nvSpPr>
                <p:cNvPr id="428" name="Ellipse 427"/>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29" name="Rechteck 428"/>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30" name="Gerade Verbindung 429"/>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59" name="Gruppieren 458"/>
            <p:cNvGrpSpPr/>
            <p:nvPr/>
          </p:nvGrpSpPr>
          <p:grpSpPr>
            <a:xfrm>
              <a:off x="971590" y="2971143"/>
              <a:ext cx="1149271" cy="1430720"/>
              <a:chOff x="971590" y="2971143"/>
              <a:chExt cx="1149271" cy="1430720"/>
            </a:xfrm>
          </p:grpSpPr>
          <p:sp>
            <p:nvSpPr>
              <p:cNvPr id="447" name="Rechteck 446"/>
              <p:cNvSpPr/>
              <p:nvPr/>
            </p:nvSpPr>
            <p:spPr>
              <a:xfrm>
                <a:off x="1009649" y="3208339"/>
                <a:ext cx="1068187" cy="1154111"/>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48" name="Rechteck 447"/>
              <p:cNvSpPr/>
              <p:nvPr/>
            </p:nvSpPr>
            <p:spPr>
              <a:xfrm>
                <a:off x="985990" y="375844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9" name="Rechteck 448"/>
              <p:cNvSpPr/>
              <p:nvPr/>
            </p:nvSpPr>
            <p:spPr>
              <a:xfrm>
                <a:off x="1515626" y="434066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0" name="Ellipse 449"/>
              <p:cNvSpPr/>
              <p:nvPr/>
            </p:nvSpPr>
            <p:spPr>
              <a:xfrm>
                <a:off x="2045261" y="31762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1" name="Ellipse 450"/>
              <p:cNvSpPr/>
              <p:nvPr/>
            </p:nvSpPr>
            <p:spPr>
              <a:xfrm>
                <a:off x="971590" y="432626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2" name="Rechteck 451"/>
              <p:cNvSpPr/>
              <p:nvPr/>
            </p:nvSpPr>
            <p:spPr>
              <a:xfrm>
                <a:off x="2045261" y="375844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3" name="Ellipse 452"/>
              <p:cNvSpPr/>
              <p:nvPr/>
            </p:nvSpPr>
            <p:spPr>
              <a:xfrm>
                <a:off x="2045261" y="4326263"/>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4" name="Ellipse 453"/>
              <p:cNvSpPr/>
              <p:nvPr/>
            </p:nvSpPr>
            <p:spPr>
              <a:xfrm>
                <a:off x="971590" y="31762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55" name="Gruppieren 139"/>
              <p:cNvGrpSpPr/>
              <p:nvPr/>
            </p:nvGrpSpPr>
            <p:grpSpPr>
              <a:xfrm>
                <a:off x="1508426" y="2971143"/>
                <a:ext cx="75600" cy="257824"/>
                <a:chOff x="5656766" y="771104"/>
                <a:chExt cx="75600" cy="257824"/>
              </a:xfrm>
            </p:grpSpPr>
            <p:sp>
              <p:nvSpPr>
                <p:cNvPr id="456" name="Ellipse 455"/>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57" name="Rechteck 456"/>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58" name="Gerade Verbindung 457"/>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73" name="Gruppieren 472"/>
            <p:cNvGrpSpPr/>
            <p:nvPr/>
          </p:nvGrpSpPr>
          <p:grpSpPr>
            <a:xfrm>
              <a:off x="2353989" y="2119701"/>
              <a:ext cx="1097709" cy="1037801"/>
              <a:chOff x="2353989" y="2119701"/>
              <a:chExt cx="1097709" cy="1037801"/>
            </a:xfrm>
          </p:grpSpPr>
          <p:sp>
            <p:nvSpPr>
              <p:cNvPr id="461" name="Rechteck 460"/>
              <p:cNvSpPr/>
              <p:nvPr/>
            </p:nvSpPr>
            <p:spPr>
              <a:xfrm>
                <a:off x="2402681" y="2351364"/>
                <a:ext cx="1021557" cy="777599"/>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62" name="Rechteck 461"/>
              <p:cNvSpPr/>
              <p:nvPr/>
            </p:nvSpPr>
            <p:spPr>
              <a:xfrm>
                <a:off x="2368389" y="270736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3" name="Rechteck 462"/>
              <p:cNvSpPr/>
              <p:nvPr/>
            </p:nvSpPr>
            <p:spPr>
              <a:xfrm>
                <a:off x="2872243" y="309630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4" name="Ellipse 463"/>
              <p:cNvSpPr/>
              <p:nvPr/>
            </p:nvSpPr>
            <p:spPr>
              <a:xfrm>
                <a:off x="3376098" y="2318435"/>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5" name="Ellipse 464"/>
              <p:cNvSpPr/>
              <p:nvPr/>
            </p:nvSpPr>
            <p:spPr>
              <a:xfrm>
                <a:off x="2353989" y="3081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6" name="Rechteck 465"/>
              <p:cNvSpPr/>
              <p:nvPr/>
            </p:nvSpPr>
            <p:spPr>
              <a:xfrm>
                <a:off x="3390387" y="270736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7" name="Ellipse 466"/>
              <p:cNvSpPr/>
              <p:nvPr/>
            </p:nvSpPr>
            <p:spPr>
              <a:xfrm>
                <a:off x="3376098" y="308190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8" name="Ellipse 467"/>
              <p:cNvSpPr/>
              <p:nvPr/>
            </p:nvSpPr>
            <p:spPr>
              <a:xfrm>
                <a:off x="2353989" y="2318435"/>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69" name="Gruppieren 139"/>
              <p:cNvGrpSpPr/>
              <p:nvPr/>
            </p:nvGrpSpPr>
            <p:grpSpPr>
              <a:xfrm>
                <a:off x="2865043" y="2119701"/>
                <a:ext cx="75600" cy="257824"/>
                <a:chOff x="5656766" y="771104"/>
                <a:chExt cx="75600" cy="257824"/>
              </a:xfrm>
            </p:grpSpPr>
            <p:sp>
              <p:nvSpPr>
                <p:cNvPr id="470" name="Ellipse 469"/>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71" name="Rechteck 470"/>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72" name="Gerade Verbindung 471"/>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363" name="Gruppieren 362"/>
            <p:cNvGrpSpPr/>
            <p:nvPr/>
          </p:nvGrpSpPr>
          <p:grpSpPr>
            <a:xfrm>
              <a:off x="1393769" y="1367850"/>
              <a:ext cx="320647" cy="471342"/>
              <a:chOff x="1393769" y="1367850"/>
              <a:chExt cx="320647" cy="471342"/>
            </a:xfrm>
          </p:grpSpPr>
          <p:sp>
            <p:nvSpPr>
              <p:cNvPr id="273" name="Rechteck 272"/>
              <p:cNvSpPr/>
              <p:nvPr/>
            </p:nvSpPr>
            <p:spPr>
              <a:xfrm>
                <a:off x="1425575" y="1590675"/>
                <a:ext cx="252521" cy="224632"/>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74" name="Rechteck 273"/>
              <p:cNvSpPr/>
              <p:nvPr/>
            </p:nvSpPr>
            <p:spPr>
              <a:xfrm>
                <a:off x="1398645" y="166917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5" name="Rechteck 274"/>
              <p:cNvSpPr/>
              <p:nvPr/>
            </p:nvSpPr>
            <p:spPr>
              <a:xfrm>
                <a:off x="1523492" y="1773230"/>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6" name="Ellipse 275"/>
              <p:cNvSpPr/>
              <p:nvPr/>
            </p:nvSpPr>
            <p:spPr>
              <a:xfrm>
                <a:off x="1638816" y="156035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0" name="Ellipse 289"/>
              <p:cNvSpPr/>
              <p:nvPr/>
            </p:nvSpPr>
            <p:spPr>
              <a:xfrm>
                <a:off x="1393769" y="156035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4" name="Rechteck 303"/>
              <p:cNvSpPr/>
              <p:nvPr/>
            </p:nvSpPr>
            <p:spPr>
              <a:xfrm>
                <a:off x="1646073" y="1669174"/>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8" name="Ellipse 317"/>
              <p:cNvSpPr/>
              <p:nvPr/>
            </p:nvSpPr>
            <p:spPr>
              <a:xfrm>
                <a:off x="1638816" y="176359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2" name="Ellipse 331"/>
              <p:cNvSpPr/>
              <p:nvPr/>
            </p:nvSpPr>
            <p:spPr>
              <a:xfrm>
                <a:off x="1393769" y="176359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46" name="Gruppieren 139"/>
              <p:cNvGrpSpPr/>
              <p:nvPr/>
            </p:nvGrpSpPr>
            <p:grpSpPr>
              <a:xfrm>
                <a:off x="1516292" y="1367850"/>
                <a:ext cx="75600" cy="257824"/>
                <a:chOff x="5656766" y="771104"/>
                <a:chExt cx="75600" cy="257824"/>
              </a:xfrm>
            </p:grpSpPr>
            <p:sp>
              <p:nvSpPr>
                <p:cNvPr id="360" name="Ellipse 359"/>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61" name="Rechteck 360"/>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62" name="Gerade Verbindung 361"/>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46" name="Gruppieren 445"/>
            <p:cNvGrpSpPr/>
            <p:nvPr/>
          </p:nvGrpSpPr>
          <p:grpSpPr>
            <a:xfrm>
              <a:off x="1770063" y="2135407"/>
              <a:ext cx="986640" cy="1001571"/>
              <a:chOff x="1770063" y="2135407"/>
              <a:chExt cx="986640" cy="1001571"/>
            </a:xfrm>
          </p:grpSpPr>
          <p:sp>
            <p:nvSpPr>
              <p:cNvPr id="434" name="Rechteck 433"/>
              <p:cNvSpPr/>
              <p:nvPr/>
            </p:nvSpPr>
            <p:spPr>
              <a:xfrm>
                <a:off x="1809750" y="2365375"/>
                <a:ext cx="904990" cy="739775"/>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35" name="Rechteck 434"/>
              <p:cNvSpPr/>
              <p:nvPr/>
            </p:nvSpPr>
            <p:spPr>
              <a:xfrm>
                <a:off x="1770063" y="269716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6" name="Rechteck 435"/>
              <p:cNvSpPr/>
              <p:nvPr/>
            </p:nvSpPr>
            <p:spPr>
              <a:xfrm>
                <a:off x="2232783" y="306772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7" name="Ellipse 436"/>
              <p:cNvSpPr/>
              <p:nvPr/>
            </p:nvSpPr>
            <p:spPr>
              <a:xfrm>
                <a:off x="2681103" y="2333506"/>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8" name="Ellipse 437"/>
              <p:cNvSpPr/>
              <p:nvPr/>
            </p:nvSpPr>
            <p:spPr>
              <a:xfrm>
                <a:off x="1770063" y="30538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9" name="Rechteck 438"/>
              <p:cNvSpPr/>
              <p:nvPr/>
            </p:nvSpPr>
            <p:spPr>
              <a:xfrm>
                <a:off x="2692328" y="270464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0" name="Ellipse 439"/>
              <p:cNvSpPr/>
              <p:nvPr/>
            </p:nvSpPr>
            <p:spPr>
              <a:xfrm>
                <a:off x="2681103" y="3061378"/>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1" name="Ellipse 440"/>
              <p:cNvSpPr/>
              <p:nvPr/>
            </p:nvSpPr>
            <p:spPr>
              <a:xfrm>
                <a:off x="1770063" y="23260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42" name="Gruppieren 139"/>
              <p:cNvGrpSpPr/>
              <p:nvPr/>
            </p:nvGrpSpPr>
            <p:grpSpPr>
              <a:xfrm>
                <a:off x="2225583" y="2135407"/>
                <a:ext cx="75600" cy="257824"/>
                <a:chOff x="5656766" y="771104"/>
                <a:chExt cx="75600" cy="257824"/>
              </a:xfrm>
            </p:grpSpPr>
            <p:sp>
              <p:nvSpPr>
                <p:cNvPr id="443" name="Ellipse 442"/>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44" name="Rechteck 443"/>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45" name="Gerade Verbindung 444"/>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86" name="Gruppieren 485"/>
            <p:cNvGrpSpPr/>
            <p:nvPr/>
          </p:nvGrpSpPr>
          <p:grpSpPr>
            <a:xfrm>
              <a:off x="1985963" y="1497232"/>
              <a:ext cx="923140" cy="1271446"/>
              <a:chOff x="1985963" y="1497232"/>
              <a:chExt cx="923140" cy="1271446"/>
            </a:xfrm>
          </p:grpSpPr>
          <p:sp>
            <p:nvSpPr>
              <p:cNvPr id="474" name="Rechteck 473"/>
              <p:cNvSpPr/>
              <p:nvPr/>
            </p:nvSpPr>
            <p:spPr>
              <a:xfrm>
                <a:off x="2019300" y="1733549"/>
                <a:ext cx="857250" cy="1000126"/>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75" name="Rechteck 474"/>
              <p:cNvSpPr/>
              <p:nvPr/>
            </p:nvSpPr>
            <p:spPr>
              <a:xfrm>
                <a:off x="1985963" y="219392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6" name="Rechteck 475"/>
              <p:cNvSpPr/>
              <p:nvPr/>
            </p:nvSpPr>
            <p:spPr>
              <a:xfrm>
                <a:off x="2416933" y="2690474"/>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7" name="Ellipse 476"/>
              <p:cNvSpPr/>
              <p:nvPr/>
            </p:nvSpPr>
            <p:spPr>
              <a:xfrm>
                <a:off x="2833503" y="169533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8" name="Ellipse 477"/>
              <p:cNvSpPr/>
              <p:nvPr/>
            </p:nvSpPr>
            <p:spPr>
              <a:xfrm>
                <a:off x="1985963" y="26855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9" name="Rechteck 478"/>
              <p:cNvSpPr/>
              <p:nvPr/>
            </p:nvSpPr>
            <p:spPr>
              <a:xfrm>
                <a:off x="2844728" y="220140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0" name="Ellipse 479"/>
              <p:cNvSpPr/>
              <p:nvPr/>
            </p:nvSpPr>
            <p:spPr>
              <a:xfrm>
                <a:off x="2833503" y="2693078"/>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1" name="Ellipse 480"/>
              <p:cNvSpPr/>
              <p:nvPr/>
            </p:nvSpPr>
            <p:spPr>
              <a:xfrm>
                <a:off x="1985963" y="168785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82" name="Gruppieren 139"/>
              <p:cNvGrpSpPr/>
              <p:nvPr/>
            </p:nvGrpSpPr>
            <p:grpSpPr>
              <a:xfrm>
                <a:off x="2409733" y="1497232"/>
                <a:ext cx="75600" cy="257824"/>
                <a:chOff x="5656766" y="771104"/>
                <a:chExt cx="75600" cy="257824"/>
              </a:xfrm>
            </p:grpSpPr>
            <p:sp>
              <p:nvSpPr>
                <p:cNvPr id="483" name="Ellipse 482"/>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484" name="Rechteck 483"/>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85" name="Gerade Verbindung 484"/>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grpSp>
          <p:nvGrpSpPr>
            <p:cNvPr id="490" name="Group 45"/>
            <p:cNvGrpSpPr>
              <a:grpSpLocks/>
            </p:cNvGrpSpPr>
            <p:nvPr/>
          </p:nvGrpSpPr>
          <p:grpSpPr bwMode="auto">
            <a:xfrm rot="-1312736">
              <a:off x="2678793" y="4336867"/>
              <a:ext cx="374650" cy="609600"/>
              <a:chOff x="1950" y="1045"/>
              <a:chExt cx="568" cy="928"/>
            </a:xfrm>
          </p:grpSpPr>
          <p:sp>
            <p:nvSpPr>
              <p:cNvPr id="491"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492"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sp>
            <p:nvSpPr>
              <p:cNvPr id="493"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494"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495"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496"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497"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498"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499"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500"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501"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502"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grpSp>
        <p:pic>
          <p:nvPicPr>
            <p:cNvPr id="513" name="Picture 3"/>
            <p:cNvPicPr>
              <a:picLocks noChangeAspect="1" noChangeArrowheads="1"/>
            </p:cNvPicPr>
            <p:nvPr/>
          </p:nvPicPr>
          <p:blipFill>
            <a:blip r:embed="rId38"/>
            <a:srcRect/>
            <a:stretch>
              <a:fillRect/>
            </a:stretch>
          </p:blipFill>
          <p:spPr bwMode="auto">
            <a:xfrm>
              <a:off x="4527479" y="2522131"/>
              <a:ext cx="1232152" cy="410717"/>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sp>
          <p:nvSpPr>
            <p:cNvPr id="516" name="Rechteck 515"/>
            <p:cNvSpPr/>
            <p:nvPr/>
          </p:nvSpPr>
          <p:spPr>
            <a:xfrm>
              <a:off x="4510088" y="2528207"/>
              <a:ext cx="1202735" cy="12926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17" name="Gruppieren 316"/>
          <p:cNvGrpSpPr/>
          <p:nvPr/>
        </p:nvGrpSpPr>
        <p:grpSpPr>
          <a:xfrm>
            <a:off x="1984102" y="704465"/>
            <a:ext cx="1197732" cy="1110862"/>
            <a:chOff x="1984102" y="704465"/>
            <a:chExt cx="1197732" cy="1110862"/>
          </a:xfrm>
        </p:grpSpPr>
        <p:sp>
          <p:nvSpPr>
            <p:cNvPr id="305" name="Rechteck 304"/>
            <p:cNvSpPr/>
            <p:nvPr/>
          </p:nvSpPr>
          <p:spPr>
            <a:xfrm>
              <a:off x="2032794" y="930275"/>
              <a:ext cx="1121848" cy="86201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06" name="Rechteck 305"/>
            <p:cNvSpPr/>
            <p:nvPr/>
          </p:nvSpPr>
          <p:spPr>
            <a:xfrm>
              <a:off x="1998502" y="132866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7" name="Rechteck 306"/>
            <p:cNvSpPr/>
            <p:nvPr/>
          </p:nvSpPr>
          <p:spPr>
            <a:xfrm>
              <a:off x="2552368" y="175412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8" name="Ellipse 307"/>
            <p:cNvSpPr/>
            <p:nvPr/>
          </p:nvSpPr>
          <p:spPr>
            <a:xfrm>
              <a:off x="3106234" y="9031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9" name="Ellipse 308"/>
            <p:cNvSpPr/>
            <p:nvPr/>
          </p:nvSpPr>
          <p:spPr>
            <a:xfrm>
              <a:off x="1984102" y="17397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0" name="Rechteck 309"/>
            <p:cNvSpPr/>
            <p:nvPr/>
          </p:nvSpPr>
          <p:spPr>
            <a:xfrm>
              <a:off x="3106234" y="1328663"/>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1" name="Ellipse 310"/>
            <p:cNvSpPr/>
            <p:nvPr/>
          </p:nvSpPr>
          <p:spPr>
            <a:xfrm>
              <a:off x="3106234" y="173972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2" name="Ellipse 311"/>
            <p:cNvSpPr/>
            <p:nvPr/>
          </p:nvSpPr>
          <p:spPr>
            <a:xfrm>
              <a:off x="1984102" y="9031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13" name="Gruppieren 139"/>
            <p:cNvGrpSpPr/>
            <p:nvPr/>
          </p:nvGrpSpPr>
          <p:grpSpPr>
            <a:xfrm>
              <a:off x="2545168" y="704465"/>
              <a:ext cx="75600" cy="257824"/>
              <a:chOff x="5656766" y="771104"/>
              <a:chExt cx="75600" cy="257824"/>
            </a:xfrm>
          </p:grpSpPr>
          <p:sp>
            <p:nvSpPr>
              <p:cNvPr id="314" name="Ellipse 313"/>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315" name="Rechteck 314"/>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16" name="Gerade Verbindung 315"/>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grpSp>
      <p:pic>
        <p:nvPicPr>
          <p:cNvPr id="2050" name="Picture 2"/>
          <p:cNvPicPr>
            <a:picLocks noChangeAspect="1" noChangeArrowheads="1"/>
          </p:cNvPicPr>
          <p:nvPr/>
        </p:nvPicPr>
        <p:blipFill>
          <a:blip r:embed="rId39"/>
          <a:srcRect/>
          <a:stretch>
            <a:fillRect/>
          </a:stretch>
        </p:blipFill>
        <p:spPr bwMode="auto">
          <a:xfrm>
            <a:off x="4524375" y="2927350"/>
            <a:ext cx="2057400" cy="68580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026" name="Picture 2" descr="C:\Users\patrick.z\Desktop\Tutorials\Landkarten\DE\01_Karte gruppieren.jpg"/>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532806" y="1992827"/>
            <a:ext cx="948707" cy="1475765"/>
          </a:xfrm>
          <a:prstGeom prst="rect">
            <a:avLst/>
          </a:prstGeom>
          <a:noFill/>
          <a:effectLst>
            <a:outerShdw blurRad="50800" dist="38100" dir="2700000" algn="tl" rotWithShape="0">
              <a:prstClr val="black">
                <a:alpha val="40000"/>
              </a:prstClr>
            </a:outerShdw>
            <a:reflection blurRad="6350" stA="50000" endA="300" endPos="55000" dir="5400000" sy="-100000" algn="bl" rotWithShape="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493794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4"/>
          <a:srcRect/>
          <a:stretch>
            <a:fillRect/>
          </a:stretch>
        </p:blipFill>
        <p:spPr bwMode="auto">
          <a:xfrm>
            <a:off x="-12700" y="305435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800" b="0" i="0" u="none" strike="noStrike" kern="0" cap="none" spc="0" normalizeH="0" baseline="0" noProof="0" dirty="0" smtClean="0">
                <a:ln>
                  <a:noFill/>
                </a:ln>
                <a:solidFill>
                  <a:schemeClr val="tx2"/>
                </a:solidFill>
                <a:effectLst/>
                <a:uLnTx/>
                <a:uFillTx/>
                <a:latin typeface="Myriad Pro" pitchFamily="34" charset="0"/>
                <a:ea typeface="+mj-ea"/>
                <a:cs typeface="+mj-cs"/>
              </a:rPr>
              <a:t>Karte Skalieren</a:t>
            </a:r>
          </a:p>
        </p:txBody>
      </p:sp>
      <p:sp>
        <p:nvSpPr>
          <p:cNvPr id="4" name="Textfeld 3"/>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10</a:t>
            </a:r>
            <a:endParaRPr lang="de-DE" sz="900" dirty="0">
              <a:solidFill>
                <a:schemeClr val="bg1">
                  <a:lumMod val="50000"/>
                </a:schemeClr>
              </a:solidFill>
            </a:endParaRPr>
          </a:p>
        </p:txBody>
      </p:sp>
      <p:grpSp>
        <p:nvGrpSpPr>
          <p:cNvPr id="1043" name="Group 19"/>
          <p:cNvGrpSpPr>
            <a:grpSpLocks/>
          </p:cNvGrpSpPr>
          <p:nvPr/>
        </p:nvGrpSpPr>
        <p:grpSpPr bwMode="auto">
          <a:xfrm>
            <a:off x="1252279" y="1624805"/>
            <a:ext cx="1935058" cy="2620043"/>
            <a:chOff x="670" y="640"/>
            <a:chExt cx="2195" cy="2972"/>
          </a:xfrm>
          <a:effectLst>
            <a:reflection blurRad="6350" stA="52000" endA="300" endPos="35000" dir="5400000" sy="-100000" algn="bl" rotWithShape="0"/>
          </a:effectLst>
        </p:grpSpPr>
        <p:sp>
          <p:nvSpPr>
            <p:cNvPr id="1044" name="Freeform 20"/>
            <p:cNvSpPr>
              <a:spLocks/>
            </p:cNvSpPr>
            <p:nvPr>
              <p:custDataLst>
                <p:tags r:id="rId17"/>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5" name="Freeform 21"/>
            <p:cNvSpPr>
              <a:spLocks/>
            </p:cNvSpPr>
            <p:nvPr>
              <p:custDataLst>
                <p:tags r:id="rId18"/>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6" name="Freeform 22"/>
            <p:cNvSpPr>
              <a:spLocks/>
            </p:cNvSpPr>
            <p:nvPr>
              <p:custDataLst>
                <p:tags r:id="rId19"/>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7" name="Freeform 23"/>
            <p:cNvSpPr>
              <a:spLocks/>
            </p:cNvSpPr>
            <p:nvPr>
              <p:custDataLst>
                <p:tags r:id="rId20"/>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8" name="Freeform 24"/>
            <p:cNvSpPr>
              <a:spLocks noEditPoints="1"/>
            </p:cNvSpPr>
            <p:nvPr>
              <p:custDataLst>
                <p:tags r:id="rId21"/>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9" name="Freeform 25"/>
            <p:cNvSpPr>
              <a:spLocks/>
            </p:cNvSpPr>
            <p:nvPr>
              <p:custDataLst>
                <p:tags r:id="rId22"/>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0" name="Freeform 26"/>
            <p:cNvSpPr>
              <a:spLocks/>
            </p:cNvSpPr>
            <p:nvPr>
              <p:custDataLst>
                <p:tags r:id="rId23"/>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1" name="Freeform 27"/>
            <p:cNvSpPr>
              <a:spLocks/>
            </p:cNvSpPr>
            <p:nvPr>
              <p:custDataLst>
                <p:tags r:id="rId24"/>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2" name="Freeform 28"/>
            <p:cNvSpPr>
              <a:spLocks/>
            </p:cNvSpPr>
            <p:nvPr>
              <p:custDataLst>
                <p:tags r:id="rId25"/>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3" name="Freeform 29"/>
            <p:cNvSpPr>
              <a:spLocks/>
            </p:cNvSpPr>
            <p:nvPr>
              <p:custDataLst>
                <p:tags r:id="rId26"/>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4" name="Freeform 30"/>
            <p:cNvSpPr>
              <a:spLocks noEditPoints="1"/>
            </p:cNvSpPr>
            <p:nvPr>
              <p:custDataLst>
                <p:tags r:id="rId27"/>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5" name="Freeform 31"/>
            <p:cNvSpPr>
              <a:spLocks noEditPoints="1"/>
            </p:cNvSpPr>
            <p:nvPr>
              <p:custDataLst>
                <p:tags r:id="rId28"/>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6" name="Freeform 32"/>
            <p:cNvSpPr>
              <a:spLocks/>
            </p:cNvSpPr>
            <p:nvPr>
              <p:custDataLst>
                <p:tags r:id="rId29"/>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7" name="Freeform 33"/>
            <p:cNvSpPr>
              <a:spLocks noEditPoints="1"/>
            </p:cNvSpPr>
            <p:nvPr>
              <p:custDataLst>
                <p:tags r:id="rId30"/>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8" name="Freeform 34"/>
            <p:cNvSpPr>
              <a:spLocks noEditPoints="1"/>
            </p:cNvSpPr>
            <p:nvPr>
              <p:custDataLst>
                <p:tags r:id="rId31"/>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59" name="Freeform 35"/>
            <p:cNvSpPr>
              <a:spLocks noEditPoints="1"/>
            </p:cNvSpPr>
            <p:nvPr>
              <p:custDataLst>
                <p:tags r:id="rId32"/>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88" name="Group 19"/>
          <p:cNvGrpSpPr>
            <a:grpSpLocks/>
          </p:cNvGrpSpPr>
          <p:nvPr/>
        </p:nvGrpSpPr>
        <p:grpSpPr bwMode="auto">
          <a:xfrm>
            <a:off x="5586300" y="626982"/>
            <a:ext cx="2678442" cy="3626574"/>
            <a:chOff x="670" y="640"/>
            <a:chExt cx="2195" cy="2972"/>
          </a:xfrm>
          <a:effectLst>
            <a:reflection blurRad="6350" stA="52000" endA="300" endPos="35000" dir="5400000" sy="-100000" algn="bl" rotWithShape="0"/>
          </a:effectLst>
        </p:grpSpPr>
        <p:sp>
          <p:nvSpPr>
            <p:cNvPr id="89"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0"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1"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2"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3"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4"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5"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6"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7"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8"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9"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0"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1"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2"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3"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132" name="Gruppieren 77"/>
          <p:cNvGrpSpPr/>
          <p:nvPr/>
        </p:nvGrpSpPr>
        <p:grpSpPr>
          <a:xfrm>
            <a:off x="211756" y="5538253"/>
            <a:ext cx="347663" cy="338138"/>
            <a:chOff x="203518" y="4966018"/>
            <a:chExt cx="347663" cy="338138"/>
          </a:xfrm>
        </p:grpSpPr>
        <p:pic>
          <p:nvPicPr>
            <p:cNvPr id="133" name="Grafik 132"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134"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135"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Skalieren Sie die Karte proportional auf eine beliebige Größe. Wählen Sie hierzu die Karte mit der linken Maustaste aus. </a:t>
            </a:r>
            <a:r>
              <a:rPr lang="de-DE" sz="1200" dirty="0">
                <a:latin typeface="Myriad Pro" pitchFamily="34" charset="0"/>
                <a:ea typeface="Arial Unicode MS" pitchFamily="34" charset="-128"/>
                <a:cs typeface="Arial" charset="0"/>
              </a:rPr>
              <a:t/>
            </a:r>
            <a:br>
              <a:rPr lang="de-DE" sz="1200" dirty="0">
                <a:latin typeface="Myriad Pro" pitchFamily="34" charset="0"/>
                <a:ea typeface="Arial Unicode MS" pitchFamily="34" charset="-128"/>
                <a:cs typeface="Arial" charset="0"/>
              </a:rPr>
            </a:br>
            <a:endParaRPr lang="de-DE" sz="1200" dirty="0">
              <a:latin typeface="Myriad Pro" pitchFamily="34" charset="0"/>
              <a:ea typeface="Arial Unicode MS" pitchFamily="34" charset="-128"/>
              <a:cs typeface="Arial" charset="0"/>
            </a:endParaRPr>
          </a:p>
          <a:p>
            <a:endParaRPr lang="de-DE" sz="1200" dirty="0">
              <a:latin typeface="Myriad Pro" pitchFamily="34" charset="0"/>
              <a:ea typeface="Arial Unicode MS" pitchFamily="34" charset="-128"/>
              <a:cs typeface="Arial" charset="0"/>
            </a:endParaRPr>
          </a:p>
        </p:txBody>
      </p:sp>
      <p:sp>
        <p:nvSpPr>
          <p:cNvPr id="136" name="Rectangle 5"/>
          <p:cNvSpPr>
            <a:spLocks noChangeArrowheads="1"/>
          </p:cNvSpPr>
          <p:nvPr/>
        </p:nvSpPr>
        <p:spPr bwMode="gray">
          <a:xfrm>
            <a:off x="639763" y="5538253"/>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Ziehen Sie mit gedrückter linker Maus- und Umschalt-Taste (Shift) die Karte an einem der erschienenen Eckpunkte </a:t>
            </a:r>
            <a:br>
              <a:rPr lang="de-DE" sz="1200" dirty="0" smtClean="0">
                <a:solidFill>
                  <a:srgbClr val="000000"/>
                </a:solidFill>
                <a:latin typeface="Myriad Pro" pitchFamily="34" charset="0"/>
                <a:ea typeface="Arial Unicode MS" pitchFamily="34" charset="-128"/>
                <a:cs typeface="Arial" charset="0"/>
              </a:rPr>
            </a:br>
            <a:r>
              <a:rPr lang="de-DE" sz="1200" dirty="0" smtClean="0">
                <a:solidFill>
                  <a:srgbClr val="000000"/>
                </a:solidFill>
                <a:latin typeface="Myriad Pro" pitchFamily="34" charset="0"/>
                <a:ea typeface="Arial Unicode MS" pitchFamily="34" charset="-128"/>
                <a:cs typeface="Arial" charset="0"/>
              </a:rPr>
              <a:t>und verändern Sie diese auf die gewünschte Größe. </a:t>
            </a:r>
          </a:p>
        </p:txBody>
      </p:sp>
      <p:grpSp>
        <p:nvGrpSpPr>
          <p:cNvPr id="137" name="Gruppieren 73"/>
          <p:cNvGrpSpPr/>
          <p:nvPr/>
        </p:nvGrpSpPr>
        <p:grpSpPr>
          <a:xfrm>
            <a:off x="211756" y="4979777"/>
            <a:ext cx="347663" cy="338138"/>
            <a:chOff x="203518" y="4378643"/>
            <a:chExt cx="347663" cy="338138"/>
          </a:xfrm>
        </p:grpSpPr>
        <p:pic>
          <p:nvPicPr>
            <p:cNvPr id="138" name="Grafik 137"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139"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40" name="Gruppieren 77"/>
          <p:cNvGrpSpPr/>
          <p:nvPr/>
        </p:nvGrpSpPr>
        <p:grpSpPr>
          <a:xfrm>
            <a:off x="5101970" y="653616"/>
            <a:ext cx="347663" cy="338138"/>
            <a:chOff x="203518" y="4966018"/>
            <a:chExt cx="347663" cy="338138"/>
          </a:xfrm>
        </p:grpSpPr>
        <p:pic>
          <p:nvPicPr>
            <p:cNvPr id="141" name="Grafik 140"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142"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43" name="Gruppieren 73"/>
          <p:cNvGrpSpPr/>
          <p:nvPr/>
        </p:nvGrpSpPr>
        <p:grpSpPr>
          <a:xfrm>
            <a:off x="775647" y="1666618"/>
            <a:ext cx="347663" cy="338138"/>
            <a:chOff x="203518" y="4378643"/>
            <a:chExt cx="347663" cy="338138"/>
          </a:xfrm>
        </p:grpSpPr>
        <p:pic>
          <p:nvPicPr>
            <p:cNvPr id="144" name="Grafik 143"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145"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46" name="Gruppieren 145"/>
          <p:cNvGrpSpPr/>
          <p:nvPr/>
        </p:nvGrpSpPr>
        <p:grpSpPr>
          <a:xfrm>
            <a:off x="5476875" y="360597"/>
            <a:ext cx="2949496" cy="4004480"/>
            <a:chOff x="5476875" y="360597"/>
            <a:chExt cx="2949496" cy="4004480"/>
          </a:xfrm>
        </p:grpSpPr>
        <p:sp>
          <p:nvSpPr>
            <p:cNvPr id="120" name="Rechteck 119"/>
            <p:cNvSpPr/>
            <p:nvPr/>
          </p:nvSpPr>
          <p:spPr>
            <a:xfrm>
              <a:off x="5521568" y="581257"/>
              <a:ext cx="2873132" cy="3754999"/>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1" name="Rechteck 120"/>
            <p:cNvSpPr/>
            <p:nvPr/>
          </p:nvSpPr>
          <p:spPr>
            <a:xfrm>
              <a:off x="5491275" y="2423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2" name="Rechteck 121"/>
            <p:cNvSpPr/>
            <p:nvPr/>
          </p:nvSpPr>
          <p:spPr>
            <a:xfrm>
              <a:off x="6921023" y="430387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3" name="Ellipse 122"/>
            <p:cNvSpPr/>
            <p:nvPr/>
          </p:nvSpPr>
          <p:spPr>
            <a:xfrm>
              <a:off x="8350771" y="542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4" name="Ellipse 123"/>
            <p:cNvSpPr/>
            <p:nvPr/>
          </p:nvSpPr>
          <p:spPr>
            <a:xfrm>
              <a:off x="5476875"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5" name="Rechteck 124"/>
            <p:cNvSpPr/>
            <p:nvPr/>
          </p:nvSpPr>
          <p:spPr>
            <a:xfrm>
              <a:off x="8365171" y="2423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6" name="Ellipse 125"/>
            <p:cNvSpPr/>
            <p:nvPr/>
          </p:nvSpPr>
          <p:spPr>
            <a:xfrm>
              <a:off x="8350771"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27" name="Gruppieren 139"/>
            <p:cNvGrpSpPr/>
            <p:nvPr/>
          </p:nvGrpSpPr>
          <p:grpSpPr>
            <a:xfrm>
              <a:off x="6913823" y="360597"/>
              <a:ext cx="75600" cy="257824"/>
              <a:chOff x="5656766" y="771104"/>
              <a:chExt cx="75600" cy="257824"/>
            </a:xfrm>
          </p:grpSpPr>
          <p:sp>
            <p:nvSpPr>
              <p:cNvPr id="129" name="Ellipse 128"/>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130" name="Rechteck 129"/>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1" name="Gerade Verbindung 130"/>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128" name="Ellipse 127"/>
            <p:cNvSpPr/>
            <p:nvPr/>
          </p:nvSpPr>
          <p:spPr>
            <a:xfrm>
              <a:off x="5476875" y="542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60" name="Gruppieren 159"/>
          <p:cNvGrpSpPr/>
          <p:nvPr/>
        </p:nvGrpSpPr>
        <p:grpSpPr>
          <a:xfrm>
            <a:off x="1155648" y="1376597"/>
            <a:ext cx="2130346" cy="2988480"/>
            <a:chOff x="1155648" y="1376597"/>
            <a:chExt cx="2130346" cy="2988480"/>
          </a:xfrm>
        </p:grpSpPr>
        <p:sp>
          <p:nvSpPr>
            <p:cNvPr id="148" name="Rechteck 147"/>
            <p:cNvSpPr/>
            <p:nvPr/>
          </p:nvSpPr>
          <p:spPr>
            <a:xfrm>
              <a:off x="1197769" y="1593850"/>
              <a:ext cx="2056553" cy="2742406"/>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49" name="Rechteck 148"/>
            <p:cNvSpPr/>
            <p:nvPr/>
          </p:nvSpPr>
          <p:spPr>
            <a:xfrm>
              <a:off x="1170048" y="2931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0" name="Rechteck 149"/>
            <p:cNvSpPr/>
            <p:nvPr/>
          </p:nvSpPr>
          <p:spPr>
            <a:xfrm>
              <a:off x="2190221" y="430387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1" name="Ellipse 150"/>
            <p:cNvSpPr/>
            <p:nvPr/>
          </p:nvSpPr>
          <p:spPr>
            <a:xfrm>
              <a:off x="3210394" y="1558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2" name="Ellipse 151"/>
            <p:cNvSpPr/>
            <p:nvPr/>
          </p:nvSpPr>
          <p:spPr>
            <a:xfrm>
              <a:off x="1155648"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3" name="Rechteck 152"/>
            <p:cNvSpPr/>
            <p:nvPr/>
          </p:nvSpPr>
          <p:spPr>
            <a:xfrm>
              <a:off x="3224794" y="2931349"/>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4" name="Ellipse 153"/>
            <p:cNvSpPr/>
            <p:nvPr/>
          </p:nvSpPr>
          <p:spPr>
            <a:xfrm>
              <a:off x="3210394" y="428947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55" name="Gruppieren 139"/>
            <p:cNvGrpSpPr/>
            <p:nvPr/>
          </p:nvGrpSpPr>
          <p:grpSpPr>
            <a:xfrm>
              <a:off x="2183021" y="1376597"/>
              <a:ext cx="75600" cy="257824"/>
              <a:chOff x="5656766" y="771104"/>
              <a:chExt cx="75600" cy="257824"/>
            </a:xfrm>
          </p:grpSpPr>
          <p:sp>
            <p:nvSpPr>
              <p:cNvPr id="157" name="Ellipse 156"/>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158" name="Rechteck 157"/>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9" name="Gerade Verbindung 158"/>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156" name="Ellipse 155"/>
            <p:cNvSpPr/>
            <p:nvPr/>
          </p:nvSpPr>
          <p:spPr>
            <a:xfrm>
              <a:off x="1155648" y="1558821"/>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7" name="Gruppieren 106"/>
          <p:cNvGrpSpPr/>
          <p:nvPr/>
        </p:nvGrpSpPr>
        <p:grpSpPr>
          <a:xfrm>
            <a:off x="2654493" y="4091090"/>
            <a:ext cx="6336862" cy="736478"/>
            <a:chOff x="2654493" y="4091090"/>
            <a:chExt cx="6336862" cy="736478"/>
          </a:xfrm>
        </p:grpSpPr>
        <p:grpSp>
          <p:nvGrpSpPr>
            <p:cNvPr id="105" name="Group 104"/>
            <p:cNvGrpSpPr/>
            <p:nvPr/>
          </p:nvGrpSpPr>
          <p:grpSpPr>
            <a:xfrm>
              <a:off x="6646328" y="4387832"/>
              <a:ext cx="921473" cy="377403"/>
              <a:chOff x="6646328" y="4387832"/>
              <a:chExt cx="921473" cy="377403"/>
            </a:xfrm>
          </p:grpSpPr>
          <p:sp>
            <p:nvSpPr>
              <p:cNvPr id="31" name="Rectangle 4"/>
              <p:cNvSpPr>
                <a:spLocks noChangeArrowheads="1"/>
              </p:cNvSpPr>
              <p:nvPr/>
            </p:nvSpPr>
            <p:spPr bwMode="gray">
              <a:xfrm>
                <a:off x="7243947" y="4387832"/>
                <a:ext cx="323854" cy="342900"/>
              </a:xfrm>
              <a:prstGeom prst="rect">
                <a:avLst/>
              </a:prstGeom>
              <a:noFill/>
              <a:ln w="9525">
                <a:noFill/>
                <a:miter lim="800000"/>
                <a:headEnd/>
                <a:tailEnd/>
              </a:ln>
            </p:spPr>
            <p:txBody>
              <a:bodyPr lIns="0" tIns="0" rIns="0" bIns="0" anchor="ctr"/>
              <a:lstStyle/>
              <a:p>
                <a:pPr algn="ctr" defTabSz="801688" eaLnBrk="0" fontAlgn="auto" hangingPunct="0">
                  <a:spcBef>
                    <a:spcPts val="0"/>
                  </a:spcBef>
                  <a:spcAft>
                    <a:spcPts val="0"/>
                  </a:spcAft>
                  <a:defRPr/>
                </a:pPr>
                <a:r>
                  <a:rPr lang="en-GB" sz="3200" kern="0" dirty="0">
                    <a:latin typeface="Myriad Pro" pitchFamily="34" charset="0"/>
                  </a:rPr>
                  <a:t>+</a:t>
                </a:r>
              </a:p>
            </p:txBody>
          </p:sp>
          <p:grpSp>
            <p:nvGrpSpPr>
              <p:cNvPr id="22" name="Gruppieren 146"/>
              <p:cNvGrpSpPr/>
              <p:nvPr/>
            </p:nvGrpSpPr>
            <p:grpSpPr bwMode="auto">
              <a:xfrm>
                <a:off x="6646328" y="4422335"/>
                <a:ext cx="516974" cy="342900"/>
                <a:chOff x="7027139" y="784239"/>
                <a:chExt cx="517075" cy="343745"/>
              </a:xfrm>
              <a:effectLst>
                <a:outerShdw blurRad="50800" dist="38100" dir="2700000" algn="tl" rotWithShape="0">
                  <a:prstClr val="black">
                    <a:alpha val="40000"/>
                  </a:prstClr>
                </a:outerShdw>
              </a:effectLst>
            </p:grpSpPr>
            <p:sp>
              <p:nvSpPr>
                <p:cNvPr id="23" name="AutoShape 74"/>
                <p:cNvSpPr>
                  <a:spLocks noChangeAspect="1" noChangeArrowheads="1" noTextEdit="1"/>
                </p:cNvSpPr>
                <p:nvPr/>
              </p:nvSpPr>
              <p:spPr bwMode="gray">
                <a:xfrm>
                  <a:off x="7027139" y="784239"/>
                  <a:ext cx="517075" cy="343745"/>
                </a:xfrm>
                <a:prstGeom prst="rect">
                  <a:avLst/>
                </a:prstGeom>
                <a:noFill/>
                <a:ln w="9525">
                  <a:noFill/>
                  <a:miter lim="800000"/>
                  <a:headEnd/>
                  <a:tailEnd/>
                </a:ln>
              </p:spPr>
              <p:txBody>
                <a:bodyPr/>
                <a:lstStyle/>
                <a:p>
                  <a:pPr>
                    <a:defRPr/>
                  </a:pPr>
                  <a:endParaRPr lang="de-DE">
                    <a:latin typeface="Myriad Pro" pitchFamily="34" charset="0"/>
                  </a:endParaRPr>
                </a:p>
              </p:txBody>
            </p:sp>
            <p:sp>
              <p:nvSpPr>
                <p:cNvPr id="24" name="Freeform 75"/>
                <p:cNvSpPr>
                  <a:spLocks/>
                </p:cNvSpPr>
                <p:nvPr/>
              </p:nvSpPr>
              <p:spPr bwMode="gray">
                <a:xfrm>
                  <a:off x="7033261" y="787025"/>
                  <a:ext cx="500933" cy="337060"/>
                </a:xfrm>
                <a:custGeom>
                  <a:avLst/>
                  <a:gdLst>
                    <a:gd name="T0" fmla="*/ 158630 w 247"/>
                    <a:gd name="T1" fmla="*/ 17252 h 256"/>
                    <a:gd name="T2" fmla="*/ 144543 w 247"/>
                    <a:gd name="T3" fmla="*/ 18873 h 256"/>
                    <a:gd name="T4" fmla="*/ 14804 w 247"/>
                    <a:gd name="T5" fmla="*/ 18873 h 256"/>
                    <a:gd name="T6" fmla="*/ 0 w 247"/>
                    <a:gd name="T7" fmla="*/ 17252 h 256"/>
                    <a:gd name="T8" fmla="*/ 0 w 247"/>
                    <a:gd name="T9" fmla="*/ 1626 h 256"/>
                    <a:gd name="T10" fmla="*/ 14804 w 247"/>
                    <a:gd name="T11" fmla="*/ 0 h 256"/>
                    <a:gd name="T12" fmla="*/ 144543 w 247"/>
                    <a:gd name="T13" fmla="*/ 0 h 256"/>
                    <a:gd name="T14" fmla="*/ 158630 w 247"/>
                    <a:gd name="T15" fmla="*/ 1626 h 256"/>
                    <a:gd name="T16" fmla="*/ 158630 w 247"/>
                    <a:gd name="T17" fmla="*/ 17252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7"/>
                    <a:gd name="T28" fmla="*/ 0 h 256"/>
                    <a:gd name="T29" fmla="*/ 247 w 24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7" h="256">
                      <a:moveTo>
                        <a:pt x="247" y="234"/>
                      </a:moveTo>
                      <a:cubicBezTo>
                        <a:pt x="247" y="246"/>
                        <a:pt x="237" y="256"/>
                        <a:pt x="225" y="256"/>
                      </a:cubicBezTo>
                      <a:cubicBezTo>
                        <a:pt x="23" y="256"/>
                        <a:pt x="23" y="256"/>
                        <a:pt x="23" y="256"/>
                      </a:cubicBezTo>
                      <a:cubicBezTo>
                        <a:pt x="10" y="256"/>
                        <a:pt x="0" y="246"/>
                        <a:pt x="0" y="234"/>
                      </a:cubicBezTo>
                      <a:cubicBezTo>
                        <a:pt x="0" y="22"/>
                        <a:pt x="0" y="22"/>
                        <a:pt x="0" y="22"/>
                      </a:cubicBezTo>
                      <a:cubicBezTo>
                        <a:pt x="0" y="10"/>
                        <a:pt x="10" y="0"/>
                        <a:pt x="23" y="0"/>
                      </a:cubicBezTo>
                      <a:cubicBezTo>
                        <a:pt x="225" y="0"/>
                        <a:pt x="225" y="0"/>
                        <a:pt x="225" y="0"/>
                      </a:cubicBezTo>
                      <a:cubicBezTo>
                        <a:pt x="237" y="0"/>
                        <a:pt x="247" y="10"/>
                        <a:pt x="247" y="22"/>
                      </a:cubicBezTo>
                      <a:lnTo>
                        <a:pt x="247" y="234"/>
                      </a:lnTo>
                      <a:close/>
                    </a:path>
                  </a:pathLst>
                </a:custGeom>
                <a:solidFill>
                  <a:srgbClr val="E0E0DE"/>
                </a:solidFill>
                <a:ln w="9525">
                  <a:noFill/>
                  <a:round/>
                  <a:headEnd/>
                  <a:tailEnd/>
                </a:ln>
              </p:spPr>
              <p:txBody>
                <a:bodyPr/>
                <a:lstStyle/>
                <a:p>
                  <a:pPr>
                    <a:defRPr/>
                  </a:pPr>
                  <a:endParaRPr lang="de-DE">
                    <a:latin typeface="Myriad Pro" pitchFamily="34" charset="0"/>
                  </a:endParaRPr>
                </a:p>
              </p:txBody>
            </p:sp>
            <p:sp>
              <p:nvSpPr>
                <p:cNvPr id="25" name="Freeform 76"/>
                <p:cNvSpPr>
                  <a:spLocks/>
                </p:cNvSpPr>
                <p:nvPr/>
              </p:nvSpPr>
              <p:spPr bwMode="gray">
                <a:xfrm>
                  <a:off x="7086138" y="804295"/>
                  <a:ext cx="291655" cy="255163"/>
                </a:xfrm>
                <a:custGeom>
                  <a:avLst/>
                  <a:gdLst>
                    <a:gd name="T0" fmla="*/ 130119 w 132"/>
                    <a:gd name="T1" fmla="*/ 5132 h 194"/>
                    <a:gd name="T2" fmla="*/ 111477 w 132"/>
                    <a:gd name="T3" fmla="*/ 0 h 194"/>
                    <a:gd name="T4" fmla="*/ 22584 w 132"/>
                    <a:gd name="T5" fmla="*/ 0 h 194"/>
                    <a:gd name="T6" fmla="*/ 0 w 132"/>
                    <a:gd name="T7" fmla="*/ 1671 h 194"/>
                    <a:gd name="T8" fmla="*/ 0 w 132"/>
                    <a:gd name="T9" fmla="*/ 12607 h 194"/>
                    <a:gd name="T10" fmla="*/ 18642 w 132"/>
                    <a:gd name="T11" fmla="*/ 14224 h 194"/>
                    <a:gd name="T12" fmla="*/ 130119 w 132"/>
                    <a:gd name="T13" fmla="*/ 5132 h 194"/>
                    <a:gd name="T14" fmla="*/ 0 60000 65536"/>
                    <a:gd name="T15" fmla="*/ 0 60000 65536"/>
                    <a:gd name="T16" fmla="*/ 0 60000 65536"/>
                    <a:gd name="T17" fmla="*/ 0 60000 65536"/>
                    <a:gd name="T18" fmla="*/ 0 60000 65536"/>
                    <a:gd name="T19" fmla="*/ 0 60000 65536"/>
                    <a:gd name="T20" fmla="*/ 0 60000 65536"/>
                    <a:gd name="T21" fmla="*/ 0 w 132"/>
                    <a:gd name="T22" fmla="*/ 0 h 194"/>
                    <a:gd name="T23" fmla="*/ 132 w 132"/>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194">
                      <a:moveTo>
                        <a:pt x="132" y="70"/>
                      </a:moveTo>
                      <a:cubicBezTo>
                        <a:pt x="132" y="44"/>
                        <a:pt x="125" y="20"/>
                        <a:pt x="113" y="0"/>
                      </a:cubicBezTo>
                      <a:cubicBezTo>
                        <a:pt x="23" y="0"/>
                        <a:pt x="23" y="0"/>
                        <a:pt x="23" y="0"/>
                      </a:cubicBezTo>
                      <a:cubicBezTo>
                        <a:pt x="10" y="0"/>
                        <a:pt x="0" y="11"/>
                        <a:pt x="0" y="23"/>
                      </a:cubicBezTo>
                      <a:cubicBezTo>
                        <a:pt x="0" y="172"/>
                        <a:pt x="0" y="172"/>
                        <a:pt x="0" y="172"/>
                      </a:cubicBezTo>
                      <a:cubicBezTo>
                        <a:pt x="0" y="183"/>
                        <a:pt x="8" y="192"/>
                        <a:pt x="19" y="194"/>
                      </a:cubicBezTo>
                      <a:cubicBezTo>
                        <a:pt x="81" y="193"/>
                        <a:pt x="132" y="138"/>
                        <a:pt x="132" y="70"/>
                      </a:cubicBezTo>
                      <a:close/>
                    </a:path>
                  </a:pathLst>
                </a:custGeom>
                <a:solidFill>
                  <a:srgbClr val="DEDEDC"/>
                </a:solidFill>
                <a:ln w="9525">
                  <a:noFill/>
                  <a:round/>
                  <a:headEnd/>
                  <a:tailEnd/>
                </a:ln>
              </p:spPr>
              <p:txBody>
                <a:bodyPr/>
                <a:lstStyle/>
                <a:p>
                  <a:pPr>
                    <a:defRPr/>
                  </a:pPr>
                  <a:endParaRPr lang="de-DE">
                    <a:latin typeface="Myriad Pro" pitchFamily="34" charset="0"/>
                  </a:endParaRPr>
                </a:p>
              </p:txBody>
            </p:sp>
            <p:sp>
              <p:nvSpPr>
                <p:cNvPr id="26" name="Freeform 77"/>
                <p:cNvSpPr>
                  <a:spLocks/>
                </p:cNvSpPr>
                <p:nvPr/>
              </p:nvSpPr>
              <p:spPr bwMode="gray">
                <a:xfrm>
                  <a:off x="7172966" y="806524"/>
                  <a:ext cx="342305" cy="255720"/>
                </a:xfrm>
                <a:custGeom>
                  <a:avLst/>
                  <a:gdLst>
                    <a:gd name="T0" fmla="*/ 128856 w 155"/>
                    <a:gd name="T1" fmla="*/ 0 h 194"/>
                    <a:gd name="T2" fmla="*/ 43356 w 155"/>
                    <a:gd name="T3" fmla="*/ 0 h 194"/>
                    <a:gd name="T4" fmla="*/ 81517 w 155"/>
                    <a:gd name="T5" fmla="*/ 4730 h 194"/>
                    <a:gd name="T6" fmla="*/ 0 w 155"/>
                    <a:gd name="T7" fmla="*/ 14380 h 194"/>
                    <a:gd name="T8" fmla="*/ 128856 w 155"/>
                    <a:gd name="T9" fmla="*/ 14380 h 194"/>
                    <a:gd name="T10" fmla="*/ 152409 w 155"/>
                    <a:gd name="T11" fmla="*/ 12691 h 194"/>
                    <a:gd name="T12" fmla="*/ 152409 w 155"/>
                    <a:gd name="T13" fmla="*/ 1630 h 194"/>
                    <a:gd name="T14" fmla="*/ 128856 w 155"/>
                    <a:gd name="T15" fmla="*/ 0 h 194"/>
                    <a:gd name="T16" fmla="*/ 0 60000 65536"/>
                    <a:gd name="T17" fmla="*/ 0 60000 65536"/>
                    <a:gd name="T18" fmla="*/ 0 60000 65536"/>
                    <a:gd name="T19" fmla="*/ 0 60000 65536"/>
                    <a:gd name="T20" fmla="*/ 0 60000 65536"/>
                    <a:gd name="T21" fmla="*/ 0 60000 65536"/>
                    <a:gd name="T22" fmla="*/ 0 60000 65536"/>
                    <a:gd name="T23" fmla="*/ 0 60000 65536"/>
                    <a:gd name="T24" fmla="*/ 0 w 155"/>
                    <a:gd name="T25" fmla="*/ 0 h 194"/>
                    <a:gd name="T26" fmla="*/ 155 w 155"/>
                    <a:gd name="T27" fmla="*/ 194 h 19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5" h="194">
                      <a:moveTo>
                        <a:pt x="131" y="0"/>
                      </a:moveTo>
                      <a:cubicBezTo>
                        <a:pt x="44" y="0"/>
                        <a:pt x="44" y="0"/>
                        <a:pt x="44" y="0"/>
                      </a:cubicBezTo>
                      <a:cubicBezTo>
                        <a:pt x="44" y="0"/>
                        <a:pt x="80" y="19"/>
                        <a:pt x="83" y="64"/>
                      </a:cubicBezTo>
                      <a:cubicBezTo>
                        <a:pt x="87" y="108"/>
                        <a:pt x="57" y="178"/>
                        <a:pt x="0" y="194"/>
                      </a:cubicBezTo>
                      <a:cubicBezTo>
                        <a:pt x="131" y="194"/>
                        <a:pt x="131" y="194"/>
                        <a:pt x="131" y="194"/>
                      </a:cubicBezTo>
                      <a:cubicBezTo>
                        <a:pt x="144" y="194"/>
                        <a:pt x="155" y="183"/>
                        <a:pt x="155" y="171"/>
                      </a:cubicBezTo>
                      <a:cubicBezTo>
                        <a:pt x="155" y="22"/>
                        <a:pt x="155" y="22"/>
                        <a:pt x="155" y="22"/>
                      </a:cubicBezTo>
                      <a:cubicBezTo>
                        <a:pt x="155" y="10"/>
                        <a:pt x="144" y="0"/>
                        <a:pt x="131" y="0"/>
                      </a:cubicBezTo>
                      <a:close/>
                    </a:path>
                  </a:pathLst>
                </a:custGeom>
                <a:solidFill>
                  <a:srgbClr val="E7E6E5"/>
                </a:solidFill>
                <a:ln w="9525">
                  <a:noFill/>
                  <a:round/>
                  <a:headEnd/>
                  <a:tailEnd/>
                </a:ln>
              </p:spPr>
              <p:txBody>
                <a:bodyPr/>
                <a:lstStyle/>
                <a:p>
                  <a:pPr>
                    <a:defRPr/>
                  </a:pPr>
                  <a:endParaRPr lang="de-DE">
                    <a:latin typeface="Myriad Pro" pitchFamily="34" charset="0"/>
                  </a:endParaRPr>
                </a:p>
              </p:txBody>
            </p:sp>
            <p:sp>
              <p:nvSpPr>
                <p:cNvPr id="27" name="Freeform 78"/>
                <p:cNvSpPr>
                  <a:spLocks/>
                </p:cNvSpPr>
                <p:nvPr/>
              </p:nvSpPr>
              <p:spPr bwMode="gray">
                <a:xfrm>
                  <a:off x="7037157" y="789810"/>
                  <a:ext cx="497037" cy="334274"/>
                </a:xfrm>
                <a:custGeom>
                  <a:avLst/>
                  <a:gdLst>
                    <a:gd name="T0" fmla="*/ 152488 w 245"/>
                    <a:gd name="T1" fmla="*/ 222 h 254"/>
                    <a:gd name="T2" fmla="*/ 152488 w 245"/>
                    <a:gd name="T3" fmla="*/ 222 h 254"/>
                    <a:gd name="T4" fmla="*/ 139603 w 245"/>
                    <a:gd name="T5" fmla="*/ 1188 h 254"/>
                    <a:gd name="T6" fmla="*/ 144014 w 245"/>
                    <a:gd name="T7" fmla="*/ 2717 h 254"/>
                    <a:gd name="T8" fmla="*/ 143481 w 245"/>
                    <a:gd name="T9" fmla="*/ 4046 h 254"/>
                    <a:gd name="T10" fmla="*/ 143481 w 245"/>
                    <a:gd name="T11" fmla="*/ 13443 h 254"/>
                    <a:gd name="T12" fmla="*/ 143481 w 245"/>
                    <a:gd name="T13" fmla="*/ 13828 h 254"/>
                    <a:gd name="T14" fmla="*/ 129387 w 245"/>
                    <a:gd name="T15" fmla="*/ 15161 h 254"/>
                    <a:gd name="T16" fmla="*/ 30172 w 245"/>
                    <a:gd name="T17" fmla="*/ 15161 h 254"/>
                    <a:gd name="T18" fmla="*/ 28962 w 245"/>
                    <a:gd name="T19" fmla="*/ 15066 h 254"/>
                    <a:gd name="T20" fmla="*/ 0 w 245"/>
                    <a:gd name="T21" fmla="*/ 17650 h 254"/>
                    <a:gd name="T22" fmla="*/ 13603 w 245"/>
                    <a:gd name="T23" fmla="*/ 18676 h 254"/>
                    <a:gd name="T24" fmla="*/ 143481 w 245"/>
                    <a:gd name="T25" fmla="*/ 18676 h 254"/>
                    <a:gd name="T26" fmla="*/ 157616 w 245"/>
                    <a:gd name="T27" fmla="*/ 17057 h 254"/>
                    <a:gd name="T28" fmla="*/ 157616 w 245"/>
                    <a:gd name="T29" fmla="*/ 1462 h 254"/>
                    <a:gd name="T30" fmla="*/ 152488 w 245"/>
                    <a:gd name="T31" fmla="*/ 222 h 25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5"/>
                    <a:gd name="T49" fmla="*/ 0 h 254"/>
                    <a:gd name="T50" fmla="*/ 245 w 245"/>
                    <a:gd name="T51" fmla="*/ 254 h 25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5" h="254">
                      <a:moveTo>
                        <a:pt x="237" y="3"/>
                      </a:moveTo>
                      <a:cubicBezTo>
                        <a:pt x="237" y="3"/>
                        <a:pt x="237" y="3"/>
                        <a:pt x="237" y="3"/>
                      </a:cubicBezTo>
                      <a:cubicBezTo>
                        <a:pt x="220" y="0"/>
                        <a:pt x="217" y="8"/>
                        <a:pt x="217" y="16"/>
                      </a:cubicBezTo>
                      <a:cubicBezTo>
                        <a:pt x="222" y="22"/>
                        <a:pt x="224" y="29"/>
                        <a:pt x="224" y="37"/>
                      </a:cubicBezTo>
                      <a:cubicBezTo>
                        <a:pt x="224" y="42"/>
                        <a:pt x="225" y="50"/>
                        <a:pt x="223" y="55"/>
                      </a:cubicBezTo>
                      <a:cubicBezTo>
                        <a:pt x="223" y="183"/>
                        <a:pt x="223" y="183"/>
                        <a:pt x="223" y="183"/>
                      </a:cubicBezTo>
                      <a:cubicBezTo>
                        <a:pt x="223" y="185"/>
                        <a:pt x="223" y="186"/>
                        <a:pt x="223" y="188"/>
                      </a:cubicBezTo>
                      <a:cubicBezTo>
                        <a:pt x="220" y="198"/>
                        <a:pt x="211" y="206"/>
                        <a:pt x="201" y="206"/>
                      </a:cubicBezTo>
                      <a:cubicBezTo>
                        <a:pt x="47" y="206"/>
                        <a:pt x="47" y="206"/>
                        <a:pt x="47" y="206"/>
                      </a:cubicBezTo>
                      <a:cubicBezTo>
                        <a:pt x="46" y="206"/>
                        <a:pt x="46" y="205"/>
                        <a:pt x="45" y="205"/>
                      </a:cubicBezTo>
                      <a:cubicBezTo>
                        <a:pt x="21" y="205"/>
                        <a:pt x="5" y="211"/>
                        <a:pt x="0" y="240"/>
                      </a:cubicBezTo>
                      <a:cubicBezTo>
                        <a:pt x="3" y="248"/>
                        <a:pt x="11" y="254"/>
                        <a:pt x="21" y="254"/>
                      </a:cubicBezTo>
                      <a:cubicBezTo>
                        <a:pt x="223" y="254"/>
                        <a:pt x="223" y="254"/>
                        <a:pt x="223" y="254"/>
                      </a:cubicBezTo>
                      <a:cubicBezTo>
                        <a:pt x="235" y="254"/>
                        <a:pt x="245" y="244"/>
                        <a:pt x="245" y="232"/>
                      </a:cubicBezTo>
                      <a:cubicBezTo>
                        <a:pt x="245" y="20"/>
                        <a:pt x="245" y="20"/>
                        <a:pt x="245" y="20"/>
                      </a:cubicBezTo>
                      <a:cubicBezTo>
                        <a:pt x="245" y="13"/>
                        <a:pt x="242" y="7"/>
                        <a:pt x="237" y="3"/>
                      </a:cubicBezTo>
                      <a:close/>
                    </a:path>
                  </a:pathLst>
                </a:custGeom>
                <a:solidFill>
                  <a:srgbClr val="CDCEC0"/>
                </a:solidFill>
                <a:ln w="9525">
                  <a:noFill/>
                  <a:round/>
                  <a:headEnd/>
                  <a:tailEnd/>
                </a:ln>
              </p:spPr>
              <p:txBody>
                <a:bodyPr/>
                <a:lstStyle/>
                <a:p>
                  <a:pPr>
                    <a:defRPr/>
                  </a:pPr>
                  <a:endParaRPr lang="de-DE">
                    <a:latin typeface="Myriad Pro" pitchFamily="34" charset="0"/>
                  </a:endParaRPr>
                </a:p>
              </p:txBody>
            </p:sp>
            <p:sp>
              <p:nvSpPr>
                <p:cNvPr id="28" name="Freeform 79"/>
                <p:cNvSpPr>
                  <a:spLocks/>
                </p:cNvSpPr>
                <p:nvPr/>
              </p:nvSpPr>
              <p:spPr bwMode="gray">
                <a:xfrm>
                  <a:off x="7083911" y="804295"/>
                  <a:ext cx="401303" cy="256277"/>
                </a:xfrm>
                <a:custGeom>
                  <a:avLst/>
                  <a:gdLst>
                    <a:gd name="T0" fmla="*/ 126750 w 198"/>
                    <a:gd name="T1" fmla="*/ 12576 h 195"/>
                    <a:gd name="T2" fmla="*/ 112021 w 198"/>
                    <a:gd name="T3" fmla="*/ 14241 h 195"/>
                    <a:gd name="T4" fmla="*/ 14773 w 198"/>
                    <a:gd name="T5" fmla="*/ 14241 h 195"/>
                    <a:gd name="T6" fmla="*/ 0 w 198"/>
                    <a:gd name="T7" fmla="*/ 12576 h 195"/>
                    <a:gd name="T8" fmla="*/ 0 w 198"/>
                    <a:gd name="T9" fmla="*/ 1670 h 195"/>
                    <a:gd name="T10" fmla="*/ 14773 w 198"/>
                    <a:gd name="T11" fmla="*/ 0 h 195"/>
                    <a:gd name="T12" fmla="*/ 112021 w 198"/>
                    <a:gd name="T13" fmla="*/ 0 h 195"/>
                    <a:gd name="T14" fmla="*/ 126750 w 198"/>
                    <a:gd name="T15" fmla="*/ 1670 h 195"/>
                    <a:gd name="T16" fmla="*/ 126750 w 198"/>
                    <a:gd name="T17" fmla="*/ 12576 h 1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8"/>
                    <a:gd name="T28" fmla="*/ 0 h 195"/>
                    <a:gd name="T29" fmla="*/ 198 w 198"/>
                    <a:gd name="T30" fmla="*/ 195 h 1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8" h="195">
                      <a:moveTo>
                        <a:pt x="198" y="172"/>
                      </a:moveTo>
                      <a:cubicBezTo>
                        <a:pt x="198" y="184"/>
                        <a:pt x="188" y="195"/>
                        <a:pt x="175" y="195"/>
                      </a:cubicBezTo>
                      <a:cubicBezTo>
                        <a:pt x="23" y="195"/>
                        <a:pt x="23" y="195"/>
                        <a:pt x="23" y="195"/>
                      </a:cubicBezTo>
                      <a:cubicBezTo>
                        <a:pt x="10" y="195"/>
                        <a:pt x="0" y="184"/>
                        <a:pt x="0" y="172"/>
                      </a:cubicBezTo>
                      <a:cubicBezTo>
                        <a:pt x="0" y="23"/>
                        <a:pt x="0" y="23"/>
                        <a:pt x="0" y="23"/>
                      </a:cubicBezTo>
                      <a:cubicBezTo>
                        <a:pt x="0" y="11"/>
                        <a:pt x="10" y="0"/>
                        <a:pt x="23" y="0"/>
                      </a:cubicBezTo>
                      <a:cubicBezTo>
                        <a:pt x="175" y="0"/>
                        <a:pt x="175" y="0"/>
                        <a:pt x="175" y="0"/>
                      </a:cubicBezTo>
                      <a:cubicBezTo>
                        <a:pt x="188" y="0"/>
                        <a:pt x="198" y="11"/>
                        <a:pt x="198" y="23"/>
                      </a:cubicBezTo>
                      <a:lnTo>
                        <a:pt x="198" y="172"/>
                      </a:lnTo>
                      <a:close/>
                    </a:path>
                  </a:pathLst>
                </a:custGeom>
                <a:noFill/>
                <a:ln w="14288">
                  <a:solidFill>
                    <a:srgbClr val="FFFFFF"/>
                  </a:solidFill>
                  <a:miter lim="800000"/>
                  <a:headEnd/>
                  <a:tailEnd/>
                </a:ln>
              </p:spPr>
              <p:txBody>
                <a:bodyPr/>
                <a:lstStyle/>
                <a:p>
                  <a:pPr>
                    <a:defRPr/>
                  </a:pPr>
                  <a:endParaRPr lang="de-DE">
                    <a:latin typeface="Myriad Pro" pitchFamily="34" charset="0"/>
                  </a:endParaRPr>
                </a:p>
              </p:txBody>
            </p:sp>
            <p:sp>
              <p:nvSpPr>
                <p:cNvPr id="29" name="Freeform 80"/>
                <p:cNvSpPr>
                  <a:spLocks/>
                </p:cNvSpPr>
                <p:nvPr/>
              </p:nvSpPr>
              <p:spPr bwMode="gray">
                <a:xfrm>
                  <a:off x="7046063" y="788139"/>
                  <a:ext cx="469208" cy="335946"/>
                </a:xfrm>
                <a:custGeom>
                  <a:avLst/>
                  <a:gdLst>
                    <a:gd name="T0" fmla="*/ 110744 w 249"/>
                    <a:gd name="T1" fmla="*/ 17161 h 255"/>
                    <a:gd name="T2" fmla="*/ 100510 w 249"/>
                    <a:gd name="T3" fmla="*/ 18856 h 255"/>
                    <a:gd name="T4" fmla="*/ 10248 w 249"/>
                    <a:gd name="T5" fmla="*/ 18856 h 255"/>
                    <a:gd name="T6" fmla="*/ 0 w 249"/>
                    <a:gd name="T7" fmla="*/ 17161 h 255"/>
                    <a:gd name="T8" fmla="*/ 0 w 249"/>
                    <a:gd name="T9" fmla="*/ 1695 h 255"/>
                    <a:gd name="T10" fmla="*/ 10248 w 249"/>
                    <a:gd name="T11" fmla="*/ 0 h 255"/>
                    <a:gd name="T12" fmla="*/ 100510 w 249"/>
                    <a:gd name="T13" fmla="*/ 0 h 255"/>
                    <a:gd name="T14" fmla="*/ 110744 w 249"/>
                    <a:gd name="T15" fmla="*/ 1695 h 255"/>
                    <a:gd name="T16" fmla="*/ 110744 w 249"/>
                    <a:gd name="T17" fmla="*/ 17161 h 2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9"/>
                    <a:gd name="T28" fmla="*/ 0 h 255"/>
                    <a:gd name="T29" fmla="*/ 249 w 249"/>
                    <a:gd name="T30" fmla="*/ 255 h 2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9" h="255">
                      <a:moveTo>
                        <a:pt x="249" y="232"/>
                      </a:moveTo>
                      <a:cubicBezTo>
                        <a:pt x="249" y="245"/>
                        <a:pt x="238" y="255"/>
                        <a:pt x="226" y="255"/>
                      </a:cubicBezTo>
                      <a:cubicBezTo>
                        <a:pt x="23" y="255"/>
                        <a:pt x="23" y="255"/>
                        <a:pt x="23" y="255"/>
                      </a:cubicBezTo>
                      <a:cubicBezTo>
                        <a:pt x="11" y="255"/>
                        <a:pt x="0" y="245"/>
                        <a:pt x="0" y="232"/>
                      </a:cubicBezTo>
                      <a:cubicBezTo>
                        <a:pt x="0" y="23"/>
                        <a:pt x="0" y="23"/>
                        <a:pt x="0" y="23"/>
                      </a:cubicBezTo>
                      <a:cubicBezTo>
                        <a:pt x="0" y="10"/>
                        <a:pt x="11" y="0"/>
                        <a:pt x="23" y="0"/>
                      </a:cubicBezTo>
                      <a:cubicBezTo>
                        <a:pt x="226" y="0"/>
                        <a:pt x="226" y="0"/>
                        <a:pt x="226" y="0"/>
                      </a:cubicBezTo>
                      <a:cubicBezTo>
                        <a:pt x="238" y="0"/>
                        <a:pt x="249" y="10"/>
                        <a:pt x="249" y="23"/>
                      </a:cubicBezTo>
                      <a:lnTo>
                        <a:pt x="249" y="232"/>
                      </a:lnTo>
                      <a:close/>
                    </a:path>
                  </a:pathLst>
                </a:custGeom>
                <a:noFill/>
                <a:ln w="14288">
                  <a:solidFill>
                    <a:srgbClr val="C6C7C8"/>
                  </a:solidFill>
                  <a:miter lim="800000"/>
                  <a:headEnd/>
                  <a:tailEnd/>
                </a:ln>
              </p:spPr>
              <p:txBody>
                <a:bodyPr/>
                <a:lstStyle/>
                <a:p>
                  <a:pPr>
                    <a:defRPr/>
                  </a:pPr>
                  <a:endParaRPr lang="de-DE">
                    <a:latin typeface="Myriad Pro" pitchFamily="34" charset="0"/>
                  </a:endParaRPr>
                </a:p>
              </p:txBody>
            </p:sp>
            <p:sp>
              <p:nvSpPr>
                <p:cNvPr id="30" name="Pfeil nach oben 29"/>
                <p:cNvSpPr/>
                <p:nvPr/>
              </p:nvSpPr>
              <p:spPr>
                <a:xfrm>
                  <a:off x="7134483" y="875522"/>
                  <a:ext cx="162000" cy="108000"/>
                </a:xfrm>
                <a:prstGeom prst="upArrow">
                  <a:avLst>
                    <a:gd name="adj1" fmla="val 56614"/>
                    <a:gd name="adj2" fmla="val 56614"/>
                  </a:avLst>
                </a:prstGeom>
                <a:noFill/>
                <a:ln w="9906">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grpSp>
        <p:grpSp>
          <p:nvGrpSpPr>
            <p:cNvPr id="106" name="Group 105"/>
            <p:cNvGrpSpPr/>
            <p:nvPr/>
          </p:nvGrpSpPr>
          <p:grpSpPr>
            <a:xfrm>
              <a:off x="2654493" y="4091090"/>
              <a:ext cx="6336862" cy="736478"/>
              <a:chOff x="2654493" y="4091090"/>
              <a:chExt cx="6336862" cy="736478"/>
            </a:xfrm>
          </p:grpSpPr>
          <p:pic>
            <p:nvPicPr>
              <p:cNvPr id="45" name="Grafik 44" descr="maus_wischen.png"/>
              <p:cNvPicPr>
                <a:picLocks noChangeAspect="1"/>
              </p:cNvPicPr>
              <p:nvPr/>
            </p:nvPicPr>
            <p:blipFill>
              <a:blip r:embed="rId36" cstate="print"/>
              <a:stretch>
                <a:fillRect/>
              </a:stretch>
            </p:blipFill>
            <p:spPr>
              <a:xfrm>
                <a:off x="7567368" y="4117956"/>
                <a:ext cx="1423987" cy="709612"/>
              </a:xfrm>
              <a:prstGeom prst="rect">
                <a:avLst/>
              </a:prstGeom>
              <a:effectLst>
                <a:outerShdw blurRad="50800" dist="38100" dir="2700000" algn="tl" rotWithShape="0">
                  <a:prstClr val="black">
                    <a:alpha val="40000"/>
                  </a:prstClr>
                </a:outerShdw>
              </a:effectLst>
            </p:spPr>
          </p:pic>
          <p:grpSp>
            <p:nvGrpSpPr>
              <p:cNvPr id="32" name="Group 45"/>
              <p:cNvGrpSpPr>
                <a:grpSpLocks/>
              </p:cNvGrpSpPr>
              <p:nvPr/>
            </p:nvGrpSpPr>
            <p:grpSpPr bwMode="auto">
              <a:xfrm rot="20287264">
                <a:off x="2654493" y="4091090"/>
                <a:ext cx="374650" cy="609600"/>
                <a:chOff x="1950" y="1045"/>
                <a:chExt cx="568" cy="928"/>
              </a:xfrm>
            </p:grpSpPr>
            <p:sp>
              <p:nvSpPr>
                <p:cNvPr id="33"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34"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35"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6"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37"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8"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39"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40"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41"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42"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43"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44"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grpSp>
    </p:spTree>
    <p:extLst>
      <p:ext uri="{BB962C8B-B14F-4D97-AF65-F5344CB8AC3E}">
        <p14:creationId xmlns:p14="http://schemas.microsoft.com/office/powerpoint/2010/main" val="42363185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4"/>
          <a:srcRect/>
          <a:stretch>
            <a:fillRect/>
          </a:stretch>
        </p:blipFill>
        <p:spPr bwMode="auto">
          <a:xfrm>
            <a:off x="0" y="305122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800" b="0" i="0" u="none" strike="noStrike" kern="0" cap="none" spc="0" normalizeH="0" baseline="0" noProof="0" dirty="0" smtClean="0">
                <a:ln>
                  <a:noFill/>
                </a:ln>
                <a:solidFill>
                  <a:schemeClr val="tx2"/>
                </a:solidFill>
                <a:effectLst/>
                <a:uLnTx/>
                <a:uFillTx/>
                <a:latin typeface="Myriad Pro" pitchFamily="34" charset="0"/>
                <a:ea typeface="+mj-ea"/>
                <a:cs typeface="+mj-cs"/>
              </a:rPr>
              <a:t>Regionen einfärben</a:t>
            </a:r>
          </a:p>
        </p:txBody>
      </p:sp>
      <p:grpSp>
        <p:nvGrpSpPr>
          <p:cNvPr id="4" name="Group 19"/>
          <p:cNvGrpSpPr>
            <a:grpSpLocks/>
          </p:cNvGrpSpPr>
          <p:nvPr/>
        </p:nvGrpSpPr>
        <p:grpSpPr bwMode="auto">
          <a:xfrm>
            <a:off x="749033" y="998538"/>
            <a:ext cx="2379600" cy="3222000"/>
            <a:chOff x="670" y="640"/>
            <a:chExt cx="2195" cy="2972"/>
          </a:xfrm>
          <a:effectLst>
            <a:reflection blurRad="6350" stA="52000" endA="300" endPos="35000" dir="5400000" sy="-100000" algn="bl" rotWithShape="0"/>
          </a:effectLst>
        </p:grpSpPr>
        <p:sp>
          <p:nvSpPr>
            <p:cNvPr id="89" name="Freeform 20"/>
            <p:cNvSpPr>
              <a:spLocks/>
            </p:cNvSpPr>
            <p:nvPr>
              <p:custDataLst>
                <p:tags r:id="rId17"/>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0" name="Freeform 21"/>
            <p:cNvSpPr>
              <a:spLocks/>
            </p:cNvSpPr>
            <p:nvPr>
              <p:custDataLst>
                <p:tags r:id="rId18"/>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1" name="Freeform 22"/>
            <p:cNvSpPr>
              <a:spLocks/>
            </p:cNvSpPr>
            <p:nvPr>
              <p:custDataLst>
                <p:tags r:id="rId19"/>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2" name="Freeform 23"/>
            <p:cNvSpPr>
              <a:spLocks/>
            </p:cNvSpPr>
            <p:nvPr>
              <p:custDataLst>
                <p:tags r:id="rId20"/>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3" name="Freeform 24"/>
            <p:cNvSpPr>
              <a:spLocks noEditPoints="1"/>
            </p:cNvSpPr>
            <p:nvPr>
              <p:custDataLst>
                <p:tags r:id="rId21"/>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4" name="Freeform 25"/>
            <p:cNvSpPr>
              <a:spLocks/>
            </p:cNvSpPr>
            <p:nvPr>
              <p:custDataLst>
                <p:tags r:id="rId22"/>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5" name="Freeform 26"/>
            <p:cNvSpPr>
              <a:spLocks/>
            </p:cNvSpPr>
            <p:nvPr>
              <p:custDataLst>
                <p:tags r:id="rId23"/>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6" name="Freeform 27"/>
            <p:cNvSpPr>
              <a:spLocks/>
            </p:cNvSpPr>
            <p:nvPr>
              <p:custDataLst>
                <p:tags r:id="rId24"/>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7" name="Freeform 28"/>
            <p:cNvSpPr>
              <a:spLocks/>
            </p:cNvSpPr>
            <p:nvPr>
              <p:custDataLst>
                <p:tags r:id="rId25"/>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8" name="Freeform 29"/>
            <p:cNvSpPr>
              <a:spLocks/>
            </p:cNvSpPr>
            <p:nvPr>
              <p:custDataLst>
                <p:tags r:id="rId26"/>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9" name="Freeform 30"/>
            <p:cNvSpPr>
              <a:spLocks noEditPoints="1"/>
            </p:cNvSpPr>
            <p:nvPr>
              <p:custDataLst>
                <p:tags r:id="rId27"/>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0" name="Freeform 31"/>
            <p:cNvSpPr>
              <a:spLocks noEditPoints="1"/>
            </p:cNvSpPr>
            <p:nvPr>
              <p:custDataLst>
                <p:tags r:id="rId28"/>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1" name="Freeform 32"/>
            <p:cNvSpPr>
              <a:spLocks/>
            </p:cNvSpPr>
            <p:nvPr>
              <p:custDataLst>
                <p:tags r:id="rId29"/>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2" name="Freeform 33"/>
            <p:cNvSpPr>
              <a:spLocks noEditPoints="1"/>
            </p:cNvSpPr>
            <p:nvPr>
              <p:custDataLst>
                <p:tags r:id="rId30"/>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chemeClr val="bg1">
                <a:lumMod val="75000"/>
              </a:schemeClr>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3" name="Freeform 34"/>
            <p:cNvSpPr>
              <a:spLocks noEditPoints="1"/>
            </p:cNvSpPr>
            <p:nvPr>
              <p:custDataLst>
                <p:tags r:id="rId31"/>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 name="Freeform 35"/>
            <p:cNvSpPr>
              <a:spLocks noEditPoints="1"/>
            </p:cNvSpPr>
            <p:nvPr>
              <p:custDataLst>
                <p:tags r:id="rId32"/>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sp>
        <p:nvSpPr>
          <p:cNvPr id="82" name="Ellipse 81"/>
          <p:cNvSpPr/>
          <p:nvPr/>
        </p:nvSpPr>
        <p:spPr>
          <a:xfrm>
            <a:off x="6910151" y="2310783"/>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grpSp>
        <p:nvGrpSpPr>
          <p:cNvPr id="5" name="Group 19"/>
          <p:cNvGrpSpPr>
            <a:grpSpLocks/>
          </p:cNvGrpSpPr>
          <p:nvPr/>
        </p:nvGrpSpPr>
        <p:grpSpPr bwMode="auto">
          <a:xfrm>
            <a:off x="6400623" y="989829"/>
            <a:ext cx="2379600" cy="3222000"/>
            <a:chOff x="670" y="640"/>
            <a:chExt cx="2195" cy="2972"/>
          </a:xfrm>
          <a:effectLst>
            <a:reflection blurRad="6350" stA="52000" endA="300" endPos="35000" dir="5400000" sy="-100000" algn="bl" rotWithShape="0"/>
          </a:effectLst>
        </p:grpSpPr>
        <p:sp>
          <p:nvSpPr>
            <p:cNvPr id="123"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4"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5"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6"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7"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8"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29"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30"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902017"/>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31"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32"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37"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0"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3"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6"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7"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48"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6" name="Gruppieren 73"/>
          <p:cNvGrpSpPr/>
          <p:nvPr/>
        </p:nvGrpSpPr>
        <p:grpSpPr>
          <a:xfrm>
            <a:off x="678043" y="1019142"/>
            <a:ext cx="347663" cy="338138"/>
            <a:chOff x="203518" y="4378643"/>
            <a:chExt cx="347663" cy="338138"/>
          </a:xfrm>
        </p:grpSpPr>
        <p:pic>
          <p:nvPicPr>
            <p:cNvPr id="162" name="Grafik 161"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163"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7" name="Gruppieren 77"/>
          <p:cNvGrpSpPr/>
          <p:nvPr/>
        </p:nvGrpSpPr>
        <p:grpSpPr>
          <a:xfrm>
            <a:off x="3423093" y="2646867"/>
            <a:ext cx="347663" cy="338138"/>
            <a:chOff x="203518" y="4966018"/>
            <a:chExt cx="347663" cy="338138"/>
          </a:xfrm>
        </p:grpSpPr>
        <p:pic>
          <p:nvPicPr>
            <p:cNvPr id="165" name="Grafik 164"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166"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8" name="Gruppieren 77"/>
          <p:cNvGrpSpPr/>
          <p:nvPr/>
        </p:nvGrpSpPr>
        <p:grpSpPr>
          <a:xfrm>
            <a:off x="3423093" y="1564392"/>
            <a:ext cx="347663" cy="338138"/>
            <a:chOff x="203518" y="4966018"/>
            <a:chExt cx="347663" cy="338138"/>
          </a:xfrm>
        </p:grpSpPr>
        <p:pic>
          <p:nvPicPr>
            <p:cNvPr id="172" name="Grafik 171"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173"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199" name="Rectangle 5"/>
          <p:cNvSpPr>
            <a:spLocks noChangeArrowheads="1"/>
          </p:cNvSpPr>
          <p:nvPr/>
        </p:nvSpPr>
        <p:spPr bwMode="gray">
          <a:xfrm>
            <a:off x="639763" y="4627750"/>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Um eine Region einzufärben, klicken Sie diese mit der linken Maustaste an.</a:t>
            </a:r>
            <a:endParaRPr lang="de-DE" sz="1200" dirty="0">
              <a:latin typeface="Myriad Pro" pitchFamily="34" charset="0"/>
              <a:ea typeface="Arial Unicode MS" pitchFamily="34" charset="-128"/>
              <a:cs typeface="Arial" charset="0"/>
            </a:endParaRPr>
          </a:p>
        </p:txBody>
      </p:sp>
      <p:sp>
        <p:nvSpPr>
          <p:cNvPr id="200" name="PPTShape_5"/>
          <p:cNvSpPr>
            <a:spLocks noChangeArrowheads="1"/>
          </p:cNvSpPr>
          <p:nvPr/>
        </p:nvSpPr>
        <p:spPr bwMode="gray">
          <a:xfrm>
            <a:off x="639763" y="5244706"/>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Im 2. Schritt wählen Sie die Option “Fülleffekte“ aus. </a:t>
            </a:r>
            <a:endParaRPr lang="de-DE" dirty="0">
              <a:solidFill>
                <a:srgbClr val="000000"/>
              </a:solidFill>
              <a:ea typeface="Arial Unicode MS" pitchFamily="34" charset="-128"/>
              <a:cs typeface="Arial" charset="0"/>
            </a:endParaRPr>
          </a:p>
        </p:txBody>
      </p:sp>
      <p:sp>
        <p:nvSpPr>
          <p:cNvPr id="201" name="PPTShape_6"/>
          <p:cNvSpPr>
            <a:spLocks noChangeArrowheads="1"/>
          </p:cNvSpPr>
          <p:nvPr/>
        </p:nvSpPr>
        <p:spPr bwMode="gray">
          <a:xfrm>
            <a:off x="639763" y="5833668"/>
            <a:ext cx="8251825" cy="423862"/>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Hier können Sie die neue Farbe für Ihre Region definieren. </a:t>
            </a:r>
            <a:endParaRPr lang="de-DE" sz="1200" dirty="0">
              <a:solidFill>
                <a:srgbClr val="000000"/>
              </a:solidFill>
              <a:latin typeface="Myriad Pro" pitchFamily="34" charset="0"/>
              <a:ea typeface="Arial Unicode MS" pitchFamily="34" charset="-128"/>
              <a:cs typeface="Arial" charset="0"/>
            </a:endParaRPr>
          </a:p>
        </p:txBody>
      </p:sp>
      <p:grpSp>
        <p:nvGrpSpPr>
          <p:cNvPr id="9" name="Gruppieren 275"/>
          <p:cNvGrpSpPr/>
          <p:nvPr/>
        </p:nvGrpSpPr>
        <p:grpSpPr>
          <a:xfrm>
            <a:off x="203518" y="4627750"/>
            <a:ext cx="347663" cy="338138"/>
            <a:chOff x="203518" y="4378643"/>
            <a:chExt cx="347663" cy="338138"/>
          </a:xfrm>
        </p:grpSpPr>
        <p:pic>
          <p:nvPicPr>
            <p:cNvPr id="203" name="Grafik 202"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204"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0" name="Gruppieren 278"/>
          <p:cNvGrpSpPr/>
          <p:nvPr/>
        </p:nvGrpSpPr>
        <p:grpSpPr>
          <a:xfrm>
            <a:off x="203518" y="5244706"/>
            <a:ext cx="347663" cy="338138"/>
            <a:chOff x="203518" y="4966018"/>
            <a:chExt cx="347663" cy="338138"/>
          </a:xfrm>
        </p:grpSpPr>
        <p:pic>
          <p:nvPicPr>
            <p:cNvPr id="206" name="Grafik 205"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207"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1" name="Gruppieren 281"/>
          <p:cNvGrpSpPr/>
          <p:nvPr/>
        </p:nvGrpSpPr>
        <p:grpSpPr>
          <a:xfrm>
            <a:off x="203518" y="5833668"/>
            <a:ext cx="347663" cy="338138"/>
            <a:chOff x="203518" y="5554980"/>
            <a:chExt cx="347663" cy="338138"/>
          </a:xfrm>
        </p:grpSpPr>
        <p:pic>
          <p:nvPicPr>
            <p:cNvPr id="209" name="Grafik 208" descr="schatten.png"/>
            <p:cNvPicPr>
              <a:picLocks noChangeAspect="1"/>
            </p:cNvPicPr>
            <p:nvPr/>
          </p:nvPicPr>
          <p:blipFill>
            <a:blip r:embed="rId35" cstate="print">
              <a:lum bright="30000"/>
            </a:blip>
            <a:srcRect l="17603" t="9404" r="15359" b="14528"/>
            <a:stretch>
              <a:fillRect/>
            </a:stretch>
          </p:blipFill>
          <p:spPr>
            <a:xfrm>
              <a:off x="203518" y="5554980"/>
              <a:ext cx="347663" cy="338138"/>
            </a:xfrm>
            <a:prstGeom prst="rect">
              <a:avLst/>
            </a:prstGeom>
          </p:spPr>
        </p:pic>
        <p:sp>
          <p:nvSpPr>
            <p:cNvPr id="210"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12" name="Group 132"/>
          <p:cNvGrpSpPr/>
          <p:nvPr/>
        </p:nvGrpSpPr>
        <p:grpSpPr>
          <a:xfrm>
            <a:off x="1138187" y="1589409"/>
            <a:ext cx="6488084" cy="2141466"/>
            <a:chOff x="1138187" y="1589409"/>
            <a:chExt cx="6488084" cy="2141466"/>
          </a:xfrm>
        </p:grpSpPr>
        <p:grpSp>
          <p:nvGrpSpPr>
            <p:cNvPr id="13" name="Gruppieren 278"/>
            <p:cNvGrpSpPr/>
            <p:nvPr/>
          </p:nvGrpSpPr>
          <p:grpSpPr>
            <a:xfrm>
              <a:off x="6185101" y="1589409"/>
              <a:ext cx="218637" cy="381655"/>
              <a:chOff x="2806936" y="1682676"/>
              <a:chExt cx="852584" cy="1488282"/>
            </a:xfrm>
            <a:effectLst>
              <a:outerShdw blurRad="50800" dist="38100" dir="2700000" algn="tl" rotWithShape="0">
                <a:prstClr val="black">
                  <a:alpha val="40000"/>
                </a:prstClr>
              </a:outerShdw>
            </a:effectLst>
          </p:grpSpPr>
          <p:sp>
            <p:nvSpPr>
              <p:cNvPr id="176" name="Freeform 209"/>
              <p:cNvSpPr>
                <a:spLocks/>
              </p:cNvSpPr>
              <p:nvPr/>
            </p:nvSpPr>
            <p:spPr bwMode="auto">
              <a:xfrm>
                <a:off x="2877569" y="1823942"/>
                <a:ext cx="639853" cy="1276382"/>
              </a:xfrm>
              <a:custGeom>
                <a:avLst/>
                <a:gdLst/>
                <a:ahLst/>
                <a:cxnLst>
                  <a:cxn ang="0">
                    <a:pos x="770" y="1366"/>
                  </a:cxn>
                  <a:cxn ang="0">
                    <a:pos x="770" y="1536"/>
                  </a:cxn>
                  <a:cxn ang="0">
                    <a:pos x="598" y="1536"/>
                  </a:cxn>
                  <a:cxn ang="0">
                    <a:pos x="598" y="1366"/>
                  </a:cxn>
                  <a:cxn ang="0">
                    <a:pos x="513" y="1366"/>
                  </a:cxn>
                  <a:cxn ang="0">
                    <a:pos x="513" y="1195"/>
                  </a:cxn>
                  <a:cxn ang="0">
                    <a:pos x="428" y="1195"/>
                  </a:cxn>
                  <a:cxn ang="0">
                    <a:pos x="428" y="1023"/>
                  </a:cxn>
                  <a:cxn ang="0">
                    <a:pos x="343" y="1023"/>
                  </a:cxn>
                  <a:cxn ang="0">
                    <a:pos x="343" y="853"/>
                  </a:cxn>
                  <a:cxn ang="0">
                    <a:pos x="258" y="853"/>
                  </a:cxn>
                  <a:cxn ang="0">
                    <a:pos x="258" y="938"/>
                  </a:cxn>
                  <a:cxn ang="0">
                    <a:pos x="173" y="938"/>
                  </a:cxn>
                  <a:cxn ang="0">
                    <a:pos x="173" y="1023"/>
                  </a:cxn>
                  <a:cxn ang="0">
                    <a:pos x="87" y="1023"/>
                  </a:cxn>
                  <a:cxn ang="0">
                    <a:pos x="87" y="1108"/>
                  </a:cxn>
                  <a:cxn ang="0">
                    <a:pos x="0" y="1108"/>
                  </a:cxn>
                  <a:cxn ang="0">
                    <a:pos x="0" y="0"/>
                  </a:cxn>
                  <a:cxn ang="0">
                    <a:pos x="87" y="0"/>
                  </a:cxn>
                  <a:cxn ang="0">
                    <a:pos x="87" y="85"/>
                  </a:cxn>
                  <a:cxn ang="0">
                    <a:pos x="173" y="85"/>
                  </a:cxn>
                  <a:cxn ang="0">
                    <a:pos x="173" y="170"/>
                  </a:cxn>
                  <a:cxn ang="0">
                    <a:pos x="258" y="170"/>
                  </a:cxn>
                  <a:cxn ang="0">
                    <a:pos x="258" y="255"/>
                  </a:cxn>
                  <a:cxn ang="0">
                    <a:pos x="343" y="255"/>
                  </a:cxn>
                  <a:cxn ang="0">
                    <a:pos x="343" y="340"/>
                  </a:cxn>
                  <a:cxn ang="0">
                    <a:pos x="428" y="340"/>
                  </a:cxn>
                  <a:cxn ang="0">
                    <a:pos x="428" y="425"/>
                  </a:cxn>
                  <a:cxn ang="0">
                    <a:pos x="513" y="425"/>
                  </a:cxn>
                  <a:cxn ang="0">
                    <a:pos x="513" y="513"/>
                  </a:cxn>
                  <a:cxn ang="0">
                    <a:pos x="598" y="513"/>
                  </a:cxn>
                  <a:cxn ang="0">
                    <a:pos x="598" y="598"/>
                  </a:cxn>
                  <a:cxn ang="0">
                    <a:pos x="683" y="598"/>
                  </a:cxn>
                  <a:cxn ang="0">
                    <a:pos x="683" y="683"/>
                  </a:cxn>
                  <a:cxn ang="0">
                    <a:pos x="770" y="683"/>
                  </a:cxn>
                  <a:cxn ang="0">
                    <a:pos x="770" y="768"/>
                  </a:cxn>
                  <a:cxn ang="0">
                    <a:pos x="513" y="768"/>
                  </a:cxn>
                  <a:cxn ang="0">
                    <a:pos x="513" y="1023"/>
                  </a:cxn>
                  <a:cxn ang="0">
                    <a:pos x="598" y="1023"/>
                  </a:cxn>
                  <a:cxn ang="0">
                    <a:pos x="598" y="1195"/>
                  </a:cxn>
                  <a:cxn ang="0">
                    <a:pos x="683" y="1195"/>
                  </a:cxn>
                  <a:cxn ang="0">
                    <a:pos x="683" y="1366"/>
                  </a:cxn>
                  <a:cxn ang="0">
                    <a:pos x="770" y="1366"/>
                  </a:cxn>
                </a:cxnLst>
                <a:rect l="0" t="0" r="r" b="b"/>
                <a:pathLst>
                  <a:path w="770" h="1536">
                    <a:moveTo>
                      <a:pt x="770" y="1366"/>
                    </a:moveTo>
                    <a:lnTo>
                      <a:pt x="770" y="1536"/>
                    </a:lnTo>
                    <a:lnTo>
                      <a:pt x="598" y="1536"/>
                    </a:lnTo>
                    <a:lnTo>
                      <a:pt x="598" y="1366"/>
                    </a:lnTo>
                    <a:lnTo>
                      <a:pt x="513" y="1366"/>
                    </a:lnTo>
                    <a:lnTo>
                      <a:pt x="513" y="1195"/>
                    </a:lnTo>
                    <a:lnTo>
                      <a:pt x="428" y="1195"/>
                    </a:lnTo>
                    <a:lnTo>
                      <a:pt x="428" y="1023"/>
                    </a:lnTo>
                    <a:lnTo>
                      <a:pt x="343" y="1023"/>
                    </a:lnTo>
                    <a:lnTo>
                      <a:pt x="343" y="853"/>
                    </a:lnTo>
                    <a:lnTo>
                      <a:pt x="258" y="853"/>
                    </a:lnTo>
                    <a:lnTo>
                      <a:pt x="258" y="938"/>
                    </a:lnTo>
                    <a:lnTo>
                      <a:pt x="173" y="938"/>
                    </a:lnTo>
                    <a:lnTo>
                      <a:pt x="173" y="1023"/>
                    </a:lnTo>
                    <a:lnTo>
                      <a:pt x="87" y="1023"/>
                    </a:lnTo>
                    <a:lnTo>
                      <a:pt x="87" y="1108"/>
                    </a:lnTo>
                    <a:lnTo>
                      <a:pt x="0" y="1108"/>
                    </a:lnTo>
                    <a:lnTo>
                      <a:pt x="0" y="0"/>
                    </a:lnTo>
                    <a:lnTo>
                      <a:pt x="87" y="0"/>
                    </a:lnTo>
                    <a:lnTo>
                      <a:pt x="87" y="85"/>
                    </a:lnTo>
                    <a:lnTo>
                      <a:pt x="173" y="85"/>
                    </a:lnTo>
                    <a:lnTo>
                      <a:pt x="173" y="170"/>
                    </a:lnTo>
                    <a:lnTo>
                      <a:pt x="258" y="170"/>
                    </a:lnTo>
                    <a:lnTo>
                      <a:pt x="258" y="255"/>
                    </a:lnTo>
                    <a:lnTo>
                      <a:pt x="343" y="255"/>
                    </a:lnTo>
                    <a:lnTo>
                      <a:pt x="343" y="340"/>
                    </a:lnTo>
                    <a:lnTo>
                      <a:pt x="428" y="340"/>
                    </a:lnTo>
                    <a:lnTo>
                      <a:pt x="428" y="425"/>
                    </a:lnTo>
                    <a:lnTo>
                      <a:pt x="513" y="425"/>
                    </a:lnTo>
                    <a:lnTo>
                      <a:pt x="513" y="513"/>
                    </a:lnTo>
                    <a:lnTo>
                      <a:pt x="598" y="513"/>
                    </a:lnTo>
                    <a:lnTo>
                      <a:pt x="598" y="598"/>
                    </a:lnTo>
                    <a:lnTo>
                      <a:pt x="683" y="598"/>
                    </a:lnTo>
                    <a:lnTo>
                      <a:pt x="683" y="683"/>
                    </a:lnTo>
                    <a:lnTo>
                      <a:pt x="770" y="683"/>
                    </a:lnTo>
                    <a:lnTo>
                      <a:pt x="770" y="768"/>
                    </a:lnTo>
                    <a:lnTo>
                      <a:pt x="513" y="768"/>
                    </a:lnTo>
                    <a:lnTo>
                      <a:pt x="513" y="1023"/>
                    </a:lnTo>
                    <a:lnTo>
                      <a:pt x="598" y="1023"/>
                    </a:lnTo>
                    <a:lnTo>
                      <a:pt x="598" y="1195"/>
                    </a:lnTo>
                    <a:lnTo>
                      <a:pt x="683" y="1195"/>
                    </a:lnTo>
                    <a:lnTo>
                      <a:pt x="683" y="1366"/>
                    </a:lnTo>
                    <a:lnTo>
                      <a:pt x="770" y="1366"/>
                    </a:lnTo>
                    <a:close/>
                  </a:path>
                </a:pathLst>
              </a:custGeom>
              <a:gradFill flip="none" rotWithShape="1">
                <a:gsLst>
                  <a:gs pos="0">
                    <a:schemeClr val="bg1">
                      <a:lumMod val="85000"/>
                    </a:schemeClr>
                  </a:gs>
                  <a:gs pos="50000">
                    <a:schemeClr val="bg1">
                      <a:lumMod val="95000"/>
                    </a:schemeClr>
                  </a:gs>
                  <a:gs pos="100000">
                    <a:schemeClr val="bg1">
                      <a:shade val="100000"/>
                      <a:satMod val="11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77" name="Freeform 210"/>
              <p:cNvSpPr>
                <a:spLocks/>
              </p:cNvSpPr>
              <p:nvPr/>
            </p:nvSpPr>
            <p:spPr bwMode="auto">
              <a:xfrm>
                <a:off x="3303861" y="2391501"/>
                <a:ext cx="355659" cy="282533"/>
              </a:xfrm>
              <a:custGeom>
                <a:avLst/>
                <a:gdLst/>
                <a:ahLst/>
                <a:cxnLst>
                  <a:cxn ang="0">
                    <a:pos x="428" y="85"/>
                  </a:cxn>
                  <a:cxn ang="0">
                    <a:pos x="428" y="170"/>
                  </a:cxn>
                  <a:cxn ang="0">
                    <a:pos x="85" y="170"/>
                  </a:cxn>
                  <a:cxn ang="0">
                    <a:pos x="85" y="340"/>
                  </a:cxn>
                  <a:cxn ang="0">
                    <a:pos x="0" y="340"/>
                  </a:cxn>
                  <a:cxn ang="0">
                    <a:pos x="0" y="85"/>
                  </a:cxn>
                  <a:cxn ang="0">
                    <a:pos x="257" y="85"/>
                  </a:cxn>
                  <a:cxn ang="0">
                    <a:pos x="257" y="0"/>
                  </a:cxn>
                  <a:cxn ang="0">
                    <a:pos x="343" y="0"/>
                  </a:cxn>
                  <a:cxn ang="0">
                    <a:pos x="343" y="85"/>
                  </a:cxn>
                  <a:cxn ang="0">
                    <a:pos x="428" y="85"/>
                  </a:cxn>
                </a:cxnLst>
                <a:rect l="0" t="0" r="r" b="b"/>
                <a:pathLst>
                  <a:path w="428" h="340">
                    <a:moveTo>
                      <a:pt x="428" y="85"/>
                    </a:moveTo>
                    <a:lnTo>
                      <a:pt x="428" y="170"/>
                    </a:lnTo>
                    <a:lnTo>
                      <a:pt x="85" y="170"/>
                    </a:lnTo>
                    <a:lnTo>
                      <a:pt x="85" y="340"/>
                    </a:lnTo>
                    <a:lnTo>
                      <a:pt x="0" y="340"/>
                    </a:lnTo>
                    <a:lnTo>
                      <a:pt x="0" y="85"/>
                    </a:lnTo>
                    <a:lnTo>
                      <a:pt x="257" y="85"/>
                    </a:lnTo>
                    <a:lnTo>
                      <a:pt x="257" y="0"/>
                    </a:lnTo>
                    <a:lnTo>
                      <a:pt x="343" y="0"/>
                    </a:lnTo>
                    <a:lnTo>
                      <a:pt x="343" y="85"/>
                    </a:lnTo>
                    <a:lnTo>
                      <a:pt x="428" y="85"/>
                    </a:lnTo>
                    <a:close/>
                  </a:path>
                </a:pathLst>
              </a:custGeom>
              <a:solidFill>
                <a:schemeClr val="bg1">
                  <a:lumMod val="50000"/>
                </a:schemeClr>
              </a:solidFill>
              <a:ln w="9525">
                <a:noFill/>
                <a:round/>
                <a:headEnd/>
                <a:tailEnd/>
              </a:ln>
            </p:spPr>
            <p:txBody>
              <a:bodyPr/>
              <a:lstStyle/>
              <a:p>
                <a:pPr>
                  <a:defRPr/>
                </a:pPr>
                <a:endParaRPr lang="de-DE"/>
              </a:p>
            </p:txBody>
          </p:sp>
          <p:sp>
            <p:nvSpPr>
              <p:cNvPr id="178" name="Rectangle 211"/>
              <p:cNvSpPr>
                <a:spLocks noChangeArrowheads="1"/>
              </p:cNvSpPr>
              <p:nvPr/>
            </p:nvSpPr>
            <p:spPr bwMode="auto">
              <a:xfrm>
                <a:off x="3517423" y="2959058"/>
                <a:ext cx="71464" cy="141266"/>
              </a:xfrm>
              <a:prstGeom prst="rect">
                <a:avLst/>
              </a:prstGeom>
              <a:solidFill>
                <a:schemeClr val="bg1">
                  <a:lumMod val="50000"/>
                </a:schemeClr>
              </a:solidFill>
              <a:ln w="9525">
                <a:noFill/>
                <a:miter lim="800000"/>
                <a:headEnd/>
                <a:tailEnd/>
              </a:ln>
            </p:spPr>
            <p:txBody>
              <a:bodyPr/>
              <a:lstStyle/>
              <a:p>
                <a:pPr>
                  <a:defRPr/>
                </a:pPr>
                <a:endParaRPr lang="de-DE"/>
              </a:p>
            </p:txBody>
          </p:sp>
          <p:sp>
            <p:nvSpPr>
              <p:cNvPr id="179" name="Rectangle 212"/>
              <p:cNvSpPr>
                <a:spLocks noChangeArrowheads="1"/>
              </p:cNvSpPr>
              <p:nvPr/>
            </p:nvSpPr>
            <p:spPr bwMode="auto">
              <a:xfrm>
                <a:off x="3374495" y="3100325"/>
                <a:ext cx="142928"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0" name="Rectangle 213"/>
              <p:cNvSpPr>
                <a:spLocks noChangeArrowheads="1"/>
              </p:cNvSpPr>
              <p:nvPr/>
            </p:nvSpPr>
            <p:spPr bwMode="auto">
              <a:xfrm>
                <a:off x="3445128" y="2816961"/>
                <a:ext cx="72295" cy="142098"/>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1" name="Rectangle 214"/>
              <p:cNvSpPr>
                <a:spLocks noChangeArrowheads="1"/>
              </p:cNvSpPr>
              <p:nvPr/>
            </p:nvSpPr>
            <p:spPr bwMode="auto">
              <a:xfrm>
                <a:off x="3445128" y="2320867"/>
                <a:ext cx="72295"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2" name="Rectangle 215"/>
              <p:cNvSpPr>
                <a:spLocks noChangeArrowheads="1"/>
              </p:cNvSpPr>
              <p:nvPr/>
            </p:nvSpPr>
            <p:spPr bwMode="auto">
              <a:xfrm>
                <a:off x="3374495" y="2674033"/>
                <a:ext cx="70633" cy="142928"/>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3" name="Rectangle 216"/>
              <p:cNvSpPr>
                <a:spLocks noChangeArrowheads="1"/>
              </p:cNvSpPr>
              <p:nvPr/>
            </p:nvSpPr>
            <p:spPr bwMode="auto">
              <a:xfrm>
                <a:off x="3374495" y="2250234"/>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4" name="Rectangle 217"/>
              <p:cNvSpPr>
                <a:spLocks noChangeArrowheads="1"/>
              </p:cNvSpPr>
              <p:nvPr/>
            </p:nvSpPr>
            <p:spPr bwMode="auto">
              <a:xfrm>
                <a:off x="3303861" y="2959058"/>
                <a:ext cx="70633" cy="141266"/>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5" name="Rectangle 218"/>
              <p:cNvSpPr>
                <a:spLocks noChangeArrowheads="1"/>
              </p:cNvSpPr>
              <p:nvPr/>
            </p:nvSpPr>
            <p:spPr bwMode="auto">
              <a:xfrm>
                <a:off x="3303861" y="2177108"/>
                <a:ext cx="70633" cy="73126"/>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6" name="Rectangle 219"/>
              <p:cNvSpPr>
                <a:spLocks noChangeArrowheads="1"/>
              </p:cNvSpPr>
              <p:nvPr/>
            </p:nvSpPr>
            <p:spPr bwMode="auto">
              <a:xfrm>
                <a:off x="3233228" y="2816961"/>
                <a:ext cx="70633" cy="142098"/>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7" name="Rectangle 220"/>
              <p:cNvSpPr>
                <a:spLocks noChangeArrowheads="1"/>
              </p:cNvSpPr>
              <p:nvPr/>
            </p:nvSpPr>
            <p:spPr bwMode="auto">
              <a:xfrm>
                <a:off x="3233228" y="2106475"/>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8" name="Rectangle 221"/>
              <p:cNvSpPr>
                <a:spLocks noChangeArrowheads="1"/>
              </p:cNvSpPr>
              <p:nvPr/>
            </p:nvSpPr>
            <p:spPr bwMode="auto">
              <a:xfrm>
                <a:off x="3162595" y="2674033"/>
                <a:ext cx="70633" cy="142928"/>
              </a:xfrm>
              <a:prstGeom prst="rect">
                <a:avLst/>
              </a:prstGeom>
              <a:solidFill>
                <a:schemeClr val="bg1">
                  <a:lumMod val="50000"/>
                </a:schemeClr>
              </a:solidFill>
              <a:ln w="9525">
                <a:noFill/>
                <a:miter lim="800000"/>
                <a:headEnd/>
                <a:tailEnd/>
              </a:ln>
            </p:spPr>
            <p:txBody>
              <a:bodyPr/>
              <a:lstStyle/>
              <a:p>
                <a:pPr>
                  <a:defRPr/>
                </a:pPr>
                <a:endParaRPr lang="de-DE"/>
              </a:p>
            </p:txBody>
          </p:sp>
          <p:sp>
            <p:nvSpPr>
              <p:cNvPr id="189" name="Rectangle 222"/>
              <p:cNvSpPr>
                <a:spLocks noChangeArrowheads="1"/>
              </p:cNvSpPr>
              <p:nvPr/>
            </p:nvSpPr>
            <p:spPr bwMode="auto">
              <a:xfrm>
                <a:off x="3162595" y="2035842"/>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90" name="Freeform 223"/>
              <p:cNvSpPr>
                <a:spLocks/>
              </p:cNvSpPr>
              <p:nvPr/>
            </p:nvSpPr>
            <p:spPr bwMode="auto">
              <a:xfrm>
                <a:off x="3021328" y="2532767"/>
                <a:ext cx="141266" cy="141266"/>
              </a:xfrm>
              <a:custGeom>
                <a:avLst/>
                <a:gdLst/>
                <a:ahLst/>
                <a:cxnLst>
                  <a:cxn ang="0">
                    <a:pos x="170" y="0"/>
                  </a:cxn>
                  <a:cxn ang="0">
                    <a:pos x="170" y="170"/>
                  </a:cxn>
                  <a:cxn ang="0">
                    <a:pos x="0" y="170"/>
                  </a:cxn>
                  <a:cxn ang="0">
                    <a:pos x="0" y="85"/>
                  </a:cxn>
                  <a:cxn ang="0">
                    <a:pos x="85" y="85"/>
                  </a:cxn>
                  <a:cxn ang="0">
                    <a:pos x="85" y="0"/>
                  </a:cxn>
                  <a:cxn ang="0">
                    <a:pos x="170" y="0"/>
                  </a:cxn>
                </a:cxnLst>
                <a:rect l="0" t="0" r="r" b="b"/>
                <a:pathLst>
                  <a:path w="170" h="170">
                    <a:moveTo>
                      <a:pt x="170" y="0"/>
                    </a:moveTo>
                    <a:lnTo>
                      <a:pt x="170" y="170"/>
                    </a:lnTo>
                    <a:lnTo>
                      <a:pt x="0" y="170"/>
                    </a:lnTo>
                    <a:lnTo>
                      <a:pt x="0" y="85"/>
                    </a:lnTo>
                    <a:lnTo>
                      <a:pt x="85" y="85"/>
                    </a:lnTo>
                    <a:lnTo>
                      <a:pt x="85" y="0"/>
                    </a:lnTo>
                    <a:lnTo>
                      <a:pt x="170" y="0"/>
                    </a:lnTo>
                    <a:close/>
                  </a:path>
                </a:pathLst>
              </a:custGeom>
              <a:solidFill>
                <a:schemeClr val="bg1">
                  <a:lumMod val="50000"/>
                </a:schemeClr>
              </a:solidFill>
              <a:ln w="9525">
                <a:noFill/>
                <a:round/>
                <a:headEnd/>
                <a:tailEnd/>
              </a:ln>
            </p:spPr>
            <p:txBody>
              <a:bodyPr/>
              <a:lstStyle/>
              <a:p>
                <a:pPr>
                  <a:defRPr/>
                </a:pPr>
                <a:endParaRPr lang="de-DE"/>
              </a:p>
            </p:txBody>
          </p:sp>
          <p:sp>
            <p:nvSpPr>
              <p:cNvPr id="191" name="Rectangle 224"/>
              <p:cNvSpPr>
                <a:spLocks noChangeArrowheads="1"/>
              </p:cNvSpPr>
              <p:nvPr/>
            </p:nvSpPr>
            <p:spPr bwMode="auto">
              <a:xfrm>
                <a:off x="3091962" y="1965209"/>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92" name="Rectangle 225"/>
              <p:cNvSpPr>
                <a:spLocks noChangeArrowheads="1"/>
              </p:cNvSpPr>
              <p:nvPr/>
            </p:nvSpPr>
            <p:spPr bwMode="auto">
              <a:xfrm>
                <a:off x="3021328" y="1894576"/>
                <a:ext cx="70633"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93" name="Rectangle 226"/>
              <p:cNvSpPr>
                <a:spLocks noChangeArrowheads="1"/>
              </p:cNvSpPr>
              <p:nvPr/>
            </p:nvSpPr>
            <p:spPr bwMode="auto">
              <a:xfrm>
                <a:off x="2949864" y="2674033"/>
                <a:ext cx="71464"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94" name="Rectangle 227"/>
              <p:cNvSpPr>
                <a:spLocks noChangeArrowheads="1"/>
              </p:cNvSpPr>
              <p:nvPr/>
            </p:nvSpPr>
            <p:spPr bwMode="auto">
              <a:xfrm>
                <a:off x="2949864" y="1823942"/>
                <a:ext cx="71464" cy="70633"/>
              </a:xfrm>
              <a:prstGeom prst="rect">
                <a:avLst/>
              </a:prstGeom>
              <a:solidFill>
                <a:schemeClr val="bg1">
                  <a:lumMod val="50000"/>
                </a:schemeClr>
              </a:solidFill>
              <a:ln w="9525">
                <a:noFill/>
                <a:miter lim="800000"/>
                <a:headEnd/>
                <a:tailEnd/>
              </a:ln>
            </p:spPr>
            <p:txBody>
              <a:bodyPr/>
              <a:lstStyle/>
              <a:p>
                <a:pPr>
                  <a:defRPr/>
                </a:pPr>
                <a:endParaRPr lang="de-DE"/>
              </a:p>
            </p:txBody>
          </p:sp>
          <p:sp>
            <p:nvSpPr>
              <p:cNvPr id="195" name="Freeform 228"/>
              <p:cNvSpPr>
                <a:spLocks/>
              </p:cNvSpPr>
              <p:nvPr/>
            </p:nvSpPr>
            <p:spPr bwMode="auto">
              <a:xfrm>
                <a:off x="2806936" y="1682676"/>
                <a:ext cx="142928" cy="1205749"/>
              </a:xfrm>
              <a:custGeom>
                <a:avLst/>
                <a:gdLst/>
                <a:ahLst/>
                <a:cxnLst>
                  <a:cxn ang="0">
                    <a:pos x="172" y="1278"/>
                  </a:cxn>
                  <a:cxn ang="0">
                    <a:pos x="172" y="1365"/>
                  </a:cxn>
                  <a:cxn ang="0">
                    <a:pos x="85" y="1365"/>
                  </a:cxn>
                  <a:cxn ang="0">
                    <a:pos x="85" y="1451"/>
                  </a:cxn>
                  <a:cxn ang="0">
                    <a:pos x="0" y="1451"/>
                  </a:cxn>
                  <a:cxn ang="0">
                    <a:pos x="0" y="0"/>
                  </a:cxn>
                  <a:cxn ang="0">
                    <a:pos x="85" y="0"/>
                  </a:cxn>
                  <a:cxn ang="0">
                    <a:pos x="85" y="85"/>
                  </a:cxn>
                  <a:cxn ang="0">
                    <a:pos x="172" y="85"/>
                  </a:cxn>
                  <a:cxn ang="0">
                    <a:pos x="172" y="170"/>
                  </a:cxn>
                  <a:cxn ang="0">
                    <a:pos x="85" y="170"/>
                  </a:cxn>
                  <a:cxn ang="0">
                    <a:pos x="85" y="1278"/>
                  </a:cxn>
                  <a:cxn ang="0">
                    <a:pos x="172" y="1278"/>
                  </a:cxn>
                </a:cxnLst>
                <a:rect l="0" t="0" r="r" b="b"/>
                <a:pathLst>
                  <a:path w="172" h="1451">
                    <a:moveTo>
                      <a:pt x="172" y="1278"/>
                    </a:moveTo>
                    <a:lnTo>
                      <a:pt x="172" y="1365"/>
                    </a:lnTo>
                    <a:lnTo>
                      <a:pt x="85" y="1365"/>
                    </a:lnTo>
                    <a:lnTo>
                      <a:pt x="85" y="1451"/>
                    </a:lnTo>
                    <a:lnTo>
                      <a:pt x="0" y="1451"/>
                    </a:lnTo>
                    <a:lnTo>
                      <a:pt x="0" y="0"/>
                    </a:lnTo>
                    <a:lnTo>
                      <a:pt x="85" y="0"/>
                    </a:lnTo>
                    <a:lnTo>
                      <a:pt x="85" y="85"/>
                    </a:lnTo>
                    <a:lnTo>
                      <a:pt x="172" y="85"/>
                    </a:lnTo>
                    <a:lnTo>
                      <a:pt x="172" y="170"/>
                    </a:lnTo>
                    <a:lnTo>
                      <a:pt x="85" y="170"/>
                    </a:lnTo>
                    <a:lnTo>
                      <a:pt x="85" y="1278"/>
                    </a:lnTo>
                    <a:lnTo>
                      <a:pt x="172" y="1278"/>
                    </a:lnTo>
                    <a:close/>
                  </a:path>
                </a:pathLst>
              </a:custGeom>
              <a:solidFill>
                <a:schemeClr val="bg1">
                  <a:lumMod val="50000"/>
                </a:schemeClr>
              </a:solidFill>
              <a:ln w="9525">
                <a:noFill/>
                <a:round/>
                <a:headEnd/>
                <a:tailEnd/>
              </a:ln>
            </p:spPr>
            <p:txBody>
              <a:bodyPr/>
              <a:lstStyle/>
              <a:p>
                <a:pPr>
                  <a:defRPr/>
                </a:pPr>
                <a:endParaRPr lang="de-DE"/>
              </a:p>
            </p:txBody>
          </p:sp>
        </p:grpSp>
        <p:grpSp>
          <p:nvGrpSpPr>
            <p:cNvPr id="14" name="Gruppieren 212"/>
            <p:cNvGrpSpPr/>
            <p:nvPr/>
          </p:nvGrpSpPr>
          <p:grpSpPr>
            <a:xfrm>
              <a:off x="6787515" y="2128437"/>
              <a:ext cx="838756" cy="1268900"/>
              <a:chOff x="6787515" y="2128437"/>
              <a:chExt cx="838756" cy="1268900"/>
            </a:xfrm>
          </p:grpSpPr>
          <p:sp>
            <p:nvSpPr>
              <p:cNvPr id="141" name="Rechteck 140"/>
              <p:cNvSpPr/>
              <p:nvPr/>
            </p:nvSpPr>
            <p:spPr>
              <a:xfrm>
                <a:off x="6819900" y="2347913"/>
                <a:ext cx="771841" cy="101679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42" name="Rechteck 141"/>
              <p:cNvSpPr/>
              <p:nvPr/>
            </p:nvSpPr>
            <p:spPr>
              <a:xfrm>
                <a:off x="6801915" y="282340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4" name="Rechteck 143"/>
              <p:cNvSpPr/>
              <p:nvPr/>
            </p:nvSpPr>
            <p:spPr>
              <a:xfrm>
                <a:off x="7176293" y="333613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5" name="Ellipse 144"/>
              <p:cNvSpPr/>
              <p:nvPr/>
            </p:nvSpPr>
            <p:spPr>
              <a:xfrm>
                <a:off x="7550671" y="23106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Ellipse 166"/>
              <p:cNvSpPr/>
              <p:nvPr/>
            </p:nvSpPr>
            <p:spPr>
              <a:xfrm>
                <a:off x="6787515" y="332173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8" name="Rechteck 167"/>
              <p:cNvSpPr/>
              <p:nvPr/>
            </p:nvSpPr>
            <p:spPr>
              <a:xfrm>
                <a:off x="7565071" y="282340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9" name="Ellipse 168"/>
              <p:cNvSpPr/>
              <p:nvPr/>
            </p:nvSpPr>
            <p:spPr>
              <a:xfrm>
                <a:off x="7550671" y="332173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5" name="Gruppieren 139"/>
              <p:cNvGrpSpPr/>
              <p:nvPr/>
            </p:nvGrpSpPr>
            <p:grpSpPr>
              <a:xfrm>
                <a:off x="7169093" y="2128437"/>
                <a:ext cx="75600" cy="257824"/>
                <a:chOff x="5656766" y="771104"/>
                <a:chExt cx="75600" cy="257824"/>
              </a:xfrm>
            </p:grpSpPr>
            <p:sp>
              <p:nvSpPr>
                <p:cNvPr id="197" name="Ellipse 196"/>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198" name="Rechteck 197"/>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11" name="Gerade Verbindung 210"/>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196" name="Ellipse 195"/>
              <p:cNvSpPr/>
              <p:nvPr/>
            </p:nvSpPr>
            <p:spPr>
              <a:xfrm>
                <a:off x="6787515" y="23106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6" name="Gruppieren 213"/>
            <p:cNvGrpSpPr/>
            <p:nvPr/>
          </p:nvGrpSpPr>
          <p:grpSpPr>
            <a:xfrm>
              <a:off x="1138187" y="2128437"/>
              <a:ext cx="838756" cy="1268900"/>
              <a:chOff x="6787515" y="2128437"/>
              <a:chExt cx="838756" cy="1268900"/>
            </a:xfrm>
          </p:grpSpPr>
          <p:sp>
            <p:nvSpPr>
              <p:cNvPr id="215" name="Rechteck 214"/>
              <p:cNvSpPr/>
              <p:nvPr/>
            </p:nvSpPr>
            <p:spPr>
              <a:xfrm>
                <a:off x="6819900" y="2347913"/>
                <a:ext cx="771841" cy="101679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6" name="Rechteck 215"/>
              <p:cNvSpPr/>
              <p:nvPr/>
            </p:nvSpPr>
            <p:spPr>
              <a:xfrm>
                <a:off x="6801915" y="282340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7" name="Rechteck 216"/>
              <p:cNvSpPr/>
              <p:nvPr/>
            </p:nvSpPr>
            <p:spPr>
              <a:xfrm>
                <a:off x="7176293" y="333613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8" name="Ellipse 217"/>
              <p:cNvSpPr/>
              <p:nvPr/>
            </p:nvSpPr>
            <p:spPr>
              <a:xfrm>
                <a:off x="7550671" y="23106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9" name="Ellipse 218"/>
              <p:cNvSpPr/>
              <p:nvPr/>
            </p:nvSpPr>
            <p:spPr>
              <a:xfrm>
                <a:off x="6787515" y="332173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0" name="Rechteck 219"/>
              <p:cNvSpPr/>
              <p:nvPr/>
            </p:nvSpPr>
            <p:spPr>
              <a:xfrm>
                <a:off x="7565071" y="2823406"/>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1" name="Ellipse 220"/>
              <p:cNvSpPr/>
              <p:nvPr/>
            </p:nvSpPr>
            <p:spPr>
              <a:xfrm>
                <a:off x="7550671" y="332173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7" name="Gruppieren 139"/>
              <p:cNvGrpSpPr/>
              <p:nvPr/>
            </p:nvGrpSpPr>
            <p:grpSpPr>
              <a:xfrm>
                <a:off x="7169093" y="2128437"/>
                <a:ext cx="75600" cy="257824"/>
                <a:chOff x="5656766" y="771104"/>
                <a:chExt cx="75600" cy="257824"/>
              </a:xfrm>
            </p:grpSpPr>
            <p:sp>
              <p:nvSpPr>
                <p:cNvPr id="224" name="Ellipse 223"/>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225" name="Rechteck 224"/>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26" name="Gerade Verbindung 225"/>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223" name="Ellipse 222"/>
              <p:cNvSpPr/>
              <p:nvPr/>
            </p:nvSpPr>
            <p:spPr>
              <a:xfrm>
                <a:off x="6787515" y="23106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8" name="Group 45"/>
            <p:cNvGrpSpPr>
              <a:grpSpLocks/>
            </p:cNvGrpSpPr>
            <p:nvPr/>
          </p:nvGrpSpPr>
          <p:grpSpPr bwMode="auto">
            <a:xfrm rot="20287264">
              <a:off x="1753529" y="3198563"/>
              <a:ext cx="327150" cy="532312"/>
              <a:chOff x="1950" y="1045"/>
              <a:chExt cx="568" cy="928"/>
            </a:xfrm>
          </p:grpSpPr>
          <p:sp>
            <p:nvSpPr>
              <p:cNvPr id="33"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34"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35"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6"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37"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8"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39"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40"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41"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42"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43"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44"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sp>
        <p:nvSpPr>
          <p:cNvPr id="134"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10</a:t>
            </a:r>
            <a:endParaRPr lang="de-DE" sz="900" dirty="0">
              <a:solidFill>
                <a:schemeClr val="bg1">
                  <a:lumMod val="50000"/>
                </a:schemeClr>
              </a:solidFill>
            </a:endParaRPr>
          </a:p>
        </p:txBody>
      </p:sp>
      <p:pic>
        <p:nvPicPr>
          <p:cNvPr id="2050" name="Picture 2" descr="C:\Users\patrick.z\Desktop\Tutorials\Landkarten\DE\02_Regionen einfärben.jpg"/>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3837758" y="1578999"/>
            <a:ext cx="2574713" cy="54738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2051" name="Picture 3" descr="C:\Users\patrick.z\Desktop\Tutorials\Landkarten\DE\03_Regionen einfärben.jpg"/>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3837758" y="2569482"/>
            <a:ext cx="1071080" cy="180360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9287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srcRect/>
          <a:stretch>
            <a:fillRect/>
          </a:stretch>
        </p:blipFill>
        <p:spPr bwMode="auto">
          <a:xfrm>
            <a:off x="-12700" y="305435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2800" kern="0" dirty="0" smtClean="0">
                <a:solidFill>
                  <a:schemeClr val="tx2"/>
                </a:solidFill>
                <a:latin typeface="Myriad Pro" pitchFamily="34" charset="0"/>
                <a:ea typeface="+mj-ea"/>
                <a:cs typeface="+mj-cs"/>
              </a:rPr>
              <a:t>Schatten erstellen</a:t>
            </a:r>
            <a:endParaRPr kumimoji="0" lang="de-DE" sz="2800" b="0" i="0" u="none" strike="noStrike" kern="0" cap="none" spc="0" normalizeH="0" baseline="0" noProof="0" dirty="0" smtClean="0">
              <a:ln>
                <a:noFill/>
              </a:ln>
              <a:solidFill>
                <a:schemeClr val="tx2"/>
              </a:solidFill>
              <a:effectLst/>
              <a:uLnTx/>
              <a:uFillTx/>
              <a:latin typeface="Myriad Pro" pitchFamily="34" charset="0"/>
              <a:ea typeface="+mj-ea"/>
              <a:cs typeface="+mj-cs"/>
            </a:endParaRPr>
          </a:p>
        </p:txBody>
      </p:sp>
      <p:sp>
        <p:nvSpPr>
          <p:cNvPr id="25" name="Freeform 273"/>
          <p:cNvSpPr>
            <a:spLocks noEditPoints="1"/>
          </p:cNvSpPr>
          <p:nvPr/>
        </p:nvSpPr>
        <p:spPr bwMode="auto">
          <a:xfrm>
            <a:off x="604212" y="1133474"/>
            <a:ext cx="2588888" cy="3083383"/>
          </a:xfrm>
          <a:custGeom>
            <a:avLst/>
            <a:gdLst>
              <a:gd name="T0" fmla="*/ 2147483647 w 1562"/>
              <a:gd name="T1" fmla="*/ 2147483647 h 1861"/>
              <a:gd name="T2" fmla="*/ 2147483647 w 1562"/>
              <a:gd name="T3" fmla="*/ 2147483647 h 1861"/>
              <a:gd name="T4" fmla="*/ 2147483647 w 1562"/>
              <a:gd name="T5" fmla="*/ 2147483647 h 1861"/>
              <a:gd name="T6" fmla="*/ 2147483647 w 1562"/>
              <a:gd name="T7" fmla="*/ 2147483647 h 1861"/>
              <a:gd name="T8" fmla="*/ 2147483647 w 1562"/>
              <a:gd name="T9" fmla="*/ 2147483647 h 1861"/>
              <a:gd name="T10" fmla="*/ 2147483647 w 1562"/>
              <a:gd name="T11" fmla="*/ 2147483647 h 1861"/>
              <a:gd name="T12" fmla="*/ 2147483647 w 1562"/>
              <a:gd name="T13" fmla="*/ 2147483647 h 1861"/>
              <a:gd name="T14" fmla="*/ 2147483647 w 1562"/>
              <a:gd name="T15" fmla="*/ 2147483647 h 1861"/>
              <a:gd name="T16" fmla="*/ 2147483647 w 1562"/>
              <a:gd name="T17" fmla="*/ 2147483647 h 1861"/>
              <a:gd name="T18" fmla="*/ 2147483647 w 1562"/>
              <a:gd name="T19" fmla="*/ 2147483647 h 1861"/>
              <a:gd name="T20" fmla="*/ 2147483647 w 1562"/>
              <a:gd name="T21" fmla="*/ 2147483647 h 1861"/>
              <a:gd name="T22" fmla="*/ 2147483647 w 1562"/>
              <a:gd name="T23" fmla="*/ 2147483647 h 1861"/>
              <a:gd name="T24" fmla="*/ 2147483647 w 1562"/>
              <a:gd name="T25" fmla="*/ 2147483647 h 1861"/>
              <a:gd name="T26" fmla="*/ 2147483647 w 1562"/>
              <a:gd name="T27" fmla="*/ 2147483647 h 1861"/>
              <a:gd name="T28" fmla="*/ 2147483647 w 1562"/>
              <a:gd name="T29" fmla="*/ 2147483647 h 1861"/>
              <a:gd name="T30" fmla="*/ 2147483647 w 1562"/>
              <a:gd name="T31" fmla="*/ 2147483647 h 1861"/>
              <a:gd name="T32" fmla="*/ 2147483647 w 1562"/>
              <a:gd name="T33" fmla="*/ 2147483647 h 1861"/>
              <a:gd name="T34" fmla="*/ 2147483647 w 1562"/>
              <a:gd name="T35" fmla="*/ 2147483647 h 1861"/>
              <a:gd name="T36" fmla="*/ 2147483647 w 1562"/>
              <a:gd name="T37" fmla="*/ 2147483647 h 1861"/>
              <a:gd name="T38" fmla="*/ 2147483647 w 1562"/>
              <a:gd name="T39" fmla="*/ 2147483647 h 1861"/>
              <a:gd name="T40" fmla="*/ 2147483647 w 1562"/>
              <a:gd name="T41" fmla="*/ 2147483647 h 1861"/>
              <a:gd name="T42" fmla="*/ 2147483647 w 1562"/>
              <a:gd name="T43" fmla="*/ 2147483647 h 1861"/>
              <a:gd name="T44" fmla="*/ 2147483647 w 1562"/>
              <a:gd name="T45" fmla="*/ 2147483647 h 1861"/>
              <a:gd name="T46" fmla="*/ 2147483647 w 1562"/>
              <a:gd name="T47" fmla="*/ 2147483647 h 1861"/>
              <a:gd name="T48" fmla="*/ 2147483647 w 1562"/>
              <a:gd name="T49" fmla="*/ 2147483647 h 1861"/>
              <a:gd name="T50" fmla="*/ 2147483647 w 1562"/>
              <a:gd name="T51" fmla="*/ 2147483647 h 1861"/>
              <a:gd name="T52" fmla="*/ 2147483647 w 1562"/>
              <a:gd name="T53" fmla="*/ 2147483647 h 1861"/>
              <a:gd name="T54" fmla="*/ 2147483647 w 1562"/>
              <a:gd name="T55" fmla="*/ 2147483647 h 1861"/>
              <a:gd name="T56" fmla="*/ 2147483647 w 1562"/>
              <a:gd name="T57" fmla="*/ 2147483647 h 1861"/>
              <a:gd name="T58" fmla="*/ 2147483647 w 1562"/>
              <a:gd name="T59" fmla="*/ 2147483647 h 1861"/>
              <a:gd name="T60" fmla="*/ 2147483647 w 1562"/>
              <a:gd name="T61" fmla="*/ 2147483647 h 1861"/>
              <a:gd name="T62" fmla="*/ 2147483647 w 1562"/>
              <a:gd name="T63" fmla="*/ 2147483647 h 1861"/>
              <a:gd name="T64" fmla="*/ 2147483647 w 1562"/>
              <a:gd name="T65" fmla="*/ 2147483647 h 1861"/>
              <a:gd name="T66" fmla="*/ 2147483647 w 1562"/>
              <a:gd name="T67" fmla="*/ 2147483647 h 1861"/>
              <a:gd name="T68" fmla="*/ 2147483647 w 1562"/>
              <a:gd name="T69" fmla="*/ 2147483647 h 1861"/>
              <a:gd name="T70" fmla="*/ 2147483647 w 1562"/>
              <a:gd name="T71" fmla="*/ 2147483647 h 1861"/>
              <a:gd name="T72" fmla="*/ 2147483647 w 1562"/>
              <a:gd name="T73" fmla="*/ 2147483647 h 1861"/>
              <a:gd name="T74" fmla="*/ 2147483647 w 1562"/>
              <a:gd name="T75" fmla="*/ 2147483647 h 1861"/>
              <a:gd name="T76" fmla="*/ 2147483647 w 1562"/>
              <a:gd name="T77" fmla="*/ 2147483647 h 1861"/>
              <a:gd name="T78" fmla="*/ 2147483647 w 1562"/>
              <a:gd name="T79" fmla="*/ 2147483647 h 1861"/>
              <a:gd name="T80" fmla="*/ 2147483647 w 1562"/>
              <a:gd name="T81" fmla="*/ 2147483647 h 1861"/>
              <a:gd name="T82" fmla="*/ 2147483647 w 1562"/>
              <a:gd name="T83" fmla="*/ 2147483647 h 1861"/>
              <a:gd name="T84" fmla="*/ 2147483647 w 1562"/>
              <a:gd name="T85" fmla="*/ 2147483647 h 1861"/>
              <a:gd name="T86" fmla="*/ 2147483647 w 1562"/>
              <a:gd name="T87" fmla="*/ 2147483647 h 1861"/>
              <a:gd name="T88" fmla="*/ 2147483647 w 1562"/>
              <a:gd name="T89" fmla="*/ 2147483647 h 1861"/>
              <a:gd name="T90" fmla="*/ 2147483647 w 1562"/>
              <a:gd name="T91" fmla="*/ 2147483647 h 1861"/>
              <a:gd name="T92" fmla="*/ 2147483647 w 1562"/>
              <a:gd name="T93" fmla="*/ 2147483647 h 1861"/>
              <a:gd name="T94" fmla="*/ 2147483647 w 1562"/>
              <a:gd name="T95" fmla="*/ 2147483647 h 1861"/>
              <a:gd name="T96" fmla="*/ 2147483647 w 1562"/>
              <a:gd name="T97" fmla="*/ 2147483647 h 1861"/>
              <a:gd name="T98" fmla="*/ 2147483647 w 1562"/>
              <a:gd name="T99" fmla="*/ 2147483647 h 1861"/>
              <a:gd name="T100" fmla="*/ 2147483647 w 1562"/>
              <a:gd name="T101" fmla="*/ 2147483647 h 1861"/>
              <a:gd name="T102" fmla="*/ 2147483647 w 1562"/>
              <a:gd name="T103" fmla="*/ 2147483647 h 1861"/>
              <a:gd name="T104" fmla="*/ 2147483647 w 1562"/>
              <a:gd name="T105" fmla="*/ 2147483647 h 1861"/>
              <a:gd name="T106" fmla="*/ 2147483647 w 1562"/>
              <a:gd name="T107" fmla="*/ 2147483647 h 1861"/>
              <a:gd name="T108" fmla="*/ 2147483647 w 1562"/>
              <a:gd name="T109" fmla="*/ 2147483647 h 1861"/>
              <a:gd name="T110" fmla="*/ 2147483647 w 1562"/>
              <a:gd name="T111" fmla="*/ 2147483647 h 1861"/>
              <a:gd name="T112" fmla="*/ 2147483647 w 1562"/>
              <a:gd name="T113" fmla="*/ 2147483647 h 1861"/>
              <a:gd name="T114" fmla="*/ 2147483647 w 1562"/>
              <a:gd name="T115" fmla="*/ 2147483647 h 1861"/>
              <a:gd name="T116" fmla="*/ 2147483647 w 1562"/>
              <a:gd name="T117" fmla="*/ 2147483647 h 1861"/>
              <a:gd name="T118" fmla="*/ 2147483647 w 1562"/>
              <a:gd name="T119" fmla="*/ 2147483647 h 1861"/>
              <a:gd name="T120" fmla="*/ 2147483647 w 1562"/>
              <a:gd name="T121" fmla="*/ 2147483647 h 1861"/>
              <a:gd name="T122" fmla="*/ 2147483647 w 1562"/>
              <a:gd name="T123" fmla="*/ 2147483647 h 18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62"/>
              <a:gd name="T187" fmla="*/ 0 h 1861"/>
              <a:gd name="T188" fmla="*/ 1562 w 1562"/>
              <a:gd name="T189" fmla="*/ 1861 h 18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62" h="1861">
                <a:moveTo>
                  <a:pt x="320" y="1025"/>
                </a:moveTo>
                <a:cubicBezTo>
                  <a:pt x="320" y="1025"/>
                  <a:pt x="318" y="1030"/>
                  <a:pt x="319" y="1030"/>
                </a:cubicBezTo>
                <a:cubicBezTo>
                  <a:pt x="321" y="1030"/>
                  <a:pt x="324" y="1025"/>
                  <a:pt x="320" y="1025"/>
                </a:cubicBezTo>
                <a:close/>
                <a:moveTo>
                  <a:pt x="331" y="1051"/>
                </a:moveTo>
                <a:cubicBezTo>
                  <a:pt x="333" y="1044"/>
                  <a:pt x="333" y="1044"/>
                  <a:pt x="333" y="1044"/>
                </a:cubicBezTo>
                <a:cubicBezTo>
                  <a:pt x="333" y="1038"/>
                  <a:pt x="333" y="1038"/>
                  <a:pt x="333" y="1038"/>
                </a:cubicBezTo>
                <a:cubicBezTo>
                  <a:pt x="322" y="1050"/>
                  <a:pt x="331" y="1051"/>
                  <a:pt x="331" y="1051"/>
                </a:cubicBezTo>
                <a:close/>
                <a:moveTo>
                  <a:pt x="317" y="1039"/>
                </a:moveTo>
                <a:cubicBezTo>
                  <a:pt x="319" y="1037"/>
                  <a:pt x="314" y="1034"/>
                  <a:pt x="314" y="1034"/>
                </a:cubicBezTo>
                <a:cubicBezTo>
                  <a:pt x="311" y="1039"/>
                  <a:pt x="314" y="1041"/>
                  <a:pt x="317" y="1039"/>
                </a:cubicBezTo>
                <a:close/>
                <a:moveTo>
                  <a:pt x="324" y="1044"/>
                </a:moveTo>
                <a:cubicBezTo>
                  <a:pt x="325" y="1045"/>
                  <a:pt x="328" y="1042"/>
                  <a:pt x="328" y="1039"/>
                </a:cubicBezTo>
                <a:cubicBezTo>
                  <a:pt x="328" y="1036"/>
                  <a:pt x="325" y="1033"/>
                  <a:pt x="325" y="1033"/>
                </a:cubicBezTo>
                <a:cubicBezTo>
                  <a:pt x="320" y="1033"/>
                  <a:pt x="322" y="1044"/>
                  <a:pt x="324" y="1044"/>
                </a:cubicBezTo>
                <a:close/>
                <a:moveTo>
                  <a:pt x="179" y="1053"/>
                </a:moveTo>
                <a:cubicBezTo>
                  <a:pt x="173" y="1050"/>
                  <a:pt x="169" y="1064"/>
                  <a:pt x="178" y="1065"/>
                </a:cubicBezTo>
                <a:cubicBezTo>
                  <a:pt x="178" y="1065"/>
                  <a:pt x="185" y="1055"/>
                  <a:pt x="179" y="1053"/>
                </a:cubicBezTo>
                <a:close/>
                <a:moveTo>
                  <a:pt x="146" y="1404"/>
                </a:moveTo>
                <a:cubicBezTo>
                  <a:pt x="146" y="1406"/>
                  <a:pt x="151" y="1409"/>
                  <a:pt x="151" y="1409"/>
                </a:cubicBezTo>
                <a:cubicBezTo>
                  <a:pt x="151" y="1409"/>
                  <a:pt x="147" y="1413"/>
                  <a:pt x="152" y="1413"/>
                </a:cubicBezTo>
                <a:cubicBezTo>
                  <a:pt x="157" y="1413"/>
                  <a:pt x="161" y="1406"/>
                  <a:pt x="159" y="1403"/>
                </a:cubicBezTo>
                <a:cubicBezTo>
                  <a:pt x="156" y="1400"/>
                  <a:pt x="147" y="1400"/>
                  <a:pt x="146" y="1404"/>
                </a:cubicBezTo>
                <a:close/>
                <a:moveTo>
                  <a:pt x="165" y="1414"/>
                </a:moveTo>
                <a:cubicBezTo>
                  <a:pt x="163" y="1420"/>
                  <a:pt x="168" y="1440"/>
                  <a:pt x="172" y="1440"/>
                </a:cubicBezTo>
                <a:cubicBezTo>
                  <a:pt x="175" y="1440"/>
                  <a:pt x="181" y="1423"/>
                  <a:pt x="181" y="1423"/>
                </a:cubicBezTo>
                <a:cubicBezTo>
                  <a:pt x="175" y="1416"/>
                  <a:pt x="175" y="1416"/>
                  <a:pt x="175" y="1416"/>
                </a:cubicBezTo>
                <a:lnTo>
                  <a:pt x="165" y="1414"/>
                </a:lnTo>
                <a:close/>
                <a:moveTo>
                  <a:pt x="169" y="1075"/>
                </a:moveTo>
                <a:cubicBezTo>
                  <a:pt x="165" y="1067"/>
                  <a:pt x="165" y="1067"/>
                  <a:pt x="165" y="1067"/>
                </a:cubicBezTo>
                <a:cubicBezTo>
                  <a:pt x="162" y="1085"/>
                  <a:pt x="169" y="1075"/>
                  <a:pt x="169" y="1075"/>
                </a:cubicBezTo>
                <a:close/>
                <a:moveTo>
                  <a:pt x="402" y="653"/>
                </a:moveTo>
                <a:cubicBezTo>
                  <a:pt x="407" y="652"/>
                  <a:pt x="402" y="646"/>
                  <a:pt x="402" y="646"/>
                </a:cubicBezTo>
                <a:cubicBezTo>
                  <a:pt x="402" y="646"/>
                  <a:pt x="397" y="653"/>
                  <a:pt x="402" y="653"/>
                </a:cubicBezTo>
                <a:close/>
                <a:moveTo>
                  <a:pt x="420" y="801"/>
                </a:moveTo>
                <a:cubicBezTo>
                  <a:pt x="416" y="801"/>
                  <a:pt x="416" y="801"/>
                  <a:pt x="416" y="801"/>
                </a:cubicBezTo>
                <a:cubicBezTo>
                  <a:pt x="416" y="801"/>
                  <a:pt x="419" y="803"/>
                  <a:pt x="422" y="803"/>
                </a:cubicBezTo>
                <a:cubicBezTo>
                  <a:pt x="425" y="803"/>
                  <a:pt x="422" y="797"/>
                  <a:pt x="422" y="797"/>
                </a:cubicBezTo>
                <a:lnTo>
                  <a:pt x="420" y="801"/>
                </a:lnTo>
                <a:close/>
                <a:moveTo>
                  <a:pt x="526" y="839"/>
                </a:moveTo>
                <a:cubicBezTo>
                  <a:pt x="523" y="844"/>
                  <a:pt x="523" y="844"/>
                  <a:pt x="523" y="844"/>
                </a:cubicBezTo>
                <a:cubicBezTo>
                  <a:pt x="531" y="852"/>
                  <a:pt x="531" y="852"/>
                  <a:pt x="531" y="852"/>
                </a:cubicBezTo>
                <a:cubicBezTo>
                  <a:pt x="531" y="847"/>
                  <a:pt x="531" y="847"/>
                  <a:pt x="531" y="847"/>
                </a:cubicBezTo>
                <a:cubicBezTo>
                  <a:pt x="531" y="847"/>
                  <a:pt x="536" y="842"/>
                  <a:pt x="526" y="839"/>
                </a:cubicBezTo>
                <a:close/>
                <a:moveTo>
                  <a:pt x="448" y="844"/>
                </a:moveTo>
                <a:cubicBezTo>
                  <a:pt x="448" y="849"/>
                  <a:pt x="448" y="849"/>
                  <a:pt x="448" y="849"/>
                </a:cubicBezTo>
                <a:cubicBezTo>
                  <a:pt x="453" y="849"/>
                  <a:pt x="453" y="849"/>
                  <a:pt x="453" y="849"/>
                </a:cubicBezTo>
                <a:cubicBezTo>
                  <a:pt x="451" y="843"/>
                  <a:pt x="451" y="843"/>
                  <a:pt x="451" y="843"/>
                </a:cubicBezTo>
                <a:lnTo>
                  <a:pt x="448" y="844"/>
                </a:lnTo>
                <a:close/>
                <a:moveTo>
                  <a:pt x="386" y="717"/>
                </a:moveTo>
                <a:cubicBezTo>
                  <a:pt x="386" y="725"/>
                  <a:pt x="386" y="725"/>
                  <a:pt x="386" y="725"/>
                </a:cubicBezTo>
                <a:cubicBezTo>
                  <a:pt x="395" y="721"/>
                  <a:pt x="395" y="721"/>
                  <a:pt x="395" y="721"/>
                </a:cubicBezTo>
                <a:cubicBezTo>
                  <a:pt x="392" y="713"/>
                  <a:pt x="392" y="713"/>
                  <a:pt x="392" y="713"/>
                </a:cubicBezTo>
                <a:cubicBezTo>
                  <a:pt x="393" y="719"/>
                  <a:pt x="386" y="717"/>
                  <a:pt x="386" y="717"/>
                </a:cubicBezTo>
                <a:close/>
                <a:moveTo>
                  <a:pt x="972" y="1165"/>
                </a:moveTo>
                <a:cubicBezTo>
                  <a:pt x="971" y="1169"/>
                  <a:pt x="971" y="1169"/>
                  <a:pt x="971" y="1169"/>
                </a:cubicBezTo>
                <a:cubicBezTo>
                  <a:pt x="971" y="1169"/>
                  <a:pt x="981" y="1168"/>
                  <a:pt x="981" y="1164"/>
                </a:cubicBezTo>
                <a:cubicBezTo>
                  <a:pt x="981" y="1159"/>
                  <a:pt x="972" y="1165"/>
                  <a:pt x="972" y="1165"/>
                </a:cubicBezTo>
                <a:close/>
                <a:moveTo>
                  <a:pt x="466" y="749"/>
                </a:moveTo>
                <a:cubicBezTo>
                  <a:pt x="458" y="760"/>
                  <a:pt x="458" y="760"/>
                  <a:pt x="458" y="760"/>
                </a:cubicBezTo>
                <a:cubicBezTo>
                  <a:pt x="458" y="760"/>
                  <a:pt x="454" y="759"/>
                  <a:pt x="450" y="759"/>
                </a:cubicBezTo>
                <a:cubicBezTo>
                  <a:pt x="445" y="759"/>
                  <a:pt x="443" y="764"/>
                  <a:pt x="443" y="764"/>
                </a:cubicBezTo>
                <a:cubicBezTo>
                  <a:pt x="443" y="764"/>
                  <a:pt x="440" y="761"/>
                  <a:pt x="430" y="760"/>
                </a:cubicBezTo>
                <a:cubicBezTo>
                  <a:pt x="426" y="765"/>
                  <a:pt x="426" y="765"/>
                  <a:pt x="426" y="765"/>
                </a:cubicBezTo>
                <a:cubicBezTo>
                  <a:pt x="426" y="765"/>
                  <a:pt x="427" y="771"/>
                  <a:pt x="429" y="775"/>
                </a:cubicBezTo>
                <a:cubicBezTo>
                  <a:pt x="431" y="778"/>
                  <a:pt x="443" y="776"/>
                  <a:pt x="443" y="776"/>
                </a:cubicBezTo>
                <a:cubicBezTo>
                  <a:pt x="444" y="773"/>
                  <a:pt x="444" y="773"/>
                  <a:pt x="444" y="773"/>
                </a:cubicBezTo>
                <a:cubicBezTo>
                  <a:pt x="453" y="774"/>
                  <a:pt x="453" y="774"/>
                  <a:pt x="453" y="774"/>
                </a:cubicBezTo>
                <a:cubicBezTo>
                  <a:pt x="454" y="770"/>
                  <a:pt x="454" y="770"/>
                  <a:pt x="454" y="770"/>
                </a:cubicBezTo>
                <a:cubicBezTo>
                  <a:pt x="454" y="770"/>
                  <a:pt x="459" y="776"/>
                  <a:pt x="462" y="779"/>
                </a:cubicBezTo>
                <a:cubicBezTo>
                  <a:pt x="464" y="781"/>
                  <a:pt x="469" y="779"/>
                  <a:pt x="469" y="779"/>
                </a:cubicBezTo>
                <a:cubicBezTo>
                  <a:pt x="469" y="774"/>
                  <a:pt x="469" y="774"/>
                  <a:pt x="469" y="774"/>
                </a:cubicBezTo>
                <a:cubicBezTo>
                  <a:pt x="463" y="768"/>
                  <a:pt x="463" y="768"/>
                  <a:pt x="463" y="768"/>
                </a:cubicBezTo>
                <a:cubicBezTo>
                  <a:pt x="469" y="768"/>
                  <a:pt x="469" y="768"/>
                  <a:pt x="469" y="768"/>
                </a:cubicBezTo>
                <a:cubicBezTo>
                  <a:pt x="472" y="756"/>
                  <a:pt x="472" y="756"/>
                  <a:pt x="472" y="756"/>
                </a:cubicBezTo>
                <a:cubicBezTo>
                  <a:pt x="470" y="754"/>
                  <a:pt x="470" y="754"/>
                  <a:pt x="470" y="754"/>
                </a:cubicBezTo>
                <a:lnTo>
                  <a:pt x="466" y="749"/>
                </a:lnTo>
                <a:close/>
                <a:moveTo>
                  <a:pt x="1562" y="1219"/>
                </a:moveTo>
                <a:cubicBezTo>
                  <a:pt x="1562" y="1213"/>
                  <a:pt x="1554" y="1204"/>
                  <a:pt x="1554" y="1204"/>
                </a:cubicBezTo>
                <a:cubicBezTo>
                  <a:pt x="1555" y="1192"/>
                  <a:pt x="1521" y="1163"/>
                  <a:pt x="1515" y="1160"/>
                </a:cubicBezTo>
                <a:cubicBezTo>
                  <a:pt x="1510" y="1156"/>
                  <a:pt x="1496" y="1150"/>
                  <a:pt x="1492" y="1141"/>
                </a:cubicBezTo>
                <a:cubicBezTo>
                  <a:pt x="1494" y="1126"/>
                  <a:pt x="1478" y="1129"/>
                  <a:pt x="1478" y="1129"/>
                </a:cubicBezTo>
                <a:cubicBezTo>
                  <a:pt x="1478" y="1123"/>
                  <a:pt x="1470" y="1122"/>
                  <a:pt x="1459" y="1121"/>
                </a:cubicBezTo>
                <a:cubicBezTo>
                  <a:pt x="1449" y="1112"/>
                  <a:pt x="1414" y="1103"/>
                  <a:pt x="1414" y="1103"/>
                </a:cubicBezTo>
                <a:cubicBezTo>
                  <a:pt x="1399" y="1088"/>
                  <a:pt x="1399" y="1088"/>
                  <a:pt x="1399" y="1088"/>
                </a:cubicBezTo>
                <a:cubicBezTo>
                  <a:pt x="1395" y="1089"/>
                  <a:pt x="1395" y="1089"/>
                  <a:pt x="1395" y="1089"/>
                </a:cubicBezTo>
                <a:cubicBezTo>
                  <a:pt x="1395" y="1089"/>
                  <a:pt x="1374" y="1072"/>
                  <a:pt x="1366" y="1066"/>
                </a:cubicBezTo>
                <a:cubicBezTo>
                  <a:pt x="1357" y="1060"/>
                  <a:pt x="1312" y="1048"/>
                  <a:pt x="1293" y="1041"/>
                </a:cubicBezTo>
                <a:cubicBezTo>
                  <a:pt x="1275" y="1033"/>
                  <a:pt x="1205" y="1000"/>
                  <a:pt x="1205" y="1000"/>
                </a:cubicBezTo>
                <a:cubicBezTo>
                  <a:pt x="1195" y="982"/>
                  <a:pt x="1195" y="982"/>
                  <a:pt x="1195" y="982"/>
                </a:cubicBezTo>
                <a:cubicBezTo>
                  <a:pt x="1195" y="982"/>
                  <a:pt x="1195" y="982"/>
                  <a:pt x="1195" y="982"/>
                </a:cubicBezTo>
                <a:cubicBezTo>
                  <a:pt x="1195" y="982"/>
                  <a:pt x="1195" y="982"/>
                  <a:pt x="1195" y="982"/>
                </a:cubicBezTo>
                <a:cubicBezTo>
                  <a:pt x="1195" y="982"/>
                  <a:pt x="1195" y="979"/>
                  <a:pt x="1196" y="969"/>
                </a:cubicBezTo>
                <a:cubicBezTo>
                  <a:pt x="1207" y="958"/>
                  <a:pt x="1231" y="940"/>
                  <a:pt x="1231" y="940"/>
                </a:cubicBezTo>
                <a:cubicBezTo>
                  <a:pt x="1228" y="921"/>
                  <a:pt x="1228" y="921"/>
                  <a:pt x="1228" y="921"/>
                </a:cubicBezTo>
                <a:cubicBezTo>
                  <a:pt x="1218" y="912"/>
                  <a:pt x="1218" y="912"/>
                  <a:pt x="1218" y="912"/>
                </a:cubicBezTo>
                <a:cubicBezTo>
                  <a:pt x="1218" y="912"/>
                  <a:pt x="1197" y="912"/>
                  <a:pt x="1180" y="916"/>
                </a:cubicBezTo>
                <a:cubicBezTo>
                  <a:pt x="1163" y="920"/>
                  <a:pt x="1155" y="916"/>
                  <a:pt x="1155" y="916"/>
                </a:cubicBezTo>
                <a:cubicBezTo>
                  <a:pt x="1123" y="922"/>
                  <a:pt x="1123" y="922"/>
                  <a:pt x="1123" y="922"/>
                </a:cubicBezTo>
                <a:cubicBezTo>
                  <a:pt x="1112" y="918"/>
                  <a:pt x="1112" y="918"/>
                  <a:pt x="1112" y="918"/>
                </a:cubicBezTo>
                <a:cubicBezTo>
                  <a:pt x="1093" y="917"/>
                  <a:pt x="1093" y="917"/>
                  <a:pt x="1093" y="917"/>
                </a:cubicBezTo>
                <a:cubicBezTo>
                  <a:pt x="1081" y="916"/>
                  <a:pt x="1081" y="916"/>
                  <a:pt x="1081" y="916"/>
                </a:cubicBezTo>
                <a:cubicBezTo>
                  <a:pt x="1081" y="916"/>
                  <a:pt x="1078" y="908"/>
                  <a:pt x="1072" y="905"/>
                </a:cubicBezTo>
                <a:cubicBezTo>
                  <a:pt x="1065" y="901"/>
                  <a:pt x="1059" y="901"/>
                  <a:pt x="1059" y="901"/>
                </a:cubicBezTo>
                <a:cubicBezTo>
                  <a:pt x="1042" y="894"/>
                  <a:pt x="1042" y="894"/>
                  <a:pt x="1042" y="894"/>
                </a:cubicBezTo>
                <a:cubicBezTo>
                  <a:pt x="1033" y="890"/>
                  <a:pt x="1033" y="890"/>
                  <a:pt x="1033" y="890"/>
                </a:cubicBezTo>
                <a:cubicBezTo>
                  <a:pt x="1033" y="876"/>
                  <a:pt x="1033" y="876"/>
                  <a:pt x="1033" y="876"/>
                </a:cubicBezTo>
                <a:cubicBezTo>
                  <a:pt x="1006" y="862"/>
                  <a:pt x="1006" y="862"/>
                  <a:pt x="1006" y="862"/>
                </a:cubicBezTo>
                <a:cubicBezTo>
                  <a:pt x="1006" y="862"/>
                  <a:pt x="997" y="845"/>
                  <a:pt x="987" y="839"/>
                </a:cubicBezTo>
                <a:cubicBezTo>
                  <a:pt x="977" y="833"/>
                  <a:pt x="958" y="813"/>
                  <a:pt x="946" y="799"/>
                </a:cubicBezTo>
                <a:cubicBezTo>
                  <a:pt x="934" y="785"/>
                  <a:pt x="926" y="747"/>
                  <a:pt x="926" y="747"/>
                </a:cubicBezTo>
                <a:cubicBezTo>
                  <a:pt x="926" y="747"/>
                  <a:pt x="925" y="747"/>
                  <a:pt x="925" y="746"/>
                </a:cubicBezTo>
                <a:cubicBezTo>
                  <a:pt x="922" y="738"/>
                  <a:pt x="887" y="647"/>
                  <a:pt x="885" y="641"/>
                </a:cubicBezTo>
                <a:cubicBezTo>
                  <a:pt x="883" y="635"/>
                  <a:pt x="887" y="634"/>
                  <a:pt x="887" y="634"/>
                </a:cubicBezTo>
                <a:cubicBezTo>
                  <a:pt x="879" y="626"/>
                  <a:pt x="879" y="626"/>
                  <a:pt x="879" y="626"/>
                </a:cubicBezTo>
                <a:cubicBezTo>
                  <a:pt x="872" y="618"/>
                  <a:pt x="872" y="618"/>
                  <a:pt x="872" y="618"/>
                </a:cubicBezTo>
                <a:cubicBezTo>
                  <a:pt x="872" y="618"/>
                  <a:pt x="872" y="618"/>
                  <a:pt x="861" y="621"/>
                </a:cubicBezTo>
                <a:cubicBezTo>
                  <a:pt x="837" y="613"/>
                  <a:pt x="799" y="569"/>
                  <a:pt x="796" y="567"/>
                </a:cubicBezTo>
                <a:cubicBezTo>
                  <a:pt x="792" y="564"/>
                  <a:pt x="773" y="558"/>
                  <a:pt x="773" y="558"/>
                </a:cubicBezTo>
                <a:cubicBezTo>
                  <a:pt x="773" y="558"/>
                  <a:pt x="772" y="558"/>
                  <a:pt x="772" y="558"/>
                </a:cubicBezTo>
                <a:cubicBezTo>
                  <a:pt x="766" y="553"/>
                  <a:pt x="735" y="528"/>
                  <a:pt x="725" y="513"/>
                </a:cubicBezTo>
                <a:cubicBezTo>
                  <a:pt x="714" y="496"/>
                  <a:pt x="712" y="445"/>
                  <a:pt x="709" y="434"/>
                </a:cubicBezTo>
                <a:cubicBezTo>
                  <a:pt x="706" y="423"/>
                  <a:pt x="712" y="405"/>
                  <a:pt x="712" y="406"/>
                </a:cubicBezTo>
                <a:cubicBezTo>
                  <a:pt x="712" y="408"/>
                  <a:pt x="716" y="409"/>
                  <a:pt x="722" y="410"/>
                </a:cubicBezTo>
                <a:cubicBezTo>
                  <a:pt x="724" y="410"/>
                  <a:pt x="726" y="410"/>
                  <a:pt x="728" y="410"/>
                </a:cubicBezTo>
                <a:cubicBezTo>
                  <a:pt x="736" y="409"/>
                  <a:pt x="747" y="381"/>
                  <a:pt x="747" y="381"/>
                </a:cubicBezTo>
                <a:cubicBezTo>
                  <a:pt x="740" y="373"/>
                  <a:pt x="740" y="373"/>
                  <a:pt x="740" y="373"/>
                </a:cubicBezTo>
                <a:cubicBezTo>
                  <a:pt x="736" y="374"/>
                  <a:pt x="736" y="374"/>
                  <a:pt x="736" y="374"/>
                </a:cubicBezTo>
                <a:cubicBezTo>
                  <a:pt x="719" y="358"/>
                  <a:pt x="719" y="358"/>
                  <a:pt x="719" y="358"/>
                </a:cubicBezTo>
                <a:cubicBezTo>
                  <a:pt x="718" y="342"/>
                  <a:pt x="718" y="342"/>
                  <a:pt x="718" y="342"/>
                </a:cubicBezTo>
                <a:cubicBezTo>
                  <a:pt x="718" y="342"/>
                  <a:pt x="715" y="334"/>
                  <a:pt x="716" y="322"/>
                </a:cubicBezTo>
                <a:cubicBezTo>
                  <a:pt x="717" y="310"/>
                  <a:pt x="728" y="295"/>
                  <a:pt x="728" y="295"/>
                </a:cubicBezTo>
                <a:cubicBezTo>
                  <a:pt x="731" y="297"/>
                  <a:pt x="731" y="297"/>
                  <a:pt x="731" y="297"/>
                </a:cubicBezTo>
                <a:cubicBezTo>
                  <a:pt x="731" y="297"/>
                  <a:pt x="756" y="281"/>
                  <a:pt x="770" y="277"/>
                </a:cubicBezTo>
                <a:cubicBezTo>
                  <a:pt x="785" y="274"/>
                  <a:pt x="790" y="265"/>
                  <a:pt x="790" y="265"/>
                </a:cubicBezTo>
                <a:cubicBezTo>
                  <a:pt x="790" y="265"/>
                  <a:pt x="808" y="260"/>
                  <a:pt x="813" y="260"/>
                </a:cubicBezTo>
                <a:cubicBezTo>
                  <a:pt x="813" y="260"/>
                  <a:pt x="813" y="260"/>
                  <a:pt x="814" y="260"/>
                </a:cubicBezTo>
                <a:cubicBezTo>
                  <a:pt x="817" y="260"/>
                  <a:pt x="820" y="253"/>
                  <a:pt x="822" y="249"/>
                </a:cubicBezTo>
                <a:cubicBezTo>
                  <a:pt x="824" y="244"/>
                  <a:pt x="838" y="245"/>
                  <a:pt x="838" y="245"/>
                </a:cubicBezTo>
                <a:cubicBezTo>
                  <a:pt x="838" y="245"/>
                  <a:pt x="846" y="252"/>
                  <a:pt x="853" y="252"/>
                </a:cubicBezTo>
                <a:cubicBezTo>
                  <a:pt x="861" y="253"/>
                  <a:pt x="872" y="242"/>
                  <a:pt x="872" y="242"/>
                </a:cubicBezTo>
                <a:cubicBezTo>
                  <a:pt x="866" y="239"/>
                  <a:pt x="866" y="239"/>
                  <a:pt x="866" y="239"/>
                </a:cubicBezTo>
                <a:cubicBezTo>
                  <a:pt x="866" y="239"/>
                  <a:pt x="871" y="235"/>
                  <a:pt x="872" y="234"/>
                </a:cubicBezTo>
                <a:cubicBezTo>
                  <a:pt x="873" y="234"/>
                  <a:pt x="872" y="234"/>
                  <a:pt x="877" y="234"/>
                </a:cubicBezTo>
                <a:cubicBezTo>
                  <a:pt x="882" y="234"/>
                  <a:pt x="892" y="245"/>
                  <a:pt x="897" y="251"/>
                </a:cubicBezTo>
                <a:cubicBezTo>
                  <a:pt x="902" y="258"/>
                  <a:pt x="897" y="257"/>
                  <a:pt x="897" y="257"/>
                </a:cubicBezTo>
                <a:cubicBezTo>
                  <a:pt x="903" y="263"/>
                  <a:pt x="903" y="263"/>
                  <a:pt x="903" y="263"/>
                </a:cubicBezTo>
                <a:cubicBezTo>
                  <a:pt x="894" y="262"/>
                  <a:pt x="894" y="262"/>
                  <a:pt x="894" y="262"/>
                </a:cubicBezTo>
                <a:cubicBezTo>
                  <a:pt x="894" y="262"/>
                  <a:pt x="895" y="265"/>
                  <a:pt x="899" y="267"/>
                </a:cubicBezTo>
                <a:cubicBezTo>
                  <a:pt x="903" y="268"/>
                  <a:pt x="907" y="267"/>
                  <a:pt x="907" y="267"/>
                </a:cubicBezTo>
                <a:cubicBezTo>
                  <a:pt x="907" y="267"/>
                  <a:pt x="908" y="268"/>
                  <a:pt x="910" y="267"/>
                </a:cubicBezTo>
                <a:cubicBezTo>
                  <a:pt x="909" y="257"/>
                  <a:pt x="909" y="257"/>
                  <a:pt x="909" y="257"/>
                </a:cubicBezTo>
                <a:cubicBezTo>
                  <a:pt x="902" y="245"/>
                  <a:pt x="902" y="245"/>
                  <a:pt x="902" y="245"/>
                </a:cubicBezTo>
                <a:cubicBezTo>
                  <a:pt x="887" y="235"/>
                  <a:pt x="887" y="235"/>
                  <a:pt x="887" y="235"/>
                </a:cubicBezTo>
                <a:cubicBezTo>
                  <a:pt x="880" y="229"/>
                  <a:pt x="880" y="229"/>
                  <a:pt x="880" y="229"/>
                </a:cubicBezTo>
                <a:cubicBezTo>
                  <a:pt x="879" y="227"/>
                  <a:pt x="878" y="227"/>
                  <a:pt x="878" y="226"/>
                </a:cubicBezTo>
                <a:cubicBezTo>
                  <a:pt x="877" y="226"/>
                  <a:pt x="877" y="225"/>
                  <a:pt x="875" y="223"/>
                </a:cubicBezTo>
                <a:cubicBezTo>
                  <a:pt x="874" y="223"/>
                  <a:pt x="877" y="213"/>
                  <a:pt x="879" y="210"/>
                </a:cubicBezTo>
                <a:cubicBezTo>
                  <a:pt x="883" y="205"/>
                  <a:pt x="882" y="197"/>
                  <a:pt x="882" y="197"/>
                </a:cubicBezTo>
                <a:cubicBezTo>
                  <a:pt x="876" y="197"/>
                  <a:pt x="876" y="197"/>
                  <a:pt x="876" y="197"/>
                </a:cubicBezTo>
                <a:cubicBezTo>
                  <a:pt x="873" y="200"/>
                  <a:pt x="873" y="200"/>
                  <a:pt x="873" y="200"/>
                </a:cubicBezTo>
                <a:cubicBezTo>
                  <a:pt x="873" y="200"/>
                  <a:pt x="870" y="200"/>
                  <a:pt x="864" y="197"/>
                </a:cubicBezTo>
                <a:cubicBezTo>
                  <a:pt x="859" y="193"/>
                  <a:pt x="864" y="193"/>
                  <a:pt x="865" y="189"/>
                </a:cubicBezTo>
                <a:cubicBezTo>
                  <a:pt x="865" y="186"/>
                  <a:pt x="864" y="184"/>
                  <a:pt x="864" y="184"/>
                </a:cubicBezTo>
                <a:cubicBezTo>
                  <a:pt x="864" y="184"/>
                  <a:pt x="885" y="164"/>
                  <a:pt x="885" y="162"/>
                </a:cubicBezTo>
                <a:cubicBezTo>
                  <a:pt x="885" y="161"/>
                  <a:pt x="873" y="162"/>
                  <a:pt x="873" y="162"/>
                </a:cubicBezTo>
                <a:cubicBezTo>
                  <a:pt x="873" y="162"/>
                  <a:pt x="877" y="157"/>
                  <a:pt x="868" y="153"/>
                </a:cubicBezTo>
                <a:cubicBezTo>
                  <a:pt x="858" y="149"/>
                  <a:pt x="855" y="156"/>
                  <a:pt x="855" y="156"/>
                </a:cubicBezTo>
                <a:cubicBezTo>
                  <a:pt x="850" y="142"/>
                  <a:pt x="850" y="142"/>
                  <a:pt x="850" y="142"/>
                </a:cubicBezTo>
                <a:cubicBezTo>
                  <a:pt x="854" y="138"/>
                  <a:pt x="854" y="138"/>
                  <a:pt x="854" y="138"/>
                </a:cubicBezTo>
                <a:cubicBezTo>
                  <a:pt x="856" y="130"/>
                  <a:pt x="856" y="130"/>
                  <a:pt x="856" y="130"/>
                </a:cubicBezTo>
                <a:cubicBezTo>
                  <a:pt x="872" y="122"/>
                  <a:pt x="872" y="122"/>
                  <a:pt x="872" y="122"/>
                </a:cubicBezTo>
                <a:cubicBezTo>
                  <a:pt x="874" y="116"/>
                  <a:pt x="874" y="116"/>
                  <a:pt x="874" y="116"/>
                </a:cubicBezTo>
                <a:cubicBezTo>
                  <a:pt x="888" y="116"/>
                  <a:pt x="888" y="116"/>
                  <a:pt x="888" y="116"/>
                </a:cubicBezTo>
                <a:cubicBezTo>
                  <a:pt x="890" y="101"/>
                  <a:pt x="890" y="101"/>
                  <a:pt x="890" y="101"/>
                </a:cubicBezTo>
                <a:cubicBezTo>
                  <a:pt x="890" y="101"/>
                  <a:pt x="889" y="101"/>
                  <a:pt x="888" y="100"/>
                </a:cubicBezTo>
                <a:cubicBezTo>
                  <a:pt x="884" y="99"/>
                  <a:pt x="876" y="95"/>
                  <a:pt x="875" y="95"/>
                </a:cubicBezTo>
                <a:cubicBezTo>
                  <a:pt x="874" y="95"/>
                  <a:pt x="866" y="96"/>
                  <a:pt x="866" y="96"/>
                </a:cubicBezTo>
                <a:cubicBezTo>
                  <a:pt x="854" y="93"/>
                  <a:pt x="854" y="93"/>
                  <a:pt x="854" y="93"/>
                </a:cubicBezTo>
                <a:cubicBezTo>
                  <a:pt x="849" y="91"/>
                  <a:pt x="849" y="91"/>
                  <a:pt x="849" y="91"/>
                </a:cubicBezTo>
                <a:cubicBezTo>
                  <a:pt x="849" y="91"/>
                  <a:pt x="843" y="96"/>
                  <a:pt x="836" y="96"/>
                </a:cubicBezTo>
                <a:cubicBezTo>
                  <a:pt x="834" y="96"/>
                  <a:pt x="832" y="96"/>
                  <a:pt x="830" y="95"/>
                </a:cubicBezTo>
                <a:cubicBezTo>
                  <a:pt x="826" y="93"/>
                  <a:pt x="824" y="90"/>
                  <a:pt x="824" y="90"/>
                </a:cubicBezTo>
                <a:cubicBezTo>
                  <a:pt x="783" y="86"/>
                  <a:pt x="783" y="86"/>
                  <a:pt x="783" y="86"/>
                </a:cubicBezTo>
                <a:cubicBezTo>
                  <a:pt x="783" y="86"/>
                  <a:pt x="783" y="86"/>
                  <a:pt x="782" y="81"/>
                </a:cubicBezTo>
                <a:cubicBezTo>
                  <a:pt x="781" y="76"/>
                  <a:pt x="773" y="81"/>
                  <a:pt x="769" y="81"/>
                </a:cubicBezTo>
                <a:cubicBezTo>
                  <a:pt x="769" y="81"/>
                  <a:pt x="769" y="81"/>
                  <a:pt x="769" y="81"/>
                </a:cubicBezTo>
                <a:cubicBezTo>
                  <a:pt x="765" y="81"/>
                  <a:pt x="763" y="78"/>
                  <a:pt x="763" y="78"/>
                </a:cubicBezTo>
                <a:cubicBezTo>
                  <a:pt x="747" y="76"/>
                  <a:pt x="747" y="76"/>
                  <a:pt x="747" y="76"/>
                </a:cubicBezTo>
                <a:cubicBezTo>
                  <a:pt x="742" y="73"/>
                  <a:pt x="742" y="73"/>
                  <a:pt x="742" y="73"/>
                </a:cubicBezTo>
                <a:cubicBezTo>
                  <a:pt x="742" y="73"/>
                  <a:pt x="741" y="73"/>
                  <a:pt x="739" y="73"/>
                </a:cubicBezTo>
                <a:cubicBezTo>
                  <a:pt x="733" y="73"/>
                  <a:pt x="733" y="73"/>
                  <a:pt x="733" y="73"/>
                </a:cubicBezTo>
                <a:cubicBezTo>
                  <a:pt x="728" y="73"/>
                  <a:pt x="724" y="63"/>
                  <a:pt x="724" y="57"/>
                </a:cubicBezTo>
                <a:cubicBezTo>
                  <a:pt x="724" y="52"/>
                  <a:pt x="713" y="56"/>
                  <a:pt x="713" y="56"/>
                </a:cubicBezTo>
                <a:cubicBezTo>
                  <a:pt x="716" y="41"/>
                  <a:pt x="716" y="41"/>
                  <a:pt x="716" y="41"/>
                </a:cubicBezTo>
                <a:cubicBezTo>
                  <a:pt x="713" y="37"/>
                  <a:pt x="713" y="37"/>
                  <a:pt x="713" y="37"/>
                </a:cubicBezTo>
                <a:cubicBezTo>
                  <a:pt x="713" y="37"/>
                  <a:pt x="704" y="40"/>
                  <a:pt x="704" y="37"/>
                </a:cubicBezTo>
                <a:cubicBezTo>
                  <a:pt x="703" y="35"/>
                  <a:pt x="698" y="31"/>
                  <a:pt x="698" y="31"/>
                </a:cubicBezTo>
                <a:cubicBezTo>
                  <a:pt x="698" y="31"/>
                  <a:pt x="704" y="26"/>
                  <a:pt x="698" y="23"/>
                </a:cubicBezTo>
                <a:cubicBezTo>
                  <a:pt x="691" y="19"/>
                  <a:pt x="697" y="17"/>
                  <a:pt x="697" y="12"/>
                </a:cubicBezTo>
                <a:cubicBezTo>
                  <a:pt x="698" y="8"/>
                  <a:pt x="704" y="11"/>
                  <a:pt x="704" y="11"/>
                </a:cubicBezTo>
                <a:cubicBezTo>
                  <a:pt x="708" y="4"/>
                  <a:pt x="708" y="4"/>
                  <a:pt x="708" y="4"/>
                </a:cubicBezTo>
                <a:cubicBezTo>
                  <a:pt x="702" y="0"/>
                  <a:pt x="702" y="0"/>
                  <a:pt x="702" y="0"/>
                </a:cubicBezTo>
                <a:cubicBezTo>
                  <a:pt x="668" y="9"/>
                  <a:pt x="668" y="9"/>
                  <a:pt x="668" y="9"/>
                </a:cubicBezTo>
                <a:cubicBezTo>
                  <a:pt x="647" y="22"/>
                  <a:pt x="647" y="22"/>
                  <a:pt x="647" y="22"/>
                </a:cubicBezTo>
                <a:cubicBezTo>
                  <a:pt x="649" y="14"/>
                  <a:pt x="637" y="17"/>
                  <a:pt x="637" y="17"/>
                </a:cubicBezTo>
                <a:cubicBezTo>
                  <a:pt x="634" y="14"/>
                  <a:pt x="634" y="14"/>
                  <a:pt x="634" y="14"/>
                </a:cubicBezTo>
                <a:cubicBezTo>
                  <a:pt x="622" y="17"/>
                  <a:pt x="622" y="17"/>
                  <a:pt x="622" y="17"/>
                </a:cubicBezTo>
                <a:cubicBezTo>
                  <a:pt x="622" y="17"/>
                  <a:pt x="618" y="13"/>
                  <a:pt x="615" y="13"/>
                </a:cubicBezTo>
                <a:cubicBezTo>
                  <a:pt x="612" y="13"/>
                  <a:pt x="605" y="22"/>
                  <a:pt x="605" y="22"/>
                </a:cubicBezTo>
                <a:cubicBezTo>
                  <a:pt x="601" y="16"/>
                  <a:pt x="601" y="16"/>
                  <a:pt x="601" y="16"/>
                </a:cubicBezTo>
                <a:cubicBezTo>
                  <a:pt x="576" y="20"/>
                  <a:pt x="576" y="20"/>
                  <a:pt x="576" y="20"/>
                </a:cubicBezTo>
                <a:cubicBezTo>
                  <a:pt x="576" y="25"/>
                  <a:pt x="576" y="25"/>
                  <a:pt x="576" y="25"/>
                </a:cubicBezTo>
                <a:cubicBezTo>
                  <a:pt x="576" y="25"/>
                  <a:pt x="572" y="29"/>
                  <a:pt x="569" y="33"/>
                </a:cubicBezTo>
                <a:cubicBezTo>
                  <a:pt x="566" y="37"/>
                  <a:pt x="568" y="46"/>
                  <a:pt x="568" y="46"/>
                </a:cubicBezTo>
                <a:cubicBezTo>
                  <a:pt x="555" y="57"/>
                  <a:pt x="555" y="57"/>
                  <a:pt x="555" y="57"/>
                </a:cubicBezTo>
                <a:cubicBezTo>
                  <a:pt x="547" y="54"/>
                  <a:pt x="547" y="54"/>
                  <a:pt x="547" y="54"/>
                </a:cubicBezTo>
                <a:cubicBezTo>
                  <a:pt x="541" y="56"/>
                  <a:pt x="541" y="56"/>
                  <a:pt x="541" y="56"/>
                </a:cubicBezTo>
                <a:cubicBezTo>
                  <a:pt x="536" y="52"/>
                  <a:pt x="536" y="52"/>
                  <a:pt x="536" y="52"/>
                </a:cubicBezTo>
                <a:cubicBezTo>
                  <a:pt x="534" y="55"/>
                  <a:pt x="534" y="55"/>
                  <a:pt x="534" y="55"/>
                </a:cubicBezTo>
                <a:cubicBezTo>
                  <a:pt x="530" y="50"/>
                  <a:pt x="530" y="50"/>
                  <a:pt x="530" y="50"/>
                </a:cubicBezTo>
                <a:cubicBezTo>
                  <a:pt x="523" y="50"/>
                  <a:pt x="523" y="50"/>
                  <a:pt x="523" y="50"/>
                </a:cubicBezTo>
                <a:cubicBezTo>
                  <a:pt x="527" y="45"/>
                  <a:pt x="527" y="45"/>
                  <a:pt x="527" y="45"/>
                </a:cubicBezTo>
                <a:cubicBezTo>
                  <a:pt x="516" y="35"/>
                  <a:pt x="516" y="35"/>
                  <a:pt x="516" y="35"/>
                </a:cubicBezTo>
                <a:cubicBezTo>
                  <a:pt x="504" y="43"/>
                  <a:pt x="504" y="43"/>
                  <a:pt x="504" y="43"/>
                </a:cubicBezTo>
                <a:cubicBezTo>
                  <a:pt x="497" y="41"/>
                  <a:pt x="497" y="41"/>
                  <a:pt x="497" y="41"/>
                </a:cubicBezTo>
                <a:cubicBezTo>
                  <a:pt x="492" y="40"/>
                  <a:pt x="492" y="40"/>
                  <a:pt x="492" y="40"/>
                </a:cubicBezTo>
                <a:cubicBezTo>
                  <a:pt x="487" y="51"/>
                  <a:pt x="487" y="51"/>
                  <a:pt x="487" y="51"/>
                </a:cubicBezTo>
                <a:cubicBezTo>
                  <a:pt x="487" y="57"/>
                  <a:pt x="487" y="57"/>
                  <a:pt x="487" y="57"/>
                </a:cubicBezTo>
                <a:cubicBezTo>
                  <a:pt x="484" y="62"/>
                  <a:pt x="484" y="62"/>
                  <a:pt x="484" y="62"/>
                </a:cubicBezTo>
                <a:cubicBezTo>
                  <a:pt x="485" y="67"/>
                  <a:pt x="485" y="67"/>
                  <a:pt x="485" y="67"/>
                </a:cubicBezTo>
                <a:cubicBezTo>
                  <a:pt x="482" y="68"/>
                  <a:pt x="482" y="68"/>
                  <a:pt x="482" y="68"/>
                </a:cubicBezTo>
                <a:cubicBezTo>
                  <a:pt x="482" y="72"/>
                  <a:pt x="482" y="72"/>
                  <a:pt x="482" y="72"/>
                </a:cubicBezTo>
                <a:cubicBezTo>
                  <a:pt x="483" y="73"/>
                  <a:pt x="483" y="75"/>
                  <a:pt x="484" y="76"/>
                </a:cubicBezTo>
                <a:cubicBezTo>
                  <a:pt x="488" y="77"/>
                  <a:pt x="488" y="77"/>
                  <a:pt x="488" y="77"/>
                </a:cubicBezTo>
                <a:cubicBezTo>
                  <a:pt x="493" y="82"/>
                  <a:pt x="493" y="82"/>
                  <a:pt x="493" y="82"/>
                </a:cubicBezTo>
                <a:cubicBezTo>
                  <a:pt x="489" y="93"/>
                  <a:pt x="489" y="93"/>
                  <a:pt x="489" y="93"/>
                </a:cubicBezTo>
                <a:cubicBezTo>
                  <a:pt x="487" y="97"/>
                  <a:pt x="487" y="97"/>
                  <a:pt x="487" y="97"/>
                </a:cubicBezTo>
                <a:cubicBezTo>
                  <a:pt x="487" y="97"/>
                  <a:pt x="487" y="97"/>
                  <a:pt x="487" y="97"/>
                </a:cubicBezTo>
                <a:cubicBezTo>
                  <a:pt x="485" y="92"/>
                  <a:pt x="469" y="96"/>
                  <a:pt x="469" y="92"/>
                </a:cubicBezTo>
                <a:cubicBezTo>
                  <a:pt x="469" y="89"/>
                  <a:pt x="462" y="89"/>
                  <a:pt x="462" y="89"/>
                </a:cubicBezTo>
                <a:cubicBezTo>
                  <a:pt x="465" y="83"/>
                  <a:pt x="465" y="83"/>
                  <a:pt x="465" y="83"/>
                </a:cubicBezTo>
                <a:cubicBezTo>
                  <a:pt x="463" y="78"/>
                  <a:pt x="463" y="78"/>
                  <a:pt x="463" y="78"/>
                </a:cubicBezTo>
                <a:cubicBezTo>
                  <a:pt x="459" y="82"/>
                  <a:pt x="459" y="82"/>
                  <a:pt x="459" y="82"/>
                </a:cubicBezTo>
                <a:cubicBezTo>
                  <a:pt x="444" y="81"/>
                  <a:pt x="444" y="81"/>
                  <a:pt x="444" y="81"/>
                </a:cubicBezTo>
                <a:cubicBezTo>
                  <a:pt x="443" y="87"/>
                  <a:pt x="443" y="87"/>
                  <a:pt x="443" y="87"/>
                </a:cubicBezTo>
                <a:cubicBezTo>
                  <a:pt x="436" y="94"/>
                  <a:pt x="436" y="94"/>
                  <a:pt x="436" y="94"/>
                </a:cubicBezTo>
                <a:cubicBezTo>
                  <a:pt x="436" y="94"/>
                  <a:pt x="437" y="112"/>
                  <a:pt x="440" y="113"/>
                </a:cubicBezTo>
                <a:cubicBezTo>
                  <a:pt x="442" y="114"/>
                  <a:pt x="448" y="113"/>
                  <a:pt x="448" y="113"/>
                </a:cubicBezTo>
                <a:cubicBezTo>
                  <a:pt x="451" y="119"/>
                  <a:pt x="451" y="119"/>
                  <a:pt x="451" y="119"/>
                </a:cubicBezTo>
                <a:cubicBezTo>
                  <a:pt x="446" y="130"/>
                  <a:pt x="446" y="130"/>
                  <a:pt x="446" y="130"/>
                </a:cubicBezTo>
                <a:cubicBezTo>
                  <a:pt x="454" y="144"/>
                  <a:pt x="454" y="144"/>
                  <a:pt x="454" y="144"/>
                </a:cubicBezTo>
                <a:cubicBezTo>
                  <a:pt x="454" y="144"/>
                  <a:pt x="453" y="147"/>
                  <a:pt x="450" y="149"/>
                </a:cubicBezTo>
                <a:cubicBezTo>
                  <a:pt x="447" y="151"/>
                  <a:pt x="440" y="152"/>
                  <a:pt x="437" y="150"/>
                </a:cubicBezTo>
                <a:cubicBezTo>
                  <a:pt x="433" y="148"/>
                  <a:pt x="438" y="145"/>
                  <a:pt x="438" y="142"/>
                </a:cubicBezTo>
                <a:cubicBezTo>
                  <a:pt x="438" y="140"/>
                  <a:pt x="431" y="139"/>
                  <a:pt x="431" y="139"/>
                </a:cubicBezTo>
                <a:cubicBezTo>
                  <a:pt x="429" y="131"/>
                  <a:pt x="429" y="131"/>
                  <a:pt x="429" y="131"/>
                </a:cubicBezTo>
                <a:cubicBezTo>
                  <a:pt x="431" y="127"/>
                  <a:pt x="431" y="127"/>
                  <a:pt x="431" y="127"/>
                </a:cubicBezTo>
                <a:cubicBezTo>
                  <a:pt x="426" y="121"/>
                  <a:pt x="426" y="121"/>
                  <a:pt x="426" y="121"/>
                </a:cubicBezTo>
                <a:cubicBezTo>
                  <a:pt x="423" y="125"/>
                  <a:pt x="423" y="125"/>
                  <a:pt x="423" y="125"/>
                </a:cubicBezTo>
                <a:cubicBezTo>
                  <a:pt x="420" y="121"/>
                  <a:pt x="420" y="121"/>
                  <a:pt x="420" y="121"/>
                </a:cubicBezTo>
                <a:cubicBezTo>
                  <a:pt x="405" y="129"/>
                  <a:pt x="405" y="129"/>
                  <a:pt x="405" y="129"/>
                </a:cubicBezTo>
                <a:cubicBezTo>
                  <a:pt x="400" y="127"/>
                  <a:pt x="400" y="127"/>
                  <a:pt x="400" y="127"/>
                </a:cubicBezTo>
                <a:cubicBezTo>
                  <a:pt x="400" y="127"/>
                  <a:pt x="400" y="127"/>
                  <a:pt x="394" y="136"/>
                </a:cubicBezTo>
                <a:cubicBezTo>
                  <a:pt x="376" y="137"/>
                  <a:pt x="372" y="131"/>
                  <a:pt x="372" y="128"/>
                </a:cubicBezTo>
                <a:cubicBezTo>
                  <a:pt x="372" y="126"/>
                  <a:pt x="366" y="120"/>
                  <a:pt x="366" y="120"/>
                </a:cubicBezTo>
                <a:cubicBezTo>
                  <a:pt x="367" y="97"/>
                  <a:pt x="367" y="97"/>
                  <a:pt x="367" y="97"/>
                </a:cubicBezTo>
                <a:cubicBezTo>
                  <a:pt x="360" y="104"/>
                  <a:pt x="360" y="104"/>
                  <a:pt x="360" y="104"/>
                </a:cubicBezTo>
                <a:cubicBezTo>
                  <a:pt x="354" y="96"/>
                  <a:pt x="354" y="96"/>
                  <a:pt x="354" y="96"/>
                </a:cubicBezTo>
                <a:cubicBezTo>
                  <a:pt x="343" y="98"/>
                  <a:pt x="343" y="98"/>
                  <a:pt x="343" y="98"/>
                </a:cubicBezTo>
                <a:cubicBezTo>
                  <a:pt x="343" y="106"/>
                  <a:pt x="343" y="106"/>
                  <a:pt x="343" y="106"/>
                </a:cubicBezTo>
                <a:cubicBezTo>
                  <a:pt x="341" y="108"/>
                  <a:pt x="341" y="108"/>
                  <a:pt x="341" y="108"/>
                </a:cubicBezTo>
                <a:cubicBezTo>
                  <a:pt x="343" y="114"/>
                  <a:pt x="343" y="114"/>
                  <a:pt x="343" y="114"/>
                </a:cubicBezTo>
                <a:cubicBezTo>
                  <a:pt x="345" y="126"/>
                  <a:pt x="345" y="126"/>
                  <a:pt x="345" y="126"/>
                </a:cubicBezTo>
                <a:cubicBezTo>
                  <a:pt x="339" y="145"/>
                  <a:pt x="339" y="145"/>
                  <a:pt x="339" y="145"/>
                </a:cubicBezTo>
                <a:cubicBezTo>
                  <a:pt x="333" y="146"/>
                  <a:pt x="333" y="146"/>
                  <a:pt x="333" y="146"/>
                </a:cubicBezTo>
                <a:cubicBezTo>
                  <a:pt x="329" y="155"/>
                  <a:pt x="329" y="155"/>
                  <a:pt x="329" y="155"/>
                </a:cubicBezTo>
                <a:cubicBezTo>
                  <a:pt x="316" y="162"/>
                  <a:pt x="316" y="162"/>
                  <a:pt x="316" y="162"/>
                </a:cubicBezTo>
                <a:cubicBezTo>
                  <a:pt x="316" y="162"/>
                  <a:pt x="316" y="169"/>
                  <a:pt x="316" y="173"/>
                </a:cubicBezTo>
                <a:cubicBezTo>
                  <a:pt x="316" y="176"/>
                  <a:pt x="308" y="176"/>
                  <a:pt x="308" y="176"/>
                </a:cubicBezTo>
                <a:cubicBezTo>
                  <a:pt x="308" y="176"/>
                  <a:pt x="308" y="182"/>
                  <a:pt x="307" y="187"/>
                </a:cubicBezTo>
                <a:cubicBezTo>
                  <a:pt x="307" y="191"/>
                  <a:pt x="303" y="189"/>
                  <a:pt x="303" y="189"/>
                </a:cubicBezTo>
                <a:cubicBezTo>
                  <a:pt x="308" y="192"/>
                  <a:pt x="308" y="192"/>
                  <a:pt x="308" y="192"/>
                </a:cubicBezTo>
                <a:cubicBezTo>
                  <a:pt x="308" y="199"/>
                  <a:pt x="308" y="199"/>
                  <a:pt x="308" y="199"/>
                </a:cubicBezTo>
                <a:cubicBezTo>
                  <a:pt x="317" y="206"/>
                  <a:pt x="317" y="206"/>
                  <a:pt x="317" y="206"/>
                </a:cubicBezTo>
                <a:cubicBezTo>
                  <a:pt x="306" y="218"/>
                  <a:pt x="306" y="218"/>
                  <a:pt x="306" y="218"/>
                </a:cubicBezTo>
                <a:cubicBezTo>
                  <a:pt x="299" y="214"/>
                  <a:pt x="299" y="214"/>
                  <a:pt x="299" y="214"/>
                </a:cubicBezTo>
                <a:cubicBezTo>
                  <a:pt x="294" y="213"/>
                  <a:pt x="294" y="213"/>
                  <a:pt x="294" y="213"/>
                </a:cubicBezTo>
                <a:cubicBezTo>
                  <a:pt x="294" y="213"/>
                  <a:pt x="295" y="203"/>
                  <a:pt x="295" y="201"/>
                </a:cubicBezTo>
                <a:cubicBezTo>
                  <a:pt x="295" y="200"/>
                  <a:pt x="288" y="191"/>
                  <a:pt x="288" y="191"/>
                </a:cubicBezTo>
                <a:cubicBezTo>
                  <a:pt x="285" y="186"/>
                  <a:pt x="285" y="186"/>
                  <a:pt x="285" y="186"/>
                </a:cubicBezTo>
                <a:cubicBezTo>
                  <a:pt x="278" y="186"/>
                  <a:pt x="278" y="186"/>
                  <a:pt x="278" y="186"/>
                </a:cubicBezTo>
                <a:cubicBezTo>
                  <a:pt x="287" y="172"/>
                  <a:pt x="287" y="172"/>
                  <a:pt x="287" y="172"/>
                </a:cubicBezTo>
                <a:cubicBezTo>
                  <a:pt x="284" y="166"/>
                  <a:pt x="284" y="166"/>
                  <a:pt x="284" y="166"/>
                </a:cubicBezTo>
                <a:cubicBezTo>
                  <a:pt x="277" y="165"/>
                  <a:pt x="277" y="165"/>
                  <a:pt x="277" y="165"/>
                </a:cubicBezTo>
                <a:cubicBezTo>
                  <a:pt x="257" y="162"/>
                  <a:pt x="257" y="162"/>
                  <a:pt x="257" y="162"/>
                </a:cubicBezTo>
                <a:cubicBezTo>
                  <a:pt x="248" y="143"/>
                  <a:pt x="248" y="143"/>
                  <a:pt x="248" y="143"/>
                </a:cubicBezTo>
                <a:cubicBezTo>
                  <a:pt x="238" y="139"/>
                  <a:pt x="238" y="139"/>
                  <a:pt x="238" y="139"/>
                </a:cubicBezTo>
                <a:cubicBezTo>
                  <a:pt x="238" y="139"/>
                  <a:pt x="238" y="131"/>
                  <a:pt x="238" y="128"/>
                </a:cubicBezTo>
                <a:cubicBezTo>
                  <a:pt x="238" y="125"/>
                  <a:pt x="242" y="122"/>
                  <a:pt x="242" y="122"/>
                </a:cubicBezTo>
                <a:cubicBezTo>
                  <a:pt x="242" y="122"/>
                  <a:pt x="243" y="108"/>
                  <a:pt x="241" y="100"/>
                </a:cubicBezTo>
                <a:cubicBezTo>
                  <a:pt x="239" y="92"/>
                  <a:pt x="222" y="110"/>
                  <a:pt x="222" y="110"/>
                </a:cubicBezTo>
                <a:cubicBezTo>
                  <a:pt x="222" y="110"/>
                  <a:pt x="222" y="110"/>
                  <a:pt x="223" y="115"/>
                </a:cubicBezTo>
                <a:cubicBezTo>
                  <a:pt x="214" y="116"/>
                  <a:pt x="211" y="126"/>
                  <a:pt x="211" y="126"/>
                </a:cubicBezTo>
                <a:cubicBezTo>
                  <a:pt x="199" y="127"/>
                  <a:pt x="199" y="127"/>
                  <a:pt x="199" y="127"/>
                </a:cubicBezTo>
                <a:cubicBezTo>
                  <a:pt x="194" y="132"/>
                  <a:pt x="194" y="132"/>
                  <a:pt x="194" y="132"/>
                </a:cubicBezTo>
                <a:cubicBezTo>
                  <a:pt x="202" y="142"/>
                  <a:pt x="202" y="142"/>
                  <a:pt x="202" y="142"/>
                </a:cubicBezTo>
                <a:cubicBezTo>
                  <a:pt x="202" y="142"/>
                  <a:pt x="202" y="156"/>
                  <a:pt x="197" y="159"/>
                </a:cubicBezTo>
                <a:cubicBezTo>
                  <a:pt x="193" y="161"/>
                  <a:pt x="187" y="161"/>
                  <a:pt x="187" y="161"/>
                </a:cubicBezTo>
                <a:cubicBezTo>
                  <a:pt x="187" y="161"/>
                  <a:pt x="187" y="168"/>
                  <a:pt x="185" y="174"/>
                </a:cubicBezTo>
                <a:cubicBezTo>
                  <a:pt x="183" y="181"/>
                  <a:pt x="171" y="179"/>
                  <a:pt x="168" y="180"/>
                </a:cubicBezTo>
                <a:cubicBezTo>
                  <a:pt x="165" y="181"/>
                  <a:pt x="163" y="191"/>
                  <a:pt x="163" y="191"/>
                </a:cubicBezTo>
                <a:cubicBezTo>
                  <a:pt x="154" y="193"/>
                  <a:pt x="154" y="193"/>
                  <a:pt x="154" y="193"/>
                </a:cubicBezTo>
                <a:cubicBezTo>
                  <a:pt x="154" y="193"/>
                  <a:pt x="151" y="189"/>
                  <a:pt x="150" y="189"/>
                </a:cubicBezTo>
                <a:cubicBezTo>
                  <a:pt x="148" y="189"/>
                  <a:pt x="147" y="192"/>
                  <a:pt x="147" y="192"/>
                </a:cubicBezTo>
                <a:cubicBezTo>
                  <a:pt x="139" y="182"/>
                  <a:pt x="139" y="182"/>
                  <a:pt x="139" y="182"/>
                </a:cubicBezTo>
                <a:cubicBezTo>
                  <a:pt x="127" y="182"/>
                  <a:pt x="127" y="182"/>
                  <a:pt x="127" y="182"/>
                </a:cubicBezTo>
                <a:cubicBezTo>
                  <a:pt x="129" y="177"/>
                  <a:pt x="129" y="177"/>
                  <a:pt x="129" y="177"/>
                </a:cubicBezTo>
                <a:cubicBezTo>
                  <a:pt x="124" y="176"/>
                  <a:pt x="124" y="176"/>
                  <a:pt x="124" y="176"/>
                </a:cubicBezTo>
                <a:cubicBezTo>
                  <a:pt x="123" y="184"/>
                  <a:pt x="123" y="184"/>
                  <a:pt x="123" y="184"/>
                </a:cubicBezTo>
                <a:cubicBezTo>
                  <a:pt x="118" y="184"/>
                  <a:pt x="118" y="184"/>
                  <a:pt x="118" y="184"/>
                </a:cubicBezTo>
                <a:cubicBezTo>
                  <a:pt x="104" y="192"/>
                  <a:pt x="104" y="192"/>
                  <a:pt x="104" y="192"/>
                </a:cubicBezTo>
                <a:cubicBezTo>
                  <a:pt x="93" y="189"/>
                  <a:pt x="93" y="189"/>
                  <a:pt x="93" y="189"/>
                </a:cubicBezTo>
                <a:cubicBezTo>
                  <a:pt x="93" y="189"/>
                  <a:pt x="91" y="192"/>
                  <a:pt x="89" y="195"/>
                </a:cubicBezTo>
                <a:cubicBezTo>
                  <a:pt x="86" y="197"/>
                  <a:pt x="82" y="191"/>
                  <a:pt x="82" y="191"/>
                </a:cubicBezTo>
                <a:cubicBezTo>
                  <a:pt x="79" y="198"/>
                  <a:pt x="79" y="198"/>
                  <a:pt x="79" y="198"/>
                </a:cubicBezTo>
                <a:cubicBezTo>
                  <a:pt x="74" y="193"/>
                  <a:pt x="74" y="193"/>
                  <a:pt x="74" y="193"/>
                </a:cubicBezTo>
                <a:cubicBezTo>
                  <a:pt x="69" y="198"/>
                  <a:pt x="69" y="198"/>
                  <a:pt x="69" y="198"/>
                </a:cubicBezTo>
                <a:cubicBezTo>
                  <a:pt x="61" y="188"/>
                  <a:pt x="61" y="188"/>
                  <a:pt x="61" y="188"/>
                </a:cubicBezTo>
                <a:cubicBezTo>
                  <a:pt x="57" y="184"/>
                  <a:pt x="58" y="190"/>
                  <a:pt x="53" y="195"/>
                </a:cubicBezTo>
                <a:cubicBezTo>
                  <a:pt x="48" y="198"/>
                  <a:pt x="43" y="199"/>
                  <a:pt x="41" y="199"/>
                </a:cubicBezTo>
                <a:cubicBezTo>
                  <a:pt x="40" y="199"/>
                  <a:pt x="40" y="199"/>
                  <a:pt x="40" y="199"/>
                </a:cubicBezTo>
                <a:cubicBezTo>
                  <a:pt x="37" y="200"/>
                  <a:pt x="37" y="200"/>
                  <a:pt x="37" y="200"/>
                </a:cubicBezTo>
                <a:cubicBezTo>
                  <a:pt x="34" y="200"/>
                  <a:pt x="34" y="200"/>
                  <a:pt x="34" y="200"/>
                </a:cubicBezTo>
                <a:cubicBezTo>
                  <a:pt x="34" y="200"/>
                  <a:pt x="29" y="209"/>
                  <a:pt x="30" y="216"/>
                </a:cubicBezTo>
                <a:cubicBezTo>
                  <a:pt x="30" y="223"/>
                  <a:pt x="33" y="227"/>
                  <a:pt x="40" y="228"/>
                </a:cubicBezTo>
                <a:cubicBezTo>
                  <a:pt x="46" y="229"/>
                  <a:pt x="44" y="234"/>
                  <a:pt x="44" y="234"/>
                </a:cubicBezTo>
                <a:cubicBezTo>
                  <a:pt x="53" y="236"/>
                  <a:pt x="53" y="236"/>
                  <a:pt x="53" y="236"/>
                </a:cubicBezTo>
                <a:cubicBezTo>
                  <a:pt x="48" y="246"/>
                  <a:pt x="48" y="246"/>
                  <a:pt x="48" y="246"/>
                </a:cubicBezTo>
                <a:cubicBezTo>
                  <a:pt x="51" y="247"/>
                  <a:pt x="51" y="247"/>
                  <a:pt x="51" y="247"/>
                </a:cubicBezTo>
                <a:cubicBezTo>
                  <a:pt x="50" y="260"/>
                  <a:pt x="50" y="260"/>
                  <a:pt x="50" y="260"/>
                </a:cubicBezTo>
                <a:cubicBezTo>
                  <a:pt x="50" y="260"/>
                  <a:pt x="53" y="262"/>
                  <a:pt x="57" y="262"/>
                </a:cubicBezTo>
                <a:cubicBezTo>
                  <a:pt x="61" y="262"/>
                  <a:pt x="57" y="268"/>
                  <a:pt x="57" y="268"/>
                </a:cubicBezTo>
                <a:cubicBezTo>
                  <a:pt x="57" y="268"/>
                  <a:pt x="58" y="268"/>
                  <a:pt x="62" y="268"/>
                </a:cubicBezTo>
                <a:cubicBezTo>
                  <a:pt x="62" y="268"/>
                  <a:pt x="63" y="268"/>
                  <a:pt x="64" y="268"/>
                </a:cubicBezTo>
                <a:cubicBezTo>
                  <a:pt x="68" y="268"/>
                  <a:pt x="64" y="274"/>
                  <a:pt x="64" y="274"/>
                </a:cubicBezTo>
                <a:cubicBezTo>
                  <a:pt x="71" y="279"/>
                  <a:pt x="71" y="279"/>
                  <a:pt x="71" y="279"/>
                </a:cubicBezTo>
                <a:cubicBezTo>
                  <a:pt x="67" y="292"/>
                  <a:pt x="67" y="292"/>
                  <a:pt x="67" y="292"/>
                </a:cubicBezTo>
                <a:cubicBezTo>
                  <a:pt x="63" y="293"/>
                  <a:pt x="63" y="293"/>
                  <a:pt x="63" y="293"/>
                </a:cubicBezTo>
                <a:cubicBezTo>
                  <a:pt x="63" y="293"/>
                  <a:pt x="65" y="299"/>
                  <a:pt x="66" y="304"/>
                </a:cubicBezTo>
                <a:cubicBezTo>
                  <a:pt x="66" y="310"/>
                  <a:pt x="60" y="311"/>
                  <a:pt x="58" y="312"/>
                </a:cubicBezTo>
                <a:cubicBezTo>
                  <a:pt x="57" y="313"/>
                  <a:pt x="57" y="313"/>
                  <a:pt x="56" y="313"/>
                </a:cubicBezTo>
                <a:cubicBezTo>
                  <a:pt x="54" y="313"/>
                  <a:pt x="51" y="312"/>
                  <a:pt x="46" y="312"/>
                </a:cubicBezTo>
                <a:cubicBezTo>
                  <a:pt x="39" y="313"/>
                  <a:pt x="43" y="320"/>
                  <a:pt x="43" y="320"/>
                </a:cubicBezTo>
                <a:cubicBezTo>
                  <a:pt x="33" y="320"/>
                  <a:pt x="33" y="320"/>
                  <a:pt x="33" y="320"/>
                </a:cubicBezTo>
                <a:cubicBezTo>
                  <a:pt x="33" y="320"/>
                  <a:pt x="33" y="326"/>
                  <a:pt x="29" y="326"/>
                </a:cubicBezTo>
                <a:cubicBezTo>
                  <a:pt x="25" y="326"/>
                  <a:pt x="17" y="320"/>
                  <a:pt x="17" y="320"/>
                </a:cubicBezTo>
                <a:cubicBezTo>
                  <a:pt x="17" y="320"/>
                  <a:pt x="15" y="321"/>
                  <a:pt x="12" y="323"/>
                </a:cubicBezTo>
                <a:cubicBezTo>
                  <a:pt x="8" y="325"/>
                  <a:pt x="6" y="323"/>
                  <a:pt x="6" y="323"/>
                </a:cubicBezTo>
                <a:cubicBezTo>
                  <a:pt x="0" y="328"/>
                  <a:pt x="0" y="328"/>
                  <a:pt x="0" y="328"/>
                </a:cubicBezTo>
                <a:cubicBezTo>
                  <a:pt x="2" y="344"/>
                  <a:pt x="2" y="344"/>
                  <a:pt x="2" y="344"/>
                </a:cubicBezTo>
                <a:cubicBezTo>
                  <a:pt x="2" y="344"/>
                  <a:pt x="7" y="345"/>
                  <a:pt x="12" y="347"/>
                </a:cubicBezTo>
                <a:cubicBezTo>
                  <a:pt x="18" y="349"/>
                  <a:pt x="12" y="362"/>
                  <a:pt x="12" y="362"/>
                </a:cubicBezTo>
                <a:cubicBezTo>
                  <a:pt x="12" y="362"/>
                  <a:pt x="28" y="377"/>
                  <a:pt x="32" y="377"/>
                </a:cubicBezTo>
                <a:cubicBezTo>
                  <a:pt x="37" y="377"/>
                  <a:pt x="36" y="375"/>
                  <a:pt x="36" y="375"/>
                </a:cubicBezTo>
                <a:cubicBezTo>
                  <a:pt x="46" y="383"/>
                  <a:pt x="46" y="383"/>
                  <a:pt x="46" y="383"/>
                </a:cubicBezTo>
                <a:cubicBezTo>
                  <a:pt x="46" y="383"/>
                  <a:pt x="43" y="386"/>
                  <a:pt x="42" y="388"/>
                </a:cubicBezTo>
                <a:cubicBezTo>
                  <a:pt x="41" y="391"/>
                  <a:pt x="46" y="392"/>
                  <a:pt x="46" y="392"/>
                </a:cubicBezTo>
                <a:cubicBezTo>
                  <a:pt x="46" y="398"/>
                  <a:pt x="46" y="398"/>
                  <a:pt x="46" y="398"/>
                </a:cubicBezTo>
                <a:cubicBezTo>
                  <a:pt x="52" y="408"/>
                  <a:pt x="52" y="408"/>
                  <a:pt x="52" y="408"/>
                </a:cubicBezTo>
                <a:cubicBezTo>
                  <a:pt x="52" y="408"/>
                  <a:pt x="52" y="408"/>
                  <a:pt x="40" y="405"/>
                </a:cubicBezTo>
                <a:cubicBezTo>
                  <a:pt x="29" y="403"/>
                  <a:pt x="36" y="424"/>
                  <a:pt x="28" y="428"/>
                </a:cubicBezTo>
                <a:cubicBezTo>
                  <a:pt x="20" y="433"/>
                  <a:pt x="21" y="438"/>
                  <a:pt x="21" y="438"/>
                </a:cubicBezTo>
                <a:cubicBezTo>
                  <a:pt x="31" y="452"/>
                  <a:pt x="31" y="452"/>
                  <a:pt x="31" y="452"/>
                </a:cubicBezTo>
                <a:cubicBezTo>
                  <a:pt x="23" y="453"/>
                  <a:pt x="23" y="453"/>
                  <a:pt x="23" y="453"/>
                </a:cubicBezTo>
                <a:cubicBezTo>
                  <a:pt x="23" y="453"/>
                  <a:pt x="23" y="465"/>
                  <a:pt x="26" y="466"/>
                </a:cubicBezTo>
                <a:cubicBezTo>
                  <a:pt x="28" y="467"/>
                  <a:pt x="28" y="471"/>
                  <a:pt x="31" y="477"/>
                </a:cubicBezTo>
                <a:cubicBezTo>
                  <a:pt x="33" y="482"/>
                  <a:pt x="36" y="478"/>
                  <a:pt x="36" y="484"/>
                </a:cubicBezTo>
                <a:cubicBezTo>
                  <a:pt x="36" y="490"/>
                  <a:pt x="40" y="488"/>
                  <a:pt x="43" y="488"/>
                </a:cubicBezTo>
                <a:cubicBezTo>
                  <a:pt x="47" y="488"/>
                  <a:pt x="52" y="496"/>
                  <a:pt x="56" y="496"/>
                </a:cubicBezTo>
                <a:cubicBezTo>
                  <a:pt x="61" y="496"/>
                  <a:pt x="69" y="506"/>
                  <a:pt x="69" y="506"/>
                </a:cubicBezTo>
                <a:cubicBezTo>
                  <a:pt x="79" y="506"/>
                  <a:pt x="79" y="506"/>
                  <a:pt x="79" y="506"/>
                </a:cubicBezTo>
                <a:cubicBezTo>
                  <a:pt x="78" y="511"/>
                  <a:pt x="78" y="511"/>
                  <a:pt x="78" y="511"/>
                </a:cubicBezTo>
                <a:cubicBezTo>
                  <a:pt x="85" y="511"/>
                  <a:pt x="85" y="511"/>
                  <a:pt x="85" y="511"/>
                </a:cubicBezTo>
                <a:cubicBezTo>
                  <a:pt x="88" y="513"/>
                  <a:pt x="88" y="513"/>
                  <a:pt x="88" y="513"/>
                </a:cubicBezTo>
                <a:cubicBezTo>
                  <a:pt x="88" y="513"/>
                  <a:pt x="88" y="511"/>
                  <a:pt x="91" y="509"/>
                </a:cubicBezTo>
                <a:cubicBezTo>
                  <a:pt x="93" y="508"/>
                  <a:pt x="113" y="507"/>
                  <a:pt x="113" y="507"/>
                </a:cubicBezTo>
                <a:cubicBezTo>
                  <a:pt x="117" y="502"/>
                  <a:pt x="117" y="502"/>
                  <a:pt x="117" y="502"/>
                </a:cubicBezTo>
                <a:cubicBezTo>
                  <a:pt x="124" y="505"/>
                  <a:pt x="124" y="505"/>
                  <a:pt x="124" y="505"/>
                </a:cubicBezTo>
                <a:cubicBezTo>
                  <a:pt x="118" y="510"/>
                  <a:pt x="118" y="510"/>
                  <a:pt x="118" y="510"/>
                </a:cubicBezTo>
                <a:cubicBezTo>
                  <a:pt x="118" y="510"/>
                  <a:pt x="123" y="517"/>
                  <a:pt x="126" y="521"/>
                </a:cubicBezTo>
                <a:cubicBezTo>
                  <a:pt x="127" y="522"/>
                  <a:pt x="127" y="523"/>
                  <a:pt x="126" y="524"/>
                </a:cubicBezTo>
                <a:cubicBezTo>
                  <a:pt x="124" y="526"/>
                  <a:pt x="119" y="528"/>
                  <a:pt x="119" y="530"/>
                </a:cubicBezTo>
                <a:cubicBezTo>
                  <a:pt x="118" y="533"/>
                  <a:pt x="120" y="534"/>
                  <a:pt x="116" y="539"/>
                </a:cubicBezTo>
                <a:cubicBezTo>
                  <a:pt x="113" y="544"/>
                  <a:pt x="106" y="542"/>
                  <a:pt x="106" y="542"/>
                </a:cubicBezTo>
                <a:cubicBezTo>
                  <a:pt x="103" y="552"/>
                  <a:pt x="103" y="552"/>
                  <a:pt x="103" y="552"/>
                </a:cubicBezTo>
                <a:cubicBezTo>
                  <a:pt x="95" y="557"/>
                  <a:pt x="95" y="557"/>
                  <a:pt x="95" y="557"/>
                </a:cubicBezTo>
                <a:cubicBezTo>
                  <a:pt x="98" y="571"/>
                  <a:pt x="98" y="571"/>
                  <a:pt x="98" y="571"/>
                </a:cubicBezTo>
                <a:cubicBezTo>
                  <a:pt x="108" y="574"/>
                  <a:pt x="108" y="574"/>
                  <a:pt x="108" y="574"/>
                </a:cubicBezTo>
                <a:cubicBezTo>
                  <a:pt x="115" y="575"/>
                  <a:pt x="115" y="575"/>
                  <a:pt x="115" y="575"/>
                </a:cubicBezTo>
                <a:cubicBezTo>
                  <a:pt x="118" y="570"/>
                  <a:pt x="118" y="570"/>
                  <a:pt x="118" y="570"/>
                </a:cubicBezTo>
                <a:cubicBezTo>
                  <a:pt x="125" y="571"/>
                  <a:pt x="125" y="571"/>
                  <a:pt x="125" y="571"/>
                </a:cubicBezTo>
                <a:cubicBezTo>
                  <a:pt x="132" y="567"/>
                  <a:pt x="132" y="567"/>
                  <a:pt x="132" y="567"/>
                </a:cubicBezTo>
                <a:cubicBezTo>
                  <a:pt x="138" y="569"/>
                  <a:pt x="138" y="569"/>
                  <a:pt x="138" y="569"/>
                </a:cubicBezTo>
                <a:cubicBezTo>
                  <a:pt x="168" y="557"/>
                  <a:pt x="168" y="557"/>
                  <a:pt x="168" y="557"/>
                </a:cubicBezTo>
                <a:cubicBezTo>
                  <a:pt x="181" y="545"/>
                  <a:pt x="181" y="545"/>
                  <a:pt x="181" y="545"/>
                </a:cubicBezTo>
                <a:cubicBezTo>
                  <a:pt x="182" y="537"/>
                  <a:pt x="182" y="537"/>
                  <a:pt x="182" y="537"/>
                </a:cubicBezTo>
                <a:cubicBezTo>
                  <a:pt x="193" y="531"/>
                  <a:pt x="193" y="531"/>
                  <a:pt x="193" y="531"/>
                </a:cubicBezTo>
                <a:cubicBezTo>
                  <a:pt x="193" y="531"/>
                  <a:pt x="191" y="519"/>
                  <a:pt x="195" y="515"/>
                </a:cubicBezTo>
                <a:cubicBezTo>
                  <a:pt x="200" y="510"/>
                  <a:pt x="214" y="506"/>
                  <a:pt x="218" y="504"/>
                </a:cubicBezTo>
                <a:cubicBezTo>
                  <a:pt x="221" y="503"/>
                  <a:pt x="216" y="501"/>
                  <a:pt x="216" y="501"/>
                </a:cubicBezTo>
                <a:cubicBezTo>
                  <a:pt x="222" y="495"/>
                  <a:pt x="222" y="495"/>
                  <a:pt x="222" y="495"/>
                </a:cubicBezTo>
                <a:cubicBezTo>
                  <a:pt x="221" y="486"/>
                  <a:pt x="221" y="486"/>
                  <a:pt x="221" y="486"/>
                </a:cubicBezTo>
                <a:cubicBezTo>
                  <a:pt x="260" y="466"/>
                  <a:pt x="260" y="466"/>
                  <a:pt x="260" y="466"/>
                </a:cubicBezTo>
                <a:cubicBezTo>
                  <a:pt x="271" y="467"/>
                  <a:pt x="271" y="467"/>
                  <a:pt x="271" y="467"/>
                </a:cubicBezTo>
                <a:cubicBezTo>
                  <a:pt x="277" y="471"/>
                  <a:pt x="277" y="471"/>
                  <a:pt x="277" y="471"/>
                </a:cubicBezTo>
                <a:cubicBezTo>
                  <a:pt x="284" y="469"/>
                  <a:pt x="284" y="469"/>
                  <a:pt x="284" y="469"/>
                </a:cubicBezTo>
                <a:cubicBezTo>
                  <a:pt x="287" y="475"/>
                  <a:pt x="287" y="475"/>
                  <a:pt x="287" y="475"/>
                </a:cubicBezTo>
                <a:cubicBezTo>
                  <a:pt x="313" y="479"/>
                  <a:pt x="313" y="479"/>
                  <a:pt x="313" y="479"/>
                </a:cubicBezTo>
                <a:cubicBezTo>
                  <a:pt x="313" y="488"/>
                  <a:pt x="313" y="488"/>
                  <a:pt x="313" y="488"/>
                </a:cubicBezTo>
                <a:cubicBezTo>
                  <a:pt x="318" y="491"/>
                  <a:pt x="318" y="491"/>
                  <a:pt x="318" y="491"/>
                </a:cubicBezTo>
                <a:cubicBezTo>
                  <a:pt x="323" y="481"/>
                  <a:pt x="323" y="481"/>
                  <a:pt x="323" y="481"/>
                </a:cubicBezTo>
                <a:cubicBezTo>
                  <a:pt x="323" y="481"/>
                  <a:pt x="336" y="490"/>
                  <a:pt x="340" y="492"/>
                </a:cubicBezTo>
                <a:cubicBezTo>
                  <a:pt x="343" y="494"/>
                  <a:pt x="343" y="499"/>
                  <a:pt x="343" y="499"/>
                </a:cubicBezTo>
                <a:cubicBezTo>
                  <a:pt x="343" y="499"/>
                  <a:pt x="347" y="501"/>
                  <a:pt x="353" y="501"/>
                </a:cubicBezTo>
                <a:cubicBezTo>
                  <a:pt x="359" y="501"/>
                  <a:pt x="356" y="505"/>
                  <a:pt x="356" y="505"/>
                </a:cubicBezTo>
                <a:cubicBezTo>
                  <a:pt x="356" y="505"/>
                  <a:pt x="362" y="510"/>
                  <a:pt x="366" y="512"/>
                </a:cubicBezTo>
                <a:cubicBezTo>
                  <a:pt x="371" y="515"/>
                  <a:pt x="372" y="521"/>
                  <a:pt x="372" y="521"/>
                </a:cubicBezTo>
                <a:cubicBezTo>
                  <a:pt x="372" y="518"/>
                  <a:pt x="381" y="522"/>
                  <a:pt x="382" y="526"/>
                </a:cubicBezTo>
                <a:cubicBezTo>
                  <a:pt x="384" y="529"/>
                  <a:pt x="396" y="538"/>
                  <a:pt x="396" y="538"/>
                </a:cubicBezTo>
                <a:cubicBezTo>
                  <a:pt x="400" y="537"/>
                  <a:pt x="400" y="537"/>
                  <a:pt x="400" y="537"/>
                </a:cubicBezTo>
                <a:cubicBezTo>
                  <a:pt x="400" y="537"/>
                  <a:pt x="396" y="528"/>
                  <a:pt x="400" y="527"/>
                </a:cubicBezTo>
                <a:cubicBezTo>
                  <a:pt x="404" y="526"/>
                  <a:pt x="416" y="541"/>
                  <a:pt x="416" y="541"/>
                </a:cubicBezTo>
                <a:cubicBezTo>
                  <a:pt x="419" y="540"/>
                  <a:pt x="419" y="540"/>
                  <a:pt x="419" y="540"/>
                </a:cubicBezTo>
                <a:cubicBezTo>
                  <a:pt x="419" y="540"/>
                  <a:pt x="420" y="541"/>
                  <a:pt x="421" y="541"/>
                </a:cubicBezTo>
                <a:cubicBezTo>
                  <a:pt x="423" y="541"/>
                  <a:pt x="426" y="542"/>
                  <a:pt x="429" y="543"/>
                </a:cubicBezTo>
                <a:cubicBezTo>
                  <a:pt x="433" y="545"/>
                  <a:pt x="444" y="564"/>
                  <a:pt x="446" y="567"/>
                </a:cubicBezTo>
                <a:cubicBezTo>
                  <a:pt x="449" y="571"/>
                  <a:pt x="451" y="591"/>
                  <a:pt x="451" y="598"/>
                </a:cubicBezTo>
                <a:cubicBezTo>
                  <a:pt x="451" y="606"/>
                  <a:pt x="451" y="615"/>
                  <a:pt x="455" y="623"/>
                </a:cubicBezTo>
                <a:cubicBezTo>
                  <a:pt x="459" y="630"/>
                  <a:pt x="457" y="641"/>
                  <a:pt x="457" y="641"/>
                </a:cubicBezTo>
                <a:cubicBezTo>
                  <a:pt x="457" y="641"/>
                  <a:pt x="462" y="648"/>
                  <a:pt x="467" y="654"/>
                </a:cubicBezTo>
                <a:cubicBezTo>
                  <a:pt x="471" y="659"/>
                  <a:pt x="471" y="659"/>
                  <a:pt x="473" y="665"/>
                </a:cubicBezTo>
                <a:cubicBezTo>
                  <a:pt x="475" y="670"/>
                  <a:pt x="481" y="679"/>
                  <a:pt x="484" y="686"/>
                </a:cubicBezTo>
                <a:cubicBezTo>
                  <a:pt x="487" y="694"/>
                  <a:pt x="484" y="711"/>
                  <a:pt x="483" y="722"/>
                </a:cubicBezTo>
                <a:cubicBezTo>
                  <a:pt x="482" y="733"/>
                  <a:pt x="476" y="729"/>
                  <a:pt x="476" y="731"/>
                </a:cubicBezTo>
                <a:cubicBezTo>
                  <a:pt x="476" y="732"/>
                  <a:pt x="482" y="743"/>
                  <a:pt x="482" y="743"/>
                </a:cubicBezTo>
                <a:cubicBezTo>
                  <a:pt x="487" y="736"/>
                  <a:pt x="487" y="736"/>
                  <a:pt x="487" y="736"/>
                </a:cubicBezTo>
                <a:cubicBezTo>
                  <a:pt x="487" y="736"/>
                  <a:pt x="495" y="736"/>
                  <a:pt x="502" y="736"/>
                </a:cubicBezTo>
                <a:cubicBezTo>
                  <a:pt x="510" y="736"/>
                  <a:pt x="514" y="748"/>
                  <a:pt x="514" y="751"/>
                </a:cubicBezTo>
                <a:cubicBezTo>
                  <a:pt x="514" y="754"/>
                  <a:pt x="507" y="765"/>
                  <a:pt x="507" y="765"/>
                </a:cubicBezTo>
                <a:cubicBezTo>
                  <a:pt x="507" y="765"/>
                  <a:pt x="514" y="767"/>
                  <a:pt x="516" y="768"/>
                </a:cubicBezTo>
                <a:cubicBezTo>
                  <a:pt x="518" y="768"/>
                  <a:pt x="528" y="774"/>
                  <a:pt x="538" y="778"/>
                </a:cubicBezTo>
                <a:cubicBezTo>
                  <a:pt x="548" y="782"/>
                  <a:pt x="542" y="786"/>
                  <a:pt x="543" y="792"/>
                </a:cubicBezTo>
                <a:cubicBezTo>
                  <a:pt x="544" y="799"/>
                  <a:pt x="547" y="793"/>
                  <a:pt x="554" y="798"/>
                </a:cubicBezTo>
                <a:cubicBezTo>
                  <a:pt x="560" y="802"/>
                  <a:pt x="560" y="810"/>
                  <a:pt x="560" y="810"/>
                </a:cubicBezTo>
                <a:cubicBezTo>
                  <a:pt x="562" y="808"/>
                  <a:pt x="562" y="808"/>
                  <a:pt x="562" y="808"/>
                </a:cubicBezTo>
                <a:cubicBezTo>
                  <a:pt x="562" y="808"/>
                  <a:pt x="564" y="809"/>
                  <a:pt x="568" y="813"/>
                </a:cubicBezTo>
                <a:cubicBezTo>
                  <a:pt x="571" y="816"/>
                  <a:pt x="563" y="826"/>
                  <a:pt x="563" y="828"/>
                </a:cubicBezTo>
                <a:cubicBezTo>
                  <a:pt x="562" y="831"/>
                  <a:pt x="556" y="828"/>
                  <a:pt x="556" y="828"/>
                </a:cubicBezTo>
                <a:cubicBezTo>
                  <a:pt x="556" y="828"/>
                  <a:pt x="553" y="834"/>
                  <a:pt x="553" y="837"/>
                </a:cubicBezTo>
                <a:cubicBezTo>
                  <a:pt x="553" y="840"/>
                  <a:pt x="562" y="842"/>
                  <a:pt x="566" y="842"/>
                </a:cubicBezTo>
                <a:cubicBezTo>
                  <a:pt x="569" y="842"/>
                  <a:pt x="568" y="836"/>
                  <a:pt x="571" y="834"/>
                </a:cubicBezTo>
                <a:cubicBezTo>
                  <a:pt x="572" y="832"/>
                  <a:pt x="587" y="838"/>
                  <a:pt x="598" y="842"/>
                </a:cubicBezTo>
                <a:cubicBezTo>
                  <a:pt x="602" y="843"/>
                  <a:pt x="605" y="844"/>
                  <a:pt x="607" y="845"/>
                </a:cubicBezTo>
                <a:cubicBezTo>
                  <a:pt x="618" y="847"/>
                  <a:pt x="633" y="867"/>
                  <a:pt x="635" y="874"/>
                </a:cubicBezTo>
                <a:cubicBezTo>
                  <a:pt x="638" y="881"/>
                  <a:pt x="653" y="904"/>
                  <a:pt x="653" y="904"/>
                </a:cubicBezTo>
                <a:cubicBezTo>
                  <a:pt x="660" y="901"/>
                  <a:pt x="660" y="901"/>
                  <a:pt x="660" y="901"/>
                </a:cubicBezTo>
                <a:cubicBezTo>
                  <a:pt x="660" y="901"/>
                  <a:pt x="688" y="922"/>
                  <a:pt x="695" y="928"/>
                </a:cubicBezTo>
                <a:cubicBezTo>
                  <a:pt x="701" y="935"/>
                  <a:pt x="702" y="955"/>
                  <a:pt x="702" y="955"/>
                </a:cubicBezTo>
                <a:cubicBezTo>
                  <a:pt x="702" y="955"/>
                  <a:pt x="717" y="964"/>
                  <a:pt x="731" y="976"/>
                </a:cubicBezTo>
                <a:cubicBezTo>
                  <a:pt x="745" y="989"/>
                  <a:pt x="754" y="1008"/>
                  <a:pt x="754" y="1008"/>
                </a:cubicBezTo>
                <a:cubicBezTo>
                  <a:pt x="754" y="1008"/>
                  <a:pt x="757" y="1007"/>
                  <a:pt x="762" y="1007"/>
                </a:cubicBezTo>
                <a:cubicBezTo>
                  <a:pt x="768" y="1008"/>
                  <a:pt x="777" y="1015"/>
                  <a:pt x="777" y="1015"/>
                </a:cubicBezTo>
                <a:cubicBezTo>
                  <a:pt x="777" y="1015"/>
                  <a:pt x="787" y="1016"/>
                  <a:pt x="792" y="1017"/>
                </a:cubicBezTo>
                <a:cubicBezTo>
                  <a:pt x="797" y="1019"/>
                  <a:pt x="804" y="1032"/>
                  <a:pt x="808" y="1040"/>
                </a:cubicBezTo>
                <a:cubicBezTo>
                  <a:pt x="812" y="1048"/>
                  <a:pt x="816" y="1049"/>
                  <a:pt x="816" y="1049"/>
                </a:cubicBezTo>
                <a:cubicBezTo>
                  <a:pt x="821" y="1039"/>
                  <a:pt x="847" y="1034"/>
                  <a:pt x="852" y="1035"/>
                </a:cubicBezTo>
                <a:cubicBezTo>
                  <a:pt x="857" y="1035"/>
                  <a:pt x="877" y="1048"/>
                  <a:pt x="877" y="1048"/>
                </a:cubicBezTo>
                <a:cubicBezTo>
                  <a:pt x="886" y="1048"/>
                  <a:pt x="886" y="1048"/>
                  <a:pt x="886" y="1048"/>
                </a:cubicBezTo>
                <a:cubicBezTo>
                  <a:pt x="881" y="1042"/>
                  <a:pt x="899" y="1043"/>
                  <a:pt x="906" y="1045"/>
                </a:cubicBezTo>
                <a:cubicBezTo>
                  <a:pt x="907" y="1045"/>
                  <a:pt x="908" y="1046"/>
                  <a:pt x="909" y="1047"/>
                </a:cubicBezTo>
                <a:cubicBezTo>
                  <a:pt x="916" y="1053"/>
                  <a:pt x="927" y="1069"/>
                  <a:pt x="927" y="1069"/>
                </a:cubicBezTo>
                <a:cubicBezTo>
                  <a:pt x="927" y="1069"/>
                  <a:pt x="928" y="1082"/>
                  <a:pt x="935" y="1087"/>
                </a:cubicBezTo>
                <a:cubicBezTo>
                  <a:pt x="942" y="1092"/>
                  <a:pt x="944" y="1101"/>
                  <a:pt x="946" y="1107"/>
                </a:cubicBezTo>
                <a:cubicBezTo>
                  <a:pt x="948" y="1112"/>
                  <a:pt x="948" y="1123"/>
                  <a:pt x="948" y="1123"/>
                </a:cubicBezTo>
                <a:cubicBezTo>
                  <a:pt x="956" y="1125"/>
                  <a:pt x="956" y="1125"/>
                  <a:pt x="956" y="1125"/>
                </a:cubicBezTo>
                <a:cubicBezTo>
                  <a:pt x="956" y="1125"/>
                  <a:pt x="956" y="1120"/>
                  <a:pt x="957" y="1117"/>
                </a:cubicBezTo>
                <a:cubicBezTo>
                  <a:pt x="957" y="1115"/>
                  <a:pt x="966" y="1124"/>
                  <a:pt x="966" y="1124"/>
                </a:cubicBezTo>
                <a:cubicBezTo>
                  <a:pt x="966" y="1124"/>
                  <a:pt x="974" y="1115"/>
                  <a:pt x="978" y="1114"/>
                </a:cubicBezTo>
                <a:cubicBezTo>
                  <a:pt x="983" y="1112"/>
                  <a:pt x="996" y="1129"/>
                  <a:pt x="996" y="1129"/>
                </a:cubicBezTo>
                <a:cubicBezTo>
                  <a:pt x="996" y="1129"/>
                  <a:pt x="1003" y="1130"/>
                  <a:pt x="1005" y="1130"/>
                </a:cubicBezTo>
                <a:cubicBezTo>
                  <a:pt x="1007" y="1130"/>
                  <a:pt x="1009" y="1139"/>
                  <a:pt x="1009" y="1139"/>
                </a:cubicBezTo>
                <a:cubicBezTo>
                  <a:pt x="1009" y="1139"/>
                  <a:pt x="1005" y="1141"/>
                  <a:pt x="1003" y="1141"/>
                </a:cubicBezTo>
                <a:cubicBezTo>
                  <a:pt x="1000" y="1141"/>
                  <a:pt x="1001" y="1149"/>
                  <a:pt x="1000" y="1151"/>
                </a:cubicBezTo>
                <a:cubicBezTo>
                  <a:pt x="1000" y="1152"/>
                  <a:pt x="994" y="1151"/>
                  <a:pt x="991" y="1151"/>
                </a:cubicBezTo>
                <a:cubicBezTo>
                  <a:pt x="988" y="1151"/>
                  <a:pt x="987" y="1164"/>
                  <a:pt x="987" y="1164"/>
                </a:cubicBezTo>
                <a:cubicBezTo>
                  <a:pt x="1007" y="1155"/>
                  <a:pt x="1007" y="1155"/>
                  <a:pt x="1007" y="1155"/>
                </a:cubicBezTo>
                <a:cubicBezTo>
                  <a:pt x="1019" y="1155"/>
                  <a:pt x="1019" y="1155"/>
                  <a:pt x="1019" y="1155"/>
                </a:cubicBezTo>
                <a:cubicBezTo>
                  <a:pt x="1029" y="1148"/>
                  <a:pt x="1029" y="1148"/>
                  <a:pt x="1029" y="1148"/>
                </a:cubicBezTo>
                <a:cubicBezTo>
                  <a:pt x="1037" y="1151"/>
                  <a:pt x="1037" y="1151"/>
                  <a:pt x="1037" y="1151"/>
                </a:cubicBezTo>
                <a:cubicBezTo>
                  <a:pt x="1037" y="1151"/>
                  <a:pt x="1042" y="1143"/>
                  <a:pt x="1047" y="1143"/>
                </a:cubicBezTo>
                <a:cubicBezTo>
                  <a:pt x="1051" y="1143"/>
                  <a:pt x="1059" y="1158"/>
                  <a:pt x="1065" y="1162"/>
                </a:cubicBezTo>
                <a:cubicBezTo>
                  <a:pt x="1071" y="1166"/>
                  <a:pt x="1079" y="1190"/>
                  <a:pt x="1080" y="1195"/>
                </a:cubicBezTo>
                <a:cubicBezTo>
                  <a:pt x="1081" y="1200"/>
                  <a:pt x="1073" y="1203"/>
                  <a:pt x="1073" y="1203"/>
                </a:cubicBezTo>
                <a:cubicBezTo>
                  <a:pt x="1075" y="1213"/>
                  <a:pt x="1075" y="1213"/>
                  <a:pt x="1075" y="1213"/>
                </a:cubicBezTo>
                <a:cubicBezTo>
                  <a:pt x="1075" y="1213"/>
                  <a:pt x="1070" y="1217"/>
                  <a:pt x="1068" y="1220"/>
                </a:cubicBezTo>
                <a:cubicBezTo>
                  <a:pt x="1067" y="1222"/>
                  <a:pt x="1072" y="1221"/>
                  <a:pt x="1078" y="1223"/>
                </a:cubicBezTo>
                <a:cubicBezTo>
                  <a:pt x="1083" y="1226"/>
                  <a:pt x="1088" y="1235"/>
                  <a:pt x="1088" y="1235"/>
                </a:cubicBezTo>
                <a:cubicBezTo>
                  <a:pt x="1099" y="1231"/>
                  <a:pt x="1099" y="1231"/>
                  <a:pt x="1099" y="1231"/>
                </a:cubicBezTo>
                <a:cubicBezTo>
                  <a:pt x="1099" y="1231"/>
                  <a:pt x="1114" y="1245"/>
                  <a:pt x="1119" y="1248"/>
                </a:cubicBezTo>
                <a:cubicBezTo>
                  <a:pt x="1123" y="1251"/>
                  <a:pt x="1119" y="1257"/>
                  <a:pt x="1119" y="1257"/>
                </a:cubicBezTo>
                <a:cubicBezTo>
                  <a:pt x="1119" y="1257"/>
                  <a:pt x="1121" y="1255"/>
                  <a:pt x="1127" y="1255"/>
                </a:cubicBezTo>
                <a:cubicBezTo>
                  <a:pt x="1132" y="1255"/>
                  <a:pt x="1133" y="1263"/>
                  <a:pt x="1136" y="1263"/>
                </a:cubicBezTo>
                <a:cubicBezTo>
                  <a:pt x="1139" y="1264"/>
                  <a:pt x="1144" y="1255"/>
                  <a:pt x="1148" y="1249"/>
                </a:cubicBezTo>
                <a:cubicBezTo>
                  <a:pt x="1152" y="1244"/>
                  <a:pt x="1167" y="1247"/>
                  <a:pt x="1167" y="1247"/>
                </a:cubicBezTo>
                <a:cubicBezTo>
                  <a:pt x="1168" y="1254"/>
                  <a:pt x="1168" y="1254"/>
                  <a:pt x="1168" y="1254"/>
                </a:cubicBezTo>
                <a:cubicBezTo>
                  <a:pt x="1168" y="1254"/>
                  <a:pt x="1169" y="1254"/>
                  <a:pt x="1170" y="1254"/>
                </a:cubicBezTo>
                <a:cubicBezTo>
                  <a:pt x="1172" y="1254"/>
                  <a:pt x="1174" y="1255"/>
                  <a:pt x="1175" y="1255"/>
                </a:cubicBezTo>
                <a:cubicBezTo>
                  <a:pt x="1176" y="1255"/>
                  <a:pt x="1181" y="1265"/>
                  <a:pt x="1184" y="1273"/>
                </a:cubicBezTo>
                <a:cubicBezTo>
                  <a:pt x="1187" y="1279"/>
                  <a:pt x="1190" y="1284"/>
                  <a:pt x="1190" y="1284"/>
                </a:cubicBezTo>
                <a:cubicBezTo>
                  <a:pt x="1188" y="1290"/>
                  <a:pt x="1188" y="1290"/>
                  <a:pt x="1188" y="1290"/>
                </a:cubicBezTo>
                <a:cubicBezTo>
                  <a:pt x="1204" y="1337"/>
                  <a:pt x="1204" y="1337"/>
                  <a:pt x="1204" y="1337"/>
                </a:cubicBezTo>
                <a:cubicBezTo>
                  <a:pt x="1204" y="1337"/>
                  <a:pt x="1217" y="1352"/>
                  <a:pt x="1223" y="1363"/>
                </a:cubicBezTo>
                <a:cubicBezTo>
                  <a:pt x="1229" y="1374"/>
                  <a:pt x="1236" y="1427"/>
                  <a:pt x="1236" y="1427"/>
                </a:cubicBezTo>
                <a:cubicBezTo>
                  <a:pt x="1246" y="1444"/>
                  <a:pt x="1246" y="1444"/>
                  <a:pt x="1246" y="1444"/>
                </a:cubicBezTo>
                <a:cubicBezTo>
                  <a:pt x="1256" y="1451"/>
                  <a:pt x="1256" y="1451"/>
                  <a:pt x="1256" y="1451"/>
                </a:cubicBezTo>
                <a:cubicBezTo>
                  <a:pt x="1256" y="1451"/>
                  <a:pt x="1256" y="1466"/>
                  <a:pt x="1256" y="1473"/>
                </a:cubicBezTo>
                <a:cubicBezTo>
                  <a:pt x="1256" y="1480"/>
                  <a:pt x="1246" y="1487"/>
                  <a:pt x="1246" y="1487"/>
                </a:cubicBezTo>
                <a:cubicBezTo>
                  <a:pt x="1225" y="1487"/>
                  <a:pt x="1225" y="1487"/>
                  <a:pt x="1225" y="1487"/>
                </a:cubicBezTo>
                <a:cubicBezTo>
                  <a:pt x="1221" y="1493"/>
                  <a:pt x="1221" y="1493"/>
                  <a:pt x="1221" y="1493"/>
                </a:cubicBezTo>
                <a:cubicBezTo>
                  <a:pt x="1221" y="1493"/>
                  <a:pt x="1210" y="1496"/>
                  <a:pt x="1207" y="1498"/>
                </a:cubicBezTo>
                <a:cubicBezTo>
                  <a:pt x="1203" y="1499"/>
                  <a:pt x="1204" y="1505"/>
                  <a:pt x="1204" y="1505"/>
                </a:cubicBezTo>
                <a:cubicBezTo>
                  <a:pt x="1218" y="1517"/>
                  <a:pt x="1218" y="1517"/>
                  <a:pt x="1218" y="1517"/>
                </a:cubicBezTo>
                <a:cubicBezTo>
                  <a:pt x="1218" y="1517"/>
                  <a:pt x="1207" y="1555"/>
                  <a:pt x="1204" y="1563"/>
                </a:cubicBezTo>
                <a:cubicBezTo>
                  <a:pt x="1200" y="1571"/>
                  <a:pt x="1179" y="1577"/>
                  <a:pt x="1179" y="1577"/>
                </a:cubicBezTo>
                <a:cubicBezTo>
                  <a:pt x="1182" y="1593"/>
                  <a:pt x="1182" y="1593"/>
                  <a:pt x="1182" y="1593"/>
                </a:cubicBezTo>
                <a:cubicBezTo>
                  <a:pt x="1178" y="1599"/>
                  <a:pt x="1178" y="1599"/>
                  <a:pt x="1178" y="1599"/>
                </a:cubicBezTo>
                <a:cubicBezTo>
                  <a:pt x="1184" y="1608"/>
                  <a:pt x="1184" y="1608"/>
                  <a:pt x="1184" y="1608"/>
                </a:cubicBezTo>
                <a:cubicBezTo>
                  <a:pt x="1181" y="1618"/>
                  <a:pt x="1181" y="1618"/>
                  <a:pt x="1181" y="1618"/>
                </a:cubicBezTo>
                <a:cubicBezTo>
                  <a:pt x="1181" y="1618"/>
                  <a:pt x="1188" y="1624"/>
                  <a:pt x="1189" y="1626"/>
                </a:cubicBezTo>
                <a:cubicBezTo>
                  <a:pt x="1190" y="1627"/>
                  <a:pt x="1200" y="1632"/>
                  <a:pt x="1200" y="1632"/>
                </a:cubicBezTo>
                <a:cubicBezTo>
                  <a:pt x="1242" y="1630"/>
                  <a:pt x="1242" y="1630"/>
                  <a:pt x="1242" y="1630"/>
                </a:cubicBezTo>
                <a:cubicBezTo>
                  <a:pt x="1254" y="1610"/>
                  <a:pt x="1254" y="1610"/>
                  <a:pt x="1254" y="1610"/>
                </a:cubicBezTo>
                <a:cubicBezTo>
                  <a:pt x="1255" y="1589"/>
                  <a:pt x="1255" y="1589"/>
                  <a:pt x="1255" y="1589"/>
                </a:cubicBezTo>
                <a:cubicBezTo>
                  <a:pt x="1278" y="1561"/>
                  <a:pt x="1278" y="1561"/>
                  <a:pt x="1278" y="1561"/>
                </a:cubicBezTo>
                <a:cubicBezTo>
                  <a:pt x="1302" y="1549"/>
                  <a:pt x="1305" y="1541"/>
                  <a:pt x="1309" y="1534"/>
                </a:cubicBezTo>
                <a:cubicBezTo>
                  <a:pt x="1313" y="1526"/>
                  <a:pt x="1307" y="1490"/>
                  <a:pt x="1307" y="1490"/>
                </a:cubicBezTo>
                <a:cubicBezTo>
                  <a:pt x="1301" y="1485"/>
                  <a:pt x="1301" y="1485"/>
                  <a:pt x="1301" y="1485"/>
                </a:cubicBezTo>
                <a:cubicBezTo>
                  <a:pt x="1301" y="1485"/>
                  <a:pt x="1317" y="1462"/>
                  <a:pt x="1329" y="1455"/>
                </a:cubicBezTo>
                <a:cubicBezTo>
                  <a:pt x="1341" y="1447"/>
                  <a:pt x="1363" y="1442"/>
                  <a:pt x="1363" y="1442"/>
                </a:cubicBezTo>
                <a:cubicBezTo>
                  <a:pt x="1367" y="1448"/>
                  <a:pt x="1367" y="1448"/>
                  <a:pt x="1367" y="1448"/>
                </a:cubicBezTo>
                <a:cubicBezTo>
                  <a:pt x="1376" y="1445"/>
                  <a:pt x="1376" y="1445"/>
                  <a:pt x="1376" y="1445"/>
                </a:cubicBezTo>
                <a:cubicBezTo>
                  <a:pt x="1378" y="1446"/>
                  <a:pt x="1378" y="1446"/>
                  <a:pt x="1378" y="1446"/>
                </a:cubicBezTo>
                <a:cubicBezTo>
                  <a:pt x="1389" y="1440"/>
                  <a:pt x="1389" y="1440"/>
                  <a:pt x="1389" y="1440"/>
                </a:cubicBezTo>
                <a:cubicBezTo>
                  <a:pt x="1388" y="1433"/>
                  <a:pt x="1388" y="1433"/>
                  <a:pt x="1388" y="1433"/>
                </a:cubicBezTo>
                <a:cubicBezTo>
                  <a:pt x="1392" y="1427"/>
                  <a:pt x="1392" y="1427"/>
                  <a:pt x="1392" y="1427"/>
                </a:cubicBezTo>
                <a:cubicBezTo>
                  <a:pt x="1392" y="1427"/>
                  <a:pt x="1383" y="1422"/>
                  <a:pt x="1380" y="1416"/>
                </a:cubicBezTo>
                <a:cubicBezTo>
                  <a:pt x="1377" y="1410"/>
                  <a:pt x="1383" y="1394"/>
                  <a:pt x="1383" y="1394"/>
                </a:cubicBezTo>
                <a:cubicBezTo>
                  <a:pt x="1383" y="1394"/>
                  <a:pt x="1381" y="1389"/>
                  <a:pt x="1376" y="1386"/>
                </a:cubicBezTo>
                <a:cubicBezTo>
                  <a:pt x="1371" y="1383"/>
                  <a:pt x="1381" y="1359"/>
                  <a:pt x="1381" y="1359"/>
                </a:cubicBezTo>
                <a:cubicBezTo>
                  <a:pt x="1369" y="1352"/>
                  <a:pt x="1369" y="1352"/>
                  <a:pt x="1369" y="1352"/>
                </a:cubicBezTo>
                <a:cubicBezTo>
                  <a:pt x="1369" y="1352"/>
                  <a:pt x="1365" y="1344"/>
                  <a:pt x="1361" y="1344"/>
                </a:cubicBezTo>
                <a:cubicBezTo>
                  <a:pt x="1356" y="1344"/>
                  <a:pt x="1341" y="1336"/>
                  <a:pt x="1341" y="1336"/>
                </a:cubicBezTo>
                <a:cubicBezTo>
                  <a:pt x="1327" y="1323"/>
                  <a:pt x="1327" y="1323"/>
                  <a:pt x="1327" y="1323"/>
                </a:cubicBezTo>
                <a:cubicBezTo>
                  <a:pt x="1308" y="1322"/>
                  <a:pt x="1308" y="1322"/>
                  <a:pt x="1308" y="1322"/>
                </a:cubicBezTo>
                <a:cubicBezTo>
                  <a:pt x="1293" y="1314"/>
                  <a:pt x="1293" y="1314"/>
                  <a:pt x="1293" y="1314"/>
                </a:cubicBezTo>
                <a:cubicBezTo>
                  <a:pt x="1293" y="1305"/>
                  <a:pt x="1293" y="1305"/>
                  <a:pt x="1293" y="1305"/>
                </a:cubicBezTo>
                <a:cubicBezTo>
                  <a:pt x="1287" y="1301"/>
                  <a:pt x="1287" y="1301"/>
                  <a:pt x="1287" y="1301"/>
                </a:cubicBezTo>
                <a:cubicBezTo>
                  <a:pt x="1287" y="1292"/>
                  <a:pt x="1287" y="1292"/>
                  <a:pt x="1287" y="1292"/>
                </a:cubicBezTo>
                <a:cubicBezTo>
                  <a:pt x="1304" y="1263"/>
                  <a:pt x="1304" y="1263"/>
                  <a:pt x="1304" y="1263"/>
                </a:cubicBezTo>
                <a:cubicBezTo>
                  <a:pt x="1300" y="1240"/>
                  <a:pt x="1300" y="1240"/>
                  <a:pt x="1300" y="1240"/>
                </a:cubicBezTo>
                <a:cubicBezTo>
                  <a:pt x="1306" y="1233"/>
                  <a:pt x="1306" y="1233"/>
                  <a:pt x="1306" y="1233"/>
                </a:cubicBezTo>
                <a:cubicBezTo>
                  <a:pt x="1310" y="1228"/>
                  <a:pt x="1310" y="1228"/>
                  <a:pt x="1310" y="1228"/>
                </a:cubicBezTo>
                <a:cubicBezTo>
                  <a:pt x="1333" y="1184"/>
                  <a:pt x="1333" y="1184"/>
                  <a:pt x="1333" y="1184"/>
                </a:cubicBezTo>
                <a:cubicBezTo>
                  <a:pt x="1334" y="1183"/>
                  <a:pt x="1334" y="1183"/>
                  <a:pt x="1334" y="1183"/>
                </a:cubicBezTo>
                <a:cubicBezTo>
                  <a:pt x="1334" y="1183"/>
                  <a:pt x="1355" y="1160"/>
                  <a:pt x="1364" y="1158"/>
                </a:cubicBezTo>
                <a:cubicBezTo>
                  <a:pt x="1373" y="1157"/>
                  <a:pt x="1380" y="1166"/>
                  <a:pt x="1386" y="1171"/>
                </a:cubicBezTo>
                <a:cubicBezTo>
                  <a:pt x="1392" y="1176"/>
                  <a:pt x="1379" y="1177"/>
                  <a:pt x="1379" y="1177"/>
                </a:cubicBezTo>
                <a:cubicBezTo>
                  <a:pt x="1406" y="1190"/>
                  <a:pt x="1406" y="1190"/>
                  <a:pt x="1406" y="1190"/>
                </a:cubicBezTo>
                <a:cubicBezTo>
                  <a:pt x="1411" y="1189"/>
                  <a:pt x="1411" y="1189"/>
                  <a:pt x="1411" y="1189"/>
                </a:cubicBezTo>
                <a:cubicBezTo>
                  <a:pt x="1420" y="1194"/>
                  <a:pt x="1420" y="1194"/>
                  <a:pt x="1420" y="1194"/>
                </a:cubicBezTo>
                <a:cubicBezTo>
                  <a:pt x="1420" y="1194"/>
                  <a:pt x="1469" y="1194"/>
                  <a:pt x="1474" y="1198"/>
                </a:cubicBezTo>
                <a:cubicBezTo>
                  <a:pt x="1479" y="1201"/>
                  <a:pt x="1478" y="1211"/>
                  <a:pt x="1478" y="1211"/>
                </a:cubicBezTo>
                <a:cubicBezTo>
                  <a:pt x="1491" y="1224"/>
                  <a:pt x="1491" y="1224"/>
                  <a:pt x="1491" y="1224"/>
                </a:cubicBezTo>
                <a:cubicBezTo>
                  <a:pt x="1489" y="1234"/>
                  <a:pt x="1489" y="1234"/>
                  <a:pt x="1489" y="1234"/>
                </a:cubicBezTo>
                <a:cubicBezTo>
                  <a:pt x="1494" y="1244"/>
                  <a:pt x="1494" y="1244"/>
                  <a:pt x="1494" y="1244"/>
                </a:cubicBezTo>
                <a:cubicBezTo>
                  <a:pt x="1494" y="1244"/>
                  <a:pt x="1487" y="1244"/>
                  <a:pt x="1499" y="1258"/>
                </a:cubicBezTo>
                <a:cubicBezTo>
                  <a:pt x="1510" y="1272"/>
                  <a:pt x="1532" y="1271"/>
                  <a:pt x="1532" y="1271"/>
                </a:cubicBezTo>
                <a:cubicBezTo>
                  <a:pt x="1532" y="1271"/>
                  <a:pt x="1540" y="1278"/>
                  <a:pt x="1544" y="1279"/>
                </a:cubicBezTo>
                <a:cubicBezTo>
                  <a:pt x="1549" y="1281"/>
                  <a:pt x="1548" y="1244"/>
                  <a:pt x="1548" y="1244"/>
                </a:cubicBezTo>
                <a:cubicBezTo>
                  <a:pt x="1548" y="1244"/>
                  <a:pt x="1562" y="1225"/>
                  <a:pt x="1562" y="1219"/>
                </a:cubicBezTo>
                <a:close/>
                <a:moveTo>
                  <a:pt x="937" y="1140"/>
                </a:moveTo>
                <a:cubicBezTo>
                  <a:pt x="938" y="1138"/>
                  <a:pt x="937" y="1134"/>
                  <a:pt x="937" y="1134"/>
                </a:cubicBezTo>
                <a:cubicBezTo>
                  <a:pt x="923" y="1132"/>
                  <a:pt x="923" y="1132"/>
                  <a:pt x="923" y="1132"/>
                </a:cubicBezTo>
                <a:cubicBezTo>
                  <a:pt x="924" y="1140"/>
                  <a:pt x="924" y="1140"/>
                  <a:pt x="924" y="1140"/>
                </a:cubicBezTo>
                <a:cubicBezTo>
                  <a:pt x="924" y="1140"/>
                  <a:pt x="937" y="1143"/>
                  <a:pt x="937" y="1140"/>
                </a:cubicBezTo>
                <a:close/>
                <a:moveTo>
                  <a:pt x="367" y="1140"/>
                </a:moveTo>
                <a:cubicBezTo>
                  <a:pt x="362" y="1132"/>
                  <a:pt x="362" y="1132"/>
                  <a:pt x="362" y="1132"/>
                </a:cubicBezTo>
                <a:cubicBezTo>
                  <a:pt x="363" y="1126"/>
                  <a:pt x="363" y="1126"/>
                  <a:pt x="363" y="1126"/>
                </a:cubicBezTo>
                <a:cubicBezTo>
                  <a:pt x="354" y="1119"/>
                  <a:pt x="354" y="1119"/>
                  <a:pt x="354" y="1119"/>
                </a:cubicBezTo>
                <a:cubicBezTo>
                  <a:pt x="359" y="1118"/>
                  <a:pt x="359" y="1118"/>
                  <a:pt x="359" y="1118"/>
                </a:cubicBezTo>
                <a:cubicBezTo>
                  <a:pt x="359" y="1112"/>
                  <a:pt x="359" y="1112"/>
                  <a:pt x="359" y="1112"/>
                </a:cubicBezTo>
                <a:cubicBezTo>
                  <a:pt x="365" y="1110"/>
                  <a:pt x="365" y="1110"/>
                  <a:pt x="365" y="1110"/>
                </a:cubicBezTo>
                <a:cubicBezTo>
                  <a:pt x="364" y="1106"/>
                  <a:pt x="364" y="1106"/>
                  <a:pt x="364" y="1106"/>
                </a:cubicBezTo>
                <a:cubicBezTo>
                  <a:pt x="357" y="1110"/>
                  <a:pt x="357" y="1110"/>
                  <a:pt x="357" y="1110"/>
                </a:cubicBezTo>
                <a:cubicBezTo>
                  <a:pt x="356" y="1104"/>
                  <a:pt x="356" y="1104"/>
                  <a:pt x="356" y="1104"/>
                </a:cubicBezTo>
                <a:cubicBezTo>
                  <a:pt x="365" y="1097"/>
                  <a:pt x="365" y="1097"/>
                  <a:pt x="365" y="1097"/>
                </a:cubicBezTo>
                <a:cubicBezTo>
                  <a:pt x="352" y="1102"/>
                  <a:pt x="352" y="1102"/>
                  <a:pt x="352" y="1102"/>
                </a:cubicBezTo>
                <a:cubicBezTo>
                  <a:pt x="353" y="1095"/>
                  <a:pt x="353" y="1095"/>
                  <a:pt x="353" y="1095"/>
                </a:cubicBezTo>
                <a:cubicBezTo>
                  <a:pt x="347" y="1099"/>
                  <a:pt x="347" y="1099"/>
                  <a:pt x="347" y="1099"/>
                </a:cubicBezTo>
                <a:cubicBezTo>
                  <a:pt x="333" y="1097"/>
                  <a:pt x="333" y="1097"/>
                  <a:pt x="333" y="1097"/>
                </a:cubicBezTo>
                <a:cubicBezTo>
                  <a:pt x="337" y="1093"/>
                  <a:pt x="337" y="1093"/>
                  <a:pt x="337" y="1093"/>
                </a:cubicBezTo>
                <a:cubicBezTo>
                  <a:pt x="344" y="1094"/>
                  <a:pt x="344" y="1094"/>
                  <a:pt x="344" y="1094"/>
                </a:cubicBezTo>
                <a:cubicBezTo>
                  <a:pt x="345" y="1085"/>
                  <a:pt x="345" y="1085"/>
                  <a:pt x="345" y="1085"/>
                </a:cubicBezTo>
                <a:cubicBezTo>
                  <a:pt x="351" y="1082"/>
                  <a:pt x="351" y="1082"/>
                  <a:pt x="351" y="1082"/>
                </a:cubicBezTo>
                <a:cubicBezTo>
                  <a:pt x="354" y="1086"/>
                  <a:pt x="354" y="1086"/>
                  <a:pt x="354" y="1086"/>
                </a:cubicBezTo>
                <a:cubicBezTo>
                  <a:pt x="359" y="1083"/>
                  <a:pt x="359" y="1083"/>
                  <a:pt x="359" y="1083"/>
                </a:cubicBezTo>
                <a:cubicBezTo>
                  <a:pt x="359" y="1083"/>
                  <a:pt x="353" y="1079"/>
                  <a:pt x="350" y="1079"/>
                </a:cubicBezTo>
                <a:cubicBezTo>
                  <a:pt x="347" y="1079"/>
                  <a:pt x="341" y="1080"/>
                  <a:pt x="341" y="1080"/>
                </a:cubicBezTo>
                <a:cubicBezTo>
                  <a:pt x="341" y="1075"/>
                  <a:pt x="341" y="1075"/>
                  <a:pt x="341" y="1075"/>
                </a:cubicBezTo>
                <a:cubicBezTo>
                  <a:pt x="336" y="1079"/>
                  <a:pt x="336" y="1079"/>
                  <a:pt x="336" y="1079"/>
                </a:cubicBezTo>
                <a:cubicBezTo>
                  <a:pt x="339" y="1067"/>
                  <a:pt x="339" y="1067"/>
                  <a:pt x="339" y="1067"/>
                </a:cubicBezTo>
                <a:cubicBezTo>
                  <a:pt x="345" y="1064"/>
                  <a:pt x="345" y="1064"/>
                  <a:pt x="345" y="1064"/>
                </a:cubicBezTo>
                <a:cubicBezTo>
                  <a:pt x="345" y="1064"/>
                  <a:pt x="341" y="1055"/>
                  <a:pt x="340" y="1053"/>
                </a:cubicBezTo>
                <a:cubicBezTo>
                  <a:pt x="339" y="1051"/>
                  <a:pt x="332" y="1057"/>
                  <a:pt x="332" y="1057"/>
                </a:cubicBezTo>
                <a:cubicBezTo>
                  <a:pt x="326" y="1061"/>
                  <a:pt x="326" y="1061"/>
                  <a:pt x="326" y="1061"/>
                </a:cubicBezTo>
                <a:cubicBezTo>
                  <a:pt x="326" y="1055"/>
                  <a:pt x="326" y="1055"/>
                  <a:pt x="326" y="1055"/>
                </a:cubicBezTo>
                <a:cubicBezTo>
                  <a:pt x="326" y="1055"/>
                  <a:pt x="323" y="1053"/>
                  <a:pt x="322" y="1049"/>
                </a:cubicBezTo>
                <a:cubicBezTo>
                  <a:pt x="320" y="1045"/>
                  <a:pt x="316" y="1044"/>
                  <a:pt x="316" y="1044"/>
                </a:cubicBezTo>
                <a:cubicBezTo>
                  <a:pt x="316" y="1044"/>
                  <a:pt x="311" y="1049"/>
                  <a:pt x="306" y="1049"/>
                </a:cubicBezTo>
                <a:cubicBezTo>
                  <a:pt x="302" y="1049"/>
                  <a:pt x="305" y="1042"/>
                  <a:pt x="305" y="1040"/>
                </a:cubicBezTo>
                <a:cubicBezTo>
                  <a:pt x="305" y="1037"/>
                  <a:pt x="301" y="1036"/>
                  <a:pt x="301" y="1036"/>
                </a:cubicBezTo>
                <a:cubicBezTo>
                  <a:pt x="301" y="1036"/>
                  <a:pt x="287" y="1036"/>
                  <a:pt x="290" y="1038"/>
                </a:cubicBezTo>
                <a:cubicBezTo>
                  <a:pt x="293" y="1039"/>
                  <a:pt x="290" y="1050"/>
                  <a:pt x="290" y="1050"/>
                </a:cubicBezTo>
                <a:cubicBezTo>
                  <a:pt x="286" y="1056"/>
                  <a:pt x="286" y="1056"/>
                  <a:pt x="286" y="1056"/>
                </a:cubicBezTo>
                <a:cubicBezTo>
                  <a:pt x="286" y="1056"/>
                  <a:pt x="280" y="1055"/>
                  <a:pt x="275" y="1055"/>
                </a:cubicBezTo>
                <a:cubicBezTo>
                  <a:pt x="269" y="1055"/>
                  <a:pt x="264" y="1064"/>
                  <a:pt x="261" y="1069"/>
                </a:cubicBezTo>
                <a:cubicBezTo>
                  <a:pt x="258" y="1074"/>
                  <a:pt x="256" y="1072"/>
                  <a:pt x="251" y="1073"/>
                </a:cubicBezTo>
                <a:cubicBezTo>
                  <a:pt x="246" y="1074"/>
                  <a:pt x="251" y="1080"/>
                  <a:pt x="241" y="1088"/>
                </a:cubicBezTo>
                <a:cubicBezTo>
                  <a:pt x="232" y="1095"/>
                  <a:pt x="219" y="1096"/>
                  <a:pt x="219" y="1096"/>
                </a:cubicBezTo>
                <a:cubicBezTo>
                  <a:pt x="219" y="1096"/>
                  <a:pt x="214" y="1105"/>
                  <a:pt x="206" y="1108"/>
                </a:cubicBezTo>
                <a:cubicBezTo>
                  <a:pt x="199" y="1110"/>
                  <a:pt x="192" y="1108"/>
                  <a:pt x="192" y="1108"/>
                </a:cubicBezTo>
                <a:cubicBezTo>
                  <a:pt x="186" y="1103"/>
                  <a:pt x="186" y="1103"/>
                  <a:pt x="186" y="1103"/>
                </a:cubicBezTo>
                <a:cubicBezTo>
                  <a:pt x="174" y="1102"/>
                  <a:pt x="174" y="1102"/>
                  <a:pt x="174" y="1102"/>
                </a:cubicBezTo>
                <a:cubicBezTo>
                  <a:pt x="174" y="1102"/>
                  <a:pt x="166" y="1096"/>
                  <a:pt x="164" y="1091"/>
                </a:cubicBezTo>
                <a:cubicBezTo>
                  <a:pt x="161" y="1087"/>
                  <a:pt x="164" y="1083"/>
                  <a:pt x="164" y="1083"/>
                </a:cubicBezTo>
                <a:cubicBezTo>
                  <a:pt x="162" y="1077"/>
                  <a:pt x="162" y="1077"/>
                  <a:pt x="162" y="1077"/>
                </a:cubicBezTo>
                <a:cubicBezTo>
                  <a:pt x="162" y="1077"/>
                  <a:pt x="156" y="1085"/>
                  <a:pt x="156" y="1086"/>
                </a:cubicBezTo>
                <a:cubicBezTo>
                  <a:pt x="156" y="1088"/>
                  <a:pt x="159" y="1095"/>
                  <a:pt x="162" y="1097"/>
                </a:cubicBezTo>
                <a:cubicBezTo>
                  <a:pt x="165" y="1100"/>
                  <a:pt x="148" y="1120"/>
                  <a:pt x="148" y="1120"/>
                </a:cubicBezTo>
                <a:cubicBezTo>
                  <a:pt x="156" y="1130"/>
                  <a:pt x="156" y="1130"/>
                  <a:pt x="156" y="1130"/>
                </a:cubicBezTo>
                <a:cubicBezTo>
                  <a:pt x="155" y="1140"/>
                  <a:pt x="155" y="1140"/>
                  <a:pt x="155" y="1140"/>
                </a:cubicBezTo>
                <a:cubicBezTo>
                  <a:pt x="149" y="1141"/>
                  <a:pt x="149" y="1141"/>
                  <a:pt x="149" y="1141"/>
                </a:cubicBezTo>
                <a:cubicBezTo>
                  <a:pt x="151" y="1153"/>
                  <a:pt x="151" y="1153"/>
                  <a:pt x="151" y="1153"/>
                </a:cubicBezTo>
                <a:cubicBezTo>
                  <a:pt x="151" y="1153"/>
                  <a:pt x="151" y="1153"/>
                  <a:pt x="157" y="1143"/>
                </a:cubicBezTo>
                <a:cubicBezTo>
                  <a:pt x="164" y="1133"/>
                  <a:pt x="151" y="1153"/>
                  <a:pt x="158" y="1151"/>
                </a:cubicBezTo>
                <a:cubicBezTo>
                  <a:pt x="165" y="1149"/>
                  <a:pt x="169" y="1148"/>
                  <a:pt x="169" y="1148"/>
                </a:cubicBezTo>
                <a:cubicBezTo>
                  <a:pt x="169" y="1148"/>
                  <a:pt x="174" y="1162"/>
                  <a:pt x="174" y="1164"/>
                </a:cubicBezTo>
                <a:cubicBezTo>
                  <a:pt x="174" y="1165"/>
                  <a:pt x="180" y="1168"/>
                  <a:pt x="182" y="1175"/>
                </a:cubicBezTo>
                <a:cubicBezTo>
                  <a:pt x="184" y="1182"/>
                  <a:pt x="178" y="1193"/>
                  <a:pt x="178" y="1193"/>
                </a:cubicBezTo>
                <a:cubicBezTo>
                  <a:pt x="178" y="1193"/>
                  <a:pt x="184" y="1193"/>
                  <a:pt x="189" y="1198"/>
                </a:cubicBezTo>
                <a:cubicBezTo>
                  <a:pt x="193" y="1204"/>
                  <a:pt x="188" y="1216"/>
                  <a:pt x="187" y="1220"/>
                </a:cubicBezTo>
                <a:cubicBezTo>
                  <a:pt x="187" y="1225"/>
                  <a:pt x="193" y="1237"/>
                  <a:pt x="193" y="1237"/>
                </a:cubicBezTo>
                <a:cubicBezTo>
                  <a:pt x="187" y="1243"/>
                  <a:pt x="187" y="1243"/>
                  <a:pt x="187" y="1243"/>
                </a:cubicBezTo>
                <a:cubicBezTo>
                  <a:pt x="178" y="1243"/>
                  <a:pt x="178" y="1243"/>
                  <a:pt x="178" y="1243"/>
                </a:cubicBezTo>
                <a:cubicBezTo>
                  <a:pt x="177" y="1246"/>
                  <a:pt x="177" y="1246"/>
                  <a:pt x="177" y="1246"/>
                </a:cubicBezTo>
                <a:cubicBezTo>
                  <a:pt x="180" y="1252"/>
                  <a:pt x="180" y="1252"/>
                  <a:pt x="180" y="1252"/>
                </a:cubicBezTo>
                <a:cubicBezTo>
                  <a:pt x="180" y="1252"/>
                  <a:pt x="177" y="1257"/>
                  <a:pt x="177" y="1262"/>
                </a:cubicBezTo>
                <a:cubicBezTo>
                  <a:pt x="177" y="1268"/>
                  <a:pt x="181" y="1272"/>
                  <a:pt x="181" y="1272"/>
                </a:cubicBezTo>
                <a:cubicBezTo>
                  <a:pt x="187" y="1268"/>
                  <a:pt x="187" y="1268"/>
                  <a:pt x="187" y="1268"/>
                </a:cubicBezTo>
                <a:cubicBezTo>
                  <a:pt x="187" y="1268"/>
                  <a:pt x="196" y="1275"/>
                  <a:pt x="198" y="1275"/>
                </a:cubicBezTo>
                <a:cubicBezTo>
                  <a:pt x="199" y="1276"/>
                  <a:pt x="202" y="1285"/>
                  <a:pt x="197" y="1285"/>
                </a:cubicBezTo>
                <a:cubicBezTo>
                  <a:pt x="192" y="1285"/>
                  <a:pt x="193" y="1300"/>
                  <a:pt x="193" y="1300"/>
                </a:cubicBezTo>
                <a:cubicBezTo>
                  <a:pt x="197" y="1309"/>
                  <a:pt x="197" y="1309"/>
                  <a:pt x="197" y="1309"/>
                </a:cubicBezTo>
                <a:cubicBezTo>
                  <a:pt x="192" y="1309"/>
                  <a:pt x="192" y="1309"/>
                  <a:pt x="192" y="1309"/>
                </a:cubicBezTo>
                <a:cubicBezTo>
                  <a:pt x="182" y="1296"/>
                  <a:pt x="182" y="1296"/>
                  <a:pt x="182" y="1296"/>
                </a:cubicBezTo>
                <a:cubicBezTo>
                  <a:pt x="182" y="1296"/>
                  <a:pt x="182" y="1329"/>
                  <a:pt x="182" y="1333"/>
                </a:cubicBezTo>
                <a:cubicBezTo>
                  <a:pt x="182" y="1337"/>
                  <a:pt x="173" y="1349"/>
                  <a:pt x="170" y="1352"/>
                </a:cubicBezTo>
                <a:cubicBezTo>
                  <a:pt x="166" y="1355"/>
                  <a:pt x="175" y="1357"/>
                  <a:pt x="175" y="1357"/>
                </a:cubicBezTo>
                <a:cubicBezTo>
                  <a:pt x="175" y="1357"/>
                  <a:pt x="173" y="1362"/>
                  <a:pt x="168" y="1364"/>
                </a:cubicBezTo>
                <a:cubicBezTo>
                  <a:pt x="164" y="1366"/>
                  <a:pt x="172" y="1370"/>
                  <a:pt x="172" y="1370"/>
                </a:cubicBezTo>
                <a:cubicBezTo>
                  <a:pt x="176" y="1372"/>
                  <a:pt x="176" y="1372"/>
                  <a:pt x="176" y="1372"/>
                </a:cubicBezTo>
                <a:cubicBezTo>
                  <a:pt x="178" y="1381"/>
                  <a:pt x="178" y="1381"/>
                  <a:pt x="178" y="1381"/>
                </a:cubicBezTo>
                <a:cubicBezTo>
                  <a:pt x="168" y="1393"/>
                  <a:pt x="168" y="1393"/>
                  <a:pt x="168" y="1393"/>
                </a:cubicBezTo>
                <a:cubicBezTo>
                  <a:pt x="172" y="1398"/>
                  <a:pt x="172" y="1398"/>
                  <a:pt x="172" y="1398"/>
                </a:cubicBezTo>
                <a:cubicBezTo>
                  <a:pt x="172" y="1398"/>
                  <a:pt x="173" y="1402"/>
                  <a:pt x="176" y="1402"/>
                </a:cubicBezTo>
                <a:cubicBezTo>
                  <a:pt x="179" y="1403"/>
                  <a:pt x="175" y="1412"/>
                  <a:pt x="175" y="1412"/>
                </a:cubicBezTo>
                <a:cubicBezTo>
                  <a:pt x="181" y="1412"/>
                  <a:pt x="181" y="1412"/>
                  <a:pt x="181" y="1412"/>
                </a:cubicBezTo>
                <a:cubicBezTo>
                  <a:pt x="187" y="1420"/>
                  <a:pt x="187" y="1420"/>
                  <a:pt x="187" y="1420"/>
                </a:cubicBezTo>
                <a:cubicBezTo>
                  <a:pt x="194" y="1430"/>
                  <a:pt x="194" y="1430"/>
                  <a:pt x="194" y="1430"/>
                </a:cubicBezTo>
                <a:cubicBezTo>
                  <a:pt x="195" y="1442"/>
                  <a:pt x="195" y="1442"/>
                  <a:pt x="195" y="1442"/>
                </a:cubicBezTo>
                <a:cubicBezTo>
                  <a:pt x="195" y="1442"/>
                  <a:pt x="195" y="1442"/>
                  <a:pt x="200" y="1443"/>
                </a:cubicBezTo>
                <a:cubicBezTo>
                  <a:pt x="204" y="1444"/>
                  <a:pt x="198" y="1450"/>
                  <a:pt x="199" y="1451"/>
                </a:cubicBezTo>
                <a:cubicBezTo>
                  <a:pt x="201" y="1451"/>
                  <a:pt x="200" y="1457"/>
                  <a:pt x="200" y="1457"/>
                </a:cubicBezTo>
                <a:cubicBezTo>
                  <a:pt x="206" y="1450"/>
                  <a:pt x="206" y="1450"/>
                  <a:pt x="206" y="1450"/>
                </a:cubicBezTo>
                <a:cubicBezTo>
                  <a:pt x="211" y="1451"/>
                  <a:pt x="211" y="1451"/>
                  <a:pt x="211" y="1451"/>
                </a:cubicBezTo>
                <a:cubicBezTo>
                  <a:pt x="211" y="1451"/>
                  <a:pt x="213" y="1446"/>
                  <a:pt x="219" y="1449"/>
                </a:cubicBezTo>
                <a:cubicBezTo>
                  <a:pt x="224" y="1452"/>
                  <a:pt x="234" y="1458"/>
                  <a:pt x="234" y="1458"/>
                </a:cubicBezTo>
                <a:cubicBezTo>
                  <a:pt x="266" y="1435"/>
                  <a:pt x="259" y="1426"/>
                  <a:pt x="259" y="1426"/>
                </a:cubicBezTo>
                <a:cubicBezTo>
                  <a:pt x="257" y="1420"/>
                  <a:pt x="257" y="1420"/>
                  <a:pt x="257" y="1420"/>
                </a:cubicBezTo>
                <a:cubicBezTo>
                  <a:pt x="256" y="1408"/>
                  <a:pt x="256" y="1408"/>
                  <a:pt x="256" y="1408"/>
                </a:cubicBezTo>
                <a:cubicBezTo>
                  <a:pt x="269" y="1400"/>
                  <a:pt x="269" y="1400"/>
                  <a:pt x="269" y="1400"/>
                </a:cubicBezTo>
                <a:cubicBezTo>
                  <a:pt x="276" y="1404"/>
                  <a:pt x="276" y="1404"/>
                  <a:pt x="276" y="1404"/>
                </a:cubicBezTo>
                <a:cubicBezTo>
                  <a:pt x="276" y="1404"/>
                  <a:pt x="282" y="1398"/>
                  <a:pt x="290" y="1398"/>
                </a:cubicBezTo>
                <a:cubicBezTo>
                  <a:pt x="298" y="1398"/>
                  <a:pt x="313" y="1415"/>
                  <a:pt x="313" y="1415"/>
                </a:cubicBezTo>
                <a:cubicBezTo>
                  <a:pt x="324" y="1415"/>
                  <a:pt x="324" y="1415"/>
                  <a:pt x="324" y="1415"/>
                </a:cubicBezTo>
                <a:cubicBezTo>
                  <a:pt x="325" y="1419"/>
                  <a:pt x="325" y="1419"/>
                  <a:pt x="325" y="1419"/>
                </a:cubicBezTo>
                <a:cubicBezTo>
                  <a:pt x="335" y="1407"/>
                  <a:pt x="335" y="1407"/>
                  <a:pt x="335" y="1407"/>
                </a:cubicBezTo>
                <a:cubicBezTo>
                  <a:pt x="335" y="1407"/>
                  <a:pt x="334" y="1396"/>
                  <a:pt x="334" y="1393"/>
                </a:cubicBezTo>
                <a:cubicBezTo>
                  <a:pt x="335" y="1390"/>
                  <a:pt x="343" y="1386"/>
                  <a:pt x="343" y="1386"/>
                </a:cubicBezTo>
                <a:cubicBezTo>
                  <a:pt x="343" y="1386"/>
                  <a:pt x="339" y="1384"/>
                  <a:pt x="338" y="1376"/>
                </a:cubicBezTo>
                <a:cubicBezTo>
                  <a:pt x="338" y="1369"/>
                  <a:pt x="343" y="1362"/>
                  <a:pt x="345" y="1357"/>
                </a:cubicBezTo>
                <a:cubicBezTo>
                  <a:pt x="347" y="1351"/>
                  <a:pt x="345" y="1353"/>
                  <a:pt x="343" y="1348"/>
                </a:cubicBezTo>
                <a:cubicBezTo>
                  <a:pt x="342" y="1343"/>
                  <a:pt x="346" y="1341"/>
                  <a:pt x="346" y="1341"/>
                </a:cubicBezTo>
                <a:cubicBezTo>
                  <a:pt x="346" y="1341"/>
                  <a:pt x="349" y="1318"/>
                  <a:pt x="352" y="1313"/>
                </a:cubicBezTo>
                <a:cubicBezTo>
                  <a:pt x="355" y="1308"/>
                  <a:pt x="350" y="1307"/>
                  <a:pt x="349" y="1304"/>
                </a:cubicBezTo>
                <a:cubicBezTo>
                  <a:pt x="349" y="1300"/>
                  <a:pt x="353" y="1296"/>
                  <a:pt x="355" y="1290"/>
                </a:cubicBezTo>
                <a:cubicBezTo>
                  <a:pt x="358" y="1284"/>
                  <a:pt x="352" y="1281"/>
                  <a:pt x="352" y="1281"/>
                </a:cubicBezTo>
                <a:cubicBezTo>
                  <a:pt x="358" y="1273"/>
                  <a:pt x="358" y="1273"/>
                  <a:pt x="358" y="1273"/>
                </a:cubicBezTo>
                <a:cubicBezTo>
                  <a:pt x="352" y="1270"/>
                  <a:pt x="352" y="1270"/>
                  <a:pt x="352" y="1270"/>
                </a:cubicBezTo>
                <a:cubicBezTo>
                  <a:pt x="359" y="1246"/>
                  <a:pt x="359" y="1246"/>
                  <a:pt x="359" y="1246"/>
                </a:cubicBezTo>
                <a:cubicBezTo>
                  <a:pt x="351" y="1235"/>
                  <a:pt x="351" y="1235"/>
                  <a:pt x="351" y="1235"/>
                </a:cubicBezTo>
                <a:cubicBezTo>
                  <a:pt x="347" y="1216"/>
                  <a:pt x="347" y="1216"/>
                  <a:pt x="347" y="1216"/>
                </a:cubicBezTo>
                <a:cubicBezTo>
                  <a:pt x="358" y="1199"/>
                  <a:pt x="358" y="1199"/>
                  <a:pt x="358" y="1199"/>
                </a:cubicBezTo>
                <a:cubicBezTo>
                  <a:pt x="367" y="1192"/>
                  <a:pt x="367" y="1192"/>
                  <a:pt x="367" y="1192"/>
                </a:cubicBezTo>
                <a:cubicBezTo>
                  <a:pt x="376" y="1169"/>
                  <a:pt x="376" y="1169"/>
                  <a:pt x="376" y="1169"/>
                </a:cubicBezTo>
                <a:cubicBezTo>
                  <a:pt x="366" y="1154"/>
                  <a:pt x="366" y="1154"/>
                  <a:pt x="366" y="1154"/>
                </a:cubicBezTo>
                <a:lnTo>
                  <a:pt x="367" y="1140"/>
                </a:lnTo>
                <a:close/>
                <a:moveTo>
                  <a:pt x="1030" y="1523"/>
                </a:moveTo>
                <a:cubicBezTo>
                  <a:pt x="1034" y="1520"/>
                  <a:pt x="1031" y="1518"/>
                  <a:pt x="1024" y="1517"/>
                </a:cubicBezTo>
                <a:cubicBezTo>
                  <a:pt x="1024" y="1517"/>
                  <a:pt x="1026" y="1525"/>
                  <a:pt x="1030" y="1523"/>
                </a:cubicBezTo>
                <a:close/>
                <a:moveTo>
                  <a:pt x="1070" y="1517"/>
                </a:moveTo>
                <a:cubicBezTo>
                  <a:pt x="1062" y="1515"/>
                  <a:pt x="1062" y="1515"/>
                  <a:pt x="1062" y="1515"/>
                </a:cubicBezTo>
                <a:cubicBezTo>
                  <a:pt x="1058" y="1517"/>
                  <a:pt x="1058" y="1517"/>
                  <a:pt x="1058" y="1517"/>
                </a:cubicBezTo>
                <a:cubicBezTo>
                  <a:pt x="1070" y="1526"/>
                  <a:pt x="1070" y="1526"/>
                  <a:pt x="1070" y="1526"/>
                </a:cubicBezTo>
                <a:lnTo>
                  <a:pt x="1070" y="1517"/>
                </a:lnTo>
                <a:close/>
                <a:moveTo>
                  <a:pt x="1081" y="1528"/>
                </a:moveTo>
                <a:cubicBezTo>
                  <a:pt x="1075" y="1527"/>
                  <a:pt x="1075" y="1527"/>
                  <a:pt x="1075" y="1527"/>
                </a:cubicBezTo>
                <a:cubicBezTo>
                  <a:pt x="1073" y="1535"/>
                  <a:pt x="1073" y="1535"/>
                  <a:pt x="1073" y="1535"/>
                </a:cubicBezTo>
                <a:cubicBezTo>
                  <a:pt x="1082" y="1540"/>
                  <a:pt x="1082" y="1540"/>
                  <a:pt x="1082" y="1540"/>
                </a:cubicBezTo>
                <a:cubicBezTo>
                  <a:pt x="1081" y="1547"/>
                  <a:pt x="1081" y="1547"/>
                  <a:pt x="1081" y="1547"/>
                </a:cubicBezTo>
                <a:cubicBezTo>
                  <a:pt x="1092" y="1556"/>
                  <a:pt x="1092" y="1556"/>
                  <a:pt x="1092" y="1556"/>
                </a:cubicBezTo>
                <a:cubicBezTo>
                  <a:pt x="1092" y="1556"/>
                  <a:pt x="1091" y="1552"/>
                  <a:pt x="1087" y="1547"/>
                </a:cubicBezTo>
                <a:cubicBezTo>
                  <a:pt x="1084" y="1541"/>
                  <a:pt x="1090" y="1535"/>
                  <a:pt x="1090" y="1535"/>
                </a:cubicBezTo>
                <a:lnTo>
                  <a:pt x="1081" y="1528"/>
                </a:lnTo>
                <a:close/>
                <a:moveTo>
                  <a:pt x="1097" y="1506"/>
                </a:moveTo>
                <a:cubicBezTo>
                  <a:pt x="1088" y="1505"/>
                  <a:pt x="1090" y="1505"/>
                  <a:pt x="1095" y="1509"/>
                </a:cubicBezTo>
                <a:cubicBezTo>
                  <a:pt x="1100" y="1512"/>
                  <a:pt x="1097" y="1506"/>
                  <a:pt x="1097" y="1506"/>
                </a:cubicBezTo>
                <a:close/>
                <a:moveTo>
                  <a:pt x="1118" y="1472"/>
                </a:moveTo>
                <a:cubicBezTo>
                  <a:pt x="1112" y="1477"/>
                  <a:pt x="1112" y="1477"/>
                  <a:pt x="1112" y="1477"/>
                </a:cubicBezTo>
                <a:cubicBezTo>
                  <a:pt x="1114" y="1480"/>
                  <a:pt x="1115" y="1483"/>
                  <a:pt x="1115" y="1483"/>
                </a:cubicBezTo>
                <a:cubicBezTo>
                  <a:pt x="1121" y="1476"/>
                  <a:pt x="1121" y="1476"/>
                  <a:pt x="1121" y="1476"/>
                </a:cubicBezTo>
                <a:lnTo>
                  <a:pt x="1118" y="1472"/>
                </a:lnTo>
                <a:close/>
                <a:moveTo>
                  <a:pt x="1180" y="1570"/>
                </a:moveTo>
                <a:cubicBezTo>
                  <a:pt x="1176" y="1570"/>
                  <a:pt x="1166" y="1564"/>
                  <a:pt x="1166" y="1564"/>
                </a:cubicBezTo>
                <a:cubicBezTo>
                  <a:pt x="1166" y="1564"/>
                  <a:pt x="1152" y="1575"/>
                  <a:pt x="1139" y="1579"/>
                </a:cubicBezTo>
                <a:cubicBezTo>
                  <a:pt x="1127" y="1583"/>
                  <a:pt x="1126" y="1583"/>
                  <a:pt x="1126" y="1583"/>
                </a:cubicBezTo>
                <a:cubicBezTo>
                  <a:pt x="1126" y="1583"/>
                  <a:pt x="1127" y="1575"/>
                  <a:pt x="1126" y="1573"/>
                </a:cubicBezTo>
                <a:cubicBezTo>
                  <a:pt x="1125" y="1571"/>
                  <a:pt x="1121" y="1571"/>
                  <a:pt x="1123" y="1574"/>
                </a:cubicBezTo>
                <a:cubicBezTo>
                  <a:pt x="1126" y="1577"/>
                  <a:pt x="1121" y="1584"/>
                  <a:pt x="1120" y="1586"/>
                </a:cubicBezTo>
                <a:cubicBezTo>
                  <a:pt x="1120" y="1588"/>
                  <a:pt x="1103" y="1599"/>
                  <a:pt x="1103" y="1599"/>
                </a:cubicBezTo>
                <a:cubicBezTo>
                  <a:pt x="1098" y="1593"/>
                  <a:pt x="1098" y="1593"/>
                  <a:pt x="1098" y="1593"/>
                </a:cubicBezTo>
                <a:cubicBezTo>
                  <a:pt x="1085" y="1592"/>
                  <a:pt x="1085" y="1592"/>
                  <a:pt x="1085" y="1592"/>
                </a:cubicBezTo>
                <a:cubicBezTo>
                  <a:pt x="1080" y="1587"/>
                  <a:pt x="1080" y="1587"/>
                  <a:pt x="1080" y="1587"/>
                </a:cubicBezTo>
                <a:cubicBezTo>
                  <a:pt x="1080" y="1587"/>
                  <a:pt x="1072" y="1590"/>
                  <a:pt x="1065" y="1593"/>
                </a:cubicBezTo>
                <a:cubicBezTo>
                  <a:pt x="1059" y="1595"/>
                  <a:pt x="1055" y="1592"/>
                  <a:pt x="1055" y="1592"/>
                </a:cubicBezTo>
                <a:cubicBezTo>
                  <a:pt x="1055" y="1592"/>
                  <a:pt x="1040" y="1608"/>
                  <a:pt x="1031" y="1612"/>
                </a:cubicBezTo>
                <a:cubicBezTo>
                  <a:pt x="1023" y="1616"/>
                  <a:pt x="1012" y="1615"/>
                  <a:pt x="1012" y="1615"/>
                </a:cubicBezTo>
                <a:cubicBezTo>
                  <a:pt x="992" y="1622"/>
                  <a:pt x="992" y="1622"/>
                  <a:pt x="992" y="1622"/>
                </a:cubicBezTo>
                <a:cubicBezTo>
                  <a:pt x="960" y="1620"/>
                  <a:pt x="960" y="1620"/>
                  <a:pt x="960" y="1620"/>
                </a:cubicBezTo>
                <a:cubicBezTo>
                  <a:pt x="960" y="1620"/>
                  <a:pt x="953" y="1616"/>
                  <a:pt x="949" y="1616"/>
                </a:cubicBezTo>
                <a:cubicBezTo>
                  <a:pt x="945" y="1616"/>
                  <a:pt x="928" y="1627"/>
                  <a:pt x="926" y="1628"/>
                </a:cubicBezTo>
                <a:cubicBezTo>
                  <a:pt x="925" y="1629"/>
                  <a:pt x="907" y="1627"/>
                  <a:pt x="907" y="1627"/>
                </a:cubicBezTo>
                <a:cubicBezTo>
                  <a:pt x="886" y="1614"/>
                  <a:pt x="886" y="1614"/>
                  <a:pt x="886" y="1614"/>
                </a:cubicBezTo>
                <a:cubicBezTo>
                  <a:pt x="883" y="1603"/>
                  <a:pt x="883" y="1603"/>
                  <a:pt x="883" y="1603"/>
                </a:cubicBezTo>
                <a:cubicBezTo>
                  <a:pt x="883" y="1603"/>
                  <a:pt x="870" y="1608"/>
                  <a:pt x="864" y="1606"/>
                </a:cubicBezTo>
                <a:cubicBezTo>
                  <a:pt x="857" y="1605"/>
                  <a:pt x="862" y="1592"/>
                  <a:pt x="862" y="1592"/>
                </a:cubicBezTo>
                <a:cubicBezTo>
                  <a:pt x="855" y="1584"/>
                  <a:pt x="855" y="1584"/>
                  <a:pt x="855" y="1584"/>
                </a:cubicBezTo>
                <a:cubicBezTo>
                  <a:pt x="837" y="1596"/>
                  <a:pt x="837" y="1596"/>
                  <a:pt x="837" y="1596"/>
                </a:cubicBezTo>
                <a:cubicBezTo>
                  <a:pt x="824" y="1592"/>
                  <a:pt x="824" y="1592"/>
                  <a:pt x="824" y="1592"/>
                </a:cubicBezTo>
                <a:cubicBezTo>
                  <a:pt x="817" y="1601"/>
                  <a:pt x="817" y="1601"/>
                  <a:pt x="817" y="1601"/>
                </a:cubicBezTo>
                <a:cubicBezTo>
                  <a:pt x="817" y="1601"/>
                  <a:pt x="820" y="1610"/>
                  <a:pt x="817" y="1612"/>
                </a:cubicBezTo>
                <a:cubicBezTo>
                  <a:pt x="812" y="1616"/>
                  <a:pt x="791" y="1619"/>
                  <a:pt x="791" y="1619"/>
                </a:cubicBezTo>
                <a:cubicBezTo>
                  <a:pt x="781" y="1608"/>
                  <a:pt x="781" y="1608"/>
                  <a:pt x="781" y="1608"/>
                </a:cubicBezTo>
                <a:cubicBezTo>
                  <a:pt x="781" y="1608"/>
                  <a:pt x="779" y="1598"/>
                  <a:pt x="777" y="1594"/>
                </a:cubicBezTo>
                <a:cubicBezTo>
                  <a:pt x="774" y="1589"/>
                  <a:pt x="771" y="1591"/>
                  <a:pt x="771" y="1591"/>
                </a:cubicBezTo>
                <a:cubicBezTo>
                  <a:pt x="766" y="1594"/>
                  <a:pt x="772" y="1601"/>
                  <a:pt x="772" y="1601"/>
                </a:cubicBezTo>
                <a:cubicBezTo>
                  <a:pt x="769" y="1606"/>
                  <a:pt x="769" y="1606"/>
                  <a:pt x="769" y="1606"/>
                </a:cubicBezTo>
                <a:cubicBezTo>
                  <a:pt x="763" y="1606"/>
                  <a:pt x="763" y="1606"/>
                  <a:pt x="763" y="1606"/>
                </a:cubicBezTo>
                <a:cubicBezTo>
                  <a:pt x="756" y="1613"/>
                  <a:pt x="756" y="1613"/>
                  <a:pt x="756" y="1613"/>
                </a:cubicBezTo>
                <a:cubicBezTo>
                  <a:pt x="747" y="1613"/>
                  <a:pt x="747" y="1613"/>
                  <a:pt x="747" y="1613"/>
                </a:cubicBezTo>
                <a:cubicBezTo>
                  <a:pt x="747" y="1613"/>
                  <a:pt x="748" y="1615"/>
                  <a:pt x="742" y="1620"/>
                </a:cubicBezTo>
                <a:cubicBezTo>
                  <a:pt x="737" y="1626"/>
                  <a:pt x="739" y="1636"/>
                  <a:pt x="739" y="1636"/>
                </a:cubicBezTo>
                <a:cubicBezTo>
                  <a:pt x="733" y="1641"/>
                  <a:pt x="733" y="1641"/>
                  <a:pt x="733" y="1641"/>
                </a:cubicBezTo>
                <a:cubicBezTo>
                  <a:pt x="733" y="1641"/>
                  <a:pt x="736" y="1647"/>
                  <a:pt x="736" y="1649"/>
                </a:cubicBezTo>
                <a:cubicBezTo>
                  <a:pt x="736" y="1650"/>
                  <a:pt x="735" y="1655"/>
                  <a:pt x="735" y="1655"/>
                </a:cubicBezTo>
                <a:cubicBezTo>
                  <a:pt x="735" y="1655"/>
                  <a:pt x="730" y="1644"/>
                  <a:pt x="727" y="1646"/>
                </a:cubicBezTo>
                <a:cubicBezTo>
                  <a:pt x="725" y="1647"/>
                  <a:pt x="729" y="1653"/>
                  <a:pt x="733" y="1655"/>
                </a:cubicBezTo>
                <a:cubicBezTo>
                  <a:pt x="737" y="1658"/>
                  <a:pt x="729" y="1660"/>
                  <a:pt x="729" y="1660"/>
                </a:cubicBezTo>
                <a:cubicBezTo>
                  <a:pt x="735" y="1671"/>
                  <a:pt x="735" y="1671"/>
                  <a:pt x="735" y="1671"/>
                </a:cubicBezTo>
                <a:cubicBezTo>
                  <a:pt x="735" y="1681"/>
                  <a:pt x="735" y="1681"/>
                  <a:pt x="735" y="1681"/>
                </a:cubicBezTo>
                <a:cubicBezTo>
                  <a:pt x="740" y="1687"/>
                  <a:pt x="740" y="1687"/>
                  <a:pt x="740" y="1687"/>
                </a:cubicBezTo>
                <a:cubicBezTo>
                  <a:pt x="740" y="1687"/>
                  <a:pt x="749" y="1688"/>
                  <a:pt x="753" y="1690"/>
                </a:cubicBezTo>
                <a:cubicBezTo>
                  <a:pt x="756" y="1692"/>
                  <a:pt x="764" y="1704"/>
                  <a:pt x="764" y="1704"/>
                </a:cubicBezTo>
                <a:cubicBezTo>
                  <a:pt x="764" y="1704"/>
                  <a:pt x="771" y="1701"/>
                  <a:pt x="777" y="1700"/>
                </a:cubicBezTo>
                <a:cubicBezTo>
                  <a:pt x="783" y="1699"/>
                  <a:pt x="803" y="1703"/>
                  <a:pt x="803" y="1703"/>
                </a:cubicBezTo>
                <a:cubicBezTo>
                  <a:pt x="812" y="1714"/>
                  <a:pt x="812" y="1714"/>
                  <a:pt x="812" y="1714"/>
                </a:cubicBezTo>
                <a:cubicBezTo>
                  <a:pt x="812" y="1714"/>
                  <a:pt x="829" y="1716"/>
                  <a:pt x="834" y="1716"/>
                </a:cubicBezTo>
                <a:cubicBezTo>
                  <a:pt x="839" y="1716"/>
                  <a:pt x="845" y="1728"/>
                  <a:pt x="845" y="1728"/>
                </a:cubicBezTo>
                <a:cubicBezTo>
                  <a:pt x="845" y="1728"/>
                  <a:pt x="847" y="1729"/>
                  <a:pt x="849" y="1734"/>
                </a:cubicBezTo>
                <a:cubicBezTo>
                  <a:pt x="851" y="1739"/>
                  <a:pt x="864" y="1743"/>
                  <a:pt x="865" y="1743"/>
                </a:cubicBezTo>
                <a:cubicBezTo>
                  <a:pt x="866" y="1743"/>
                  <a:pt x="873" y="1752"/>
                  <a:pt x="873" y="1752"/>
                </a:cubicBezTo>
                <a:cubicBezTo>
                  <a:pt x="888" y="1752"/>
                  <a:pt x="888" y="1752"/>
                  <a:pt x="888" y="1752"/>
                </a:cubicBezTo>
                <a:cubicBezTo>
                  <a:pt x="888" y="1752"/>
                  <a:pt x="896" y="1760"/>
                  <a:pt x="901" y="1764"/>
                </a:cubicBezTo>
                <a:cubicBezTo>
                  <a:pt x="906" y="1768"/>
                  <a:pt x="916" y="1776"/>
                  <a:pt x="917" y="1777"/>
                </a:cubicBezTo>
                <a:cubicBezTo>
                  <a:pt x="918" y="1777"/>
                  <a:pt x="926" y="1776"/>
                  <a:pt x="926" y="1776"/>
                </a:cubicBezTo>
                <a:cubicBezTo>
                  <a:pt x="936" y="1784"/>
                  <a:pt x="936" y="1784"/>
                  <a:pt x="936" y="1784"/>
                </a:cubicBezTo>
                <a:cubicBezTo>
                  <a:pt x="942" y="1783"/>
                  <a:pt x="942" y="1783"/>
                  <a:pt x="942" y="1783"/>
                </a:cubicBezTo>
                <a:cubicBezTo>
                  <a:pt x="987" y="1784"/>
                  <a:pt x="992" y="1792"/>
                  <a:pt x="1000" y="1798"/>
                </a:cubicBezTo>
                <a:cubicBezTo>
                  <a:pt x="1008" y="1804"/>
                  <a:pt x="1022" y="1839"/>
                  <a:pt x="1022" y="1839"/>
                </a:cubicBezTo>
                <a:cubicBezTo>
                  <a:pt x="1041" y="1841"/>
                  <a:pt x="1041" y="1841"/>
                  <a:pt x="1041" y="1841"/>
                </a:cubicBezTo>
                <a:cubicBezTo>
                  <a:pt x="1051" y="1849"/>
                  <a:pt x="1051" y="1849"/>
                  <a:pt x="1051" y="1849"/>
                </a:cubicBezTo>
                <a:cubicBezTo>
                  <a:pt x="1061" y="1849"/>
                  <a:pt x="1061" y="1849"/>
                  <a:pt x="1061" y="1849"/>
                </a:cubicBezTo>
                <a:cubicBezTo>
                  <a:pt x="1065" y="1853"/>
                  <a:pt x="1065" y="1853"/>
                  <a:pt x="1065" y="1853"/>
                </a:cubicBezTo>
                <a:cubicBezTo>
                  <a:pt x="1065" y="1853"/>
                  <a:pt x="1078" y="1848"/>
                  <a:pt x="1080" y="1849"/>
                </a:cubicBezTo>
                <a:cubicBezTo>
                  <a:pt x="1082" y="1849"/>
                  <a:pt x="1090" y="1855"/>
                  <a:pt x="1090" y="1855"/>
                </a:cubicBezTo>
                <a:cubicBezTo>
                  <a:pt x="1090" y="1855"/>
                  <a:pt x="1091" y="1854"/>
                  <a:pt x="1101" y="1854"/>
                </a:cubicBezTo>
                <a:cubicBezTo>
                  <a:pt x="1111" y="1854"/>
                  <a:pt x="1109" y="1861"/>
                  <a:pt x="1109" y="1861"/>
                </a:cubicBezTo>
                <a:cubicBezTo>
                  <a:pt x="1117" y="1855"/>
                  <a:pt x="1117" y="1855"/>
                  <a:pt x="1117" y="1855"/>
                </a:cubicBezTo>
                <a:cubicBezTo>
                  <a:pt x="1117" y="1855"/>
                  <a:pt x="1113" y="1844"/>
                  <a:pt x="1111" y="1838"/>
                </a:cubicBezTo>
                <a:cubicBezTo>
                  <a:pt x="1109" y="1832"/>
                  <a:pt x="1118" y="1817"/>
                  <a:pt x="1119" y="1813"/>
                </a:cubicBezTo>
                <a:cubicBezTo>
                  <a:pt x="1121" y="1809"/>
                  <a:pt x="1134" y="1805"/>
                  <a:pt x="1134" y="1805"/>
                </a:cubicBezTo>
                <a:cubicBezTo>
                  <a:pt x="1136" y="1797"/>
                  <a:pt x="1136" y="1797"/>
                  <a:pt x="1136" y="1797"/>
                </a:cubicBezTo>
                <a:cubicBezTo>
                  <a:pt x="1146" y="1797"/>
                  <a:pt x="1146" y="1797"/>
                  <a:pt x="1146" y="1797"/>
                </a:cubicBezTo>
                <a:cubicBezTo>
                  <a:pt x="1146" y="1797"/>
                  <a:pt x="1145" y="1796"/>
                  <a:pt x="1142" y="1792"/>
                </a:cubicBezTo>
                <a:cubicBezTo>
                  <a:pt x="1140" y="1788"/>
                  <a:pt x="1135" y="1791"/>
                  <a:pt x="1135" y="1789"/>
                </a:cubicBezTo>
                <a:cubicBezTo>
                  <a:pt x="1135" y="1786"/>
                  <a:pt x="1139" y="1783"/>
                  <a:pt x="1137" y="1780"/>
                </a:cubicBezTo>
                <a:cubicBezTo>
                  <a:pt x="1136" y="1778"/>
                  <a:pt x="1130" y="1777"/>
                  <a:pt x="1130" y="1777"/>
                </a:cubicBezTo>
                <a:cubicBezTo>
                  <a:pt x="1129" y="1771"/>
                  <a:pt x="1129" y="1771"/>
                  <a:pt x="1129" y="1771"/>
                </a:cubicBezTo>
                <a:cubicBezTo>
                  <a:pt x="1125" y="1772"/>
                  <a:pt x="1125" y="1772"/>
                  <a:pt x="1125" y="1772"/>
                </a:cubicBezTo>
                <a:cubicBezTo>
                  <a:pt x="1122" y="1760"/>
                  <a:pt x="1122" y="1760"/>
                  <a:pt x="1122" y="1760"/>
                </a:cubicBezTo>
                <a:cubicBezTo>
                  <a:pt x="1122" y="1760"/>
                  <a:pt x="1123" y="1755"/>
                  <a:pt x="1127" y="1755"/>
                </a:cubicBezTo>
                <a:cubicBezTo>
                  <a:pt x="1130" y="1755"/>
                  <a:pt x="1128" y="1759"/>
                  <a:pt x="1128" y="1759"/>
                </a:cubicBezTo>
                <a:cubicBezTo>
                  <a:pt x="1131" y="1755"/>
                  <a:pt x="1131" y="1755"/>
                  <a:pt x="1131" y="1755"/>
                </a:cubicBezTo>
                <a:cubicBezTo>
                  <a:pt x="1131" y="1755"/>
                  <a:pt x="1129" y="1752"/>
                  <a:pt x="1124" y="1749"/>
                </a:cubicBezTo>
                <a:cubicBezTo>
                  <a:pt x="1120" y="1746"/>
                  <a:pt x="1115" y="1746"/>
                  <a:pt x="1110" y="1744"/>
                </a:cubicBezTo>
                <a:cubicBezTo>
                  <a:pt x="1106" y="1741"/>
                  <a:pt x="1105" y="1715"/>
                  <a:pt x="1105" y="1715"/>
                </a:cubicBezTo>
                <a:cubicBezTo>
                  <a:pt x="1118" y="1696"/>
                  <a:pt x="1118" y="1696"/>
                  <a:pt x="1118" y="1696"/>
                </a:cubicBezTo>
                <a:cubicBezTo>
                  <a:pt x="1117" y="1686"/>
                  <a:pt x="1117" y="1686"/>
                  <a:pt x="1117" y="1686"/>
                </a:cubicBezTo>
                <a:cubicBezTo>
                  <a:pt x="1124" y="1671"/>
                  <a:pt x="1124" y="1671"/>
                  <a:pt x="1124" y="1671"/>
                </a:cubicBezTo>
                <a:cubicBezTo>
                  <a:pt x="1124" y="1671"/>
                  <a:pt x="1121" y="1667"/>
                  <a:pt x="1122" y="1664"/>
                </a:cubicBezTo>
                <a:cubicBezTo>
                  <a:pt x="1123" y="1662"/>
                  <a:pt x="1134" y="1640"/>
                  <a:pt x="1134" y="1640"/>
                </a:cubicBezTo>
                <a:cubicBezTo>
                  <a:pt x="1134" y="1640"/>
                  <a:pt x="1157" y="1610"/>
                  <a:pt x="1162" y="1605"/>
                </a:cubicBezTo>
                <a:cubicBezTo>
                  <a:pt x="1166" y="1601"/>
                  <a:pt x="1170" y="1582"/>
                  <a:pt x="1170" y="1577"/>
                </a:cubicBezTo>
                <a:cubicBezTo>
                  <a:pt x="1170" y="1572"/>
                  <a:pt x="1185" y="1570"/>
                  <a:pt x="1180" y="1570"/>
                </a:cubicBezTo>
                <a:close/>
                <a:moveTo>
                  <a:pt x="714" y="1621"/>
                </a:moveTo>
                <a:cubicBezTo>
                  <a:pt x="714" y="1621"/>
                  <a:pt x="707" y="1629"/>
                  <a:pt x="714" y="1629"/>
                </a:cubicBezTo>
                <a:cubicBezTo>
                  <a:pt x="722" y="1629"/>
                  <a:pt x="714" y="1621"/>
                  <a:pt x="714" y="1621"/>
                </a:cubicBezTo>
                <a:close/>
                <a:moveTo>
                  <a:pt x="834" y="1495"/>
                </a:moveTo>
                <a:cubicBezTo>
                  <a:pt x="828" y="1492"/>
                  <a:pt x="828" y="1500"/>
                  <a:pt x="828" y="1500"/>
                </a:cubicBezTo>
                <a:cubicBezTo>
                  <a:pt x="828" y="1500"/>
                  <a:pt x="841" y="1499"/>
                  <a:pt x="834" y="1495"/>
                </a:cubicBezTo>
                <a:close/>
                <a:moveTo>
                  <a:pt x="996" y="1526"/>
                </a:moveTo>
                <a:cubicBezTo>
                  <a:pt x="1001" y="1525"/>
                  <a:pt x="1001" y="1525"/>
                  <a:pt x="1001" y="1525"/>
                </a:cubicBezTo>
                <a:cubicBezTo>
                  <a:pt x="1001" y="1525"/>
                  <a:pt x="992" y="1516"/>
                  <a:pt x="996" y="1526"/>
                </a:cubicBezTo>
                <a:close/>
                <a:moveTo>
                  <a:pt x="656" y="1836"/>
                </a:moveTo>
                <a:cubicBezTo>
                  <a:pt x="655" y="1841"/>
                  <a:pt x="655" y="1841"/>
                  <a:pt x="655" y="1841"/>
                </a:cubicBezTo>
                <a:cubicBezTo>
                  <a:pt x="666" y="1851"/>
                  <a:pt x="666" y="1851"/>
                  <a:pt x="666" y="1851"/>
                </a:cubicBezTo>
                <a:cubicBezTo>
                  <a:pt x="673" y="1848"/>
                  <a:pt x="673" y="1848"/>
                  <a:pt x="673" y="1848"/>
                </a:cubicBezTo>
                <a:cubicBezTo>
                  <a:pt x="673" y="1841"/>
                  <a:pt x="673" y="1841"/>
                  <a:pt x="673" y="1841"/>
                </a:cubicBezTo>
                <a:cubicBezTo>
                  <a:pt x="673" y="1841"/>
                  <a:pt x="666" y="1830"/>
                  <a:pt x="656" y="1836"/>
                </a:cubicBezTo>
                <a:close/>
                <a:moveTo>
                  <a:pt x="673" y="1627"/>
                </a:moveTo>
                <a:cubicBezTo>
                  <a:pt x="673" y="1627"/>
                  <a:pt x="673" y="1633"/>
                  <a:pt x="677" y="1632"/>
                </a:cubicBezTo>
                <a:cubicBezTo>
                  <a:pt x="681" y="1631"/>
                  <a:pt x="678" y="1627"/>
                  <a:pt x="673" y="1627"/>
                </a:cubicBezTo>
                <a:close/>
                <a:moveTo>
                  <a:pt x="707" y="1636"/>
                </a:moveTo>
                <a:cubicBezTo>
                  <a:pt x="707" y="1640"/>
                  <a:pt x="707" y="1640"/>
                  <a:pt x="707" y="1640"/>
                </a:cubicBezTo>
                <a:cubicBezTo>
                  <a:pt x="718" y="1644"/>
                  <a:pt x="718" y="1644"/>
                  <a:pt x="718" y="1644"/>
                </a:cubicBezTo>
                <a:cubicBezTo>
                  <a:pt x="718" y="1644"/>
                  <a:pt x="723" y="1638"/>
                  <a:pt x="707" y="1636"/>
                </a:cubicBezTo>
                <a:close/>
              </a:path>
            </a:pathLst>
          </a:custGeom>
          <a:solidFill>
            <a:schemeClr val="bg1">
              <a:lumMod val="65000"/>
            </a:schemeClr>
          </a:solidFill>
          <a:ln w="12700" cap="flat" cmpd="sng">
            <a:solidFill>
              <a:schemeClr val="bg1"/>
            </a:solidFill>
            <a:prstDash val="solid"/>
            <a:miter lim="800000"/>
            <a:headEnd type="none" w="med" len="med"/>
            <a:tailEnd type="none" w="med" len="med"/>
          </a:ln>
          <a:effectLst>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a:p>
        </p:txBody>
      </p:sp>
      <p:grpSp>
        <p:nvGrpSpPr>
          <p:cNvPr id="40" name="Gruppieren 137"/>
          <p:cNvGrpSpPr/>
          <p:nvPr/>
        </p:nvGrpSpPr>
        <p:grpSpPr>
          <a:xfrm>
            <a:off x="2349190" y="1011936"/>
            <a:ext cx="347663" cy="338138"/>
            <a:chOff x="203518" y="4378643"/>
            <a:chExt cx="347663" cy="338138"/>
          </a:xfrm>
        </p:grpSpPr>
        <p:pic>
          <p:nvPicPr>
            <p:cNvPr id="41" name="Grafik 40" descr="schatten.png"/>
            <p:cNvPicPr>
              <a:picLocks noChangeAspect="1"/>
            </p:cNvPicPr>
            <p:nvPr/>
          </p:nvPicPr>
          <p:blipFill>
            <a:blip r:embed="rId3" cstate="print">
              <a:lum bright="30000"/>
            </a:blip>
            <a:srcRect l="17603" t="9404" r="15359" b="14528"/>
            <a:stretch>
              <a:fillRect/>
            </a:stretch>
          </p:blipFill>
          <p:spPr>
            <a:xfrm>
              <a:off x="203518" y="4378643"/>
              <a:ext cx="347663" cy="338138"/>
            </a:xfrm>
            <a:prstGeom prst="rect">
              <a:avLst/>
            </a:prstGeom>
          </p:spPr>
        </p:pic>
        <p:sp>
          <p:nvSpPr>
            <p:cNvPr id="42"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43" name="Gruppieren 140"/>
          <p:cNvGrpSpPr/>
          <p:nvPr/>
        </p:nvGrpSpPr>
        <p:grpSpPr>
          <a:xfrm>
            <a:off x="3430878" y="2053455"/>
            <a:ext cx="347663" cy="338138"/>
            <a:chOff x="203518" y="4966018"/>
            <a:chExt cx="347663" cy="338138"/>
          </a:xfrm>
        </p:grpSpPr>
        <p:pic>
          <p:nvPicPr>
            <p:cNvPr id="44" name="Grafik 43" descr="schatten.png"/>
            <p:cNvPicPr>
              <a:picLocks noChangeAspect="1"/>
            </p:cNvPicPr>
            <p:nvPr/>
          </p:nvPicPr>
          <p:blipFill>
            <a:blip r:embed="rId3" cstate="print">
              <a:lum bright="30000"/>
            </a:blip>
            <a:srcRect l="17603" t="9404" r="15359" b="14528"/>
            <a:stretch>
              <a:fillRect/>
            </a:stretch>
          </p:blipFill>
          <p:spPr>
            <a:xfrm>
              <a:off x="203518" y="4966018"/>
              <a:ext cx="347663" cy="338138"/>
            </a:xfrm>
            <a:prstGeom prst="rect">
              <a:avLst/>
            </a:prstGeom>
          </p:spPr>
        </p:pic>
        <p:sp>
          <p:nvSpPr>
            <p:cNvPr id="45"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49" name="Gruppieren 111"/>
          <p:cNvGrpSpPr/>
          <p:nvPr/>
        </p:nvGrpSpPr>
        <p:grpSpPr>
          <a:xfrm>
            <a:off x="203518" y="4966018"/>
            <a:ext cx="347663" cy="338138"/>
            <a:chOff x="203518" y="4966018"/>
            <a:chExt cx="347663" cy="338138"/>
          </a:xfrm>
        </p:grpSpPr>
        <p:pic>
          <p:nvPicPr>
            <p:cNvPr id="50" name="Grafik 49" descr="schatten.png"/>
            <p:cNvPicPr>
              <a:picLocks noChangeAspect="1"/>
            </p:cNvPicPr>
            <p:nvPr/>
          </p:nvPicPr>
          <p:blipFill>
            <a:blip r:embed="rId3" cstate="print">
              <a:lum bright="30000"/>
            </a:blip>
            <a:srcRect l="17603" t="9404" r="15359" b="14528"/>
            <a:stretch>
              <a:fillRect/>
            </a:stretch>
          </p:blipFill>
          <p:spPr>
            <a:xfrm>
              <a:off x="203518" y="4966018"/>
              <a:ext cx="347663" cy="338138"/>
            </a:xfrm>
            <a:prstGeom prst="rect">
              <a:avLst/>
            </a:prstGeom>
          </p:spPr>
        </p:pic>
        <p:sp>
          <p:nvSpPr>
            <p:cNvPr id="51"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smtClean="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52" name="Gruppieren 115"/>
          <p:cNvGrpSpPr/>
          <p:nvPr/>
        </p:nvGrpSpPr>
        <p:grpSpPr>
          <a:xfrm>
            <a:off x="203518" y="5530850"/>
            <a:ext cx="347663" cy="338138"/>
            <a:chOff x="203518" y="5554980"/>
            <a:chExt cx="347663" cy="338138"/>
          </a:xfrm>
        </p:grpSpPr>
        <p:pic>
          <p:nvPicPr>
            <p:cNvPr id="53" name="Grafik 52" descr="schatten.png"/>
            <p:cNvPicPr>
              <a:picLocks noChangeAspect="1"/>
            </p:cNvPicPr>
            <p:nvPr/>
          </p:nvPicPr>
          <p:blipFill>
            <a:blip r:embed="rId3" cstate="print">
              <a:lum bright="30000"/>
            </a:blip>
            <a:srcRect l="17603" t="9404" r="15359" b="14528"/>
            <a:stretch>
              <a:fillRect/>
            </a:stretch>
          </p:blipFill>
          <p:spPr>
            <a:xfrm>
              <a:off x="203518" y="5554980"/>
              <a:ext cx="347663" cy="338138"/>
            </a:xfrm>
            <a:prstGeom prst="rect">
              <a:avLst/>
            </a:prstGeom>
          </p:spPr>
        </p:pic>
        <p:sp>
          <p:nvSpPr>
            <p:cNvPr id="54"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smtClean="0">
                  <a:solidFill>
                    <a:schemeClr val="bg1"/>
                  </a:solidFill>
                  <a:latin typeface="Myriad Pro" pitchFamily="34" charset="0"/>
                </a:rPr>
                <a:t>3</a:t>
              </a:r>
              <a:endParaRPr lang="de-DE" sz="1600" b="1" noProof="1">
                <a:solidFill>
                  <a:schemeClr val="bg1"/>
                </a:solidFill>
                <a:latin typeface="Myriad Pro" pitchFamily="34" charset="0"/>
              </a:endParaRPr>
            </a:p>
          </p:txBody>
        </p:sp>
      </p:grpSp>
      <p:sp>
        <p:nvSpPr>
          <p:cNvPr id="55" name="Rectangle 5"/>
          <p:cNvSpPr>
            <a:spLocks noChangeArrowheads="1"/>
          </p:cNvSpPr>
          <p:nvPr/>
        </p:nvSpPr>
        <p:spPr bwMode="gray">
          <a:xfrm>
            <a:off x="639763" y="4966018"/>
            <a:ext cx="8251825" cy="422275"/>
          </a:xfrm>
          <a:prstGeom prst="rect">
            <a:avLst/>
          </a:prstGeom>
          <a:noFill/>
          <a:ln w="12700">
            <a:noFill/>
            <a:miter lim="800000"/>
            <a:headEnd/>
            <a:tailEnd/>
          </a:ln>
        </p:spPr>
        <p:txBody>
          <a:bodyPr lIns="0" tIns="0" rIns="0" bIns="0"/>
          <a:lstStyle/>
          <a:p>
            <a:r>
              <a:rPr lang="en-US" sz="1200" dirty="0" smtClean="0">
                <a:solidFill>
                  <a:srgbClr val="000000"/>
                </a:solidFill>
                <a:latin typeface="Myriad Pro" pitchFamily="34" charset="0"/>
                <a:ea typeface="Arial Unicode MS" pitchFamily="34" charset="-128"/>
                <a:cs typeface="Arial" charset="0"/>
              </a:rPr>
              <a:t>Um </a:t>
            </a:r>
            <a:r>
              <a:rPr lang="en-US" sz="1200" dirty="0" err="1" smtClean="0">
                <a:solidFill>
                  <a:srgbClr val="000000"/>
                </a:solidFill>
                <a:latin typeface="Myriad Pro" pitchFamily="34" charset="0"/>
                <a:ea typeface="Arial Unicode MS" pitchFamily="34" charset="-128"/>
                <a:cs typeface="Arial" charset="0"/>
              </a:rPr>
              <a:t>ein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chatteneffekt</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zu</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erstell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wähl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unter</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dem</a:t>
            </a:r>
            <a:r>
              <a:rPr lang="en-US" sz="1200" dirty="0" smtClean="0">
                <a:solidFill>
                  <a:srgbClr val="000000"/>
                </a:solidFill>
                <a:latin typeface="Myriad Pro" pitchFamily="34" charset="0"/>
                <a:ea typeface="Arial Unicode MS" pitchFamily="34" charset="-128"/>
                <a:cs typeface="Arial" charset="0"/>
              </a:rPr>
              <a:t> Reiter “Format” den </a:t>
            </a:r>
            <a:r>
              <a:rPr lang="en-US" sz="1200" dirty="0" err="1" smtClean="0">
                <a:solidFill>
                  <a:srgbClr val="000000"/>
                </a:solidFill>
                <a:latin typeface="Myriad Pro" pitchFamily="34" charset="0"/>
                <a:ea typeface="Arial Unicode MS" pitchFamily="34" charset="-128"/>
                <a:cs typeface="Arial" charset="0"/>
              </a:rPr>
              <a:t>Punkt</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Formeffekte</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aus</a:t>
            </a:r>
            <a:r>
              <a:rPr lang="en-US" sz="1200" dirty="0" smtClean="0">
                <a:solidFill>
                  <a:srgbClr val="000000"/>
                </a:solidFill>
                <a:latin typeface="Myriad Pro" pitchFamily="34" charset="0"/>
                <a:ea typeface="Arial Unicode MS" pitchFamily="34" charset="-128"/>
                <a:cs typeface="Arial" charset="0"/>
              </a:rPr>
              <a:t>.</a:t>
            </a:r>
            <a:endParaRPr lang="en-US" dirty="0">
              <a:solidFill>
                <a:srgbClr val="000000"/>
              </a:solidFill>
              <a:ea typeface="Arial Unicode MS" pitchFamily="34" charset="-128"/>
              <a:cs typeface="Arial" charset="0"/>
            </a:endParaRPr>
          </a:p>
        </p:txBody>
      </p:sp>
      <p:sp>
        <p:nvSpPr>
          <p:cNvPr id="56" name="Rectangle 5"/>
          <p:cNvSpPr>
            <a:spLocks noChangeArrowheads="1"/>
          </p:cNvSpPr>
          <p:nvPr/>
        </p:nvSpPr>
        <p:spPr bwMode="gray">
          <a:xfrm>
            <a:off x="639763" y="5530850"/>
            <a:ext cx="8251825" cy="423863"/>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Anschließend können Sie unter dem Punkt „Schatten“ verschiedene Varianten auswählen.</a:t>
            </a:r>
          </a:p>
          <a:p>
            <a:endParaRPr lang="en-US" sz="1200" dirty="0">
              <a:solidFill>
                <a:srgbClr val="000000"/>
              </a:solidFill>
              <a:latin typeface="Myriad Pro" pitchFamily="34" charset="0"/>
              <a:ea typeface="Arial Unicode MS" pitchFamily="34" charset="-128"/>
              <a:cs typeface="Arial" charset="0"/>
            </a:endParaRPr>
          </a:p>
        </p:txBody>
      </p:sp>
      <p:sp>
        <p:nvSpPr>
          <p:cNvPr id="57" name="Rectangle 5"/>
          <p:cNvSpPr>
            <a:spLocks noChangeArrowheads="1"/>
          </p:cNvSpPr>
          <p:nvPr/>
        </p:nvSpPr>
        <p:spPr bwMode="gray">
          <a:xfrm>
            <a:off x="639763" y="4378643"/>
            <a:ext cx="8251825" cy="423863"/>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Klicken Sie zunächst mit der linken Maustaste auf die Karte.</a:t>
            </a:r>
            <a:endParaRPr lang="en-US" sz="1200" dirty="0" smtClean="0">
              <a:latin typeface="Myriad Pro" pitchFamily="34" charset="0"/>
              <a:ea typeface="Arial Unicode MS" pitchFamily="34" charset="-128"/>
              <a:cs typeface="Arial" charset="0"/>
            </a:endParaRPr>
          </a:p>
        </p:txBody>
      </p:sp>
      <p:grpSp>
        <p:nvGrpSpPr>
          <p:cNvPr id="58" name="Gruppieren 108"/>
          <p:cNvGrpSpPr/>
          <p:nvPr/>
        </p:nvGrpSpPr>
        <p:grpSpPr>
          <a:xfrm>
            <a:off x="203518" y="4378643"/>
            <a:ext cx="347663" cy="338138"/>
            <a:chOff x="203518" y="4378643"/>
            <a:chExt cx="347663" cy="338138"/>
          </a:xfrm>
        </p:grpSpPr>
        <p:pic>
          <p:nvPicPr>
            <p:cNvPr id="59" name="Grafik 58" descr="schatten.png"/>
            <p:cNvPicPr>
              <a:picLocks noChangeAspect="1"/>
            </p:cNvPicPr>
            <p:nvPr/>
          </p:nvPicPr>
          <p:blipFill>
            <a:blip r:embed="rId3" cstate="print">
              <a:lum bright="30000"/>
            </a:blip>
            <a:srcRect l="17603" t="9404" r="15359" b="14528"/>
            <a:stretch>
              <a:fillRect/>
            </a:stretch>
          </p:blipFill>
          <p:spPr>
            <a:xfrm>
              <a:off x="203518" y="4378643"/>
              <a:ext cx="347663" cy="338138"/>
            </a:xfrm>
            <a:prstGeom prst="rect">
              <a:avLst/>
            </a:prstGeom>
          </p:spPr>
        </p:pic>
        <p:sp>
          <p:nvSpPr>
            <p:cNvPr id="60"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smtClean="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61" name="Freeform 273"/>
          <p:cNvSpPr>
            <a:spLocks noEditPoints="1"/>
          </p:cNvSpPr>
          <p:nvPr/>
        </p:nvSpPr>
        <p:spPr bwMode="auto">
          <a:xfrm>
            <a:off x="6302700" y="1133474"/>
            <a:ext cx="2588888" cy="3083383"/>
          </a:xfrm>
          <a:custGeom>
            <a:avLst/>
            <a:gdLst>
              <a:gd name="T0" fmla="*/ 2147483647 w 1562"/>
              <a:gd name="T1" fmla="*/ 2147483647 h 1861"/>
              <a:gd name="T2" fmla="*/ 2147483647 w 1562"/>
              <a:gd name="T3" fmla="*/ 2147483647 h 1861"/>
              <a:gd name="T4" fmla="*/ 2147483647 w 1562"/>
              <a:gd name="T5" fmla="*/ 2147483647 h 1861"/>
              <a:gd name="T6" fmla="*/ 2147483647 w 1562"/>
              <a:gd name="T7" fmla="*/ 2147483647 h 1861"/>
              <a:gd name="T8" fmla="*/ 2147483647 w 1562"/>
              <a:gd name="T9" fmla="*/ 2147483647 h 1861"/>
              <a:gd name="T10" fmla="*/ 2147483647 w 1562"/>
              <a:gd name="T11" fmla="*/ 2147483647 h 1861"/>
              <a:gd name="T12" fmla="*/ 2147483647 w 1562"/>
              <a:gd name="T13" fmla="*/ 2147483647 h 1861"/>
              <a:gd name="T14" fmla="*/ 2147483647 w 1562"/>
              <a:gd name="T15" fmla="*/ 2147483647 h 1861"/>
              <a:gd name="T16" fmla="*/ 2147483647 w 1562"/>
              <a:gd name="T17" fmla="*/ 2147483647 h 1861"/>
              <a:gd name="T18" fmla="*/ 2147483647 w 1562"/>
              <a:gd name="T19" fmla="*/ 2147483647 h 1861"/>
              <a:gd name="T20" fmla="*/ 2147483647 w 1562"/>
              <a:gd name="T21" fmla="*/ 2147483647 h 1861"/>
              <a:gd name="T22" fmla="*/ 2147483647 w 1562"/>
              <a:gd name="T23" fmla="*/ 2147483647 h 1861"/>
              <a:gd name="T24" fmla="*/ 2147483647 w 1562"/>
              <a:gd name="T25" fmla="*/ 2147483647 h 1861"/>
              <a:gd name="T26" fmla="*/ 2147483647 w 1562"/>
              <a:gd name="T27" fmla="*/ 2147483647 h 1861"/>
              <a:gd name="T28" fmla="*/ 2147483647 w 1562"/>
              <a:gd name="T29" fmla="*/ 2147483647 h 1861"/>
              <a:gd name="T30" fmla="*/ 2147483647 w 1562"/>
              <a:gd name="T31" fmla="*/ 2147483647 h 1861"/>
              <a:gd name="T32" fmla="*/ 2147483647 w 1562"/>
              <a:gd name="T33" fmla="*/ 2147483647 h 1861"/>
              <a:gd name="T34" fmla="*/ 2147483647 w 1562"/>
              <a:gd name="T35" fmla="*/ 2147483647 h 1861"/>
              <a:gd name="T36" fmla="*/ 2147483647 w 1562"/>
              <a:gd name="T37" fmla="*/ 2147483647 h 1861"/>
              <a:gd name="T38" fmla="*/ 2147483647 w 1562"/>
              <a:gd name="T39" fmla="*/ 2147483647 h 1861"/>
              <a:gd name="T40" fmla="*/ 2147483647 w 1562"/>
              <a:gd name="T41" fmla="*/ 2147483647 h 1861"/>
              <a:gd name="T42" fmla="*/ 2147483647 w 1562"/>
              <a:gd name="T43" fmla="*/ 2147483647 h 1861"/>
              <a:gd name="T44" fmla="*/ 2147483647 w 1562"/>
              <a:gd name="T45" fmla="*/ 2147483647 h 1861"/>
              <a:gd name="T46" fmla="*/ 2147483647 w 1562"/>
              <a:gd name="T47" fmla="*/ 2147483647 h 1861"/>
              <a:gd name="T48" fmla="*/ 2147483647 w 1562"/>
              <a:gd name="T49" fmla="*/ 2147483647 h 1861"/>
              <a:gd name="T50" fmla="*/ 2147483647 w 1562"/>
              <a:gd name="T51" fmla="*/ 2147483647 h 1861"/>
              <a:gd name="T52" fmla="*/ 2147483647 w 1562"/>
              <a:gd name="T53" fmla="*/ 2147483647 h 1861"/>
              <a:gd name="T54" fmla="*/ 2147483647 w 1562"/>
              <a:gd name="T55" fmla="*/ 2147483647 h 1861"/>
              <a:gd name="T56" fmla="*/ 2147483647 w 1562"/>
              <a:gd name="T57" fmla="*/ 2147483647 h 1861"/>
              <a:gd name="T58" fmla="*/ 2147483647 w 1562"/>
              <a:gd name="T59" fmla="*/ 2147483647 h 1861"/>
              <a:gd name="T60" fmla="*/ 2147483647 w 1562"/>
              <a:gd name="T61" fmla="*/ 2147483647 h 1861"/>
              <a:gd name="T62" fmla="*/ 2147483647 w 1562"/>
              <a:gd name="T63" fmla="*/ 2147483647 h 1861"/>
              <a:gd name="T64" fmla="*/ 2147483647 w 1562"/>
              <a:gd name="T65" fmla="*/ 2147483647 h 1861"/>
              <a:gd name="T66" fmla="*/ 2147483647 w 1562"/>
              <a:gd name="T67" fmla="*/ 2147483647 h 1861"/>
              <a:gd name="T68" fmla="*/ 2147483647 w 1562"/>
              <a:gd name="T69" fmla="*/ 2147483647 h 1861"/>
              <a:gd name="T70" fmla="*/ 2147483647 w 1562"/>
              <a:gd name="T71" fmla="*/ 2147483647 h 1861"/>
              <a:gd name="T72" fmla="*/ 2147483647 w 1562"/>
              <a:gd name="T73" fmla="*/ 2147483647 h 1861"/>
              <a:gd name="T74" fmla="*/ 2147483647 w 1562"/>
              <a:gd name="T75" fmla="*/ 2147483647 h 1861"/>
              <a:gd name="T76" fmla="*/ 2147483647 w 1562"/>
              <a:gd name="T77" fmla="*/ 2147483647 h 1861"/>
              <a:gd name="T78" fmla="*/ 2147483647 w 1562"/>
              <a:gd name="T79" fmla="*/ 2147483647 h 1861"/>
              <a:gd name="T80" fmla="*/ 2147483647 w 1562"/>
              <a:gd name="T81" fmla="*/ 2147483647 h 1861"/>
              <a:gd name="T82" fmla="*/ 2147483647 w 1562"/>
              <a:gd name="T83" fmla="*/ 2147483647 h 1861"/>
              <a:gd name="T84" fmla="*/ 2147483647 w 1562"/>
              <a:gd name="T85" fmla="*/ 2147483647 h 1861"/>
              <a:gd name="T86" fmla="*/ 2147483647 w 1562"/>
              <a:gd name="T87" fmla="*/ 2147483647 h 1861"/>
              <a:gd name="T88" fmla="*/ 2147483647 w 1562"/>
              <a:gd name="T89" fmla="*/ 2147483647 h 1861"/>
              <a:gd name="T90" fmla="*/ 2147483647 w 1562"/>
              <a:gd name="T91" fmla="*/ 2147483647 h 1861"/>
              <a:gd name="T92" fmla="*/ 2147483647 w 1562"/>
              <a:gd name="T93" fmla="*/ 2147483647 h 1861"/>
              <a:gd name="T94" fmla="*/ 2147483647 w 1562"/>
              <a:gd name="T95" fmla="*/ 2147483647 h 1861"/>
              <a:gd name="T96" fmla="*/ 2147483647 w 1562"/>
              <a:gd name="T97" fmla="*/ 2147483647 h 1861"/>
              <a:gd name="T98" fmla="*/ 2147483647 w 1562"/>
              <a:gd name="T99" fmla="*/ 2147483647 h 1861"/>
              <a:gd name="T100" fmla="*/ 2147483647 w 1562"/>
              <a:gd name="T101" fmla="*/ 2147483647 h 1861"/>
              <a:gd name="T102" fmla="*/ 2147483647 w 1562"/>
              <a:gd name="T103" fmla="*/ 2147483647 h 1861"/>
              <a:gd name="T104" fmla="*/ 2147483647 w 1562"/>
              <a:gd name="T105" fmla="*/ 2147483647 h 1861"/>
              <a:gd name="T106" fmla="*/ 2147483647 w 1562"/>
              <a:gd name="T107" fmla="*/ 2147483647 h 1861"/>
              <a:gd name="T108" fmla="*/ 2147483647 w 1562"/>
              <a:gd name="T109" fmla="*/ 2147483647 h 1861"/>
              <a:gd name="T110" fmla="*/ 2147483647 w 1562"/>
              <a:gd name="T111" fmla="*/ 2147483647 h 1861"/>
              <a:gd name="T112" fmla="*/ 2147483647 w 1562"/>
              <a:gd name="T113" fmla="*/ 2147483647 h 1861"/>
              <a:gd name="T114" fmla="*/ 2147483647 w 1562"/>
              <a:gd name="T115" fmla="*/ 2147483647 h 1861"/>
              <a:gd name="T116" fmla="*/ 2147483647 w 1562"/>
              <a:gd name="T117" fmla="*/ 2147483647 h 1861"/>
              <a:gd name="T118" fmla="*/ 2147483647 w 1562"/>
              <a:gd name="T119" fmla="*/ 2147483647 h 1861"/>
              <a:gd name="T120" fmla="*/ 2147483647 w 1562"/>
              <a:gd name="T121" fmla="*/ 2147483647 h 1861"/>
              <a:gd name="T122" fmla="*/ 2147483647 w 1562"/>
              <a:gd name="T123" fmla="*/ 2147483647 h 18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62"/>
              <a:gd name="T187" fmla="*/ 0 h 1861"/>
              <a:gd name="T188" fmla="*/ 1562 w 1562"/>
              <a:gd name="T189" fmla="*/ 1861 h 18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62" h="1861">
                <a:moveTo>
                  <a:pt x="320" y="1025"/>
                </a:moveTo>
                <a:cubicBezTo>
                  <a:pt x="320" y="1025"/>
                  <a:pt x="318" y="1030"/>
                  <a:pt x="319" y="1030"/>
                </a:cubicBezTo>
                <a:cubicBezTo>
                  <a:pt x="321" y="1030"/>
                  <a:pt x="324" y="1025"/>
                  <a:pt x="320" y="1025"/>
                </a:cubicBezTo>
                <a:close/>
                <a:moveTo>
                  <a:pt x="331" y="1051"/>
                </a:moveTo>
                <a:cubicBezTo>
                  <a:pt x="333" y="1044"/>
                  <a:pt x="333" y="1044"/>
                  <a:pt x="333" y="1044"/>
                </a:cubicBezTo>
                <a:cubicBezTo>
                  <a:pt x="333" y="1038"/>
                  <a:pt x="333" y="1038"/>
                  <a:pt x="333" y="1038"/>
                </a:cubicBezTo>
                <a:cubicBezTo>
                  <a:pt x="322" y="1050"/>
                  <a:pt x="331" y="1051"/>
                  <a:pt x="331" y="1051"/>
                </a:cubicBezTo>
                <a:close/>
                <a:moveTo>
                  <a:pt x="317" y="1039"/>
                </a:moveTo>
                <a:cubicBezTo>
                  <a:pt x="319" y="1037"/>
                  <a:pt x="314" y="1034"/>
                  <a:pt x="314" y="1034"/>
                </a:cubicBezTo>
                <a:cubicBezTo>
                  <a:pt x="311" y="1039"/>
                  <a:pt x="314" y="1041"/>
                  <a:pt x="317" y="1039"/>
                </a:cubicBezTo>
                <a:close/>
                <a:moveTo>
                  <a:pt x="324" y="1044"/>
                </a:moveTo>
                <a:cubicBezTo>
                  <a:pt x="325" y="1045"/>
                  <a:pt x="328" y="1042"/>
                  <a:pt x="328" y="1039"/>
                </a:cubicBezTo>
                <a:cubicBezTo>
                  <a:pt x="328" y="1036"/>
                  <a:pt x="325" y="1033"/>
                  <a:pt x="325" y="1033"/>
                </a:cubicBezTo>
                <a:cubicBezTo>
                  <a:pt x="320" y="1033"/>
                  <a:pt x="322" y="1044"/>
                  <a:pt x="324" y="1044"/>
                </a:cubicBezTo>
                <a:close/>
                <a:moveTo>
                  <a:pt x="179" y="1053"/>
                </a:moveTo>
                <a:cubicBezTo>
                  <a:pt x="173" y="1050"/>
                  <a:pt x="169" y="1064"/>
                  <a:pt x="178" y="1065"/>
                </a:cubicBezTo>
                <a:cubicBezTo>
                  <a:pt x="178" y="1065"/>
                  <a:pt x="185" y="1055"/>
                  <a:pt x="179" y="1053"/>
                </a:cubicBezTo>
                <a:close/>
                <a:moveTo>
                  <a:pt x="146" y="1404"/>
                </a:moveTo>
                <a:cubicBezTo>
                  <a:pt x="146" y="1406"/>
                  <a:pt x="151" y="1409"/>
                  <a:pt x="151" y="1409"/>
                </a:cubicBezTo>
                <a:cubicBezTo>
                  <a:pt x="151" y="1409"/>
                  <a:pt x="147" y="1413"/>
                  <a:pt x="152" y="1413"/>
                </a:cubicBezTo>
                <a:cubicBezTo>
                  <a:pt x="157" y="1413"/>
                  <a:pt x="161" y="1406"/>
                  <a:pt x="159" y="1403"/>
                </a:cubicBezTo>
                <a:cubicBezTo>
                  <a:pt x="156" y="1400"/>
                  <a:pt x="147" y="1400"/>
                  <a:pt x="146" y="1404"/>
                </a:cubicBezTo>
                <a:close/>
                <a:moveTo>
                  <a:pt x="165" y="1414"/>
                </a:moveTo>
                <a:cubicBezTo>
                  <a:pt x="163" y="1420"/>
                  <a:pt x="168" y="1440"/>
                  <a:pt x="172" y="1440"/>
                </a:cubicBezTo>
                <a:cubicBezTo>
                  <a:pt x="175" y="1440"/>
                  <a:pt x="181" y="1423"/>
                  <a:pt x="181" y="1423"/>
                </a:cubicBezTo>
                <a:cubicBezTo>
                  <a:pt x="175" y="1416"/>
                  <a:pt x="175" y="1416"/>
                  <a:pt x="175" y="1416"/>
                </a:cubicBezTo>
                <a:lnTo>
                  <a:pt x="165" y="1414"/>
                </a:lnTo>
                <a:close/>
                <a:moveTo>
                  <a:pt x="169" y="1075"/>
                </a:moveTo>
                <a:cubicBezTo>
                  <a:pt x="165" y="1067"/>
                  <a:pt x="165" y="1067"/>
                  <a:pt x="165" y="1067"/>
                </a:cubicBezTo>
                <a:cubicBezTo>
                  <a:pt x="162" y="1085"/>
                  <a:pt x="169" y="1075"/>
                  <a:pt x="169" y="1075"/>
                </a:cubicBezTo>
                <a:close/>
                <a:moveTo>
                  <a:pt x="402" y="653"/>
                </a:moveTo>
                <a:cubicBezTo>
                  <a:pt x="407" y="652"/>
                  <a:pt x="402" y="646"/>
                  <a:pt x="402" y="646"/>
                </a:cubicBezTo>
                <a:cubicBezTo>
                  <a:pt x="402" y="646"/>
                  <a:pt x="397" y="653"/>
                  <a:pt x="402" y="653"/>
                </a:cubicBezTo>
                <a:close/>
                <a:moveTo>
                  <a:pt x="420" y="801"/>
                </a:moveTo>
                <a:cubicBezTo>
                  <a:pt x="416" y="801"/>
                  <a:pt x="416" y="801"/>
                  <a:pt x="416" y="801"/>
                </a:cubicBezTo>
                <a:cubicBezTo>
                  <a:pt x="416" y="801"/>
                  <a:pt x="419" y="803"/>
                  <a:pt x="422" y="803"/>
                </a:cubicBezTo>
                <a:cubicBezTo>
                  <a:pt x="425" y="803"/>
                  <a:pt x="422" y="797"/>
                  <a:pt x="422" y="797"/>
                </a:cubicBezTo>
                <a:lnTo>
                  <a:pt x="420" y="801"/>
                </a:lnTo>
                <a:close/>
                <a:moveTo>
                  <a:pt x="526" y="839"/>
                </a:moveTo>
                <a:cubicBezTo>
                  <a:pt x="523" y="844"/>
                  <a:pt x="523" y="844"/>
                  <a:pt x="523" y="844"/>
                </a:cubicBezTo>
                <a:cubicBezTo>
                  <a:pt x="531" y="852"/>
                  <a:pt x="531" y="852"/>
                  <a:pt x="531" y="852"/>
                </a:cubicBezTo>
                <a:cubicBezTo>
                  <a:pt x="531" y="847"/>
                  <a:pt x="531" y="847"/>
                  <a:pt x="531" y="847"/>
                </a:cubicBezTo>
                <a:cubicBezTo>
                  <a:pt x="531" y="847"/>
                  <a:pt x="536" y="842"/>
                  <a:pt x="526" y="839"/>
                </a:cubicBezTo>
                <a:close/>
                <a:moveTo>
                  <a:pt x="448" y="844"/>
                </a:moveTo>
                <a:cubicBezTo>
                  <a:pt x="448" y="849"/>
                  <a:pt x="448" y="849"/>
                  <a:pt x="448" y="849"/>
                </a:cubicBezTo>
                <a:cubicBezTo>
                  <a:pt x="453" y="849"/>
                  <a:pt x="453" y="849"/>
                  <a:pt x="453" y="849"/>
                </a:cubicBezTo>
                <a:cubicBezTo>
                  <a:pt x="451" y="843"/>
                  <a:pt x="451" y="843"/>
                  <a:pt x="451" y="843"/>
                </a:cubicBezTo>
                <a:lnTo>
                  <a:pt x="448" y="844"/>
                </a:lnTo>
                <a:close/>
                <a:moveTo>
                  <a:pt x="386" y="717"/>
                </a:moveTo>
                <a:cubicBezTo>
                  <a:pt x="386" y="725"/>
                  <a:pt x="386" y="725"/>
                  <a:pt x="386" y="725"/>
                </a:cubicBezTo>
                <a:cubicBezTo>
                  <a:pt x="395" y="721"/>
                  <a:pt x="395" y="721"/>
                  <a:pt x="395" y="721"/>
                </a:cubicBezTo>
                <a:cubicBezTo>
                  <a:pt x="392" y="713"/>
                  <a:pt x="392" y="713"/>
                  <a:pt x="392" y="713"/>
                </a:cubicBezTo>
                <a:cubicBezTo>
                  <a:pt x="393" y="719"/>
                  <a:pt x="386" y="717"/>
                  <a:pt x="386" y="717"/>
                </a:cubicBezTo>
                <a:close/>
                <a:moveTo>
                  <a:pt x="972" y="1165"/>
                </a:moveTo>
                <a:cubicBezTo>
                  <a:pt x="971" y="1169"/>
                  <a:pt x="971" y="1169"/>
                  <a:pt x="971" y="1169"/>
                </a:cubicBezTo>
                <a:cubicBezTo>
                  <a:pt x="971" y="1169"/>
                  <a:pt x="981" y="1168"/>
                  <a:pt x="981" y="1164"/>
                </a:cubicBezTo>
                <a:cubicBezTo>
                  <a:pt x="981" y="1159"/>
                  <a:pt x="972" y="1165"/>
                  <a:pt x="972" y="1165"/>
                </a:cubicBezTo>
                <a:close/>
                <a:moveTo>
                  <a:pt x="466" y="749"/>
                </a:moveTo>
                <a:cubicBezTo>
                  <a:pt x="458" y="760"/>
                  <a:pt x="458" y="760"/>
                  <a:pt x="458" y="760"/>
                </a:cubicBezTo>
                <a:cubicBezTo>
                  <a:pt x="458" y="760"/>
                  <a:pt x="454" y="759"/>
                  <a:pt x="450" y="759"/>
                </a:cubicBezTo>
                <a:cubicBezTo>
                  <a:pt x="445" y="759"/>
                  <a:pt x="443" y="764"/>
                  <a:pt x="443" y="764"/>
                </a:cubicBezTo>
                <a:cubicBezTo>
                  <a:pt x="443" y="764"/>
                  <a:pt x="440" y="761"/>
                  <a:pt x="430" y="760"/>
                </a:cubicBezTo>
                <a:cubicBezTo>
                  <a:pt x="426" y="765"/>
                  <a:pt x="426" y="765"/>
                  <a:pt x="426" y="765"/>
                </a:cubicBezTo>
                <a:cubicBezTo>
                  <a:pt x="426" y="765"/>
                  <a:pt x="427" y="771"/>
                  <a:pt x="429" y="775"/>
                </a:cubicBezTo>
                <a:cubicBezTo>
                  <a:pt x="431" y="778"/>
                  <a:pt x="443" y="776"/>
                  <a:pt x="443" y="776"/>
                </a:cubicBezTo>
                <a:cubicBezTo>
                  <a:pt x="444" y="773"/>
                  <a:pt x="444" y="773"/>
                  <a:pt x="444" y="773"/>
                </a:cubicBezTo>
                <a:cubicBezTo>
                  <a:pt x="453" y="774"/>
                  <a:pt x="453" y="774"/>
                  <a:pt x="453" y="774"/>
                </a:cubicBezTo>
                <a:cubicBezTo>
                  <a:pt x="454" y="770"/>
                  <a:pt x="454" y="770"/>
                  <a:pt x="454" y="770"/>
                </a:cubicBezTo>
                <a:cubicBezTo>
                  <a:pt x="454" y="770"/>
                  <a:pt x="459" y="776"/>
                  <a:pt x="462" y="779"/>
                </a:cubicBezTo>
                <a:cubicBezTo>
                  <a:pt x="464" y="781"/>
                  <a:pt x="469" y="779"/>
                  <a:pt x="469" y="779"/>
                </a:cubicBezTo>
                <a:cubicBezTo>
                  <a:pt x="469" y="774"/>
                  <a:pt x="469" y="774"/>
                  <a:pt x="469" y="774"/>
                </a:cubicBezTo>
                <a:cubicBezTo>
                  <a:pt x="463" y="768"/>
                  <a:pt x="463" y="768"/>
                  <a:pt x="463" y="768"/>
                </a:cubicBezTo>
                <a:cubicBezTo>
                  <a:pt x="469" y="768"/>
                  <a:pt x="469" y="768"/>
                  <a:pt x="469" y="768"/>
                </a:cubicBezTo>
                <a:cubicBezTo>
                  <a:pt x="472" y="756"/>
                  <a:pt x="472" y="756"/>
                  <a:pt x="472" y="756"/>
                </a:cubicBezTo>
                <a:cubicBezTo>
                  <a:pt x="470" y="754"/>
                  <a:pt x="470" y="754"/>
                  <a:pt x="470" y="754"/>
                </a:cubicBezTo>
                <a:lnTo>
                  <a:pt x="466" y="749"/>
                </a:lnTo>
                <a:close/>
                <a:moveTo>
                  <a:pt x="1562" y="1219"/>
                </a:moveTo>
                <a:cubicBezTo>
                  <a:pt x="1562" y="1213"/>
                  <a:pt x="1554" y="1204"/>
                  <a:pt x="1554" y="1204"/>
                </a:cubicBezTo>
                <a:cubicBezTo>
                  <a:pt x="1555" y="1192"/>
                  <a:pt x="1521" y="1163"/>
                  <a:pt x="1515" y="1160"/>
                </a:cubicBezTo>
                <a:cubicBezTo>
                  <a:pt x="1510" y="1156"/>
                  <a:pt x="1496" y="1150"/>
                  <a:pt x="1492" y="1141"/>
                </a:cubicBezTo>
                <a:cubicBezTo>
                  <a:pt x="1494" y="1126"/>
                  <a:pt x="1478" y="1129"/>
                  <a:pt x="1478" y="1129"/>
                </a:cubicBezTo>
                <a:cubicBezTo>
                  <a:pt x="1478" y="1123"/>
                  <a:pt x="1470" y="1122"/>
                  <a:pt x="1459" y="1121"/>
                </a:cubicBezTo>
                <a:cubicBezTo>
                  <a:pt x="1449" y="1112"/>
                  <a:pt x="1414" y="1103"/>
                  <a:pt x="1414" y="1103"/>
                </a:cubicBezTo>
                <a:cubicBezTo>
                  <a:pt x="1399" y="1088"/>
                  <a:pt x="1399" y="1088"/>
                  <a:pt x="1399" y="1088"/>
                </a:cubicBezTo>
                <a:cubicBezTo>
                  <a:pt x="1395" y="1089"/>
                  <a:pt x="1395" y="1089"/>
                  <a:pt x="1395" y="1089"/>
                </a:cubicBezTo>
                <a:cubicBezTo>
                  <a:pt x="1395" y="1089"/>
                  <a:pt x="1374" y="1072"/>
                  <a:pt x="1366" y="1066"/>
                </a:cubicBezTo>
                <a:cubicBezTo>
                  <a:pt x="1357" y="1060"/>
                  <a:pt x="1312" y="1048"/>
                  <a:pt x="1293" y="1041"/>
                </a:cubicBezTo>
                <a:cubicBezTo>
                  <a:pt x="1275" y="1033"/>
                  <a:pt x="1205" y="1000"/>
                  <a:pt x="1205" y="1000"/>
                </a:cubicBezTo>
                <a:cubicBezTo>
                  <a:pt x="1195" y="982"/>
                  <a:pt x="1195" y="982"/>
                  <a:pt x="1195" y="982"/>
                </a:cubicBezTo>
                <a:cubicBezTo>
                  <a:pt x="1195" y="982"/>
                  <a:pt x="1195" y="982"/>
                  <a:pt x="1195" y="982"/>
                </a:cubicBezTo>
                <a:cubicBezTo>
                  <a:pt x="1195" y="982"/>
                  <a:pt x="1195" y="982"/>
                  <a:pt x="1195" y="982"/>
                </a:cubicBezTo>
                <a:cubicBezTo>
                  <a:pt x="1195" y="982"/>
                  <a:pt x="1195" y="979"/>
                  <a:pt x="1196" y="969"/>
                </a:cubicBezTo>
                <a:cubicBezTo>
                  <a:pt x="1207" y="958"/>
                  <a:pt x="1231" y="940"/>
                  <a:pt x="1231" y="940"/>
                </a:cubicBezTo>
                <a:cubicBezTo>
                  <a:pt x="1228" y="921"/>
                  <a:pt x="1228" y="921"/>
                  <a:pt x="1228" y="921"/>
                </a:cubicBezTo>
                <a:cubicBezTo>
                  <a:pt x="1218" y="912"/>
                  <a:pt x="1218" y="912"/>
                  <a:pt x="1218" y="912"/>
                </a:cubicBezTo>
                <a:cubicBezTo>
                  <a:pt x="1218" y="912"/>
                  <a:pt x="1197" y="912"/>
                  <a:pt x="1180" y="916"/>
                </a:cubicBezTo>
                <a:cubicBezTo>
                  <a:pt x="1163" y="920"/>
                  <a:pt x="1155" y="916"/>
                  <a:pt x="1155" y="916"/>
                </a:cubicBezTo>
                <a:cubicBezTo>
                  <a:pt x="1123" y="922"/>
                  <a:pt x="1123" y="922"/>
                  <a:pt x="1123" y="922"/>
                </a:cubicBezTo>
                <a:cubicBezTo>
                  <a:pt x="1112" y="918"/>
                  <a:pt x="1112" y="918"/>
                  <a:pt x="1112" y="918"/>
                </a:cubicBezTo>
                <a:cubicBezTo>
                  <a:pt x="1093" y="917"/>
                  <a:pt x="1093" y="917"/>
                  <a:pt x="1093" y="917"/>
                </a:cubicBezTo>
                <a:cubicBezTo>
                  <a:pt x="1081" y="916"/>
                  <a:pt x="1081" y="916"/>
                  <a:pt x="1081" y="916"/>
                </a:cubicBezTo>
                <a:cubicBezTo>
                  <a:pt x="1081" y="916"/>
                  <a:pt x="1078" y="908"/>
                  <a:pt x="1072" y="905"/>
                </a:cubicBezTo>
                <a:cubicBezTo>
                  <a:pt x="1065" y="901"/>
                  <a:pt x="1059" y="901"/>
                  <a:pt x="1059" y="901"/>
                </a:cubicBezTo>
                <a:cubicBezTo>
                  <a:pt x="1042" y="894"/>
                  <a:pt x="1042" y="894"/>
                  <a:pt x="1042" y="894"/>
                </a:cubicBezTo>
                <a:cubicBezTo>
                  <a:pt x="1033" y="890"/>
                  <a:pt x="1033" y="890"/>
                  <a:pt x="1033" y="890"/>
                </a:cubicBezTo>
                <a:cubicBezTo>
                  <a:pt x="1033" y="876"/>
                  <a:pt x="1033" y="876"/>
                  <a:pt x="1033" y="876"/>
                </a:cubicBezTo>
                <a:cubicBezTo>
                  <a:pt x="1006" y="862"/>
                  <a:pt x="1006" y="862"/>
                  <a:pt x="1006" y="862"/>
                </a:cubicBezTo>
                <a:cubicBezTo>
                  <a:pt x="1006" y="862"/>
                  <a:pt x="997" y="845"/>
                  <a:pt x="987" y="839"/>
                </a:cubicBezTo>
                <a:cubicBezTo>
                  <a:pt x="977" y="833"/>
                  <a:pt x="958" y="813"/>
                  <a:pt x="946" y="799"/>
                </a:cubicBezTo>
                <a:cubicBezTo>
                  <a:pt x="934" y="785"/>
                  <a:pt x="926" y="747"/>
                  <a:pt x="926" y="747"/>
                </a:cubicBezTo>
                <a:cubicBezTo>
                  <a:pt x="926" y="747"/>
                  <a:pt x="925" y="747"/>
                  <a:pt x="925" y="746"/>
                </a:cubicBezTo>
                <a:cubicBezTo>
                  <a:pt x="922" y="738"/>
                  <a:pt x="887" y="647"/>
                  <a:pt x="885" y="641"/>
                </a:cubicBezTo>
                <a:cubicBezTo>
                  <a:pt x="883" y="635"/>
                  <a:pt x="887" y="634"/>
                  <a:pt x="887" y="634"/>
                </a:cubicBezTo>
                <a:cubicBezTo>
                  <a:pt x="879" y="626"/>
                  <a:pt x="879" y="626"/>
                  <a:pt x="879" y="626"/>
                </a:cubicBezTo>
                <a:cubicBezTo>
                  <a:pt x="872" y="618"/>
                  <a:pt x="872" y="618"/>
                  <a:pt x="872" y="618"/>
                </a:cubicBezTo>
                <a:cubicBezTo>
                  <a:pt x="872" y="618"/>
                  <a:pt x="872" y="618"/>
                  <a:pt x="861" y="621"/>
                </a:cubicBezTo>
                <a:cubicBezTo>
                  <a:pt x="837" y="613"/>
                  <a:pt x="799" y="569"/>
                  <a:pt x="796" y="567"/>
                </a:cubicBezTo>
                <a:cubicBezTo>
                  <a:pt x="792" y="564"/>
                  <a:pt x="773" y="558"/>
                  <a:pt x="773" y="558"/>
                </a:cubicBezTo>
                <a:cubicBezTo>
                  <a:pt x="773" y="558"/>
                  <a:pt x="772" y="558"/>
                  <a:pt x="772" y="558"/>
                </a:cubicBezTo>
                <a:cubicBezTo>
                  <a:pt x="766" y="553"/>
                  <a:pt x="735" y="528"/>
                  <a:pt x="725" y="513"/>
                </a:cubicBezTo>
                <a:cubicBezTo>
                  <a:pt x="714" y="496"/>
                  <a:pt x="712" y="445"/>
                  <a:pt x="709" y="434"/>
                </a:cubicBezTo>
                <a:cubicBezTo>
                  <a:pt x="706" y="423"/>
                  <a:pt x="712" y="405"/>
                  <a:pt x="712" y="406"/>
                </a:cubicBezTo>
                <a:cubicBezTo>
                  <a:pt x="712" y="408"/>
                  <a:pt x="716" y="409"/>
                  <a:pt x="722" y="410"/>
                </a:cubicBezTo>
                <a:cubicBezTo>
                  <a:pt x="724" y="410"/>
                  <a:pt x="726" y="410"/>
                  <a:pt x="728" y="410"/>
                </a:cubicBezTo>
                <a:cubicBezTo>
                  <a:pt x="736" y="409"/>
                  <a:pt x="747" y="381"/>
                  <a:pt x="747" y="381"/>
                </a:cubicBezTo>
                <a:cubicBezTo>
                  <a:pt x="740" y="373"/>
                  <a:pt x="740" y="373"/>
                  <a:pt x="740" y="373"/>
                </a:cubicBezTo>
                <a:cubicBezTo>
                  <a:pt x="736" y="374"/>
                  <a:pt x="736" y="374"/>
                  <a:pt x="736" y="374"/>
                </a:cubicBezTo>
                <a:cubicBezTo>
                  <a:pt x="719" y="358"/>
                  <a:pt x="719" y="358"/>
                  <a:pt x="719" y="358"/>
                </a:cubicBezTo>
                <a:cubicBezTo>
                  <a:pt x="718" y="342"/>
                  <a:pt x="718" y="342"/>
                  <a:pt x="718" y="342"/>
                </a:cubicBezTo>
                <a:cubicBezTo>
                  <a:pt x="718" y="342"/>
                  <a:pt x="715" y="334"/>
                  <a:pt x="716" y="322"/>
                </a:cubicBezTo>
                <a:cubicBezTo>
                  <a:pt x="717" y="310"/>
                  <a:pt x="728" y="295"/>
                  <a:pt x="728" y="295"/>
                </a:cubicBezTo>
                <a:cubicBezTo>
                  <a:pt x="731" y="297"/>
                  <a:pt x="731" y="297"/>
                  <a:pt x="731" y="297"/>
                </a:cubicBezTo>
                <a:cubicBezTo>
                  <a:pt x="731" y="297"/>
                  <a:pt x="756" y="281"/>
                  <a:pt x="770" y="277"/>
                </a:cubicBezTo>
                <a:cubicBezTo>
                  <a:pt x="785" y="274"/>
                  <a:pt x="790" y="265"/>
                  <a:pt x="790" y="265"/>
                </a:cubicBezTo>
                <a:cubicBezTo>
                  <a:pt x="790" y="265"/>
                  <a:pt x="808" y="260"/>
                  <a:pt x="813" y="260"/>
                </a:cubicBezTo>
                <a:cubicBezTo>
                  <a:pt x="813" y="260"/>
                  <a:pt x="813" y="260"/>
                  <a:pt x="814" y="260"/>
                </a:cubicBezTo>
                <a:cubicBezTo>
                  <a:pt x="817" y="260"/>
                  <a:pt x="820" y="253"/>
                  <a:pt x="822" y="249"/>
                </a:cubicBezTo>
                <a:cubicBezTo>
                  <a:pt x="824" y="244"/>
                  <a:pt x="838" y="245"/>
                  <a:pt x="838" y="245"/>
                </a:cubicBezTo>
                <a:cubicBezTo>
                  <a:pt x="838" y="245"/>
                  <a:pt x="846" y="252"/>
                  <a:pt x="853" y="252"/>
                </a:cubicBezTo>
                <a:cubicBezTo>
                  <a:pt x="861" y="253"/>
                  <a:pt x="872" y="242"/>
                  <a:pt x="872" y="242"/>
                </a:cubicBezTo>
                <a:cubicBezTo>
                  <a:pt x="866" y="239"/>
                  <a:pt x="866" y="239"/>
                  <a:pt x="866" y="239"/>
                </a:cubicBezTo>
                <a:cubicBezTo>
                  <a:pt x="866" y="239"/>
                  <a:pt x="871" y="235"/>
                  <a:pt x="872" y="234"/>
                </a:cubicBezTo>
                <a:cubicBezTo>
                  <a:pt x="873" y="234"/>
                  <a:pt x="872" y="234"/>
                  <a:pt x="877" y="234"/>
                </a:cubicBezTo>
                <a:cubicBezTo>
                  <a:pt x="882" y="234"/>
                  <a:pt x="892" y="245"/>
                  <a:pt x="897" y="251"/>
                </a:cubicBezTo>
                <a:cubicBezTo>
                  <a:pt x="902" y="258"/>
                  <a:pt x="897" y="257"/>
                  <a:pt x="897" y="257"/>
                </a:cubicBezTo>
                <a:cubicBezTo>
                  <a:pt x="903" y="263"/>
                  <a:pt x="903" y="263"/>
                  <a:pt x="903" y="263"/>
                </a:cubicBezTo>
                <a:cubicBezTo>
                  <a:pt x="894" y="262"/>
                  <a:pt x="894" y="262"/>
                  <a:pt x="894" y="262"/>
                </a:cubicBezTo>
                <a:cubicBezTo>
                  <a:pt x="894" y="262"/>
                  <a:pt x="895" y="265"/>
                  <a:pt x="899" y="267"/>
                </a:cubicBezTo>
                <a:cubicBezTo>
                  <a:pt x="903" y="268"/>
                  <a:pt x="907" y="267"/>
                  <a:pt x="907" y="267"/>
                </a:cubicBezTo>
                <a:cubicBezTo>
                  <a:pt x="907" y="267"/>
                  <a:pt x="908" y="268"/>
                  <a:pt x="910" y="267"/>
                </a:cubicBezTo>
                <a:cubicBezTo>
                  <a:pt x="909" y="257"/>
                  <a:pt x="909" y="257"/>
                  <a:pt x="909" y="257"/>
                </a:cubicBezTo>
                <a:cubicBezTo>
                  <a:pt x="902" y="245"/>
                  <a:pt x="902" y="245"/>
                  <a:pt x="902" y="245"/>
                </a:cubicBezTo>
                <a:cubicBezTo>
                  <a:pt x="887" y="235"/>
                  <a:pt x="887" y="235"/>
                  <a:pt x="887" y="235"/>
                </a:cubicBezTo>
                <a:cubicBezTo>
                  <a:pt x="880" y="229"/>
                  <a:pt x="880" y="229"/>
                  <a:pt x="880" y="229"/>
                </a:cubicBezTo>
                <a:cubicBezTo>
                  <a:pt x="879" y="227"/>
                  <a:pt x="878" y="227"/>
                  <a:pt x="878" y="226"/>
                </a:cubicBezTo>
                <a:cubicBezTo>
                  <a:pt x="877" y="226"/>
                  <a:pt x="877" y="225"/>
                  <a:pt x="875" y="223"/>
                </a:cubicBezTo>
                <a:cubicBezTo>
                  <a:pt x="874" y="223"/>
                  <a:pt x="877" y="213"/>
                  <a:pt x="879" y="210"/>
                </a:cubicBezTo>
                <a:cubicBezTo>
                  <a:pt x="883" y="205"/>
                  <a:pt x="882" y="197"/>
                  <a:pt x="882" y="197"/>
                </a:cubicBezTo>
                <a:cubicBezTo>
                  <a:pt x="876" y="197"/>
                  <a:pt x="876" y="197"/>
                  <a:pt x="876" y="197"/>
                </a:cubicBezTo>
                <a:cubicBezTo>
                  <a:pt x="873" y="200"/>
                  <a:pt x="873" y="200"/>
                  <a:pt x="873" y="200"/>
                </a:cubicBezTo>
                <a:cubicBezTo>
                  <a:pt x="873" y="200"/>
                  <a:pt x="870" y="200"/>
                  <a:pt x="864" y="197"/>
                </a:cubicBezTo>
                <a:cubicBezTo>
                  <a:pt x="859" y="193"/>
                  <a:pt x="864" y="193"/>
                  <a:pt x="865" y="189"/>
                </a:cubicBezTo>
                <a:cubicBezTo>
                  <a:pt x="865" y="186"/>
                  <a:pt x="864" y="184"/>
                  <a:pt x="864" y="184"/>
                </a:cubicBezTo>
                <a:cubicBezTo>
                  <a:pt x="864" y="184"/>
                  <a:pt x="885" y="164"/>
                  <a:pt x="885" y="162"/>
                </a:cubicBezTo>
                <a:cubicBezTo>
                  <a:pt x="885" y="161"/>
                  <a:pt x="873" y="162"/>
                  <a:pt x="873" y="162"/>
                </a:cubicBezTo>
                <a:cubicBezTo>
                  <a:pt x="873" y="162"/>
                  <a:pt x="877" y="157"/>
                  <a:pt x="868" y="153"/>
                </a:cubicBezTo>
                <a:cubicBezTo>
                  <a:pt x="858" y="149"/>
                  <a:pt x="855" y="156"/>
                  <a:pt x="855" y="156"/>
                </a:cubicBezTo>
                <a:cubicBezTo>
                  <a:pt x="850" y="142"/>
                  <a:pt x="850" y="142"/>
                  <a:pt x="850" y="142"/>
                </a:cubicBezTo>
                <a:cubicBezTo>
                  <a:pt x="854" y="138"/>
                  <a:pt x="854" y="138"/>
                  <a:pt x="854" y="138"/>
                </a:cubicBezTo>
                <a:cubicBezTo>
                  <a:pt x="856" y="130"/>
                  <a:pt x="856" y="130"/>
                  <a:pt x="856" y="130"/>
                </a:cubicBezTo>
                <a:cubicBezTo>
                  <a:pt x="872" y="122"/>
                  <a:pt x="872" y="122"/>
                  <a:pt x="872" y="122"/>
                </a:cubicBezTo>
                <a:cubicBezTo>
                  <a:pt x="874" y="116"/>
                  <a:pt x="874" y="116"/>
                  <a:pt x="874" y="116"/>
                </a:cubicBezTo>
                <a:cubicBezTo>
                  <a:pt x="888" y="116"/>
                  <a:pt x="888" y="116"/>
                  <a:pt x="888" y="116"/>
                </a:cubicBezTo>
                <a:cubicBezTo>
                  <a:pt x="890" y="101"/>
                  <a:pt x="890" y="101"/>
                  <a:pt x="890" y="101"/>
                </a:cubicBezTo>
                <a:cubicBezTo>
                  <a:pt x="890" y="101"/>
                  <a:pt x="889" y="101"/>
                  <a:pt x="888" y="100"/>
                </a:cubicBezTo>
                <a:cubicBezTo>
                  <a:pt x="884" y="99"/>
                  <a:pt x="876" y="95"/>
                  <a:pt x="875" y="95"/>
                </a:cubicBezTo>
                <a:cubicBezTo>
                  <a:pt x="874" y="95"/>
                  <a:pt x="866" y="96"/>
                  <a:pt x="866" y="96"/>
                </a:cubicBezTo>
                <a:cubicBezTo>
                  <a:pt x="854" y="93"/>
                  <a:pt x="854" y="93"/>
                  <a:pt x="854" y="93"/>
                </a:cubicBezTo>
                <a:cubicBezTo>
                  <a:pt x="849" y="91"/>
                  <a:pt x="849" y="91"/>
                  <a:pt x="849" y="91"/>
                </a:cubicBezTo>
                <a:cubicBezTo>
                  <a:pt x="849" y="91"/>
                  <a:pt x="843" y="96"/>
                  <a:pt x="836" y="96"/>
                </a:cubicBezTo>
                <a:cubicBezTo>
                  <a:pt x="834" y="96"/>
                  <a:pt x="832" y="96"/>
                  <a:pt x="830" y="95"/>
                </a:cubicBezTo>
                <a:cubicBezTo>
                  <a:pt x="826" y="93"/>
                  <a:pt x="824" y="90"/>
                  <a:pt x="824" y="90"/>
                </a:cubicBezTo>
                <a:cubicBezTo>
                  <a:pt x="783" y="86"/>
                  <a:pt x="783" y="86"/>
                  <a:pt x="783" y="86"/>
                </a:cubicBezTo>
                <a:cubicBezTo>
                  <a:pt x="783" y="86"/>
                  <a:pt x="783" y="86"/>
                  <a:pt x="782" y="81"/>
                </a:cubicBezTo>
                <a:cubicBezTo>
                  <a:pt x="781" y="76"/>
                  <a:pt x="773" y="81"/>
                  <a:pt x="769" y="81"/>
                </a:cubicBezTo>
                <a:cubicBezTo>
                  <a:pt x="769" y="81"/>
                  <a:pt x="769" y="81"/>
                  <a:pt x="769" y="81"/>
                </a:cubicBezTo>
                <a:cubicBezTo>
                  <a:pt x="765" y="81"/>
                  <a:pt x="763" y="78"/>
                  <a:pt x="763" y="78"/>
                </a:cubicBezTo>
                <a:cubicBezTo>
                  <a:pt x="747" y="76"/>
                  <a:pt x="747" y="76"/>
                  <a:pt x="747" y="76"/>
                </a:cubicBezTo>
                <a:cubicBezTo>
                  <a:pt x="742" y="73"/>
                  <a:pt x="742" y="73"/>
                  <a:pt x="742" y="73"/>
                </a:cubicBezTo>
                <a:cubicBezTo>
                  <a:pt x="742" y="73"/>
                  <a:pt x="741" y="73"/>
                  <a:pt x="739" y="73"/>
                </a:cubicBezTo>
                <a:cubicBezTo>
                  <a:pt x="733" y="73"/>
                  <a:pt x="733" y="73"/>
                  <a:pt x="733" y="73"/>
                </a:cubicBezTo>
                <a:cubicBezTo>
                  <a:pt x="728" y="73"/>
                  <a:pt x="724" y="63"/>
                  <a:pt x="724" y="57"/>
                </a:cubicBezTo>
                <a:cubicBezTo>
                  <a:pt x="724" y="52"/>
                  <a:pt x="713" y="56"/>
                  <a:pt x="713" y="56"/>
                </a:cubicBezTo>
                <a:cubicBezTo>
                  <a:pt x="716" y="41"/>
                  <a:pt x="716" y="41"/>
                  <a:pt x="716" y="41"/>
                </a:cubicBezTo>
                <a:cubicBezTo>
                  <a:pt x="713" y="37"/>
                  <a:pt x="713" y="37"/>
                  <a:pt x="713" y="37"/>
                </a:cubicBezTo>
                <a:cubicBezTo>
                  <a:pt x="713" y="37"/>
                  <a:pt x="704" y="40"/>
                  <a:pt x="704" y="37"/>
                </a:cubicBezTo>
                <a:cubicBezTo>
                  <a:pt x="703" y="35"/>
                  <a:pt x="698" y="31"/>
                  <a:pt x="698" y="31"/>
                </a:cubicBezTo>
                <a:cubicBezTo>
                  <a:pt x="698" y="31"/>
                  <a:pt x="704" y="26"/>
                  <a:pt x="698" y="23"/>
                </a:cubicBezTo>
                <a:cubicBezTo>
                  <a:pt x="691" y="19"/>
                  <a:pt x="697" y="17"/>
                  <a:pt x="697" y="12"/>
                </a:cubicBezTo>
                <a:cubicBezTo>
                  <a:pt x="698" y="8"/>
                  <a:pt x="704" y="11"/>
                  <a:pt x="704" y="11"/>
                </a:cubicBezTo>
                <a:cubicBezTo>
                  <a:pt x="708" y="4"/>
                  <a:pt x="708" y="4"/>
                  <a:pt x="708" y="4"/>
                </a:cubicBezTo>
                <a:cubicBezTo>
                  <a:pt x="702" y="0"/>
                  <a:pt x="702" y="0"/>
                  <a:pt x="702" y="0"/>
                </a:cubicBezTo>
                <a:cubicBezTo>
                  <a:pt x="668" y="9"/>
                  <a:pt x="668" y="9"/>
                  <a:pt x="668" y="9"/>
                </a:cubicBezTo>
                <a:cubicBezTo>
                  <a:pt x="647" y="22"/>
                  <a:pt x="647" y="22"/>
                  <a:pt x="647" y="22"/>
                </a:cubicBezTo>
                <a:cubicBezTo>
                  <a:pt x="649" y="14"/>
                  <a:pt x="637" y="17"/>
                  <a:pt x="637" y="17"/>
                </a:cubicBezTo>
                <a:cubicBezTo>
                  <a:pt x="634" y="14"/>
                  <a:pt x="634" y="14"/>
                  <a:pt x="634" y="14"/>
                </a:cubicBezTo>
                <a:cubicBezTo>
                  <a:pt x="622" y="17"/>
                  <a:pt x="622" y="17"/>
                  <a:pt x="622" y="17"/>
                </a:cubicBezTo>
                <a:cubicBezTo>
                  <a:pt x="622" y="17"/>
                  <a:pt x="618" y="13"/>
                  <a:pt x="615" y="13"/>
                </a:cubicBezTo>
                <a:cubicBezTo>
                  <a:pt x="612" y="13"/>
                  <a:pt x="605" y="22"/>
                  <a:pt x="605" y="22"/>
                </a:cubicBezTo>
                <a:cubicBezTo>
                  <a:pt x="601" y="16"/>
                  <a:pt x="601" y="16"/>
                  <a:pt x="601" y="16"/>
                </a:cubicBezTo>
                <a:cubicBezTo>
                  <a:pt x="576" y="20"/>
                  <a:pt x="576" y="20"/>
                  <a:pt x="576" y="20"/>
                </a:cubicBezTo>
                <a:cubicBezTo>
                  <a:pt x="576" y="25"/>
                  <a:pt x="576" y="25"/>
                  <a:pt x="576" y="25"/>
                </a:cubicBezTo>
                <a:cubicBezTo>
                  <a:pt x="576" y="25"/>
                  <a:pt x="572" y="29"/>
                  <a:pt x="569" y="33"/>
                </a:cubicBezTo>
                <a:cubicBezTo>
                  <a:pt x="566" y="37"/>
                  <a:pt x="568" y="46"/>
                  <a:pt x="568" y="46"/>
                </a:cubicBezTo>
                <a:cubicBezTo>
                  <a:pt x="555" y="57"/>
                  <a:pt x="555" y="57"/>
                  <a:pt x="555" y="57"/>
                </a:cubicBezTo>
                <a:cubicBezTo>
                  <a:pt x="547" y="54"/>
                  <a:pt x="547" y="54"/>
                  <a:pt x="547" y="54"/>
                </a:cubicBezTo>
                <a:cubicBezTo>
                  <a:pt x="541" y="56"/>
                  <a:pt x="541" y="56"/>
                  <a:pt x="541" y="56"/>
                </a:cubicBezTo>
                <a:cubicBezTo>
                  <a:pt x="536" y="52"/>
                  <a:pt x="536" y="52"/>
                  <a:pt x="536" y="52"/>
                </a:cubicBezTo>
                <a:cubicBezTo>
                  <a:pt x="534" y="55"/>
                  <a:pt x="534" y="55"/>
                  <a:pt x="534" y="55"/>
                </a:cubicBezTo>
                <a:cubicBezTo>
                  <a:pt x="530" y="50"/>
                  <a:pt x="530" y="50"/>
                  <a:pt x="530" y="50"/>
                </a:cubicBezTo>
                <a:cubicBezTo>
                  <a:pt x="523" y="50"/>
                  <a:pt x="523" y="50"/>
                  <a:pt x="523" y="50"/>
                </a:cubicBezTo>
                <a:cubicBezTo>
                  <a:pt x="527" y="45"/>
                  <a:pt x="527" y="45"/>
                  <a:pt x="527" y="45"/>
                </a:cubicBezTo>
                <a:cubicBezTo>
                  <a:pt x="516" y="35"/>
                  <a:pt x="516" y="35"/>
                  <a:pt x="516" y="35"/>
                </a:cubicBezTo>
                <a:cubicBezTo>
                  <a:pt x="504" y="43"/>
                  <a:pt x="504" y="43"/>
                  <a:pt x="504" y="43"/>
                </a:cubicBezTo>
                <a:cubicBezTo>
                  <a:pt x="497" y="41"/>
                  <a:pt x="497" y="41"/>
                  <a:pt x="497" y="41"/>
                </a:cubicBezTo>
                <a:cubicBezTo>
                  <a:pt x="492" y="40"/>
                  <a:pt x="492" y="40"/>
                  <a:pt x="492" y="40"/>
                </a:cubicBezTo>
                <a:cubicBezTo>
                  <a:pt x="487" y="51"/>
                  <a:pt x="487" y="51"/>
                  <a:pt x="487" y="51"/>
                </a:cubicBezTo>
                <a:cubicBezTo>
                  <a:pt x="487" y="57"/>
                  <a:pt x="487" y="57"/>
                  <a:pt x="487" y="57"/>
                </a:cubicBezTo>
                <a:cubicBezTo>
                  <a:pt x="484" y="62"/>
                  <a:pt x="484" y="62"/>
                  <a:pt x="484" y="62"/>
                </a:cubicBezTo>
                <a:cubicBezTo>
                  <a:pt x="485" y="67"/>
                  <a:pt x="485" y="67"/>
                  <a:pt x="485" y="67"/>
                </a:cubicBezTo>
                <a:cubicBezTo>
                  <a:pt x="482" y="68"/>
                  <a:pt x="482" y="68"/>
                  <a:pt x="482" y="68"/>
                </a:cubicBezTo>
                <a:cubicBezTo>
                  <a:pt x="482" y="72"/>
                  <a:pt x="482" y="72"/>
                  <a:pt x="482" y="72"/>
                </a:cubicBezTo>
                <a:cubicBezTo>
                  <a:pt x="483" y="73"/>
                  <a:pt x="483" y="75"/>
                  <a:pt x="484" y="76"/>
                </a:cubicBezTo>
                <a:cubicBezTo>
                  <a:pt x="488" y="77"/>
                  <a:pt x="488" y="77"/>
                  <a:pt x="488" y="77"/>
                </a:cubicBezTo>
                <a:cubicBezTo>
                  <a:pt x="493" y="82"/>
                  <a:pt x="493" y="82"/>
                  <a:pt x="493" y="82"/>
                </a:cubicBezTo>
                <a:cubicBezTo>
                  <a:pt x="489" y="93"/>
                  <a:pt x="489" y="93"/>
                  <a:pt x="489" y="93"/>
                </a:cubicBezTo>
                <a:cubicBezTo>
                  <a:pt x="487" y="97"/>
                  <a:pt x="487" y="97"/>
                  <a:pt x="487" y="97"/>
                </a:cubicBezTo>
                <a:cubicBezTo>
                  <a:pt x="487" y="97"/>
                  <a:pt x="487" y="97"/>
                  <a:pt x="487" y="97"/>
                </a:cubicBezTo>
                <a:cubicBezTo>
                  <a:pt x="485" y="92"/>
                  <a:pt x="469" y="96"/>
                  <a:pt x="469" y="92"/>
                </a:cubicBezTo>
                <a:cubicBezTo>
                  <a:pt x="469" y="89"/>
                  <a:pt x="462" y="89"/>
                  <a:pt x="462" y="89"/>
                </a:cubicBezTo>
                <a:cubicBezTo>
                  <a:pt x="465" y="83"/>
                  <a:pt x="465" y="83"/>
                  <a:pt x="465" y="83"/>
                </a:cubicBezTo>
                <a:cubicBezTo>
                  <a:pt x="463" y="78"/>
                  <a:pt x="463" y="78"/>
                  <a:pt x="463" y="78"/>
                </a:cubicBezTo>
                <a:cubicBezTo>
                  <a:pt x="459" y="82"/>
                  <a:pt x="459" y="82"/>
                  <a:pt x="459" y="82"/>
                </a:cubicBezTo>
                <a:cubicBezTo>
                  <a:pt x="444" y="81"/>
                  <a:pt x="444" y="81"/>
                  <a:pt x="444" y="81"/>
                </a:cubicBezTo>
                <a:cubicBezTo>
                  <a:pt x="443" y="87"/>
                  <a:pt x="443" y="87"/>
                  <a:pt x="443" y="87"/>
                </a:cubicBezTo>
                <a:cubicBezTo>
                  <a:pt x="436" y="94"/>
                  <a:pt x="436" y="94"/>
                  <a:pt x="436" y="94"/>
                </a:cubicBezTo>
                <a:cubicBezTo>
                  <a:pt x="436" y="94"/>
                  <a:pt x="437" y="112"/>
                  <a:pt x="440" y="113"/>
                </a:cubicBezTo>
                <a:cubicBezTo>
                  <a:pt x="442" y="114"/>
                  <a:pt x="448" y="113"/>
                  <a:pt x="448" y="113"/>
                </a:cubicBezTo>
                <a:cubicBezTo>
                  <a:pt x="451" y="119"/>
                  <a:pt x="451" y="119"/>
                  <a:pt x="451" y="119"/>
                </a:cubicBezTo>
                <a:cubicBezTo>
                  <a:pt x="446" y="130"/>
                  <a:pt x="446" y="130"/>
                  <a:pt x="446" y="130"/>
                </a:cubicBezTo>
                <a:cubicBezTo>
                  <a:pt x="454" y="144"/>
                  <a:pt x="454" y="144"/>
                  <a:pt x="454" y="144"/>
                </a:cubicBezTo>
                <a:cubicBezTo>
                  <a:pt x="454" y="144"/>
                  <a:pt x="453" y="147"/>
                  <a:pt x="450" y="149"/>
                </a:cubicBezTo>
                <a:cubicBezTo>
                  <a:pt x="447" y="151"/>
                  <a:pt x="440" y="152"/>
                  <a:pt x="437" y="150"/>
                </a:cubicBezTo>
                <a:cubicBezTo>
                  <a:pt x="433" y="148"/>
                  <a:pt x="438" y="145"/>
                  <a:pt x="438" y="142"/>
                </a:cubicBezTo>
                <a:cubicBezTo>
                  <a:pt x="438" y="140"/>
                  <a:pt x="431" y="139"/>
                  <a:pt x="431" y="139"/>
                </a:cubicBezTo>
                <a:cubicBezTo>
                  <a:pt x="429" y="131"/>
                  <a:pt x="429" y="131"/>
                  <a:pt x="429" y="131"/>
                </a:cubicBezTo>
                <a:cubicBezTo>
                  <a:pt x="431" y="127"/>
                  <a:pt x="431" y="127"/>
                  <a:pt x="431" y="127"/>
                </a:cubicBezTo>
                <a:cubicBezTo>
                  <a:pt x="426" y="121"/>
                  <a:pt x="426" y="121"/>
                  <a:pt x="426" y="121"/>
                </a:cubicBezTo>
                <a:cubicBezTo>
                  <a:pt x="423" y="125"/>
                  <a:pt x="423" y="125"/>
                  <a:pt x="423" y="125"/>
                </a:cubicBezTo>
                <a:cubicBezTo>
                  <a:pt x="420" y="121"/>
                  <a:pt x="420" y="121"/>
                  <a:pt x="420" y="121"/>
                </a:cubicBezTo>
                <a:cubicBezTo>
                  <a:pt x="405" y="129"/>
                  <a:pt x="405" y="129"/>
                  <a:pt x="405" y="129"/>
                </a:cubicBezTo>
                <a:cubicBezTo>
                  <a:pt x="400" y="127"/>
                  <a:pt x="400" y="127"/>
                  <a:pt x="400" y="127"/>
                </a:cubicBezTo>
                <a:cubicBezTo>
                  <a:pt x="400" y="127"/>
                  <a:pt x="400" y="127"/>
                  <a:pt x="394" y="136"/>
                </a:cubicBezTo>
                <a:cubicBezTo>
                  <a:pt x="376" y="137"/>
                  <a:pt x="372" y="131"/>
                  <a:pt x="372" y="128"/>
                </a:cubicBezTo>
                <a:cubicBezTo>
                  <a:pt x="372" y="126"/>
                  <a:pt x="366" y="120"/>
                  <a:pt x="366" y="120"/>
                </a:cubicBezTo>
                <a:cubicBezTo>
                  <a:pt x="367" y="97"/>
                  <a:pt x="367" y="97"/>
                  <a:pt x="367" y="97"/>
                </a:cubicBezTo>
                <a:cubicBezTo>
                  <a:pt x="360" y="104"/>
                  <a:pt x="360" y="104"/>
                  <a:pt x="360" y="104"/>
                </a:cubicBezTo>
                <a:cubicBezTo>
                  <a:pt x="354" y="96"/>
                  <a:pt x="354" y="96"/>
                  <a:pt x="354" y="96"/>
                </a:cubicBezTo>
                <a:cubicBezTo>
                  <a:pt x="343" y="98"/>
                  <a:pt x="343" y="98"/>
                  <a:pt x="343" y="98"/>
                </a:cubicBezTo>
                <a:cubicBezTo>
                  <a:pt x="343" y="106"/>
                  <a:pt x="343" y="106"/>
                  <a:pt x="343" y="106"/>
                </a:cubicBezTo>
                <a:cubicBezTo>
                  <a:pt x="341" y="108"/>
                  <a:pt x="341" y="108"/>
                  <a:pt x="341" y="108"/>
                </a:cubicBezTo>
                <a:cubicBezTo>
                  <a:pt x="343" y="114"/>
                  <a:pt x="343" y="114"/>
                  <a:pt x="343" y="114"/>
                </a:cubicBezTo>
                <a:cubicBezTo>
                  <a:pt x="345" y="126"/>
                  <a:pt x="345" y="126"/>
                  <a:pt x="345" y="126"/>
                </a:cubicBezTo>
                <a:cubicBezTo>
                  <a:pt x="339" y="145"/>
                  <a:pt x="339" y="145"/>
                  <a:pt x="339" y="145"/>
                </a:cubicBezTo>
                <a:cubicBezTo>
                  <a:pt x="333" y="146"/>
                  <a:pt x="333" y="146"/>
                  <a:pt x="333" y="146"/>
                </a:cubicBezTo>
                <a:cubicBezTo>
                  <a:pt x="329" y="155"/>
                  <a:pt x="329" y="155"/>
                  <a:pt x="329" y="155"/>
                </a:cubicBezTo>
                <a:cubicBezTo>
                  <a:pt x="316" y="162"/>
                  <a:pt x="316" y="162"/>
                  <a:pt x="316" y="162"/>
                </a:cubicBezTo>
                <a:cubicBezTo>
                  <a:pt x="316" y="162"/>
                  <a:pt x="316" y="169"/>
                  <a:pt x="316" y="173"/>
                </a:cubicBezTo>
                <a:cubicBezTo>
                  <a:pt x="316" y="176"/>
                  <a:pt x="308" y="176"/>
                  <a:pt x="308" y="176"/>
                </a:cubicBezTo>
                <a:cubicBezTo>
                  <a:pt x="308" y="176"/>
                  <a:pt x="308" y="182"/>
                  <a:pt x="307" y="187"/>
                </a:cubicBezTo>
                <a:cubicBezTo>
                  <a:pt x="307" y="191"/>
                  <a:pt x="303" y="189"/>
                  <a:pt x="303" y="189"/>
                </a:cubicBezTo>
                <a:cubicBezTo>
                  <a:pt x="308" y="192"/>
                  <a:pt x="308" y="192"/>
                  <a:pt x="308" y="192"/>
                </a:cubicBezTo>
                <a:cubicBezTo>
                  <a:pt x="308" y="199"/>
                  <a:pt x="308" y="199"/>
                  <a:pt x="308" y="199"/>
                </a:cubicBezTo>
                <a:cubicBezTo>
                  <a:pt x="317" y="206"/>
                  <a:pt x="317" y="206"/>
                  <a:pt x="317" y="206"/>
                </a:cubicBezTo>
                <a:cubicBezTo>
                  <a:pt x="306" y="218"/>
                  <a:pt x="306" y="218"/>
                  <a:pt x="306" y="218"/>
                </a:cubicBezTo>
                <a:cubicBezTo>
                  <a:pt x="299" y="214"/>
                  <a:pt x="299" y="214"/>
                  <a:pt x="299" y="214"/>
                </a:cubicBezTo>
                <a:cubicBezTo>
                  <a:pt x="294" y="213"/>
                  <a:pt x="294" y="213"/>
                  <a:pt x="294" y="213"/>
                </a:cubicBezTo>
                <a:cubicBezTo>
                  <a:pt x="294" y="213"/>
                  <a:pt x="295" y="203"/>
                  <a:pt x="295" y="201"/>
                </a:cubicBezTo>
                <a:cubicBezTo>
                  <a:pt x="295" y="200"/>
                  <a:pt x="288" y="191"/>
                  <a:pt x="288" y="191"/>
                </a:cubicBezTo>
                <a:cubicBezTo>
                  <a:pt x="285" y="186"/>
                  <a:pt x="285" y="186"/>
                  <a:pt x="285" y="186"/>
                </a:cubicBezTo>
                <a:cubicBezTo>
                  <a:pt x="278" y="186"/>
                  <a:pt x="278" y="186"/>
                  <a:pt x="278" y="186"/>
                </a:cubicBezTo>
                <a:cubicBezTo>
                  <a:pt x="287" y="172"/>
                  <a:pt x="287" y="172"/>
                  <a:pt x="287" y="172"/>
                </a:cubicBezTo>
                <a:cubicBezTo>
                  <a:pt x="284" y="166"/>
                  <a:pt x="284" y="166"/>
                  <a:pt x="284" y="166"/>
                </a:cubicBezTo>
                <a:cubicBezTo>
                  <a:pt x="277" y="165"/>
                  <a:pt x="277" y="165"/>
                  <a:pt x="277" y="165"/>
                </a:cubicBezTo>
                <a:cubicBezTo>
                  <a:pt x="257" y="162"/>
                  <a:pt x="257" y="162"/>
                  <a:pt x="257" y="162"/>
                </a:cubicBezTo>
                <a:cubicBezTo>
                  <a:pt x="248" y="143"/>
                  <a:pt x="248" y="143"/>
                  <a:pt x="248" y="143"/>
                </a:cubicBezTo>
                <a:cubicBezTo>
                  <a:pt x="238" y="139"/>
                  <a:pt x="238" y="139"/>
                  <a:pt x="238" y="139"/>
                </a:cubicBezTo>
                <a:cubicBezTo>
                  <a:pt x="238" y="139"/>
                  <a:pt x="238" y="131"/>
                  <a:pt x="238" y="128"/>
                </a:cubicBezTo>
                <a:cubicBezTo>
                  <a:pt x="238" y="125"/>
                  <a:pt x="242" y="122"/>
                  <a:pt x="242" y="122"/>
                </a:cubicBezTo>
                <a:cubicBezTo>
                  <a:pt x="242" y="122"/>
                  <a:pt x="243" y="108"/>
                  <a:pt x="241" y="100"/>
                </a:cubicBezTo>
                <a:cubicBezTo>
                  <a:pt x="239" y="92"/>
                  <a:pt x="222" y="110"/>
                  <a:pt x="222" y="110"/>
                </a:cubicBezTo>
                <a:cubicBezTo>
                  <a:pt x="222" y="110"/>
                  <a:pt x="222" y="110"/>
                  <a:pt x="223" y="115"/>
                </a:cubicBezTo>
                <a:cubicBezTo>
                  <a:pt x="214" y="116"/>
                  <a:pt x="211" y="126"/>
                  <a:pt x="211" y="126"/>
                </a:cubicBezTo>
                <a:cubicBezTo>
                  <a:pt x="199" y="127"/>
                  <a:pt x="199" y="127"/>
                  <a:pt x="199" y="127"/>
                </a:cubicBezTo>
                <a:cubicBezTo>
                  <a:pt x="194" y="132"/>
                  <a:pt x="194" y="132"/>
                  <a:pt x="194" y="132"/>
                </a:cubicBezTo>
                <a:cubicBezTo>
                  <a:pt x="202" y="142"/>
                  <a:pt x="202" y="142"/>
                  <a:pt x="202" y="142"/>
                </a:cubicBezTo>
                <a:cubicBezTo>
                  <a:pt x="202" y="142"/>
                  <a:pt x="202" y="156"/>
                  <a:pt x="197" y="159"/>
                </a:cubicBezTo>
                <a:cubicBezTo>
                  <a:pt x="193" y="161"/>
                  <a:pt x="187" y="161"/>
                  <a:pt x="187" y="161"/>
                </a:cubicBezTo>
                <a:cubicBezTo>
                  <a:pt x="187" y="161"/>
                  <a:pt x="187" y="168"/>
                  <a:pt x="185" y="174"/>
                </a:cubicBezTo>
                <a:cubicBezTo>
                  <a:pt x="183" y="181"/>
                  <a:pt x="171" y="179"/>
                  <a:pt x="168" y="180"/>
                </a:cubicBezTo>
                <a:cubicBezTo>
                  <a:pt x="165" y="181"/>
                  <a:pt x="163" y="191"/>
                  <a:pt x="163" y="191"/>
                </a:cubicBezTo>
                <a:cubicBezTo>
                  <a:pt x="154" y="193"/>
                  <a:pt x="154" y="193"/>
                  <a:pt x="154" y="193"/>
                </a:cubicBezTo>
                <a:cubicBezTo>
                  <a:pt x="154" y="193"/>
                  <a:pt x="151" y="189"/>
                  <a:pt x="150" y="189"/>
                </a:cubicBezTo>
                <a:cubicBezTo>
                  <a:pt x="148" y="189"/>
                  <a:pt x="147" y="192"/>
                  <a:pt x="147" y="192"/>
                </a:cubicBezTo>
                <a:cubicBezTo>
                  <a:pt x="139" y="182"/>
                  <a:pt x="139" y="182"/>
                  <a:pt x="139" y="182"/>
                </a:cubicBezTo>
                <a:cubicBezTo>
                  <a:pt x="127" y="182"/>
                  <a:pt x="127" y="182"/>
                  <a:pt x="127" y="182"/>
                </a:cubicBezTo>
                <a:cubicBezTo>
                  <a:pt x="129" y="177"/>
                  <a:pt x="129" y="177"/>
                  <a:pt x="129" y="177"/>
                </a:cubicBezTo>
                <a:cubicBezTo>
                  <a:pt x="124" y="176"/>
                  <a:pt x="124" y="176"/>
                  <a:pt x="124" y="176"/>
                </a:cubicBezTo>
                <a:cubicBezTo>
                  <a:pt x="123" y="184"/>
                  <a:pt x="123" y="184"/>
                  <a:pt x="123" y="184"/>
                </a:cubicBezTo>
                <a:cubicBezTo>
                  <a:pt x="118" y="184"/>
                  <a:pt x="118" y="184"/>
                  <a:pt x="118" y="184"/>
                </a:cubicBezTo>
                <a:cubicBezTo>
                  <a:pt x="104" y="192"/>
                  <a:pt x="104" y="192"/>
                  <a:pt x="104" y="192"/>
                </a:cubicBezTo>
                <a:cubicBezTo>
                  <a:pt x="93" y="189"/>
                  <a:pt x="93" y="189"/>
                  <a:pt x="93" y="189"/>
                </a:cubicBezTo>
                <a:cubicBezTo>
                  <a:pt x="93" y="189"/>
                  <a:pt x="91" y="192"/>
                  <a:pt x="89" y="195"/>
                </a:cubicBezTo>
                <a:cubicBezTo>
                  <a:pt x="86" y="197"/>
                  <a:pt x="82" y="191"/>
                  <a:pt x="82" y="191"/>
                </a:cubicBezTo>
                <a:cubicBezTo>
                  <a:pt x="79" y="198"/>
                  <a:pt x="79" y="198"/>
                  <a:pt x="79" y="198"/>
                </a:cubicBezTo>
                <a:cubicBezTo>
                  <a:pt x="74" y="193"/>
                  <a:pt x="74" y="193"/>
                  <a:pt x="74" y="193"/>
                </a:cubicBezTo>
                <a:cubicBezTo>
                  <a:pt x="69" y="198"/>
                  <a:pt x="69" y="198"/>
                  <a:pt x="69" y="198"/>
                </a:cubicBezTo>
                <a:cubicBezTo>
                  <a:pt x="61" y="188"/>
                  <a:pt x="61" y="188"/>
                  <a:pt x="61" y="188"/>
                </a:cubicBezTo>
                <a:cubicBezTo>
                  <a:pt x="57" y="184"/>
                  <a:pt x="58" y="190"/>
                  <a:pt x="53" y="195"/>
                </a:cubicBezTo>
                <a:cubicBezTo>
                  <a:pt x="48" y="198"/>
                  <a:pt x="43" y="199"/>
                  <a:pt x="41" y="199"/>
                </a:cubicBezTo>
                <a:cubicBezTo>
                  <a:pt x="40" y="199"/>
                  <a:pt x="40" y="199"/>
                  <a:pt x="40" y="199"/>
                </a:cubicBezTo>
                <a:cubicBezTo>
                  <a:pt x="37" y="200"/>
                  <a:pt x="37" y="200"/>
                  <a:pt x="37" y="200"/>
                </a:cubicBezTo>
                <a:cubicBezTo>
                  <a:pt x="34" y="200"/>
                  <a:pt x="34" y="200"/>
                  <a:pt x="34" y="200"/>
                </a:cubicBezTo>
                <a:cubicBezTo>
                  <a:pt x="34" y="200"/>
                  <a:pt x="29" y="209"/>
                  <a:pt x="30" y="216"/>
                </a:cubicBezTo>
                <a:cubicBezTo>
                  <a:pt x="30" y="223"/>
                  <a:pt x="33" y="227"/>
                  <a:pt x="40" y="228"/>
                </a:cubicBezTo>
                <a:cubicBezTo>
                  <a:pt x="46" y="229"/>
                  <a:pt x="44" y="234"/>
                  <a:pt x="44" y="234"/>
                </a:cubicBezTo>
                <a:cubicBezTo>
                  <a:pt x="53" y="236"/>
                  <a:pt x="53" y="236"/>
                  <a:pt x="53" y="236"/>
                </a:cubicBezTo>
                <a:cubicBezTo>
                  <a:pt x="48" y="246"/>
                  <a:pt x="48" y="246"/>
                  <a:pt x="48" y="246"/>
                </a:cubicBezTo>
                <a:cubicBezTo>
                  <a:pt x="51" y="247"/>
                  <a:pt x="51" y="247"/>
                  <a:pt x="51" y="247"/>
                </a:cubicBezTo>
                <a:cubicBezTo>
                  <a:pt x="50" y="260"/>
                  <a:pt x="50" y="260"/>
                  <a:pt x="50" y="260"/>
                </a:cubicBezTo>
                <a:cubicBezTo>
                  <a:pt x="50" y="260"/>
                  <a:pt x="53" y="262"/>
                  <a:pt x="57" y="262"/>
                </a:cubicBezTo>
                <a:cubicBezTo>
                  <a:pt x="61" y="262"/>
                  <a:pt x="57" y="268"/>
                  <a:pt x="57" y="268"/>
                </a:cubicBezTo>
                <a:cubicBezTo>
                  <a:pt x="57" y="268"/>
                  <a:pt x="58" y="268"/>
                  <a:pt x="62" y="268"/>
                </a:cubicBezTo>
                <a:cubicBezTo>
                  <a:pt x="62" y="268"/>
                  <a:pt x="63" y="268"/>
                  <a:pt x="64" y="268"/>
                </a:cubicBezTo>
                <a:cubicBezTo>
                  <a:pt x="68" y="268"/>
                  <a:pt x="64" y="274"/>
                  <a:pt x="64" y="274"/>
                </a:cubicBezTo>
                <a:cubicBezTo>
                  <a:pt x="71" y="279"/>
                  <a:pt x="71" y="279"/>
                  <a:pt x="71" y="279"/>
                </a:cubicBezTo>
                <a:cubicBezTo>
                  <a:pt x="67" y="292"/>
                  <a:pt x="67" y="292"/>
                  <a:pt x="67" y="292"/>
                </a:cubicBezTo>
                <a:cubicBezTo>
                  <a:pt x="63" y="293"/>
                  <a:pt x="63" y="293"/>
                  <a:pt x="63" y="293"/>
                </a:cubicBezTo>
                <a:cubicBezTo>
                  <a:pt x="63" y="293"/>
                  <a:pt x="65" y="299"/>
                  <a:pt x="66" y="304"/>
                </a:cubicBezTo>
                <a:cubicBezTo>
                  <a:pt x="66" y="310"/>
                  <a:pt x="60" y="311"/>
                  <a:pt x="58" y="312"/>
                </a:cubicBezTo>
                <a:cubicBezTo>
                  <a:pt x="57" y="313"/>
                  <a:pt x="57" y="313"/>
                  <a:pt x="56" y="313"/>
                </a:cubicBezTo>
                <a:cubicBezTo>
                  <a:pt x="54" y="313"/>
                  <a:pt x="51" y="312"/>
                  <a:pt x="46" y="312"/>
                </a:cubicBezTo>
                <a:cubicBezTo>
                  <a:pt x="39" y="313"/>
                  <a:pt x="43" y="320"/>
                  <a:pt x="43" y="320"/>
                </a:cubicBezTo>
                <a:cubicBezTo>
                  <a:pt x="33" y="320"/>
                  <a:pt x="33" y="320"/>
                  <a:pt x="33" y="320"/>
                </a:cubicBezTo>
                <a:cubicBezTo>
                  <a:pt x="33" y="320"/>
                  <a:pt x="33" y="326"/>
                  <a:pt x="29" y="326"/>
                </a:cubicBezTo>
                <a:cubicBezTo>
                  <a:pt x="25" y="326"/>
                  <a:pt x="17" y="320"/>
                  <a:pt x="17" y="320"/>
                </a:cubicBezTo>
                <a:cubicBezTo>
                  <a:pt x="17" y="320"/>
                  <a:pt x="15" y="321"/>
                  <a:pt x="12" y="323"/>
                </a:cubicBezTo>
                <a:cubicBezTo>
                  <a:pt x="8" y="325"/>
                  <a:pt x="6" y="323"/>
                  <a:pt x="6" y="323"/>
                </a:cubicBezTo>
                <a:cubicBezTo>
                  <a:pt x="0" y="328"/>
                  <a:pt x="0" y="328"/>
                  <a:pt x="0" y="328"/>
                </a:cubicBezTo>
                <a:cubicBezTo>
                  <a:pt x="2" y="344"/>
                  <a:pt x="2" y="344"/>
                  <a:pt x="2" y="344"/>
                </a:cubicBezTo>
                <a:cubicBezTo>
                  <a:pt x="2" y="344"/>
                  <a:pt x="7" y="345"/>
                  <a:pt x="12" y="347"/>
                </a:cubicBezTo>
                <a:cubicBezTo>
                  <a:pt x="18" y="349"/>
                  <a:pt x="12" y="362"/>
                  <a:pt x="12" y="362"/>
                </a:cubicBezTo>
                <a:cubicBezTo>
                  <a:pt x="12" y="362"/>
                  <a:pt x="28" y="377"/>
                  <a:pt x="32" y="377"/>
                </a:cubicBezTo>
                <a:cubicBezTo>
                  <a:pt x="37" y="377"/>
                  <a:pt x="36" y="375"/>
                  <a:pt x="36" y="375"/>
                </a:cubicBezTo>
                <a:cubicBezTo>
                  <a:pt x="46" y="383"/>
                  <a:pt x="46" y="383"/>
                  <a:pt x="46" y="383"/>
                </a:cubicBezTo>
                <a:cubicBezTo>
                  <a:pt x="46" y="383"/>
                  <a:pt x="43" y="386"/>
                  <a:pt x="42" y="388"/>
                </a:cubicBezTo>
                <a:cubicBezTo>
                  <a:pt x="41" y="391"/>
                  <a:pt x="46" y="392"/>
                  <a:pt x="46" y="392"/>
                </a:cubicBezTo>
                <a:cubicBezTo>
                  <a:pt x="46" y="398"/>
                  <a:pt x="46" y="398"/>
                  <a:pt x="46" y="398"/>
                </a:cubicBezTo>
                <a:cubicBezTo>
                  <a:pt x="52" y="408"/>
                  <a:pt x="52" y="408"/>
                  <a:pt x="52" y="408"/>
                </a:cubicBezTo>
                <a:cubicBezTo>
                  <a:pt x="52" y="408"/>
                  <a:pt x="52" y="408"/>
                  <a:pt x="40" y="405"/>
                </a:cubicBezTo>
                <a:cubicBezTo>
                  <a:pt x="29" y="403"/>
                  <a:pt x="36" y="424"/>
                  <a:pt x="28" y="428"/>
                </a:cubicBezTo>
                <a:cubicBezTo>
                  <a:pt x="20" y="433"/>
                  <a:pt x="21" y="438"/>
                  <a:pt x="21" y="438"/>
                </a:cubicBezTo>
                <a:cubicBezTo>
                  <a:pt x="31" y="452"/>
                  <a:pt x="31" y="452"/>
                  <a:pt x="31" y="452"/>
                </a:cubicBezTo>
                <a:cubicBezTo>
                  <a:pt x="23" y="453"/>
                  <a:pt x="23" y="453"/>
                  <a:pt x="23" y="453"/>
                </a:cubicBezTo>
                <a:cubicBezTo>
                  <a:pt x="23" y="453"/>
                  <a:pt x="23" y="465"/>
                  <a:pt x="26" y="466"/>
                </a:cubicBezTo>
                <a:cubicBezTo>
                  <a:pt x="28" y="467"/>
                  <a:pt x="28" y="471"/>
                  <a:pt x="31" y="477"/>
                </a:cubicBezTo>
                <a:cubicBezTo>
                  <a:pt x="33" y="482"/>
                  <a:pt x="36" y="478"/>
                  <a:pt x="36" y="484"/>
                </a:cubicBezTo>
                <a:cubicBezTo>
                  <a:pt x="36" y="490"/>
                  <a:pt x="40" y="488"/>
                  <a:pt x="43" y="488"/>
                </a:cubicBezTo>
                <a:cubicBezTo>
                  <a:pt x="47" y="488"/>
                  <a:pt x="52" y="496"/>
                  <a:pt x="56" y="496"/>
                </a:cubicBezTo>
                <a:cubicBezTo>
                  <a:pt x="61" y="496"/>
                  <a:pt x="69" y="506"/>
                  <a:pt x="69" y="506"/>
                </a:cubicBezTo>
                <a:cubicBezTo>
                  <a:pt x="79" y="506"/>
                  <a:pt x="79" y="506"/>
                  <a:pt x="79" y="506"/>
                </a:cubicBezTo>
                <a:cubicBezTo>
                  <a:pt x="78" y="511"/>
                  <a:pt x="78" y="511"/>
                  <a:pt x="78" y="511"/>
                </a:cubicBezTo>
                <a:cubicBezTo>
                  <a:pt x="85" y="511"/>
                  <a:pt x="85" y="511"/>
                  <a:pt x="85" y="511"/>
                </a:cubicBezTo>
                <a:cubicBezTo>
                  <a:pt x="88" y="513"/>
                  <a:pt x="88" y="513"/>
                  <a:pt x="88" y="513"/>
                </a:cubicBezTo>
                <a:cubicBezTo>
                  <a:pt x="88" y="513"/>
                  <a:pt x="88" y="511"/>
                  <a:pt x="91" y="509"/>
                </a:cubicBezTo>
                <a:cubicBezTo>
                  <a:pt x="93" y="508"/>
                  <a:pt x="113" y="507"/>
                  <a:pt x="113" y="507"/>
                </a:cubicBezTo>
                <a:cubicBezTo>
                  <a:pt x="117" y="502"/>
                  <a:pt x="117" y="502"/>
                  <a:pt x="117" y="502"/>
                </a:cubicBezTo>
                <a:cubicBezTo>
                  <a:pt x="124" y="505"/>
                  <a:pt x="124" y="505"/>
                  <a:pt x="124" y="505"/>
                </a:cubicBezTo>
                <a:cubicBezTo>
                  <a:pt x="118" y="510"/>
                  <a:pt x="118" y="510"/>
                  <a:pt x="118" y="510"/>
                </a:cubicBezTo>
                <a:cubicBezTo>
                  <a:pt x="118" y="510"/>
                  <a:pt x="123" y="517"/>
                  <a:pt x="126" y="521"/>
                </a:cubicBezTo>
                <a:cubicBezTo>
                  <a:pt x="127" y="522"/>
                  <a:pt x="127" y="523"/>
                  <a:pt x="126" y="524"/>
                </a:cubicBezTo>
                <a:cubicBezTo>
                  <a:pt x="124" y="526"/>
                  <a:pt x="119" y="528"/>
                  <a:pt x="119" y="530"/>
                </a:cubicBezTo>
                <a:cubicBezTo>
                  <a:pt x="118" y="533"/>
                  <a:pt x="120" y="534"/>
                  <a:pt x="116" y="539"/>
                </a:cubicBezTo>
                <a:cubicBezTo>
                  <a:pt x="113" y="544"/>
                  <a:pt x="106" y="542"/>
                  <a:pt x="106" y="542"/>
                </a:cubicBezTo>
                <a:cubicBezTo>
                  <a:pt x="103" y="552"/>
                  <a:pt x="103" y="552"/>
                  <a:pt x="103" y="552"/>
                </a:cubicBezTo>
                <a:cubicBezTo>
                  <a:pt x="95" y="557"/>
                  <a:pt x="95" y="557"/>
                  <a:pt x="95" y="557"/>
                </a:cubicBezTo>
                <a:cubicBezTo>
                  <a:pt x="98" y="571"/>
                  <a:pt x="98" y="571"/>
                  <a:pt x="98" y="571"/>
                </a:cubicBezTo>
                <a:cubicBezTo>
                  <a:pt x="108" y="574"/>
                  <a:pt x="108" y="574"/>
                  <a:pt x="108" y="574"/>
                </a:cubicBezTo>
                <a:cubicBezTo>
                  <a:pt x="115" y="575"/>
                  <a:pt x="115" y="575"/>
                  <a:pt x="115" y="575"/>
                </a:cubicBezTo>
                <a:cubicBezTo>
                  <a:pt x="118" y="570"/>
                  <a:pt x="118" y="570"/>
                  <a:pt x="118" y="570"/>
                </a:cubicBezTo>
                <a:cubicBezTo>
                  <a:pt x="125" y="571"/>
                  <a:pt x="125" y="571"/>
                  <a:pt x="125" y="571"/>
                </a:cubicBezTo>
                <a:cubicBezTo>
                  <a:pt x="132" y="567"/>
                  <a:pt x="132" y="567"/>
                  <a:pt x="132" y="567"/>
                </a:cubicBezTo>
                <a:cubicBezTo>
                  <a:pt x="138" y="569"/>
                  <a:pt x="138" y="569"/>
                  <a:pt x="138" y="569"/>
                </a:cubicBezTo>
                <a:cubicBezTo>
                  <a:pt x="168" y="557"/>
                  <a:pt x="168" y="557"/>
                  <a:pt x="168" y="557"/>
                </a:cubicBezTo>
                <a:cubicBezTo>
                  <a:pt x="181" y="545"/>
                  <a:pt x="181" y="545"/>
                  <a:pt x="181" y="545"/>
                </a:cubicBezTo>
                <a:cubicBezTo>
                  <a:pt x="182" y="537"/>
                  <a:pt x="182" y="537"/>
                  <a:pt x="182" y="537"/>
                </a:cubicBezTo>
                <a:cubicBezTo>
                  <a:pt x="193" y="531"/>
                  <a:pt x="193" y="531"/>
                  <a:pt x="193" y="531"/>
                </a:cubicBezTo>
                <a:cubicBezTo>
                  <a:pt x="193" y="531"/>
                  <a:pt x="191" y="519"/>
                  <a:pt x="195" y="515"/>
                </a:cubicBezTo>
                <a:cubicBezTo>
                  <a:pt x="200" y="510"/>
                  <a:pt x="214" y="506"/>
                  <a:pt x="218" y="504"/>
                </a:cubicBezTo>
                <a:cubicBezTo>
                  <a:pt x="221" y="503"/>
                  <a:pt x="216" y="501"/>
                  <a:pt x="216" y="501"/>
                </a:cubicBezTo>
                <a:cubicBezTo>
                  <a:pt x="222" y="495"/>
                  <a:pt x="222" y="495"/>
                  <a:pt x="222" y="495"/>
                </a:cubicBezTo>
                <a:cubicBezTo>
                  <a:pt x="221" y="486"/>
                  <a:pt x="221" y="486"/>
                  <a:pt x="221" y="486"/>
                </a:cubicBezTo>
                <a:cubicBezTo>
                  <a:pt x="260" y="466"/>
                  <a:pt x="260" y="466"/>
                  <a:pt x="260" y="466"/>
                </a:cubicBezTo>
                <a:cubicBezTo>
                  <a:pt x="271" y="467"/>
                  <a:pt x="271" y="467"/>
                  <a:pt x="271" y="467"/>
                </a:cubicBezTo>
                <a:cubicBezTo>
                  <a:pt x="277" y="471"/>
                  <a:pt x="277" y="471"/>
                  <a:pt x="277" y="471"/>
                </a:cubicBezTo>
                <a:cubicBezTo>
                  <a:pt x="284" y="469"/>
                  <a:pt x="284" y="469"/>
                  <a:pt x="284" y="469"/>
                </a:cubicBezTo>
                <a:cubicBezTo>
                  <a:pt x="287" y="475"/>
                  <a:pt x="287" y="475"/>
                  <a:pt x="287" y="475"/>
                </a:cubicBezTo>
                <a:cubicBezTo>
                  <a:pt x="313" y="479"/>
                  <a:pt x="313" y="479"/>
                  <a:pt x="313" y="479"/>
                </a:cubicBezTo>
                <a:cubicBezTo>
                  <a:pt x="313" y="488"/>
                  <a:pt x="313" y="488"/>
                  <a:pt x="313" y="488"/>
                </a:cubicBezTo>
                <a:cubicBezTo>
                  <a:pt x="318" y="491"/>
                  <a:pt x="318" y="491"/>
                  <a:pt x="318" y="491"/>
                </a:cubicBezTo>
                <a:cubicBezTo>
                  <a:pt x="323" y="481"/>
                  <a:pt x="323" y="481"/>
                  <a:pt x="323" y="481"/>
                </a:cubicBezTo>
                <a:cubicBezTo>
                  <a:pt x="323" y="481"/>
                  <a:pt x="336" y="490"/>
                  <a:pt x="340" y="492"/>
                </a:cubicBezTo>
                <a:cubicBezTo>
                  <a:pt x="343" y="494"/>
                  <a:pt x="343" y="499"/>
                  <a:pt x="343" y="499"/>
                </a:cubicBezTo>
                <a:cubicBezTo>
                  <a:pt x="343" y="499"/>
                  <a:pt x="347" y="501"/>
                  <a:pt x="353" y="501"/>
                </a:cubicBezTo>
                <a:cubicBezTo>
                  <a:pt x="359" y="501"/>
                  <a:pt x="356" y="505"/>
                  <a:pt x="356" y="505"/>
                </a:cubicBezTo>
                <a:cubicBezTo>
                  <a:pt x="356" y="505"/>
                  <a:pt x="362" y="510"/>
                  <a:pt x="366" y="512"/>
                </a:cubicBezTo>
                <a:cubicBezTo>
                  <a:pt x="371" y="515"/>
                  <a:pt x="372" y="521"/>
                  <a:pt x="372" y="521"/>
                </a:cubicBezTo>
                <a:cubicBezTo>
                  <a:pt x="372" y="518"/>
                  <a:pt x="381" y="522"/>
                  <a:pt x="382" y="526"/>
                </a:cubicBezTo>
                <a:cubicBezTo>
                  <a:pt x="384" y="529"/>
                  <a:pt x="396" y="538"/>
                  <a:pt x="396" y="538"/>
                </a:cubicBezTo>
                <a:cubicBezTo>
                  <a:pt x="400" y="537"/>
                  <a:pt x="400" y="537"/>
                  <a:pt x="400" y="537"/>
                </a:cubicBezTo>
                <a:cubicBezTo>
                  <a:pt x="400" y="537"/>
                  <a:pt x="396" y="528"/>
                  <a:pt x="400" y="527"/>
                </a:cubicBezTo>
                <a:cubicBezTo>
                  <a:pt x="404" y="526"/>
                  <a:pt x="416" y="541"/>
                  <a:pt x="416" y="541"/>
                </a:cubicBezTo>
                <a:cubicBezTo>
                  <a:pt x="419" y="540"/>
                  <a:pt x="419" y="540"/>
                  <a:pt x="419" y="540"/>
                </a:cubicBezTo>
                <a:cubicBezTo>
                  <a:pt x="419" y="540"/>
                  <a:pt x="420" y="541"/>
                  <a:pt x="421" y="541"/>
                </a:cubicBezTo>
                <a:cubicBezTo>
                  <a:pt x="423" y="541"/>
                  <a:pt x="426" y="542"/>
                  <a:pt x="429" y="543"/>
                </a:cubicBezTo>
                <a:cubicBezTo>
                  <a:pt x="433" y="545"/>
                  <a:pt x="444" y="564"/>
                  <a:pt x="446" y="567"/>
                </a:cubicBezTo>
                <a:cubicBezTo>
                  <a:pt x="449" y="571"/>
                  <a:pt x="451" y="591"/>
                  <a:pt x="451" y="598"/>
                </a:cubicBezTo>
                <a:cubicBezTo>
                  <a:pt x="451" y="606"/>
                  <a:pt x="451" y="615"/>
                  <a:pt x="455" y="623"/>
                </a:cubicBezTo>
                <a:cubicBezTo>
                  <a:pt x="459" y="630"/>
                  <a:pt x="457" y="641"/>
                  <a:pt x="457" y="641"/>
                </a:cubicBezTo>
                <a:cubicBezTo>
                  <a:pt x="457" y="641"/>
                  <a:pt x="462" y="648"/>
                  <a:pt x="467" y="654"/>
                </a:cubicBezTo>
                <a:cubicBezTo>
                  <a:pt x="471" y="659"/>
                  <a:pt x="471" y="659"/>
                  <a:pt x="473" y="665"/>
                </a:cubicBezTo>
                <a:cubicBezTo>
                  <a:pt x="475" y="670"/>
                  <a:pt x="481" y="679"/>
                  <a:pt x="484" y="686"/>
                </a:cubicBezTo>
                <a:cubicBezTo>
                  <a:pt x="487" y="694"/>
                  <a:pt x="484" y="711"/>
                  <a:pt x="483" y="722"/>
                </a:cubicBezTo>
                <a:cubicBezTo>
                  <a:pt x="482" y="733"/>
                  <a:pt x="476" y="729"/>
                  <a:pt x="476" y="731"/>
                </a:cubicBezTo>
                <a:cubicBezTo>
                  <a:pt x="476" y="732"/>
                  <a:pt x="482" y="743"/>
                  <a:pt x="482" y="743"/>
                </a:cubicBezTo>
                <a:cubicBezTo>
                  <a:pt x="487" y="736"/>
                  <a:pt x="487" y="736"/>
                  <a:pt x="487" y="736"/>
                </a:cubicBezTo>
                <a:cubicBezTo>
                  <a:pt x="487" y="736"/>
                  <a:pt x="495" y="736"/>
                  <a:pt x="502" y="736"/>
                </a:cubicBezTo>
                <a:cubicBezTo>
                  <a:pt x="510" y="736"/>
                  <a:pt x="514" y="748"/>
                  <a:pt x="514" y="751"/>
                </a:cubicBezTo>
                <a:cubicBezTo>
                  <a:pt x="514" y="754"/>
                  <a:pt x="507" y="765"/>
                  <a:pt x="507" y="765"/>
                </a:cubicBezTo>
                <a:cubicBezTo>
                  <a:pt x="507" y="765"/>
                  <a:pt x="514" y="767"/>
                  <a:pt x="516" y="768"/>
                </a:cubicBezTo>
                <a:cubicBezTo>
                  <a:pt x="518" y="768"/>
                  <a:pt x="528" y="774"/>
                  <a:pt x="538" y="778"/>
                </a:cubicBezTo>
                <a:cubicBezTo>
                  <a:pt x="548" y="782"/>
                  <a:pt x="542" y="786"/>
                  <a:pt x="543" y="792"/>
                </a:cubicBezTo>
                <a:cubicBezTo>
                  <a:pt x="544" y="799"/>
                  <a:pt x="547" y="793"/>
                  <a:pt x="554" y="798"/>
                </a:cubicBezTo>
                <a:cubicBezTo>
                  <a:pt x="560" y="802"/>
                  <a:pt x="560" y="810"/>
                  <a:pt x="560" y="810"/>
                </a:cubicBezTo>
                <a:cubicBezTo>
                  <a:pt x="562" y="808"/>
                  <a:pt x="562" y="808"/>
                  <a:pt x="562" y="808"/>
                </a:cubicBezTo>
                <a:cubicBezTo>
                  <a:pt x="562" y="808"/>
                  <a:pt x="564" y="809"/>
                  <a:pt x="568" y="813"/>
                </a:cubicBezTo>
                <a:cubicBezTo>
                  <a:pt x="571" y="816"/>
                  <a:pt x="563" y="826"/>
                  <a:pt x="563" y="828"/>
                </a:cubicBezTo>
                <a:cubicBezTo>
                  <a:pt x="562" y="831"/>
                  <a:pt x="556" y="828"/>
                  <a:pt x="556" y="828"/>
                </a:cubicBezTo>
                <a:cubicBezTo>
                  <a:pt x="556" y="828"/>
                  <a:pt x="553" y="834"/>
                  <a:pt x="553" y="837"/>
                </a:cubicBezTo>
                <a:cubicBezTo>
                  <a:pt x="553" y="840"/>
                  <a:pt x="562" y="842"/>
                  <a:pt x="566" y="842"/>
                </a:cubicBezTo>
                <a:cubicBezTo>
                  <a:pt x="569" y="842"/>
                  <a:pt x="568" y="836"/>
                  <a:pt x="571" y="834"/>
                </a:cubicBezTo>
                <a:cubicBezTo>
                  <a:pt x="572" y="832"/>
                  <a:pt x="587" y="838"/>
                  <a:pt x="598" y="842"/>
                </a:cubicBezTo>
                <a:cubicBezTo>
                  <a:pt x="602" y="843"/>
                  <a:pt x="605" y="844"/>
                  <a:pt x="607" y="845"/>
                </a:cubicBezTo>
                <a:cubicBezTo>
                  <a:pt x="618" y="847"/>
                  <a:pt x="633" y="867"/>
                  <a:pt x="635" y="874"/>
                </a:cubicBezTo>
                <a:cubicBezTo>
                  <a:pt x="638" y="881"/>
                  <a:pt x="653" y="904"/>
                  <a:pt x="653" y="904"/>
                </a:cubicBezTo>
                <a:cubicBezTo>
                  <a:pt x="660" y="901"/>
                  <a:pt x="660" y="901"/>
                  <a:pt x="660" y="901"/>
                </a:cubicBezTo>
                <a:cubicBezTo>
                  <a:pt x="660" y="901"/>
                  <a:pt x="688" y="922"/>
                  <a:pt x="695" y="928"/>
                </a:cubicBezTo>
                <a:cubicBezTo>
                  <a:pt x="701" y="935"/>
                  <a:pt x="702" y="955"/>
                  <a:pt x="702" y="955"/>
                </a:cubicBezTo>
                <a:cubicBezTo>
                  <a:pt x="702" y="955"/>
                  <a:pt x="717" y="964"/>
                  <a:pt x="731" y="976"/>
                </a:cubicBezTo>
                <a:cubicBezTo>
                  <a:pt x="745" y="989"/>
                  <a:pt x="754" y="1008"/>
                  <a:pt x="754" y="1008"/>
                </a:cubicBezTo>
                <a:cubicBezTo>
                  <a:pt x="754" y="1008"/>
                  <a:pt x="757" y="1007"/>
                  <a:pt x="762" y="1007"/>
                </a:cubicBezTo>
                <a:cubicBezTo>
                  <a:pt x="768" y="1008"/>
                  <a:pt x="777" y="1015"/>
                  <a:pt x="777" y="1015"/>
                </a:cubicBezTo>
                <a:cubicBezTo>
                  <a:pt x="777" y="1015"/>
                  <a:pt x="787" y="1016"/>
                  <a:pt x="792" y="1017"/>
                </a:cubicBezTo>
                <a:cubicBezTo>
                  <a:pt x="797" y="1019"/>
                  <a:pt x="804" y="1032"/>
                  <a:pt x="808" y="1040"/>
                </a:cubicBezTo>
                <a:cubicBezTo>
                  <a:pt x="812" y="1048"/>
                  <a:pt x="816" y="1049"/>
                  <a:pt x="816" y="1049"/>
                </a:cubicBezTo>
                <a:cubicBezTo>
                  <a:pt x="821" y="1039"/>
                  <a:pt x="847" y="1034"/>
                  <a:pt x="852" y="1035"/>
                </a:cubicBezTo>
                <a:cubicBezTo>
                  <a:pt x="857" y="1035"/>
                  <a:pt x="877" y="1048"/>
                  <a:pt x="877" y="1048"/>
                </a:cubicBezTo>
                <a:cubicBezTo>
                  <a:pt x="886" y="1048"/>
                  <a:pt x="886" y="1048"/>
                  <a:pt x="886" y="1048"/>
                </a:cubicBezTo>
                <a:cubicBezTo>
                  <a:pt x="881" y="1042"/>
                  <a:pt x="899" y="1043"/>
                  <a:pt x="906" y="1045"/>
                </a:cubicBezTo>
                <a:cubicBezTo>
                  <a:pt x="907" y="1045"/>
                  <a:pt x="908" y="1046"/>
                  <a:pt x="909" y="1047"/>
                </a:cubicBezTo>
                <a:cubicBezTo>
                  <a:pt x="916" y="1053"/>
                  <a:pt x="927" y="1069"/>
                  <a:pt x="927" y="1069"/>
                </a:cubicBezTo>
                <a:cubicBezTo>
                  <a:pt x="927" y="1069"/>
                  <a:pt x="928" y="1082"/>
                  <a:pt x="935" y="1087"/>
                </a:cubicBezTo>
                <a:cubicBezTo>
                  <a:pt x="942" y="1092"/>
                  <a:pt x="944" y="1101"/>
                  <a:pt x="946" y="1107"/>
                </a:cubicBezTo>
                <a:cubicBezTo>
                  <a:pt x="948" y="1112"/>
                  <a:pt x="948" y="1123"/>
                  <a:pt x="948" y="1123"/>
                </a:cubicBezTo>
                <a:cubicBezTo>
                  <a:pt x="956" y="1125"/>
                  <a:pt x="956" y="1125"/>
                  <a:pt x="956" y="1125"/>
                </a:cubicBezTo>
                <a:cubicBezTo>
                  <a:pt x="956" y="1125"/>
                  <a:pt x="956" y="1120"/>
                  <a:pt x="957" y="1117"/>
                </a:cubicBezTo>
                <a:cubicBezTo>
                  <a:pt x="957" y="1115"/>
                  <a:pt x="966" y="1124"/>
                  <a:pt x="966" y="1124"/>
                </a:cubicBezTo>
                <a:cubicBezTo>
                  <a:pt x="966" y="1124"/>
                  <a:pt x="974" y="1115"/>
                  <a:pt x="978" y="1114"/>
                </a:cubicBezTo>
                <a:cubicBezTo>
                  <a:pt x="983" y="1112"/>
                  <a:pt x="996" y="1129"/>
                  <a:pt x="996" y="1129"/>
                </a:cubicBezTo>
                <a:cubicBezTo>
                  <a:pt x="996" y="1129"/>
                  <a:pt x="1003" y="1130"/>
                  <a:pt x="1005" y="1130"/>
                </a:cubicBezTo>
                <a:cubicBezTo>
                  <a:pt x="1007" y="1130"/>
                  <a:pt x="1009" y="1139"/>
                  <a:pt x="1009" y="1139"/>
                </a:cubicBezTo>
                <a:cubicBezTo>
                  <a:pt x="1009" y="1139"/>
                  <a:pt x="1005" y="1141"/>
                  <a:pt x="1003" y="1141"/>
                </a:cubicBezTo>
                <a:cubicBezTo>
                  <a:pt x="1000" y="1141"/>
                  <a:pt x="1001" y="1149"/>
                  <a:pt x="1000" y="1151"/>
                </a:cubicBezTo>
                <a:cubicBezTo>
                  <a:pt x="1000" y="1152"/>
                  <a:pt x="994" y="1151"/>
                  <a:pt x="991" y="1151"/>
                </a:cubicBezTo>
                <a:cubicBezTo>
                  <a:pt x="988" y="1151"/>
                  <a:pt x="987" y="1164"/>
                  <a:pt x="987" y="1164"/>
                </a:cubicBezTo>
                <a:cubicBezTo>
                  <a:pt x="1007" y="1155"/>
                  <a:pt x="1007" y="1155"/>
                  <a:pt x="1007" y="1155"/>
                </a:cubicBezTo>
                <a:cubicBezTo>
                  <a:pt x="1019" y="1155"/>
                  <a:pt x="1019" y="1155"/>
                  <a:pt x="1019" y="1155"/>
                </a:cubicBezTo>
                <a:cubicBezTo>
                  <a:pt x="1029" y="1148"/>
                  <a:pt x="1029" y="1148"/>
                  <a:pt x="1029" y="1148"/>
                </a:cubicBezTo>
                <a:cubicBezTo>
                  <a:pt x="1037" y="1151"/>
                  <a:pt x="1037" y="1151"/>
                  <a:pt x="1037" y="1151"/>
                </a:cubicBezTo>
                <a:cubicBezTo>
                  <a:pt x="1037" y="1151"/>
                  <a:pt x="1042" y="1143"/>
                  <a:pt x="1047" y="1143"/>
                </a:cubicBezTo>
                <a:cubicBezTo>
                  <a:pt x="1051" y="1143"/>
                  <a:pt x="1059" y="1158"/>
                  <a:pt x="1065" y="1162"/>
                </a:cubicBezTo>
                <a:cubicBezTo>
                  <a:pt x="1071" y="1166"/>
                  <a:pt x="1079" y="1190"/>
                  <a:pt x="1080" y="1195"/>
                </a:cubicBezTo>
                <a:cubicBezTo>
                  <a:pt x="1081" y="1200"/>
                  <a:pt x="1073" y="1203"/>
                  <a:pt x="1073" y="1203"/>
                </a:cubicBezTo>
                <a:cubicBezTo>
                  <a:pt x="1075" y="1213"/>
                  <a:pt x="1075" y="1213"/>
                  <a:pt x="1075" y="1213"/>
                </a:cubicBezTo>
                <a:cubicBezTo>
                  <a:pt x="1075" y="1213"/>
                  <a:pt x="1070" y="1217"/>
                  <a:pt x="1068" y="1220"/>
                </a:cubicBezTo>
                <a:cubicBezTo>
                  <a:pt x="1067" y="1222"/>
                  <a:pt x="1072" y="1221"/>
                  <a:pt x="1078" y="1223"/>
                </a:cubicBezTo>
                <a:cubicBezTo>
                  <a:pt x="1083" y="1226"/>
                  <a:pt x="1088" y="1235"/>
                  <a:pt x="1088" y="1235"/>
                </a:cubicBezTo>
                <a:cubicBezTo>
                  <a:pt x="1099" y="1231"/>
                  <a:pt x="1099" y="1231"/>
                  <a:pt x="1099" y="1231"/>
                </a:cubicBezTo>
                <a:cubicBezTo>
                  <a:pt x="1099" y="1231"/>
                  <a:pt x="1114" y="1245"/>
                  <a:pt x="1119" y="1248"/>
                </a:cubicBezTo>
                <a:cubicBezTo>
                  <a:pt x="1123" y="1251"/>
                  <a:pt x="1119" y="1257"/>
                  <a:pt x="1119" y="1257"/>
                </a:cubicBezTo>
                <a:cubicBezTo>
                  <a:pt x="1119" y="1257"/>
                  <a:pt x="1121" y="1255"/>
                  <a:pt x="1127" y="1255"/>
                </a:cubicBezTo>
                <a:cubicBezTo>
                  <a:pt x="1132" y="1255"/>
                  <a:pt x="1133" y="1263"/>
                  <a:pt x="1136" y="1263"/>
                </a:cubicBezTo>
                <a:cubicBezTo>
                  <a:pt x="1139" y="1264"/>
                  <a:pt x="1144" y="1255"/>
                  <a:pt x="1148" y="1249"/>
                </a:cubicBezTo>
                <a:cubicBezTo>
                  <a:pt x="1152" y="1244"/>
                  <a:pt x="1167" y="1247"/>
                  <a:pt x="1167" y="1247"/>
                </a:cubicBezTo>
                <a:cubicBezTo>
                  <a:pt x="1168" y="1254"/>
                  <a:pt x="1168" y="1254"/>
                  <a:pt x="1168" y="1254"/>
                </a:cubicBezTo>
                <a:cubicBezTo>
                  <a:pt x="1168" y="1254"/>
                  <a:pt x="1169" y="1254"/>
                  <a:pt x="1170" y="1254"/>
                </a:cubicBezTo>
                <a:cubicBezTo>
                  <a:pt x="1172" y="1254"/>
                  <a:pt x="1174" y="1255"/>
                  <a:pt x="1175" y="1255"/>
                </a:cubicBezTo>
                <a:cubicBezTo>
                  <a:pt x="1176" y="1255"/>
                  <a:pt x="1181" y="1265"/>
                  <a:pt x="1184" y="1273"/>
                </a:cubicBezTo>
                <a:cubicBezTo>
                  <a:pt x="1187" y="1279"/>
                  <a:pt x="1190" y="1284"/>
                  <a:pt x="1190" y="1284"/>
                </a:cubicBezTo>
                <a:cubicBezTo>
                  <a:pt x="1188" y="1290"/>
                  <a:pt x="1188" y="1290"/>
                  <a:pt x="1188" y="1290"/>
                </a:cubicBezTo>
                <a:cubicBezTo>
                  <a:pt x="1204" y="1337"/>
                  <a:pt x="1204" y="1337"/>
                  <a:pt x="1204" y="1337"/>
                </a:cubicBezTo>
                <a:cubicBezTo>
                  <a:pt x="1204" y="1337"/>
                  <a:pt x="1217" y="1352"/>
                  <a:pt x="1223" y="1363"/>
                </a:cubicBezTo>
                <a:cubicBezTo>
                  <a:pt x="1229" y="1374"/>
                  <a:pt x="1236" y="1427"/>
                  <a:pt x="1236" y="1427"/>
                </a:cubicBezTo>
                <a:cubicBezTo>
                  <a:pt x="1246" y="1444"/>
                  <a:pt x="1246" y="1444"/>
                  <a:pt x="1246" y="1444"/>
                </a:cubicBezTo>
                <a:cubicBezTo>
                  <a:pt x="1256" y="1451"/>
                  <a:pt x="1256" y="1451"/>
                  <a:pt x="1256" y="1451"/>
                </a:cubicBezTo>
                <a:cubicBezTo>
                  <a:pt x="1256" y="1451"/>
                  <a:pt x="1256" y="1466"/>
                  <a:pt x="1256" y="1473"/>
                </a:cubicBezTo>
                <a:cubicBezTo>
                  <a:pt x="1256" y="1480"/>
                  <a:pt x="1246" y="1487"/>
                  <a:pt x="1246" y="1487"/>
                </a:cubicBezTo>
                <a:cubicBezTo>
                  <a:pt x="1225" y="1487"/>
                  <a:pt x="1225" y="1487"/>
                  <a:pt x="1225" y="1487"/>
                </a:cubicBezTo>
                <a:cubicBezTo>
                  <a:pt x="1221" y="1493"/>
                  <a:pt x="1221" y="1493"/>
                  <a:pt x="1221" y="1493"/>
                </a:cubicBezTo>
                <a:cubicBezTo>
                  <a:pt x="1221" y="1493"/>
                  <a:pt x="1210" y="1496"/>
                  <a:pt x="1207" y="1498"/>
                </a:cubicBezTo>
                <a:cubicBezTo>
                  <a:pt x="1203" y="1499"/>
                  <a:pt x="1204" y="1505"/>
                  <a:pt x="1204" y="1505"/>
                </a:cubicBezTo>
                <a:cubicBezTo>
                  <a:pt x="1218" y="1517"/>
                  <a:pt x="1218" y="1517"/>
                  <a:pt x="1218" y="1517"/>
                </a:cubicBezTo>
                <a:cubicBezTo>
                  <a:pt x="1218" y="1517"/>
                  <a:pt x="1207" y="1555"/>
                  <a:pt x="1204" y="1563"/>
                </a:cubicBezTo>
                <a:cubicBezTo>
                  <a:pt x="1200" y="1571"/>
                  <a:pt x="1179" y="1577"/>
                  <a:pt x="1179" y="1577"/>
                </a:cubicBezTo>
                <a:cubicBezTo>
                  <a:pt x="1182" y="1593"/>
                  <a:pt x="1182" y="1593"/>
                  <a:pt x="1182" y="1593"/>
                </a:cubicBezTo>
                <a:cubicBezTo>
                  <a:pt x="1178" y="1599"/>
                  <a:pt x="1178" y="1599"/>
                  <a:pt x="1178" y="1599"/>
                </a:cubicBezTo>
                <a:cubicBezTo>
                  <a:pt x="1184" y="1608"/>
                  <a:pt x="1184" y="1608"/>
                  <a:pt x="1184" y="1608"/>
                </a:cubicBezTo>
                <a:cubicBezTo>
                  <a:pt x="1181" y="1618"/>
                  <a:pt x="1181" y="1618"/>
                  <a:pt x="1181" y="1618"/>
                </a:cubicBezTo>
                <a:cubicBezTo>
                  <a:pt x="1181" y="1618"/>
                  <a:pt x="1188" y="1624"/>
                  <a:pt x="1189" y="1626"/>
                </a:cubicBezTo>
                <a:cubicBezTo>
                  <a:pt x="1190" y="1627"/>
                  <a:pt x="1200" y="1632"/>
                  <a:pt x="1200" y="1632"/>
                </a:cubicBezTo>
                <a:cubicBezTo>
                  <a:pt x="1242" y="1630"/>
                  <a:pt x="1242" y="1630"/>
                  <a:pt x="1242" y="1630"/>
                </a:cubicBezTo>
                <a:cubicBezTo>
                  <a:pt x="1254" y="1610"/>
                  <a:pt x="1254" y="1610"/>
                  <a:pt x="1254" y="1610"/>
                </a:cubicBezTo>
                <a:cubicBezTo>
                  <a:pt x="1255" y="1589"/>
                  <a:pt x="1255" y="1589"/>
                  <a:pt x="1255" y="1589"/>
                </a:cubicBezTo>
                <a:cubicBezTo>
                  <a:pt x="1278" y="1561"/>
                  <a:pt x="1278" y="1561"/>
                  <a:pt x="1278" y="1561"/>
                </a:cubicBezTo>
                <a:cubicBezTo>
                  <a:pt x="1302" y="1549"/>
                  <a:pt x="1305" y="1541"/>
                  <a:pt x="1309" y="1534"/>
                </a:cubicBezTo>
                <a:cubicBezTo>
                  <a:pt x="1313" y="1526"/>
                  <a:pt x="1307" y="1490"/>
                  <a:pt x="1307" y="1490"/>
                </a:cubicBezTo>
                <a:cubicBezTo>
                  <a:pt x="1301" y="1485"/>
                  <a:pt x="1301" y="1485"/>
                  <a:pt x="1301" y="1485"/>
                </a:cubicBezTo>
                <a:cubicBezTo>
                  <a:pt x="1301" y="1485"/>
                  <a:pt x="1317" y="1462"/>
                  <a:pt x="1329" y="1455"/>
                </a:cubicBezTo>
                <a:cubicBezTo>
                  <a:pt x="1341" y="1447"/>
                  <a:pt x="1363" y="1442"/>
                  <a:pt x="1363" y="1442"/>
                </a:cubicBezTo>
                <a:cubicBezTo>
                  <a:pt x="1367" y="1448"/>
                  <a:pt x="1367" y="1448"/>
                  <a:pt x="1367" y="1448"/>
                </a:cubicBezTo>
                <a:cubicBezTo>
                  <a:pt x="1376" y="1445"/>
                  <a:pt x="1376" y="1445"/>
                  <a:pt x="1376" y="1445"/>
                </a:cubicBezTo>
                <a:cubicBezTo>
                  <a:pt x="1378" y="1446"/>
                  <a:pt x="1378" y="1446"/>
                  <a:pt x="1378" y="1446"/>
                </a:cubicBezTo>
                <a:cubicBezTo>
                  <a:pt x="1389" y="1440"/>
                  <a:pt x="1389" y="1440"/>
                  <a:pt x="1389" y="1440"/>
                </a:cubicBezTo>
                <a:cubicBezTo>
                  <a:pt x="1388" y="1433"/>
                  <a:pt x="1388" y="1433"/>
                  <a:pt x="1388" y="1433"/>
                </a:cubicBezTo>
                <a:cubicBezTo>
                  <a:pt x="1392" y="1427"/>
                  <a:pt x="1392" y="1427"/>
                  <a:pt x="1392" y="1427"/>
                </a:cubicBezTo>
                <a:cubicBezTo>
                  <a:pt x="1392" y="1427"/>
                  <a:pt x="1383" y="1422"/>
                  <a:pt x="1380" y="1416"/>
                </a:cubicBezTo>
                <a:cubicBezTo>
                  <a:pt x="1377" y="1410"/>
                  <a:pt x="1383" y="1394"/>
                  <a:pt x="1383" y="1394"/>
                </a:cubicBezTo>
                <a:cubicBezTo>
                  <a:pt x="1383" y="1394"/>
                  <a:pt x="1381" y="1389"/>
                  <a:pt x="1376" y="1386"/>
                </a:cubicBezTo>
                <a:cubicBezTo>
                  <a:pt x="1371" y="1383"/>
                  <a:pt x="1381" y="1359"/>
                  <a:pt x="1381" y="1359"/>
                </a:cubicBezTo>
                <a:cubicBezTo>
                  <a:pt x="1369" y="1352"/>
                  <a:pt x="1369" y="1352"/>
                  <a:pt x="1369" y="1352"/>
                </a:cubicBezTo>
                <a:cubicBezTo>
                  <a:pt x="1369" y="1352"/>
                  <a:pt x="1365" y="1344"/>
                  <a:pt x="1361" y="1344"/>
                </a:cubicBezTo>
                <a:cubicBezTo>
                  <a:pt x="1356" y="1344"/>
                  <a:pt x="1341" y="1336"/>
                  <a:pt x="1341" y="1336"/>
                </a:cubicBezTo>
                <a:cubicBezTo>
                  <a:pt x="1327" y="1323"/>
                  <a:pt x="1327" y="1323"/>
                  <a:pt x="1327" y="1323"/>
                </a:cubicBezTo>
                <a:cubicBezTo>
                  <a:pt x="1308" y="1322"/>
                  <a:pt x="1308" y="1322"/>
                  <a:pt x="1308" y="1322"/>
                </a:cubicBezTo>
                <a:cubicBezTo>
                  <a:pt x="1293" y="1314"/>
                  <a:pt x="1293" y="1314"/>
                  <a:pt x="1293" y="1314"/>
                </a:cubicBezTo>
                <a:cubicBezTo>
                  <a:pt x="1293" y="1305"/>
                  <a:pt x="1293" y="1305"/>
                  <a:pt x="1293" y="1305"/>
                </a:cubicBezTo>
                <a:cubicBezTo>
                  <a:pt x="1287" y="1301"/>
                  <a:pt x="1287" y="1301"/>
                  <a:pt x="1287" y="1301"/>
                </a:cubicBezTo>
                <a:cubicBezTo>
                  <a:pt x="1287" y="1292"/>
                  <a:pt x="1287" y="1292"/>
                  <a:pt x="1287" y="1292"/>
                </a:cubicBezTo>
                <a:cubicBezTo>
                  <a:pt x="1304" y="1263"/>
                  <a:pt x="1304" y="1263"/>
                  <a:pt x="1304" y="1263"/>
                </a:cubicBezTo>
                <a:cubicBezTo>
                  <a:pt x="1300" y="1240"/>
                  <a:pt x="1300" y="1240"/>
                  <a:pt x="1300" y="1240"/>
                </a:cubicBezTo>
                <a:cubicBezTo>
                  <a:pt x="1306" y="1233"/>
                  <a:pt x="1306" y="1233"/>
                  <a:pt x="1306" y="1233"/>
                </a:cubicBezTo>
                <a:cubicBezTo>
                  <a:pt x="1310" y="1228"/>
                  <a:pt x="1310" y="1228"/>
                  <a:pt x="1310" y="1228"/>
                </a:cubicBezTo>
                <a:cubicBezTo>
                  <a:pt x="1333" y="1184"/>
                  <a:pt x="1333" y="1184"/>
                  <a:pt x="1333" y="1184"/>
                </a:cubicBezTo>
                <a:cubicBezTo>
                  <a:pt x="1334" y="1183"/>
                  <a:pt x="1334" y="1183"/>
                  <a:pt x="1334" y="1183"/>
                </a:cubicBezTo>
                <a:cubicBezTo>
                  <a:pt x="1334" y="1183"/>
                  <a:pt x="1355" y="1160"/>
                  <a:pt x="1364" y="1158"/>
                </a:cubicBezTo>
                <a:cubicBezTo>
                  <a:pt x="1373" y="1157"/>
                  <a:pt x="1380" y="1166"/>
                  <a:pt x="1386" y="1171"/>
                </a:cubicBezTo>
                <a:cubicBezTo>
                  <a:pt x="1392" y="1176"/>
                  <a:pt x="1379" y="1177"/>
                  <a:pt x="1379" y="1177"/>
                </a:cubicBezTo>
                <a:cubicBezTo>
                  <a:pt x="1406" y="1190"/>
                  <a:pt x="1406" y="1190"/>
                  <a:pt x="1406" y="1190"/>
                </a:cubicBezTo>
                <a:cubicBezTo>
                  <a:pt x="1411" y="1189"/>
                  <a:pt x="1411" y="1189"/>
                  <a:pt x="1411" y="1189"/>
                </a:cubicBezTo>
                <a:cubicBezTo>
                  <a:pt x="1420" y="1194"/>
                  <a:pt x="1420" y="1194"/>
                  <a:pt x="1420" y="1194"/>
                </a:cubicBezTo>
                <a:cubicBezTo>
                  <a:pt x="1420" y="1194"/>
                  <a:pt x="1469" y="1194"/>
                  <a:pt x="1474" y="1198"/>
                </a:cubicBezTo>
                <a:cubicBezTo>
                  <a:pt x="1479" y="1201"/>
                  <a:pt x="1478" y="1211"/>
                  <a:pt x="1478" y="1211"/>
                </a:cubicBezTo>
                <a:cubicBezTo>
                  <a:pt x="1491" y="1224"/>
                  <a:pt x="1491" y="1224"/>
                  <a:pt x="1491" y="1224"/>
                </a:cubicBezTo>
                <a:cubicBezTo>
                  <a:pt x="1489" y="1234"/>
                  <a:pt x="1489" y="1234"/>
                  <a:pt x="1489" y="1234"/>
                </a:cubicBezTo>
                <a:cubicBezTo>
                  <a:pt x="1494" y="1244"/>
                  <a:pt x="1494" y="1244"/>
                  <a:pt x="1494" y="1244"/>
                </a:cubicBezTo>
                <a:cubicBezTo>
                  <a:pt x="1494" y="1244"/>
                  <a:pt x="1487" y="1244"/>
                  <a:pt x="1499" y="1258"/>
                </a:cubicBezTo>
                <a:cubicBezTo>
                  <a:pt x="1510" y="1272"/>
                  <a:pt x="1532" y="1271"/>
                  <a:pt x="1532" y="1271"/>
                </a:cubicBezTo>
                <a:cubicBezTo>
                  <a:pt x="1532" y="1271"/>
                  <a:pt x="1540" y="1278"/>
                  <a:pt x="1544" y="1279"/>
                </a:cubicBezTo>
                <a:cubicBezTo>
                  <a:pt x="1549" y="1281"/>
                  <a:pt x="1548" y="1244"/>
                  <a:pt x="1548" y="1244"/>
                </a:cubicBezTo>
                <a:cubicBezTo>
                  <a:pt x="1548" y="1244"/>
                  <a:pt x="1562" y="1225"/>
                  <a:pt x="1562" y="1219"/>
                </a:cubicBezTo>
                <a:close/>
                <a:moveTo>
                  <a:pt x="937" y="1140"/>
                </a:moveTo>
                <a:cubicBezTo>
                  <a:pt x="938" y="1138"/>
                  <a:pt x="937" y="1134"/>
                  <a:pt x="937" y="1134"/>
                </a:cubicBezTo>
                <a:cubicBezTo>
                  <a:pt x="923" y="1132"/>
                  <a:pt x="923" y="1132"/>
                  <a:pt x="923" y="1132"/>
                </a:cubicBezTo>
                <a:cubicBezTo>
                  <a:pt x="924" y="1140"/>
                  <a:pt x="924" y="1140"/>
                  <a:pt x="924" y="1140"/>
                </a:cubicBezTo>
                <a:cubicBezTo>
                  <a:pt x="924" y="1140"/>
                  <a:pt x="937" y="1143"/>
                  <a:pt x="937" y="1140"/>
                </a:cubicBezTo>
                <a:close/>
                <a:moveTo>
                  <a:pt x="367" y="1140"/>
                </a:moveTo>
                <a:cubicBezTo>
                  <a:pt x="362" y="1132"/>
                  <a:pt x="362" y="1132"/>
                  <a:pt x="362" y="1132"/>
                </a:cubicBezTo>
                <a:cubicBezTo>
                  <a:pt x="363" y="1126"/>
                  <a:pt x="363" y="1126"/>
                  <a:pt x="363" y="1126"/>
                </a:cubicBezTo>
                <a:cubicBezTo>
                  <a:pt x="354" y="1119"/>
                  <a:pt x="354" y="1119"/>
                  <a:pt x="354" y="1119"/>
                </a:cubicBezTo>
                <a:cubicBezTo>
                  <a:pt x="359" y="1118"/>
                  <a:pt x="359" y="1118"/>
                  <a:pt x="359" y="1118"/>
                </a:cubicBezTo>
                <a:cubicBezTo>
                  <a:pt x="359" y="1112"/>
                  <a:pt x="359" y="1112"/>
                  <a:pt x="359" y="1112"/>
                </a:cubicBezTo>
                <a:cubicBezTo>
                  <a:pt x="365" y="1110"/>
                  <a:pt x="365" y="1110"/>
                  <a:pt x="365" y="1110"/>
                </a:cubicBezTo>
                <a:cubicBezTo>
                  <a:pt x="364" y="1106"/>
                  <a:pt x="364" y="1106"/>
                  <a:pt x="364" y="1106"/>
                </a:cubicBezTo>
                <a:cubicBezTo>
                  <a:pt x="357" y="1110"/>
                  <a:pt x="357" y="1110"/>
                  <a:pt x="357" y="1110"/>
                </a:cubicBezTo>
                <a:cubicBezTo>
                  <a:pt x="356" y="1104"/>
                  <a:pt x="356" y="1104"/>
                  <a:pt x="356" y="1104"/>
                </a:cubicBezTo>
                <a:cubicBezTo>
                  <a:pt x="365" y="1097"/>
                  <a:pt x="365" y="1097"/>
                  <a:pt x="365" y="1097"/>
                </a:cubicBezTo>
                <a:cubicBezTo>
                  <a:pt x="352" y="1102"/>
                  <a:pt x="352" y="1102"/>
                  <a:pt x="352" y="1102"/>
                </a:cubicBezTo>
                <a:cubicBezTo>
                  <a:pt x="353" y="1095"/>
                  <a:pt x="353" y="1095"/>
                  <a:pt x="353" y="1095"/>
                </a:cubicBezTo>
                <a:cubicBezTo>
                  <a:pt x="347" y="1099"/>
                  <a:pt x="347" y="1099"/>
                  <a:pt x="347" y="1099"/>
                </a:cubicBezTo>
                <a:cubicBezTo>
                  <a:pt x="333" y="1097"/>
                  <a:pt x="333" y="1097"/>
                  <a:pt x="333" y="1097"/>
                </a:cubicBezTo>
                <a:cubicBezTo>
                  <a:pt x="337" y="1093"/>
                  <a:pt x="337" y="1093"/>
                  <a:pt x="337" y="1093"/>
                </a:cubicBezTo>
                <a:cubicBezTo>
                  <a:pt x="344" y="1094"/>
                  <a:pt x="344" y="1094"/>
                  <a:pt x="344" y="1094"/>
                </a:cubicBezTo>
                <a:cubicBezTo>
                  <a:pt x="345" y="1085"/>
                  <a:pt x="345" y="1085"/>
                  <a:pt x="345" y="1085"/>
                </a:cubicBezTo>
                <a:cubicBezTo>
                  <a:pt x="351" y="1082"/>
                  <a:pt x="351" y="1082"/>
                  <a:pt x="351" y="1082"/>
                </a:cubicBezTo>
                <a:cubicBezTo>
                  <a:pt x="354" y="1086"/>
                  <a:pt x="354" y="1086"/>
                  <a:pt x="354" y="1086"/>
                </a:cubicBezTo>
                <a:cubicBezTo>
                  <a:pt x="359" y="1083"/>
                  <a:pt x="359" y="1083"/>
                  <a:pt x="359" y="1083"/>
                </a:cubicBezTo>
                <a:cubicBezTo>
                  <a:pt x="359" y="1083"/>
                  <a:pt x="353" y="1079"/>
                  <a:pt x="350" y="1079"/>
                </a:cubicBezTo>
                <a:cubicBezTo>
                  <a:pt x="347" y="1079"/>
                  <a:pt x="341" y="1080"/>
                  <a:pt x="341" y="1080"/>
                </a:cubicBezTo>
                <a:cubicBezTo>
                  <a:pt x="341" y="1075"/>
                  <a:pt x="341" y="1075"/>
                  <a:pt x="341" y="1075"/>
                </a:cubicBezTo>
                <a:cubicBezTo>
                  <a:pt x="336" y="1079"/>
                  <a:pt x="336" y="1079"/>
                  <a:pt x="336" y="1079"/>
                </a:cubicBezTo>
                <a:cubicBezTo>
                  <a:pt x="339" y="1067"/>
                  <a:pt x="339" y="1067"/>
                  <a:pt x="339" y="1067"/>
                </a:cubicBezTo>
                <a:cubicBezTo>
                  <a:pt x="345" y="1064"/>
                  <a:pt x="345" y="1064"/>
                  <a:pt x="345" y="1064"/>
                </a:cubicBezTo>
                <a:cubicBezTo>
                  <a:pt x="345" y="1064"/>
                  <a:pt x="341" y="1055"/>
                  <a:pt x="340" y="1053"/>
                </a:cubicBezTo>
                <a:cubicBezTo>
                  <a:pt x="339" y="1051"/>
                  <a:pt x="332" y="1057"/>
                  <a:pt x="332" y="1057"/>
                </a:cubicBezTo>
                <a:cubicBezTo>
                  <a:pt x="326" y="1061"/>
                  <a:pt x="326" y="1061"/>
                  <a:pt x="326" y="1061"/>
                </a:cubicBezTo>
                <a:cubicBezTo>
                  <a:pt x="326" y="1055"/>
                  <a:pt x="326" y="1055"/>
                  <a:pt x="326" y="1055"/>
                </a:cubicBezTo>
                <a:cubicBezTo>
                  <a:pt x="326" y="1055"/>
                  <a:pt x="323" y="1053"/>
                  <a:pt x="322" y="1049"/>
                </a:cubicBezTo>
                <a:cubicBezTo>
                  <a:pt x="320" y="1045"/>
                  <a:pt x="316" y="1044"/>
                  <a:pt x="316" y="1044"/>
                </a:cubicBezTo>
                <a:cubicBezTo>
                  <a:pt x="316" y="1044"/>
                  <a:pt x="311" y="1049"/>
                  <a:pt x="306" y="1049"/>
                </a:cubicBezTo>
                <a:cubicBezTo>
                  <a:pt x="302" y="1049"/>
                  <a:pt x="305" y="1042"/>
                  <a:pt x="305" y="1040"/>
                </a:cubicBezTo>
                <a:cubicBezTo>
                  <a:pt x="305" y="1037"/>
                  <a:pt x="301" y="1036"/>
                  <a:pt x="301" y="1036"/>
                </a:cubicBezTo>
                <a:cubicBezTo>
                  <a:pt x="301" y="1036"/>
                  <a:pt x="287" y="1036"/>
                  <a:pt x="290" y="1038"/>
                </a:cubicBezTo>
                <a:cubicBezTo>
                  <a:pt x="293" y="1039"/>
                  <a:pt x="290" y="1050"/>
                  <a:pt x="290" y="1050"/>
                </a:cubicBezTo>
                <a:cubicBezTo>
                  <a:pt x="286" y="1056"/>
                  <a:pt x="286" y="1056"/>
                  <a:pt x="286" y="1056"/>
                </a:cubicBezTo>
                <a:cubicBezTo>
                  <a:pt x="286" y="1056"/>
                  <a:pt x="280" y="1055"/>
                  <a:pt x="275" y="1055"/>
                </a:cubicBezTo>
                <a:cubicBezTo>
                  <a:pt x="269" y="1055"/>
                  <a:pt x="264" y="1064"/>
                  <a:pt x="261" y="1069"/>
                </a:cubicBezTo>
                <a:cubicBezTo>
                  <a:pt x="258" y="1074"/>
                  <a:pt x="256" y="1072"/>
                  <a:pt x="251" y="1073"/>
                </a:cubicBezTo>
                <a:cubicBezTo>
                  <a:pt x="246" y="1074"/>
                  <a:pt x="251" y="1080"/>
                  <a:pt x="241" y="1088"/>
                </a:cubicBezTo>
                <a:cubicBezTo>
                  <a:pt x="232" y="1095"/>
                  <a:pt x="219" y="1096"/>
                  <a:pt x="219" y="1096"/>
                </a:cubicBezTo>
                <a:cubicBezTo>
                  <a:pt x="219" y="1096"/>
                  <a:pt x="214" y="1105"/>
                  <a:pt x="206" y="1108"/>
                </a:cubicBezTo>
                <a:cubicBezTo>
                  <a:pt x="199" y="1110"/>
                  <a:pt x="192" y="1108"/>
                  <a:pt x="192" y="1108"/>
                </a:cubicBezTo>
                <a:cubicBezTo>
                  <a:pt x="186" y="1103"/>
                  <a:pt x="186" y="1103"/>
                  <a:pt x="186" y="1103"/>
                </a:cubicBezTo>
                <a:cubicBezTo>
                  <a:pt x="174" y="1102"/>
                  <a:pt x="174" y="1102"/>
                  <a:pt x="174" y="1102"/>
                </a:cubicBezTo>
                <a:cubicBezTo>
                  <a:pt x="174" y="1102"/>
                  <a:pt x="166" y="1096"/>
                  <a:pt x="164" y="1091"/>
                </a:cubicBezTo>
                <a:cubicBezTo>
                  <a:pt x="161" y="1087"/>
                  <a:pt x="164" y="1083"/>
                  <a:pt x="164" y="1083"/>
                </a:cubicBezTo>
                <a:cubicBezTo>
                  <a:pt x="162" y="1077"/>
                  <a:pt x="162" y="1077"/>
                  <a:pt x="162" y="1077"/>
                </a:cubicBezTo>
                <a:cubicBezTo>
                  <a:pt x="162" y="1077"/>
                  <a:pt x="156" y="1085"/>
                  <a:pt x="156" y="1086"/>
                </a:cubicBezTo>
                <a:cubicBezTo>
                  <a:pt x="156" y="1088"/>
                  <a:pt x="159" y="1095"/>
                  <a:pt x="162" y="1097"/>
                </a:cubicBezTo>
                <a:cubicBezTo>
                  <a:pt x="165" y="1100"/>
                  <a:pt x="148" y="1120"/>
                  <a:pt x="148" y="1120"/>
                </a:cubicBezTo>
                <a:cubicBezTo>
                  <a:pt x="156" y="1130"/>
                  <a:pt x="156" y="1130"/>
                  <a:pt x="156" y="1130"/>
                </a:cubicBezTo>
                <a:cubicBezTo>
                  <a:pt x="155" y="1140"/>
                  <a:pt x="155" y="1140"/>
                  <a:pt x="155" y="1140"/>
                </a:cubicBezTo>
                <a:cubicBezTo>
                  <a:pt x="149" y="1141"/>
                  <a:pt x="149" y="1141"/>
                  <a:pt x="149" y="1141"/>
                </a:cubicBezTo>
                <a:cubicBezTo>
                  <a:pt x="151" y="1153"/>
                  <a:pt x="151" y="1153"/>
                  <a:pt x="151" y="1153"/>
                </a:cubicBezTo>
                <a:cubicBezTo>
                  <a:pt x="151" y="1153"/>
                  <a:pt x="151" y="1153"/>
                  <a:pt x="157" y="1143"/>
                </a:cubicBezTo>
                <a:cubicBezTo>
                  <a:pt x="164" y="1133"/>
                  <a:pt x="151" y="1153"/>
                  <a:pt x="158" y="1151"/>
                </a:cubicBezTo>
                <a:cubicBezTo>
                  <a:pt x="165" y="1149"/>
                  <a:pt x="169" y="1148"/>
                  <a:pt x="169" y="1148"/>
                </a:cubicBezTo>
                <a:cubicBezTo>
                  <a:pt x="169" y="1148"/>
                  <a:pt x="174" y="1162"/>
                  <a:pt x="174" y="1164"/>
                </a:cubicBezTo>
                <a:cubicBezTo>
                  <a:pt x="174" y="1165"/>
                  <a:pt x="180" y="1168"/>
                  <a:pt x="182" y="1175"/>
                </a:cubicBezTo>
                <a:cubicBezTo>
                  <a:pt x="184" y="1182"/>
                  <a:pt x="178" y="1193"/>
                  <a:pt x="178" y="1193"/>
                </a:cubicBezTo>
                <a:cubicBezTo>
                  <a:pt x="178" y="1193"/>
                  <a:pt x="184" y="1193"/>
                  <a:pt x="189" y="1198"/>
                </a:cubicBezTo>
                <a:cubicBezTo>
                  <a:pt x="193" y="1204"/>
                  <a:pt x="188" y="1216"/>
                  <a:pt x="187" y="1220"/>
                </a:cubicBezTo>
                <a:cubicBezTo>
                  <a:pt x="187" y="1225"/>
                  <a:pt x="193" y="1237"/>
                  <a:pt x="193" y="1237"/>
                </a:cubicBezTo>
                <a:cubicBezTo>
                  <a:pt x="187" y="1243"/>
                  <a:pt x="187" y="1243"/>
                  <a:pt x="187" y="1243"/>
                </a:cubicBezTo>
                <a:cubicBezTo>
                  <a:pt x="178" y="1243"/>
                  <a:pt x="178" y="1243"/>
                  <a:pt x="178" y="1243"/>
                </a:cubicBezTo>
                <a:cubicBezTo>
                  <a:pt x="177" y="1246"/>
                  <a:pt x="177" y="1246"/>
                  <a:pt x="177" y="1246"/>
                </a:cubicBezTo>
                <a:cubicBezTo>
                  <a:pt x="180" y="1252"/>
                  <a:pt x="180" y="1252"/>
                  <a:pt x="180" y="1252"/>
                </a:cubicBezTo>
                <a:cubicBezTo>
                  <a:pt x="180" y="1252"/>
                  <a:pt x="177" y="1257"/>
                  <a:pt x="177" y="1262"/>
                </a:cubicBezTo>
                <a:cubicBezTo>
                  <a:pt x="177" y="1268"/>
                  <a:pt x="181" y="1272"/>
                  <a:pt x="181" y="1272"/>
                </a:cubicBezTo>
                <a:cubicBezTo>
                  <a:pt x="187" y="1268"/>
                  <a:pt x="187" y="1268"/>
                  <a:pt x="187" y="1268"/>
                </a:cubicBezTo>
                <a:cubicBezTo>
                  <a:pt x="187" y="1268"/>
                  <a:pt x="196" y="1275"/>
                  <a:pt x="198" y="1275"/>
                </a:cubicBezTo>
                <a:cubicBezTo>
                  <a:pt x="199" y="1276"/>
                  <a:pt x="202" y="1285"/>
                  <a:pt x="197" y="1285"/>
                </a:cubicBezTo>
                <a:cubicBezTo>
                  <a:pt x="192" y="1285"/>
                  <a:pt x="193" y="1300"/>
                  <a:pt x="193" y="1300"/>
                </a:cubicBezTo>
                <a:cubicBezTo>
                  <a:pt x="197" y="1309"/>
                  <a:pt x="197" y="1309"/>
                  <a:pt x="197" y="1309"/>
                </a:cubicBezTo>
                <a:cubicBezTo>
                  <a:pt x="192" y="1309"/>
                  <a:pt x="192" y="1309"/>
                  <a:pt x="192" y="1309"/>
                </a:cubicBezTo>
                <a:cubicBezTo>
                  <a:pt x="182" y="1296"/>
                  <a:pt x="182" y="1296"/>
                  <a:pt x="182" y="1296"/>
                </a:cubicBezTo>
                <a:cubicBezTo>
                  <a:pt x="182" y="1296"/>
                  <a:pt x="182" y="1329"/>
                  <a:pt x="182" y="1333"/>
                </a:cubicBezTo>
                <a:cubicBezTo>
                  <a:pt x="182" y="1337"/>
                  <a:pt x="173" y="1349"/>
                  <a:pt x="170" y="1352"/>
                </a:cubicBezTo>
                <a:cubicBezTo>
                  <a:pt x="166" y="1355"/>
                  <a:pt x="175" y="1357"/>
                  <a:pt x="175" y="1357"/>
                </a:cubicBezTo>
                <a:cubicBezTo>
                  <a:pt x="175" y="1357"/>
                  <a:pt x="173" y="1362"/>
                  <a:pt x="168" y="1364"/>
                </a:cubicBezTo>
                <a:cubicBezTo>
                  <a:pt x="164" y="1366"/>
                  <a:pt x="172" y="1370"/>
                  <a:pt x="172" y="1370"/>
                </a:cubicBezTo>
                <a:cubicBezTo>
                  <a:pt x="176" y="1372"/>
                  <a:pt x="176" y="1372"/>
                  <a:pt x="176" y="1372"/>
                </a:cubicBezTo>
                <a:cubicBezTo>
                  <a:pt x="178" y="1381"/>
                  <a:pt x="178" y="1381"/>
                  <a:pt x="178" y="1381"/>
                </a:cubicBezTo>
                <a:cubicBezTo>
                  <a:pt x="168" y="1393"/>
                  <a:pt x="168" y="1393"/>
                  <a:pt x="168" y="1393"/>
                </a:cubicBezTo>
                <a:cubicBezTo>
                  <a:pt x="172" y="1398"/>
                  <a:pt x="172" y="1398"/>
                  <a:pt x="172" y="1398"/>
                </a:cubicBezTo>
                <a:cubicBezTo>
                  <a:pt x="172" y="1398"/>
                  <a:pt x="173" y="1402"/>
                  <a:pt x="176" y="1402"/>
                </a:cubicBezTo>
                <a:cubicBezTo>
                  <a:pt x="179" y="1403"/>
                  <a:pt x="175" y="1412"/>
                  <a:pt x="175" y="1412"/>
                </a:cubicBezTo>
                <a:cubicBezTo>
                  <a:pt x="181" y="1412"/>
                  <a:pt x="181" y="1412"/>
                  <a:pt x="181" y="1412"/>
                </a:cubicBezTo>
                <a:cubicBezTo>
                  <a:pt x="187" y="1420"/>
                  <a:pt x="187" y="1420"/>
                  <a:pt x="187" y="1420"/>
                </a:cubicBezTo>
                <a:cubicBezTo>
                  <a:pt x="194" y="1430"/>
                  <a:pt x="194" y="1430"/>
                  <a:pt x="194" y="1430"/>
                </a:cubicBezTo>
                <a:cubicBezTo>
                  <a:pt x="195" y="1442"/>
                  <a:pt x="195" y="1442"/>
                  <a:pt x="195" y="1442"/>
                </a:cubicBezTo>
                <a:cubicBezTo>
                  <a:pt x="195" y="1442"/>
                  <a:pt x="195" y="1442"/>
                  <a:pt x="200" y="1443"/>
                </a:cubicBezTo>
                <a:cubicBezTo>
                  <a:pt x="204" y="1444"/>
                  <a:pt x="198" y="1450"/>
                  <a:pt x="199" y="1451"/>
                </a:cubicBezTo>
                <a:cubicBezTo>
                  <a:pt x="201" y="1451"/>
                  <a:pt x="200" y="1457"/>
                  <a:pt x="200" y="1457"/>
                </a:cubicBezTo>
                <a:cubicBezTo>
                  <a:pt x="206" y="1450"/>
                  <a:pt x="206" y="1450"/>
                  <a:pt x="206" y="1450"/>
                </a:cubicBezTo>
                <a:cubicBezTo>
                  <a:pt x="211" y="1451"/>
                  <a:pt x="211" y="1451"/>
                  <a:pt x="211" y="1451"/>
                </a:cubicBezTo>
                <a:cubicBezTo>
                  <a:pt x="211" y="1451"/>
                  <a:pt x="213" y="1446"/>
                  <a:pt x="219" y="1449"/>
                </a:cubicBezTo>
                <a:cubicBezTo>
                  <a:pt x="224" y="1452"/>
                  <a:pt x="234" y="1458"/>
                  <a:pt x="234" y="1458"/>
                </a:cubicBezTo>
                <a:cubicBezTo>
                  <a:pt x="266" y="1435"/>
                  <a:pt x="259" y="1426"/>
                  <a:pt x="259" y="1426"/>
                </a:cubicBezTo>
                <a:cubicBezTo>
                  <a:pt x="257" y="1420"/>
                  <a:pt x="257" y="1420"/>
                  <a:pt x="257" y="1420"/>
                </a:cubicBezTo>
                <a:cubicBezTo>
                  <a:pt x="256" y="1408"/>
                  <a:pt x="256" y="1408"/>
                  <a:pt x="256" y="1408"/>
                </a:cubicBezTo>
                <a:cubicBezTo>
                  <a:pt x="269" y="1400"/>
                  <a:pt x="269" y="1400"/>
                  <a:pt x="269" y="1400"/>
                </a:cubicBezTo>
                <a:cubicBezTo>
                  <a:pt x="276" y="1404"/>
                  <a:pt x="276" y="1404"/>
                  <a:pt x="276" y="1404"/>
                </a:cubicBezTo>
                <a:cubicBezTo>
                  <a:pt x="276" y="1404"/>
                  <a:pt x="282" y="1398"/>
                  <a:pt x="290" y="1398"/>
                </a:cubicBezTo>
                <a:cubicBezTo>
                  <a:pt x="298" y="1398"/>
                  <a:pt x="313" y="1415"/>
                  <a:pt x="313" y="1415"/>
                </a:cubicBezTo>
                <a:cubicBezTo>
                  <a:pt x="324" y="1415"/>
                  <a:pt x="324" y="1415"/>
                  <a:pt x="324" y="1415"/>
                </a:cubicBezTo>
                <a:cubicBezTo>
                  <a:pt x="325" y="1419"/>
                  <a:pt x="325" y="1419"/>
                  <a:pt x="325" y="1419"/>
                </a:cubicBezTo>
                <a:cubicBezTo>
                  <a:pt x="335" y="1407"/>
                  <a:pt x="335" y="1407"/>
                  <a:pt x="335" y="1407"/>
                </a:cubicBezTo>
                <a:cubicBezTo>
                  <a:pt x="335" y="1407"/>
                  <a:pt x="334" y="1396"/>
                  <a:pt x="334" y="1393"/>
                </a:cubicBezTo>
                <a:cubicBezTo>
                  <a:pt x="335" y="1390"/>
                  <a:pt x="343" y="1386"/>
                  <a:pt x="343" y="1386"/>
                </a:cubicBezTo>
                <a:cubicBezTo>
                  <a:pt x="343" y="1386"/>
                  <a:pt x="339" y="1384"/>
                  <a:pt x="338" y="1376"/>
                </a:cubicBezTo>
                <a:cubicBezTo>
                  <a:pt x="338" y="1369"/>
                  <a:pt x="343" y="1362"/>
                  <a:pt x="345" y="1357"/>
                </a:cubicBezTo>
                <a:cubicBezTo>
                  <a:pt x="347" y="1351"/>
                  <a:pt x="345" y="1353"/>
                  <a:pt x="343" y="1348"/>
                </a:cubicBezTo>
                <a:cubicBezTo>
                  <a:pt x="342" y="1343"/>
                  <a:pt x="346" y="1341"/>
                  <a:pt x="346" y="1341"/>
                </a:cubicBezTo>
                <a:cubicBezTo>
                  <a:pt x="346" y="1341"/>
                  <a:pt x="349" y="1318"/>
                  <a:pt x="352" y="1313"/>
                </a:cubicBezTo>
                <a:cubicBezTo>
                  <a:pt x="355" y="1308"/>
                  <a:pt x="350" y="1307"/>
                  <a:pt x="349" y="1304"/>
                </a:cubicBezTo>
                <a:cubicBezTo>
                  <a:pt x="349" y="1300"/>
                  <a:pt x="353" y="1296"/>
                  <a:pt x="355" y="1290"/>
                </a:cubicBezTo>
                <a:cubicBezTo>
                  <a:pt x="358" y="1284"/>
                  <a:pt x="352" y="1281"/>
                  <a:pt x="352" y="1281"/>
                </a:cubicBezTo>
                <a:cubicBezTo>
                  <a:pt x="358" y="1273"/>
                  <a:pt x="358" y="1273"/>
                  <a:pt x="358" y="1273"/>
                </a:cubicBezTo>
                <a:cubicBezTo>
                  <a:pt x="352" y="1270"/>
                  <a:pt x="352" y="1270"/>
                  <a:pt x="352" y="1270"/>
                </a:cubicBezTo>
                <a:cubicBezTo>
                  <a:pt x="359" y="1246"/>
                  <a:pt x="359" y="1246"/>
                  <a:pt x="359" y="1246"/>
                </a:cubicBezTo>
                <a:cubicBezTo>
                  <a:pt x="351" y="1235"/>
                  <a:pt x="351" y="1235"/>
                  <a:pt x="351" y="1235"/>
                </a:cubicBezTo>
                <a:cubicBezTo>
                  <a:pt x="347" y="1216"/>
                  <a:pt x="347" y="1216"/>
                  <a:pt x="347" y="1216"/>
                </a:cubicBezTo>
                <a:cubicBezTo>
                  <a:pt x="358" y="1199"/>
                  <a:pt x="358" y="1199"/>
                  <a:pt x="358" y="1199"/>
                </a:cubicBezTo>
                <a:cubicBezTo>
                  <a:pt x="367" y="1192"/>
                  <a:pt x="367" y="1192"/>
                  <a:pt x="367" y="1192"/>
                </a:cubicBezTo>
                <a:cubicBezTo>
                  <a:pt x="376" y="1169"/>
                  <a:pt x="376" y="1169"/>
                  <a:pt x="376" y="1169"/>
                </a:cubicBezTo>
                <a:cubicBezTo>
                  <a:pt x="366" y="1154"/>
                  <a:pt x="366" y="1154"/>
                  <a:pt x="366" y="1154"/>
                </a:cubicBezTo>
                <a:lnTo>
                  <a:pt x="367" y="1140"/>
                </a:lnTo>
                <a:close/>
                <a:moveTo>
                  <a:pt x="1030" y="1523"/>
                </a:moveTo>
                <a:cubicBezTo>
                  <a:pt x="1034" y="1520"/>
                  <a:pt x="1031" y="1518"/>
                  <a:pt x="1024" y="1517"/>
                </a:cubicBezTo>
                <a:cubicBezTo>
                  <a:pt x="1024" y="1517"/>
                  <a:pt x="1026" y="1525"/>
                  <a:pt x="1030" y="1523"/>
                </a:cubicBezTo>
                <a:close/>
                <a:moveTo>
                  <a:pt x="1070" y="1517"/>
                </a:moveTo>
                <a:cubicBezTo>
                  <a:pt x="1062" y="1515"/>
                  <a:pt x="1062" y="1515"/>
                  <a:pt x="1062" y="1515"/>
                </a:cubicBezTo>
                <a:cubicBezTo>
                  <a:pt x="1058" y="1517"/>
                  <a:pt x="1058" y="1517"/>
                  <a:pt x="1058" y="1517"/>
                </a:cubicBezTo>
                <a:cubicBezTo>
                  <a:pt x="1070" y="1526"/>
                  <a:pt x="1070" y="1526"/>
                  <a:pt x="1070" y="1526"/>
                </a:cubicBezTo>
                <a:lnTo>
                  <a:pt x="1070" y="1517"/>
                </a:lnTo>
                <a:close/>
                <a:moveTo>
                  <a:pt x="1081" y="1528"/>
                </a:moveTo>
                <a:cubicBezTo>
                  <a:pt x="1075" y="1527"/>
                  <a:pt x="1075" y="1527"/>
                  <a:pt x="1075" y="1527"/>
                </a:cubicBezTo>
                <a:cubicBezTo>
                  <a:pt x="1073" y="1535"/>
                  <a:pt x="1073" y="1535"/>
                  <a:pt x="1073" y="1535"/>
                </a:cubicBezTo>
                <a:cubicBezTo>
                  <a:pt x="1082" y="1540"/>
                  <a:pt x="1082" y="1540"/>
                  <a:pt x="1082" y="1540"/>
                </a:cubicBezTo>
                <a:cubicBezTo>
                  <a:pt x="1081" y="1547"/>
                  <a:pt x="1081" y="1547"/>
                  <a:pt x="1081" y="1547"/>
                </a:cubicBezTo>
                <a:cubicBezTo>
                  <a:pt x="1092" y="1556"/>
                  <a:pt x="1092" y="1556"/>
                  <a:pt x="1092" y="1556"/>
                </a:cubicBezTo>
                <a:cubicBezTo>
                  <a:pt x="1092" y="1556"/>
                  <a:pt x="1091" y="1552"/>
                  <a:pt x="1087" y="1547"/>
                </a:cubicBezTo>
                <a:cubicBezTo>
                  <a:pt x="1084" y="1541"/>
                  <a:pt x="1090" y="1535"/>
                  <a:pt x="1090" y="1535"/>
                </a:cubicBezTo>
                <a:lnTo>
                  <a:pt x="1081" y="1528"/>
                </a:lnTo>
                <a:close/>
                <a:moveTo>
                  <a:pt x="1097" y="1506"/>
                </a:moveTo>
                <a:cubicBezTo>
                  <a:pt x="1088" y="1505"/>
                  <a:pt x="1090" y="1505"/>
                  <a:pt x="1095" y="1509"/>
                </a:cubicBezTo>
                <a:cubicBezTo>
                  <a:pt x="1100" y="1512"/>
                  <a:pt x="1097" y="1506"/>
                  <a:pt x="1097" y="1506"/>
                </a:cubicBezTo>
                <a:close/>
                <a:moveTo>
                  <a:pt x="1118" y="1472"/>
                </a:moveTo>
                <a:cubicBezTo>
                  <a:pt x="1112" y="1477"/>
                  <a:pt x="1112" y="1477"/>
                  <a:pt x="1112" y="1477"/>
                </a:cubicBezTo>
                <a:cubicBezTo>
                  <a:pt x="1114" y="1480"/>
                  <a:pt x="1115" y="1483"/>
                  <a:pt x="1115" y="1483"/>
                </a:cubicBezTo>
                <a:cubicBezTo>
                  <a:pt x="1121" y="1476"/>
                  <a:pt x="1121" y="1476"/>
                  <a:pt x="1121" y="1476"/>
                </a:cubicBezTo>
                <a:lnTo>
                  <a:pt x="1118" y="1472"/>
                </a:lnTo>
                <a:close/>
                <a:moveTo>
                  <a:pt x="1180" y="1570"/>
                </a:moveTo>
                <a:cubicBezTo>
                  <a:pt x="1176" y="1570"/>
                  <a:pt x="1166" y="1564"/>
                  <a:pt x="1166" y="1564"/>
                </a:cubicBezTo>
                <a:cubicBezTo>
                  <a:pt x="1166" y="1564"/>
                  <a:pt x="1152" y="1575"/>
                  <a:pt x="1139" y="1579"/>
                </a:cubicBezTo>
                <a:cubicBezTo>
                  <a:pt x="1127" y="1583"/>
                  <a:pt x="1126" y="1583"/>
                  <a:pt x="1126" y="1583"/>
                </a:cubicBezTo>
                <a:cubicBezTo>
                  <a:pt x="1126" y="1583"/>
                  <a:pt x="1127" y="1575"/>
                  <a:pt x="1126" y="1573"/>
                </a:cubicBezTo>
                <a:cubicBezTo>
                  <a:pt x="1125" y="1571"/>
                  <a:pt x="1121" y="1571"/>
                  <a:pt x="1123" y="1574"/>
                </a:cubicBezTo>
                <a:cubicBezTo>
                  <a:pt x="1126" y="1577"/>
                  <a:pt x="1121" y="1584"/>
                  <a:pt x="1120" y="1586"/>
                </a:cubicBezTo>
                <a:cubicBezTo>
                  <a:pt x="1120" y="1588"/>
                  <a:pt x="1103" y="1599"/>
                  <a:pt x="1103" y="1599"/>
                </a:cubicBezTo>
                <a:cubicBezTo>
                  <a:pt x="1098" y="1593"/>
                  <a:pt x="1098" y="1593"/>
                  <a:pt x="1098" y="1593"/>
                </a:cubicBezTo>
                <a:cubicBezTo>
                  <a:pt x="1085" y="1592"/>
                  <a:pt x="1085" y="1592"/>
                  <a:pt x="1085" y="1592"/>
                </a:cubicBezTo>
                <a:cubicBezTo>
                  <a:pt x="1080" y="1587"/>
                  <a:pt x="1080" y="1587"/>
                  <a:pt x="1080" y="1587"/>
                </a:cubicBezTo>
                <a:cubicBezTo>
                  <a:pt x="1080" y="1587"/>
                  <a:pt x="1072" y="1590"/>
                  <a:pt x="1065" y="1593"/>
                </a:cubicBezTo>
                <a:cubicBezTo>
                  <a:pt x="1059" y="1595"/>
                  <a:pt x="1055" y="1592"/>
                  <a:pt x="1055" y="1592"/>
                </a:cubicBezTo>
                <a:cubicBezTo>
                  <a:pt x="1055" y="1592"/>
                  <a:pt x="1040" y="1608"/>
                  <a:pt x="1031" y="1612"/>
                </a:cubicBezTo>
                <a:cubicBezTo>
                  <a:pt x="1023" y="1616"/>
                  <a:pt x="1012" y="1615"/>
                  <a:pt x="1012" y="1615"/>
                </a:cubicBezTo>
                <a:cubicBezTo>
                  <a:pt x="992" y="1622"/>
                  <a:pt x="992" y="1622"/>
                  <a:pt x="992" y="1622"/>
                </a:cubicBezTo>
                <a:cubicBezTo>
                  <a:pt x="960" y="1620"/>
                  <a:pt x="960" y="1620"/>
                  <a:pt x="960" y="1620"/>
                </a:cubicBezTo>
                <a:cubicBezTo>
                  <a:pt x="960" y="1620"/>
                  <a:pt x="953" y="1616"/>
                  <a:pt x="949" y="1616"/>
                </a:cubicBezTo>
                <a:cubicBezTo>
                  <a:pt x="945" y="1616"/>
                  <a:pt x="928" y="1627"/>
                  <a:pt x="926" y="1628"/>
                </a:cubicBezTo>
                <a:cubicBezTo>
                  <a:pt x="925" y="1629"/>
                  <a:pt x="907" y="1627"/>
                  <a:pt x="907" y="1627"/>
                </a:cubicBezTo>
                <a:cubicBezTo>
                  <a:pt x="886" y="1614"/>
                  <a:pt x="886" y="1614"/>
                  <a:pt x="886" y="1614"/>
                </a:cubicBezTo>
                <a:cubicBezTo>
                  <a:pt x="883" y="1603"/>
                  <a:pt x="883" y="1603"/>
                  <a:pt x="883" y="1603"/>
                </a:cubicBezTo>
                <a:cubicBezTo>
                  <a:pt x="883" y="1603"/>
                  <a:pt x="870" y="1608"/>
                  <a:pt x="864" y="1606"/>
                </a:cubicBezTo>
                <a:cubicBezTo>
                  <a:pt x="857" y="1605"/>
                  <a:pt x="862" y="1592"/>
                  <a:pt x="862" y="1592"/>
                </a:cubicBezTo>
                <a:cubicBezTo>
                  <a:pt x="855" y="1584"/>
                  <a:pt x="855" y="1584"/>
                  <a:pt x="855" y="1584"/>
                </a:cubicBezTo>
                <a:cubicBezTo>
                  <a:pt x="837" y="1596"/>
                  <a:pt x="837" y="1596"/>
                  <a:pt x="837" y="1596"/>
                </a:cubicBezTo>
                <a:cubicBezTo>
                  <a:pt x="824" y="1592"/>
                  <a:pt x="824" y="1592"/>
                  <a:pt x="824" y="1592"/>
                </a:cubicBezTo>
                <a:cubicBezTo>
                  <a:pt x="817" y="1601"/>
                  <a:pt x="817" y="1601"/>
                  <a:pt x="817" y="1601"/>
                </a:cubicBezTo>
                <a:cubicBezTo>
                  <a:pt x="817" y="1601"/>
                  <a:pt x="820" y="1610"/>
                  <a:pt x="817" y="1612"/>
                </a:cubicBezTo>
                <a:cubicBezTo>
                  <a:pt x="812" y="1616"/>
                  <a:pt x="791" y="1619"/>
                  <a:pt x="791" y="1619"/>
                </a:cubicBezTo>
                <a:cubicBezTo>
                  <a:pt x="781" y="1608"/>
                  <a:pt x="781" y="1608"/>
                  <a:pt x="781" y="1608"/>
                </a:cubicBezTo>
                <a:cubicBezTo>
                  <a:pt x="781" y="1608"/>
                  <a:pt x="779" y="1598"/>
                  <a:pt x="777" y="1594"/>
                </a:cubicBezTo>
                <a:cubicBezTo>
                  <a:pt x="774" y="1589"/>
                  <a:pt x="771" y="1591"/>
                  <a:pt x="771" y="1591"/>
                </a:cubicBezTo>
                <a:cubicBezTo>
                  <a:pt x="766" y="1594"/>
                  <a:pt x="772" y="1601"/>
                  <a:pt x="772" y="1601"/>
                </a:cubicBezTo>
                <a:cubicBezTo>
                  <a:pt x="769" y="1606"/>
                  <a:pt x="769" y="1606"/>
                  <a:pt x="769" y="1606"/>
                </a:cubicBezTo>
                <a:cubicBezTo>
                  <a:pt x="763" y="1606"/>
                  <a:pt x="763" y="1606"/>
                  <a:pt x="763" y="1606"/>
                </a:cubicBezTo>
                <a:cubicBezTo>
                  <a:pt x="756" y="1613"/>
                  <a:pt x="756" y="1613"/>
                  <a:pt x="756" y="1613"/>
                </a:cubicBezTo>
                <a:cubicBezTo>
                  <a:pt x="747" y="1613"/>
                  <a:pt x="747" y="1613"/>
                  <a:pt x="747" y="1613"/>
                </a:cubicBezTo>
                <a:cubicBezTo>
                  <a:pt x="747" y="1613"/>
                  <a:pt x="748" y="1615"/>
                  <a:pt x="742" y="1620"/>
                </a:cubicBezTo>
                <a:cubicBezTo>
                  <a:pt x="737" y="1626"/>
                  <a:pt x="739" y="1636"/>
                  <a:pt x="739" y="1636"/>
                </a:cubicBezTo>
                <a:cubicBezTo>
                  <a:pt x="733" y="1641"/>
                  <a:pt x="733" y="1641"/>
                  <a:pt x="733" y="1641"/>
                </a:cubicBezTo>
                <a:cubicBezTo>
                  <a:pt x="733" y="1641"/>
                  <a:pt x="736" y="1647"/>
                  <a:pt x="736" y="1649"/>
                </a:cubicBezTo>
                <a:cubicBezTo>
                  <a:pt x="736" y="1650"/>
                  <a:pt x="735" y="1655"/>
                  <a:pt x="735" y="1655"/>
                </a:cubicBezTo>
                <a:cubicBezTo>
                  <a:pt x="735" y="1655"/>
                  <a:pt x="730" y="1644"/>
                  <a:pt x="727" y="1646"/>
                </a:cubicBezTo>
                <a:cubicBezTo>
                  <a:pt x="725" y="1647"/>
                  <a:pt x="729" y="1653"/>
                  <a:pt x="733" y="1655"/>
                </a:cubicBezTo>
                <a:cubicBezTo>
                  <a:pt x="737" y="1658"/>
                  <a:pt x="729" y="1660"/>
                  <a:pt x="729" y="1660"/>
                </a:cubicBezTo>
                <a:cubicBezTo>
                  <a:pt x="735" y="1671"/>
                  <a:pt x="735" y="1671"/>
                  <a:pt x="735" y="1671"/>
                </a:cubicBezTo>
                <a:cubicBezTo>
                  <a:pt x="735" y="1681"/>
                  <a:pt x="735" y="1681"/>
                  <a:pt x="735" y="1681"/>
                </a:cubicBezTo>
                <a:cubicBezTo>
                  <a:pt x="740" y="1687"/>
                  <a:pt x="740" y="1687"/>
                  <a:pt x="740" y="1687"/>
                </a:cubicBezTo>
                <a:cubicBezTo>
                  <a:pt x="740" y="1687"/>
                  <a:pt x="749" y="1688"/>
                  <a:pt x="753" y="1690"/>
                </a:cubicBezTo>
                <a:cubicBezTo>
                  <a:pt x="756" y="1692"/>
                  <a:pt x="764" y="1704"/>
                  <a:pt x="764" y="1704"/>
                </a:cubicBezTo>
                <a:cubicBezTo>
                  <a:pt x="764" y="1704"/>
                  <a:pt x="771" y="1701"/>
                  <a:pt x="777" y="1700"/>
                </a:cubicBezTo>
                <a:cubicBezTo>
                  <a:pt x="783" y="1699"/>
                  <a:pt x="803" y="1703"/>
                  <a:pt x="803" y="1703"/>
                </a:cubicBezTo>
                <a:cubicBezTo>
                  <a:pt x="812" y="1714"/>
                  <a:pt x="812" y="1714"/>
                  <a:pt x="812" y="1714"/>
                </a:cubicBezTo>
                <a:cubicBezTo>
                  <a:pt x="812" y="1714"/>
                  <a:pt x="829" y="1716"/>
                  <a:pt x="834" y="1716"/>
                </a:cubicBezTo>
                <a:cubicBezTo>
                  <a:pt x="839" y="1716"/>
                  <a:pt x="845" y="1728"/>
                  <a:pt x="845" y="1728"/>
                </a:cubicBezTo>
                <a:cubicBezTo>
                  <a:pt x="845" y="1728"/>
                  <a:pt x="847" y="1729"/>
                  <a:pt x="849" y="1734"/>
                </a:cubicBezTo>
                <a:cubicBezTo>
                  <a:pt x="851" y="1739"/>
                  <a:pt x="864" y="1743"/>
                  <a:pt x="865" y="1743"/>
                </a:cubicBezTo>
                <a:cubicBezTo>
                  <a:pt x="866" y="1743"/>
                  <a:pt x="873" y="1752"/>
                  <a:pt x="873" y="1752"/>
                </a:cubicBezTo>
                <a:cubicBezTo>
                  <a:pt x="888" y="1752"/>
                  <a:pt x="888" y="1752"/>
                  <a:pt x="888" y="1752"/>
                </a:cubicBezTo>
                <a:cubicBezTo>
                  <a:pt x="888" y="1752"/>
                  <a:pt x="896" y="1760"/>
                  <a:pt x="901" y="1764"/>
                </a:cubicBezTo>
                <a:cubicBezTo>
                  <a:pt x="906" y="1768"/>
                  <a:pt x="916" y="1776"/>
                  <a:pt x="917" y="1777"/>
                </a:cubicBezTo>
                <a:cubicBezTo>
                  <a:pt x="918" y="1777"/>
                  <a:pt x="926" y="1776"/>
                  <a:pt x="926" y="1776"/>
                </a:cubicBezTo>
                <a:cubicBezTo>
                  <a:pt x="936" y="1784"/>
                  <a:pt x="936" y="1784"/>
                  <a:pt x="936" y="1784"/>
                </a:cubicBezTo>
                <a:cubicBezTo>
                  <a:pt x="942" y="1783"/>
                  <a:pt x="942" y="1783"/>
                  <a:pt x="942" y="1783"/>
                </a:cubicBezTo>
                <a:cubicBezTo>
                  <a:pt x="987" y="1784"/>
                  <a:pt x="992" y="1792"/>
                  <a:pt x="1000" y="1798"/>
                </a:cubicBezTo>
                <a:cubicBezTo>
                  <a:pt x="1008" y="1804"/>
                  <a:pt x="1022" y="1839"/>
                  <a:pt x="1022" y="1839"/>
                </a:cubicBezTo>
                <a:cubicBezTo>
                  <a:pt x="1041" y="1841"/>
                  <a:pt x="1041" y="1841"/>
                  <a:pt x="1041" y="1841"/>
                </a:cubicBezTo>
                <a:cubicBezTo>
                  <a:pt x="1051" y="1849"/>
                  <a:pt x="1051" y="1849"/>
                  <a:pt x="1051" y="1849"/>
                </a:cubicBezTo>
                <a:cubicBezTo>
                  <a:pt x="1061" y="1849"/>
                  <a:pt x="1061" y="1849"/>
                  <a:pt x="1061" y="1849"/>
                </a:cubicBezTo>
                <a:cubicBezTo>
                  <a:pt x="1065" y="1853"/>
                  <a:pt x="1065" y="1853"/>
                  <a:pt x="1065" y="1853"/>
                </a:cubicBezTo>
                <a:cubicBezTo>
                  <a:pt x="1065" y="1853"/>
                  <a:pt x="1078" y="1848"/>
                  <a:pt x="1080" y="1849"/>
                </a:cubicBezTo>
                <a:cubicBezTo>
                  <a:pt x="1082" y="1849"/>
                  <a:pt x="1090" y="1855"/>
                  <a:pt x="1090" y="1855"/>
                </a:cubicBezTo>
                <a:cubicBezTo>
                  <a:pt x="1090" y="1855"/>
                  <a:pt x="1091" y="1854"/>
                  <a:pt x="1101" y="1854"/>
                </a:cubicBezTo>
                <a:cubicBezTo>
                  <a:pt x="1111" y="1854"/>
                  <a:pt x="1109" y="1861"/>
                  <a:pt x="1109" y="1861"/>
                </a:cubicBezTo>
                <a:cubicBezTo>
                  <a:pt x="1117" y="1855"/>
                  <a:pt x="1117" y="1855"/>
                  <a:pt x="1117" y="1855"/>
                </a:cubicBezTo>
                <a:cubicBezTo>
                  <a:pt x="1117" y="1855"/>
                  <a:pt x="1113" y="1844"/>
                  <a:pt x="1111" y="1838"/>
                </a:cubicBezTo>
                <a:cubicBezTo>
                  <a:pt x="1109" y="1832"/>
                  <a:pt x="1118" y="1817"/>
                  <a:pt x="1119" y="1813"/>
                </a:cubicBezTo>
                <a:cubicBezTo>
                  <a:pt x="1121" y="1809"/>
                  <a:pt x="1134" y="1805"/>
                  <a:pt x="1134" y="1805"/>
                </a:cubicBezTo>
                <a:cubicBezTo>
                  <a:pt x="1136" y="1797"/>
                  <a:pt x="1136" y="1797"/>
                  <a:pt x="1136" y="1797"/>
                </a:cubicBezTo>
                <a:cubicBezTo>
                  <a:pt x="1146" y="1797"/>
                  <a:pt x="1146" y="1797"/>
                  <a:pt x="1146" y="1797"/>
                </a:cubicBezTo>
                <a:cubicBezTo>
                  <a:pt x="1146" y="1797"/>
                  <a:pt x="1145" y="1796"/>
                  <a:pt x="1142" y="1792"/>
                </a:cubicBezTo>
                <a:cubicBezTo>
                  <a:pt x="1140" y="1788"/>
                  <a:pt x="1135" y="1791"/>
                  <a:pt x="1135" y="1789"/>
                </a:cubicBezTo>
                <a:cubicBezTo>
                  <a:pt x="1135" y="1786"/>
                  <a:pt x="1139" y="1783"/>
                  <a:pt x="1137" y="1780"/>
                </a:cubicBezTo>
                <a:cubicBezTo>
                  <a:pt x="1136" y="1778"/>
                  <a:pt x="1130" y="1777"/>
                  <a:pt x="1130" y="1777"/>
                </a:cubicBezTo>
                <a:cubicBezTo>
                  <a:pt x="1129" y="1771"/>
                  <a:pt x="1129" y="1771"/>
                  <a:pt x="1129" y="1771"/>
                </a:cubicBezTo>
                <a:cubicBezTo>
                  <a:pt x="1125" y="1772"/>
                  <a:pt x="1125" y="1772"/>
                  <a:pt x="1125" y="1772"/>
                </a:cubicBezTo>
                <a:cubicBezTo>
                  <a:pt x="1122" y="1760"/>
                  <a:pt x="1122" y="1760"/>
                  <a:pt x="1122" y="1760"/>
                </a:cubicBezTo>
                <a:cubicBezTo>
                  <a:pt x="1122" y="1760"/>
                  <a:pt x="1123" y="1755"/>
                  <a:pt x="1127" y="1755"/>
                </a:cubicBezTo>
                <a:cubicBezTo>
                  <a:pt x="1130" y="1755"/>
                  <a:pt x="1128" y="1759"/>
                  <a:pt x="1128" y="1759"/>
                </a:cubicBezTo>
                <a:cubicBezTo>
                  <a:pt x="1131" y="1755"/>
                  <a:pt x="1131" y="1755"/>
                  <a:pt x="1131" y="1755"/>
                </a:cubicBezTo>
                <a:cubicBezTo>
                  <a:pt x="1131" y="1755"/>
                  <a:pt x="1129" y="1752"/>
                  <a:pt x="1124" y="1749"/>
                </a:cubicBezTo>
                <a:cubicBezTo>
                  <a:pt x="1120" y="1746"/>
                  <a:pt x="1115" y="1746"/>
                  <a:pt x="1110" y="1744"/>
                </a:cubicBezTo>
                <a:cubicBezTo>
                  <a:pt x="1106" y="1741"/>
                  <a:pt x="1105" y="1715"/>
                  <a:pt x="1105" y="1715"/>
                </a:cubicBezTo>
                <a:cubicBezTo>
                  <a:pt x="1118" y="1696"/>
                  <a:pt x="1118" y="1696"/>
                  <a:pt x="1118" y="1696"/>
                </a:cubicBezTo>
                <a:cubicBezTo>
                  <a:pt x="1117" y="1686"/>
                  <a:pt x="1117" y="1686"/>
                  <a:pt x="1117" y="1686"/>
                </a:cubicBezTo>
                <a:cubicBezTo>
                  <a:pt x="1124" y="1671"/>
                  <a:pt x="1124" y="1671"/>
                  <a:pt x="1124" y="1671"/>
                </a:cubicBezTo>
                <a:cubicBezTo>
                  <a:pt x="1124" y="1671"/>
                  <a:pt x="1121" y="1667"/>
                  <a:pt x="1122" y="1664"/>
                </a:cubicBezTo>
                <a:cubicBezTo>
                  <a:pt x="1123" y="1662"/>
                  <a:pt x="1134" y="1640"/>
                  <a:pt x="1134" y="1640"/>
                </a:cubicBezTo>
                <a:cubicBezTo>
                  <a:pt x="1134" y="1640"/>
                  <a:pt x="1157" y="1610"/>
                  <a:pt x="1162" y="1605"/>
                </a:cubicBezTo>
                <a:cubicBezTo>
                  <a:pt x="1166" y="1601"/>
                  <a:pt x="1170" y="1582"/>
                  <a:pt x="1170" y="1577"/>
                </a:cubicBezTo>
                <a:cubicBezTo>
                  <a:pt x="1170" y="1572"/>
                  <a:pt x="1185" y="1570"/>
                  <a:pt x="1180" y="1570"/>
                </a:cubicBezTo>
                <a:close/>
                <a:moveTo>
                  <a:pt x="714" y="1621"/>
                </a:moveTo>
                <a:cubicBezTo>
                  <a:pt x="714" y="1621"/>
                  <a:pt x="707" y="1629"/>
                  <a:pt x="714" y="1629"/>
                </a:cubicBezTo>
                <a:cubicBezTo>
                  <a:pt x="722" y="1629"/>
                  <a:pt x="714" y="1621"/>
                  <a:pt x="714" y="1621"/>
                </a:cubicBezTo>
                <a:close/>
                <a:moveTo>
                  <a:pt x="834" y="1495"/>
                </a:moveTo>
                <a:cubicBezTo>
                  <a:pt x="828" y="1492"/>
                  <a:pt x="828" y="1500"/>
                  <a:pt x="828" y="1500"/>
                </a:cubicBezTo>
                <a:cubicBezTo>
                  <a:pt x="828" y="1500"/>
                  <a:pt x="841" y="1499"/>
                  <a:pt x="834" y="1495"/>
                </a:cubicBezTo>
                <a:close/>
                <a:moveTo>
                  <a:pt x="996" y="1526"/>
                </a:moveTo>
                <a:cubicBezTo>
                  <a:pt x="1001" y="1525"/>
                  <a:pt x="1001" y="1525"/>
                  <a:pt x="1001" y="1525"/>
                </a:cubicBezTo>
                <a:cubicBezTo>
                  <a:pt x="1001" y="1525"/>
                  <a:pt x="992" y="1516"/>
                  <a:pt x="996" y="1526"/>
                </a:cubicBezTo>
                <a:close/>
                <a:moveTo>
                  <a:pt x="656" y="1836"/>
                </a:moveTo>
                <a:cubicBezTo>
                  <a:pt x="655" y="1841"/>
                  <a:pt x="655" y="1841"/>
                  <a:pt x="655" y="1841"/>
                </a:cubicBezTo>
                <a:cubicBezTo>
                  <a:pt x="666" y="1851"/>
                  <a:pt x="666" y="1851"/>
                  <a:pt x="666" y="1851"/>
                </a:cubicBezTo>
                <a:cubicBezTo>
                  <a:pt x="673" y="1848"/>
                  <a:pt x="673" y="1848"/>
                  <a:pt x="673" y="1848"/>
                </a:cubicBezTo>
                <a:cubicBezTo>
                  <a:pt x="673" y="1841"/>
                  <a:pt x="673" y="1841"/>
                  <a:pt x="673" y="1841"/>
                </a:cubicBezTo>
                <a:cubicBezTo>
                  <a:pt x="673" y="1841"/>
                  <a:pt x="666" y="1830"/>
                  <a:pt x="656" y="1836"/>
                </a:cubicBezTo>
                <a:close/>
                <a:moveTo>
                  <a:pt x="673" y="1627"/>
                </a:moveTo>
                <a:cubicBezTo>
                  <a:pt x="673" y="1627"/>
                  <a:pt x="673" y="1633"/>
                  <a:pt x="677" y="1632"/>
                </a:cubicBezTo>
                <a:cubicBezTo>
                  <a:pt x="681" y="1631"/>
                  <a:pt x="678" y="1627"/>
                  <a:pt x="673" y="1627"/>
                </a:cubicBezTo>
                <a:close/>
                <a:moveTo>
                  <a:pt x="707" y="1636"/>
                </a:moveTo>
                <a:cubicBezTo>
                  <a:pt x="707" y="1640"/>
                  <a:pt x="707" y="1640"/>
                  <a:pt x="707" y="1640"/>
                </a:cubicBezTo>
                <a:cubicBezTo>
                  <a:pt x="718" y="1644"/>
                  <a:pt x="718" y="1644"/>
                  <a:pt x="718" y="1644"/>
                </a:cubicBezTo>
                <a:cubicBezTo>
                  <a:pt x="718" y="1644"/>
                  <a:pt x="723" y="1638"/>
                  <a:pt x="707" y="1636"/>
                </a:cubicBezTo>
                <a:close/>
              </a:path>
            </a:pathLst>
          </a:custGeom>
          <a:solidFill>
            <a:schemeClr val="bg1">
              <a:lumMod val="65000"/>
            </a:schemeClr>
          </a:solidFill>
          <a:ln w="12700" cap="flat" cmpd="sng">
            <a:solidFill>
              <a:schemeClr val="bg1"/>
            </a:solidFill>
            <a:prstDash val="solid"/>
            <a:miter lim="800000"/>
            <a:headEnd type="none" w="med" len="med"/>
            <a:tailEnd type="none" w="med" len="med"/>
          </a:ln>
          <a:effectLst>
            <a:outerShdw blurRad="50800" dist="38100" dir="2700000" algn="tl" rotWithShape="0">
              <a:prstClr val="black">
                <a:alpha val="40000"/>
              </a:prstClr>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a:p>
        </p:txBody>
      </p:sp>
      <p:grpSp>
        <p:nvGrpSpPr>
          <p:cNvPr id="119" name="Gruppieren 118"/>
          <p:cNvGrpSpPr/>
          <p:nvPr/>
        </p:nvGrpSpPr>
        <p:grpSpPr>
          <a:xfrm>
            <a:off x="3841914" y="1987551"/>
            <a:ext cx="1811581" cy="2654300"/>
            <a:chOff x="3841914" y="1987551"/>
            <a:chExt cx="1811581" cy="2654300"/>
          </a:xfrm>
        </p:grpSpPr>
        <p:pic>
          <p:nvPicPr>
            <p:cNvPr id="1034" name="Picture 10"/>
            <p:cNvPicPr>
              <a:picLocks noChangeAspect="1" noChangeArrowheads="1"/>
            </p:cNvPicPr>
            <p:nvPr/>
          </p:nvPicPr>
          <p:blipFill>
            <a:blip r:embed="rId4"/>
            <a:srcRect/>
            <a:stretch>
              <a:fillRect/>
            </a:stretch>
          </p:blipFill>
          <p:spPr bwMode="auto">
            <a:xfrm>
              <a:off x="4639010" y="2237146"/>
              <a:ext cx="1014485" cy="2404705"/>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1035" name="Picture 11"/>
            <p:cNvPicPr>
              <a:picLocks noChangeAspect="1" noChangeArrowheads="1"/>
            </p:cNvPicPr>
            <p:nvPr/>
          </p:nvPicPr>
          <p:blipFill>
            <a:blip r:embed="rId5"/>
            <a:srcRect/>
            <a:stretch>
              <a:fillRect/>
            </a:stretch>
          </p:blipFill>
          <p:spPr bwMode="auto">
            <a:xfrm>
              <a:off x="3841914" y="1987551"/>
              <a:ext cx="805147" cy="168544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grpSp>
      <p:sp>
        <p:nvSpPr>
          <p:cNvPr id="94" name="Rechteck 93"/>
          <p:cNvSpPr/>
          <p:nvPr/>
        </p:nvSpPr>
        <p:spPr>
          <a:xfrm>
            <a:off x="3838000" y="2238376"/>
            <a:ext cx="805438" cy="233362"/>
          </a:xfrm>
          <a:prstGeom prst="rect">
            <a:avLst/>
          </a:prstGeom>
          <a:solidFill>
            <a:schemeClr val="bg1">
              <a:alpha val="0"/>
            </a:schemeClr>
          </a:solid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latin typeface="Myriad Pro" pitchFamily="34" charset="0"/>
            </a:endParaRPr>
          </a:p>
        </p:txBody>
      </p:sp>
      <p:sp>
        <p:nvSpPr>
          <p:cNvPr id="95"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10</a:t>
            </a:r>
            <a:endParaRPr lang="de-DE" sz="900" dirty="0">
              <a:solidFill>
                <a:schemeClr val="bg1">
                  <a:lumMod val="50000"/>
                </a:schemeClr>
              </a:solidFill>
            </a:endParaRPr>
          </a:p>
        </p:txBody>
      </p:sp>
      <p:grpSp>
        <p:nvGrpSpPr>
          <p:cNvPr id="46" name="Gruppieren 144"/>
          <p:cNvGrpSpPr/>
          <p:nvPr/>
        </p:nvGrpSpPr>
        <p:grpSpPr>
          <a:xfrm>
            <a:off x="4222534" y="3759200"/>
            <a:ext cx="347663" cy="338138"/>
            <a:chOff x="203518" y="5554980"/>
            <a:chExt cx="347663" cy="338138"/>
          </a:xfrm>
        </p:grpSpPr>
        <p:pic>
          <p:nvPicPr>
            <p:cNvPr id="47" name="Grafik 46" descr="schatten.png"/>
            <p:cNvPicPr>
              <a:picLocks noChangeAspect="1"/>
            </p:cNvPicPr>
            <p:nvPr/>
          </p:nvPicPr>
          <p:blipFill>
            <a:blip r:embed="rId3" cstate="print">
              <a:lum bright="30000"/>
            </a:blip>
            <a:srcRect l="17603" t="9404" r="15359" b="14528"/>
            <a:stretch>
              <a:fillRect/>
            </a:stretch>
          </p:blipFill>
          <p:spPr>
            <a:xfrm>
              <a:off x="203518" y="5554980"/>
              <a:ext cx="347663" cy="338138"/>
            </a:xfrm>
            <a:prstGeom prst="rect">
              <a:avLst/>
            </a:prstGeom>
          </p:spPr>
        </p:pic>
        <p:sp>
          <p:nvSpPr>
            <p:cNvPr id="48"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pic>
        <p:nvPicPr>
          <p:cNvPr id="3074" name="Picture 2" descr="C:\Users\patrick.z\Desktop\Tutorials\Landkarten\DE\04_Schatten erstellen.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73582" y="916662"/>
            <a:ext cx="2879914" cy="631626"/>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125" name="Group 45"/>
          <p:cNvGrpSpPr>
            <a:grpSpLocks/>
          </p:cNvGrpSpPr>
          <p:nvPr/>
        </p:nvGrpSpPr>
        <p:grpSpPr bwMode="auto">
          <a:xfrm rot="20287264">
            <a:off x="2667700" y="3327783"/>
            <a:ext cx="374650" cy="609600"/>
            <a:chOff x="1950" y="1045"/>
            <a:chExt cx="568" cy="928"/>
          </a:xfrm>
        </p:grpSpPr>
        <p:sp>
          <p:nvSpPr>
            <p:cNvPr id="126"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127"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128"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29"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130"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31"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33"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34"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35"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36"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37"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38"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139" name="Group 45"/>
          <p:cNvGrpSpPr>
            <a:grpSpLocks/>
          </p:cNvGrpSpPr>
          <p:nvPr/>
        </p:nvGrpSpPr>
        <p:grpSpPr bwMode="auto">
          <a:xfrm rot="20287264">
            <a:off x="5397675" y="1389279"/>
            <a:ext cx="374712" cy="609369"/>
            <a:chOff x="1950" y="1045"/>
            <a:chExt cx="568" cy="928"/>
          </a:xfrm>
        </p:grpSpPr>
        <p:sp>
          <p:nvSpPr>
            <p:cNvPr id="140"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en-US" noProof="1">
                <a:latin typeface="Myriad Pro" pitchFamily="34" charset="0"/>
              </a:endParaRPr>
            </a:p>
          </p:txBody>
        </p:sp>
        <p:sp>
          <p:nvSpPr>
            <p:cNvPr id="141" name="Freeform 47"/>
            <p:cNvSpPr>
              <a:spLocks/>
            </p:cNvSpPr>
            <p:nvPr/>
          </p:nvSpPr>
          <p:spPr bwMode="gray">
            <a:xfrm>
              <a:off x="2014" y="1052"/>
              <a:ext cx="221" cy="326"/>
            </a:xfrm>
            <a:custGeom>
              <a:avLst/>
              <a:gdLst>
                <a:gd name="T0" fmla="*/ 1024880 w 150"/>
                <a:gd name="T1" fmla="*/ 0 h 222"/>
                <a:gd name="T2" fmla="*/ 1003064 w 150"/>
                <a:gd name="T3" fmla="*/ 0 h 222"/>
                <a:gd name="T4" fmla="*/ 952206 w 150"/>
                <a:gd name="T5" fmla="*/ 0 h 222"/>
                <a:gd name="T6" fmla="*/ 913135 w 150"/>
                <a:gd name="T7" fmla="*/ 0 h 222"/>
                <a:gd name="T8" fmla="*/ 866622 w 150"/>
                <a:gd name="T9" fmla="*/ 1 h 222"/>
                <a:gd name="T10" fmla="*/ 839209 w 150"/>
                <a:gd name="T11" fmla="*/ 1 h 222"/>
                <a:gd name="T12" fmla="*/ 800771 w 150"/>
                <a:gd name="T13" fmla="*/ 12956 h 222"/>
                <a:gd name="T14" fmla="*/ 766286 w 150"/>
                <a:gd name="T15" fmla="*/ 19025 h 222"/>
                <a:gd name="T16" fmla="*/ 725805 w 150"/>
                <a:gd name="T17" fmla="*/ 19025 h 222"/>
                <a:gd name="T18" fmla="*/ 695620 w 150"/>
                <a:gd name="T19" fmla="*/ 27938 h 222"/>
                <a:gd name="T20" fmla="*/ 659513 w 150"/>
                <a:gd name="T21" fmla="*/ 32041 h 222"/>
                <a:gd name="T22" fmla="*/ 629045 w 150"/>
                <a:gd name="T23" fmla="*/ 41026 h 222"/>
                <a:gd name="T24" fmla="*/ 598830 w 150"/>
                <a:gd name="T25" fmla="*/ 47051 h 222"/>
                <a:gd name="T26" fmla="*/ 563369 w 150"/>
                <a:gd name="T27" fmla="*/ 60245 h 222"/>
                <a:gd name="T28" fmla="*/ 543510 w 150"/>
                <a:gd name="T29" fmla="*/ 60245 h 222"/>
                <a:gd name="T30" fmla="*/ 503887 w 150"/>
                <a:gd name="T31" fmla="*/ 73482 h 222"/>
                <a:gd name="T32" fmla="*/ 489799 w 150"/>
                <a:gd name="T33" fmla="*/ 82237 h 222"/>
                <a:gd name="T34" fmla="*/ 446050 w 150"/>
                <a:gd name="T35" fmla="*/ 100940 h 222"/>
                <a:gd name="T36" fmla="*/ 446050 w 150"/>
                <a:gd name="T37" fmla="*/ 100940 h 222"/>
                <a:gd name="T38" fmla="*/ 178101 w 150"/>
                <a:gd name="T39" fmla="*/ 239281 h 222"/>
                <a:gd name="T40" fmla="*/ 171898 w 150"/>
                <a:gd name="T41" fmla="*/ 239281 h 222"/>
                <a:gd name="T42" fmla="*/ 178101 w 150"/>
                <a:gd name="T43" fmla="*/ 239281 h 222"/>
                <a:gd name="T44" fmla="*/ 0 w 150"/>
                <a:gd name="T45" fmla="*/ 1071857 h 222"/>
                <a:gd name="T46" fmla="*/ 74013 w 150"/>
                <a:gd name="T47" fmla="*/ 1527345 h 222"/>
                <a:gd name="T48" fmla="*/ 768968 w 150"/>
                <a:gd name="T49" fmla="*/ 1391177 h 222"/>
                <a:gd name="T50" fmla="*/ 768968 w 150"/>
                <a:gd name="T51" fmla="*/ 1391177 h 222"/>
                <a:gd name="T52" fmla="*/ 795957 w 150"/>
                <a:gd name="T53" fmla="*/ 1452879 h 222"/>
                <a:gd name="T54" fmla="*/ 710450 w 150"/>
                <a:gd name="T55" fmla="*/ 942015 h 222"/>
                <a:gd name="T56" fmla="*/ 1115359 w 150"/>
                <a:gd name="T57" fmla="*/ 82237 h 222"/>
                <a:gd name="T58" fmla="*/ 1115359 w 150"/>
                <a:gd name="T59" fmla="*/ 82237 h 222"/>
                <a:gd name="T60" fmla="*/ 1115359 w 150"/>
                <a:gd name="T61" fmla="*/ 0 h 222"/>
                <a:gd name="T62" fmla="*/ 102488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en-US" noProof="1">
                <a:latin typeface="Myriad Pro" pitchFamily="34" charset="0"/>
              </a:endParaRPr>
            </a:p>
          </p:txBody>
        </p:sp>
        <p:sp>
          <p:nvSpPr>
            <p:cNvPr id="142" name="Freeform 48"/>
            <p:cNvSpPr>
              <a:spLocks/>
            </p:cNvSpPr>
            <p:nvPr/>
          </p:nvSpPr>
          <p:spPr bwMode="gray">
            <a:xfrm>
              <a:off x="2032" y="1358"/>
              <a:ext cx="190" cy="199"/>
            </a:xfrm>
            <a:custGeom>
              <a:avLst/>
              <a:gdLst>
                <a:gd name="T0" fmla="*/ 595931 w 129"/>
                <a:gd name="T1" fmla="*/ 861973 h 136"/>
                <a:gd name="T2" fmla="*/ 795720 w 129"/>
                <a:gd name="T3" fmla="*/ 230651 h 136"/>
                <a:gd name="T4" fmla="*/ 752068 w 129"/>
                <a:gd name="T5" fmla="*/ 148697 h 136"/>
                <a:gd name="T6" fmla="*/ 752068 w 129"/>
                <a:gd name="T7" fmla="*/ 140257 h 136"/>
                <a:gd name="T8" fmla="*/ 699334 w 129"/>
                <a:gd name="T9" fmla="*/ 18239 h 136"/>
                <a:gd name="T10" fmla="*/ 688946 w 129"/>
                <a:gd name="T11" fmla="*/ 0 h 136"/>
                <a:gd name="T12" fmla="*/ 0 w 129"/>
                <a:gd name="T13" fmla="*/ 134306 h 136"/>
                <a:gd name="T14" fmla="*/ 33958 w 129"/>
                <a:gd name="T15" fmla="*/ 230651 h 136"/>
                <a:gd name="T16" fmla="*/ 595931 w 129"/>
                <a:gd name="T17" fmla="*/ 861973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en-US" noProof="1">
                <a:latin typeface="Myriad Pro" pitchFamily="34" charset="0"/>
              </a:endParaRPr>
            </a:p>
          </p:txBody>
        </p:sp>
        <p:sp>
          <p:nvSpPr>
            <p:cNvPr id="143" name="Freeform 49"/>
            <p:cNvSpPr>
              <a:spLocks/>
            </p:cNvSpPr>
            <p:nvPr/>
          </p:nvSpPr>
          <p:spPr bwMode="gray">
            <a:xfrm>
              <a:off x="1991" y="1388"/>
              <a:ext cx="486" cy="530"/>
            </a:xfrm>
            <a:custGeom>
              <a:avLst/>
              <a:gdLst>
                <a:gd name="T0" fmla="*/ 2115377 w 331"/>
                <a:gd name="T1" fmla="*/ 1 h 361"/>
                <a:gd name="T2" fmla="*/ 2079349 w 331"/>
                <a:gd name="T3" fmla="*/ 0 h 361"/>
                <a:gd name="T4" fmla="*/ 2079349 w 331"/>
                <a:gd name="T5" fmla="*/ 0 h 361"/>
                <a:gd name="T6" fmla="*/ 2052920 w 331"/>
                <a:gd name="T7" fmla="*/ 101157 h 361"/>
                <a:gd name="T8" fmla="*/ 1528988 w 331"/>
                <a:gd name="T9" fmla="*/ 787197 h 361"/>
                <a:gd name="T10" fmla="*/ 1338165 w 331"/>
                <a:gd name="T11" fmla="*/ 101157 h 361"/>
                <a:gd name="T12" fmla="*/ 1379083 w 331"/>
                <a:gd name="T13" fmla="*/ 12909 h 361"/>
                <a:gd name="T14" fmla="*/ 1379083 w 331"/>
                <a:gd name="T15" fmla="*/ 1 h 361"/>
                <a:gd name="T16" fmla="*/ 1325174 w 331"/>
                <a:gd name="T17" fmla="*/ 101157 h 361"/>
                <a:gd name="T18" fmla="*/ 1140746 w 331"/>
                <a:gd name="T19" fmla="*/ 222983 h 361"/>
                <a:gd name="T20" fmla="*/ 1140746 w 331"/>
                <a:gd name="T21" fmla="*/ 222983 h 361"/>
                <a:gd name="T22" fmla="*/ 1140746 w 331"/>
                <a:gd name="T23" fmla="*/ 222983 h 361"/>
                <a:gd name="T24" fmla="*/ 1140746 w 331"/>
                <a:gd name="T25" fmla="*/ 222983 h 361"/>
                <a:gd name="T26" fmla="*/ 949481 w 331"/>
                <a:gd name="T27" fmla="*/ 101157 h 361"/>
                <a:gd name="T28" fmla="*/ 889752 w 331"/>
                <a:gd name="T29" fmla="*/ 1 h 361"/>
                <a:gd name="T30" fmla="*/ 889752 w 331"/>
                <a:gd name="T31" fmla="*/ 12909 h 361"/>
                <a:gd name="T32" fmla="*/ 936482 w 331"/>
                <a:gd name="T33" fmla="*/ 101157 h 361"/>
                <a:gd name="T34" fmla="*/ 747923 w 331"/>
                <a:gd name="T35" fmla="*/ 787197 h 361"/>
                <a:gd name="T36" fmla="*/ 223250 w 331"/>
                <a:gd name="T37" fmla="*/ 101157 h 361"/>
                <a:gd name="T38" fmla="*/ 190371 w 331"/>
                <a:gd name="T39" fmla="*/ 0 h 361"/>
                <a:gd name="T40" fmla="*/ 190371 w 331"/>
                <a:gd name="T41" fmla="*/ 0 h 361"/>
                <a:gd name="T42" fmla="*/ 158142 w 331"/>
                <a:gd name="T43" fmla="*/ 1 h 361"/>
                <a:gd name="T44" fmla="*/ 0 w 331"/>
                <a:gd name="T45" fmla="*/ 157400 h 361"/>
                <a:gd name="T46" fmla="*/ 40961 w 331"/>
                <a:gd name="T47" fmla="*/ 419801 h 361"/>
                <a:gd name="T48" fmla="*/ 259333 w 331"/>
                <a:gd name="T49" fmla="*/ 1316532 h 361"/>
                <a:gd name="T50" fmla="*/ 1103277 w 331"/>
                <a:gd name="T51" fmla="*/ 2472443 h 361"/>
                <a:gd name="T52" fmla="*/ 1110682 w 331"/>
                <a:gd name="T53" fmla="*/ 2472443 h 361"/>
                <a:gd name="T54" fmla="*/ 1110682 w 331"/>
                <a:gd name="T55" fmla="*/ 2472443 h 361"/>
                <a:gd name="T56" fmla="*/ 1140746 w 331"/>
                <a:gd name="T57" fmla="*/ 2472443 h 361"/>
                <a:gd name="T58" fmla="*/ 1140746 w 331"/>
                <a:gd name="T59" fmla="*/ 2472443 h 361"/>
                <a:gd name="T60" fmla="*/ 1157725 w 331"/>
                <a:gd name="T61" fmla="*/ 2472443 h 361"/>
                <a:gd name="T62" fmla="*/ 1157725 w 331"/>
                <a:gd name="T63" fmla="*/ 2472443 h 361"/>
                <a:gd name="T64" fmla="*/ 1167804 w 331"/>
                <a:gd name="T65" fmla="*/ 2472443 h 361"/>
                <a:gd name="T66" fmla="*/ 2008635 w 331"/>
                <a:gd name="T67" fmla="*/ 1316532 h 361"/>
                <a:gd name="T68" fmla="*/ 2229169 w 331"/>
                <a:gd name="T69" fmla="*/ 419801 h 361"/>
                <a:gd name="T70" fmla="*/ 2273094 w 331"/>
                <a:gd name="T71" fmla="*/ 157400 h 361"/>
                <a:gd name="T72" fmla="*/ 2115377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en-US" noProof="1">
                <a:latin typeface="Myriad Pro" pitchFamily="34" charset="0"/>
              </a:endParaRPr>
            </a:p>
          </p:txBody>
        </p:sp>
        <p:sp>
          <p:nvSpPr>
            <p:cNvPr id="144" name="Freeform 50"/>
            <p:cNvSpPr>
              <a:spLocks/>
            </p:cNvSpPr>
            <p:nvPr/>
          </p:nvSpPr>
          <p:spPr bwMode="gray">
            <a:xfrm>
              <a:off x="2246" y="1358"/>
              <a:ext cx="190" cy="199"/>
            </a:xfrm>
            <a:custGeom>
              <a:avLst/>
              <a:gdLst>
                <a:gd name="T0" fmla="*/ 360624 w 129"/>
                <a:gd name="T1" fmla="*/ 861973 h 136"/>
                <a:gd name="T2" fmla="*/ 156863 w 129"/>
                <a:gd name="T3" fmla="*/ 230651 h 136"/>
                <a:gd name="T4" fmla="*/ 200544 w 129"/>
                <a:gd name="T5" fmla="*/ 148697 h 136"/>
                <a:gd name="T6" fmla="*/ 200544 w 129"/>
                <a:gd name="T7" fmla="*/ 140257 h 136"/>
                <a:gd name="T8" fmla="*/ 251975 w 129"/>
                <a:gd name="T9" fmla="*/ 18239 h 136"/>
                <a:gd name="T10" fmla="*/ 259291 w 129"/>
                <a:gd name="T11" fmla="*/ 0 h 136"/>
                <a:gd name="T12" fmla="*/ 951473 w 129"/>
                <a:gd name="T13" fmla="*/ 134306 h 136"/>
                <a:gd name="T14" fmla="*/ 921934 w 129"/>
                <a:gd name="T15" fmla="*/ 230651 h 136"/>
                <a:gd name="T16" fmla="*/ 360624 w 129"/>
                <a:gd name="T17" fmla="*/ 861973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en-US" noProof="1">
                <a:latin typeface="Myriad Pro" pitchFamily="34" charset="0"/>
              </a:endParaRPr>
            </a:p>
          </p:txBody>
        </p:sp>
        <p:sp>
          <p:nvSpPr>
            <p:cNvPr id="145" name="Freeform 51"/>
            <p:cNvSpPr>
              <a:spLocks noEditPoints="1"/>
            </p:cNvSpPr>
            <p:nvPr/>
          </p:nvSpPr>
          <p:spPr bwMode="gray">
            <a:xfrm>
              <a:off x="2179" y="1094"/>
              <a:ext cx="110" cy="316"/>
            </a:xfrm>
            <a:custGeom>
              <a:avLst/>
              <a:gdLst>
                <a:gd name="T0" fmla="*/ 254050 w 75"/>
                <a:gd name="T1" fmla="*/ 0 h 216"/>
                <a:gd name="T2" fmla="*/ 254050 w 75"/>
                <a:gd name="T3" fmla="*/ 0 h 216"/>
                <a:gd name="T4" fmla="*/ 254050 w 75"/>
                <a:gd name="T5" fmla="*/ 0 h 216"/>
                <a:gd name="T6" fmla="*/ 0 w 75"/>
                <a:gd name="T7" fmla="*/ 681630 h 216"/>
                <a:gd name="T8" fmla="*/ 0 w 75"/>
                <a:gd name="T9" fmla="*/ 735000 h 216"/>
                <a:gd name="T10" fmla="*/ 0 w 75"/>
                <a:gd name="T11" fmla="*/ 752849 h 216"/>
                <a:gd name="T12" fmla="*/ 1 w 75"/>
                <a:gd name="T13" fmla="*/ 783335 h 216"/>
                <a:gd name="T14" fmla="*/ 1 w 75"/>
                <a:gd name="T15" fmla="*/ 809477 h 216"/>
                <a:gd name="T16" fmla="*/ 1 w 75"/>
                <a:gd name="T17" fmla="*/ 833067 h 216"/>
                <a:gd name="T18" fmla="*/ 1 w 75"/>
                <a:gd name="T19" fmla="*/ 858600 h 216"/>
                <a:gd name="T20" fmla="*/ 12739 w 75"/>
                <a:gd name="T21" fmla="*/ 885118 h 216"/>
                <a:gd name="T22" fmla="*/ 12739 w 75"/>
                <a:gd name="T23" fmla="*/ 911250 h 216"/>
                <a:gd name="T24" fmla="*/ 18684 w 75"/>
                <a:gd name="T25" fmla="*/ 929078 h 216"/>
                <a:gd name="T26" fmla="*/ 18684 w 75"/>
                <a:gd name="T27" fmla="*/ 954041 h 216"/>
                <a:gd name="T28" fmla="*/ 27403 w 75"/>
                <a:gd name="T29" fmla="*/ 967297 h 216"/>
                <a:gd name="T30" fmla="*/ 40191 w 75"/>
                <a:gd name="T31" fmla="*/ 1041527 h 216"/>
                <a:gd name="T32" fmla="*/ 46160 w 75"/>
                <a:gd name="T33" fmla="*/ 1089148 h 216"/>
                <a:gd name="T34" fmla="*/ 86456 w 75"/>
                <a:gd name="T35" fmla="*/ 1196625 h 216"/>
                <a:gd name="T36" fmla="*/ 118102 w 75"/>
                <a:gd name="T37" fmla="*/ 1268452 h 216"/>
                <a:gd name="T38" fmla="*/ 254050 w 75"/>
                <a:gd name="T39" fmla="*/ 1363765 h 216"/>
                <a:gd name="T40" fmla="*/ 254050 w 75"/>
                <a:gd name="T41" fmla="*/ 1363765 h 216"/>
                <a:gd name="T42" fmla="*/ 254050 w 75"/>
                <a:gd name="T43" fmla="*/ 1363765 h 216"/>
                <a:gd name="T44" fmla="*/ 381880 w 75"/>
                <a:gd name="T45" fmla="*/ 1268452 h 216"/>
                <a:gd name="T46" fmla="*/ 419172 w 75"/>
                <a:gd name="T47" fmla="*/ 1196625 h 216"/>
                <a:gd name="T48" fmla="*/ 458624 w 75"/>
                <a:gd name="T49" fmla="*/ 1089148 h 216"/>
                <a:gd name="T50" fmla="*/ 468613 w 75"/>
                <a:gd name="T51" fmla="*/ 1041527 h 216"/>
                <a:gd name="T52" fmla="*/ 481445 w 75"/>
                <a:gd name="T53" fmla="*/ 967297 h 216"/>
                <a:gd name="T54" fmla="*/ 481445 w 75"/>
                <a:gd name="T55" fmla="*/ 954041 h 216"/>
                <a:gd name="T56" fmla="*/ 487401 w 75"/>
                <a:gd name="T57" fmla="*/ 929078 h 216"/>
                <a:gd name="T58" fmla="*/ 487401 w 75"/>
                <a:gd name="T59" fmla="*/ 911250 h 216"/>
                <a:gd name="T60" fmla="*/ 487401 w 75"/>
                <a:gd name="T61" fmla="*/ 885118 h 216"/>
                <a:gd name="T62" fmla="*/ 498840 w 75"/>
                <a:gd name="T63" fmla="*/ 858600 h 216"/>
                <a:gd name="T64" fmla="*/ 498840 w 75"/>
                <a:gd name="T65" fmla="*/ 833067 h 216"/>
                <a:gd name="T66" fmla="*/ 498840 w 75"/>
                <a:gd name="T67" fmla="*/ 809477 h 216"/>
                <a:gd name="T68" fmla="*/ 500171 w 75"/>
                <a:gd name="T69" fmla="*/ 783335 h 216"/>
                <a:gd name="T70" fmla="*/ 500171 w 75"/>
                <a:gd name="T71" fmla="*/ 752849 h 216"/>
                <a:gd name="T72" fmla="*/ 500171 w 75"/>
                <a:gd name="T73" fmla="*/ 735000 h 216"/>
                <a:gd name="T74" fmla="*/ 500171 w 75"/>
                <a:gd name="T75" fmla="*/ 681630 h 216"/>
                <a:gd name="T76" fmla="*/ 254050 w 75"/>
                <a:gd name="T77" fmla="*/ 0 h 216"/>
                <a:gd name="T78" fmla="*/ 254050 w 75"/>
                <a:gd name="T79" fmla="*/ 738362 h 216"/>
                <a:gd name="T80" fmla="*/ 254050 w 75"/>
                <a:gd name="T81" fmla="*/ 738362 h 216"/>
                <a:gd name="T82" fmla="*/ 254050 w 75"/>
                <a:gd name="T83" fmla="*/ 738362 h 216"/>
                <a:gd name="T84" fmla="*/ 254050 w 75"/>
                <a:gd name="T85" fmla="*/ 738362 h 216"/>
                <a:gd name="T86" fmla="*/ 114020 w 75"/>
                <a:gd name="T87" fmla="*/ 453678 h 216"/>
                <a:gd name="T88" fmla="*/ 254050 w 75"/>
                <a:gd name="T89" fmla="*/ 173370 h 216"/>
                <a:gd name="T90" fmla="*/ 254050 w 75"/>
                <a:gd name="T91" fmla="*/ 173370 h 216"/>
                <a:gd name="T92" fmla="*/ 254050 w 75"/>
                <a:gd name="T93" fmla="*/ 173370 h 216"/>
                <a:gd name="T94" fmla="*/ 254050 w 75"/>
                <a:gd name="T95" fmla="*/ 173370 h 216"/>
                <a:gd name="T96" fmla="*/ 399203 w 75"/>
                <a:gd name="T97" fmla="*/ 453678 h 216"/>
                <a:gd name="T98" fmla="*/ 254050 w 75"/>
                <a:gd name="T99" fmla="*/ 738362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en-US" noProof="1">
                <a:latin typeface="Myriad Pro" pitchFamily="34" charset="0"/>
              </a:endParaRPr>
            </a:p>
          </p:txBody>
        </p:sp>
        <p:sp>
          <p:nvSpPr>
            <p:cNvPr id="146" name="Freeform 52"/>
            <p:cNvSpPr>
              <a:spLocks/>
            </p:cNvSpPr>
            <p:nvPr/>
          </p:nvSpPr>
          <p:spPr bwMode="gray">
            <a:xfrm>
              <a:off x="2204" y="1133"/>
              <a:ext cx="62" cy="132"/>
            </a:xfrm>
            <a:custGeom>
              <a:avLst/>
              <a:gdLst>
                <a:gd name="T0" fmla="*/ 163640 w 42"/>
                <a:gd name="T1" fmla="*/ 0 h 90"/>
                <a:gd name="T2" fmla="*/ 163640 w 42"/>
                <a:gd name="T3" fmla="*/ 0 h 90"/>
                <a:gd name="T4" fmla="*/ 163640 w 42"/>
                <a:gd name="T5" fmla="*/ 0 h 90"/>
                <a:gd name="T6" fmla="*/ 0 w 42"/>
                <a:gd name="T7" fmla="*/ 300661 h 90"/>
                <a:gd name="T8" fmla="*/ 163640 w 42"/>
                <a:gd name="T9" fmla="*/ 604821 h 90"/>
                <a:gd name="T10" fmla="*/ 163640 w 42"/>
                <a:gd name="T11" fmla="*/ 604821 h 90"/>
                <a:gd name="T12" fmla="*/ 163640 w 42"/>
                <a:gd name="T13" fmla="*/ 604821 h 90"/>
                <a:gd name="T14" fmla="*/ 328978 w 42"/>
                <a:gd name="T15" fmla="*/ 300661 h 90"/>
                <a:gd name="T16" fmla="*/ 163640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en-US" noProof="1">
                <a:latin typeface="Myriad Pro" pitchFamily="34" charset="0"/>
              </a:endParaRPr>
            </a:p>
          </p:txBody>
        </p:sp>
        <p:sp>
          <p:nvSpPr>
            <p:cNvPr id="147"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en-US" noProof="1">
                <a:latin typeface="Myriad Pro" pitchFamily="34" charset="0"/>
              </a:endParaRPr>
            </a:p>
          </p:txBody>
        </p:sp>
        <p:sp>
          <p:nvSpPr>
            <p:cNvPr id="148" name="Freeform 54"/>
            <p:cNvSpPr>
              <a:spLocks/>
            </p:cNvSpPr>
            <p:nvPr/>
          </p:nvSpPr>
          <p:spPr bwMode="gray">
            <a:xfrm>
              <a:off x="1978" y="1112"/>
              <a:ext cx="62" cy="296"/>
            </a:xfrm>
            <a:custGeom>
              <a:avLst/>
              <a:gdLst>
                <a:gd name="T0" fmla="*/ 328978 w 42"/>
                <a:gd name="T1" fmla="*/ 0 h 201"/>
                <a:gd name="T2" fmla="*/ 99600 w 42"/>
                <a:gd name="T3" fmla="*/ 277751 h 201"/>
                <a:gd name="T4" fmla="*/ 99600 w 42"/>
                <a:gd name="T5" fmla="*/ 285474 h 201"/>
                <a:gd name="T6" fmla="*/ 85340 w 42"/>
                <a:gd name="T7" fmla="*/ 324880 h 201"/>
                <a:gd name="T8" fmla="*/ 76756 w 42"/>
                <a:gd name="T9" fmla="*/ 329860 h 201"/>
                <a:gd name="T10" fmla="*/ 76756 w 42"/>
                <a:gd name="T11" fmla="*/ 329860 h 201"/>
                <a:gd name="T12" fmla="*/ 65150 w 42"/>
                <a:gd name="T13" fmla="*/ 370452 h 201"/>
                <a:gd name="T14" fmla="*/ 65150 w 42"/>
                <a:gd name="T15" fmla="*/ 373350 h 201"/>
                <a:gd name="T16" fmla="*/ 45706 w 42"/>
                <a:gd name="T17" fmla="*/ 409026 h 201"/>
                <a:gd name="T18" fmla="*/ 45706 w 42"/>
                <a:gd name="T19" fmla="*/ 423714 h 201"/>
                <a:gd name="T20" fmla="*/ 30962 w 42"/>
                <a:gd name="T21" fmla="*/ 453347 h 201"/>
                <a:gd name="T22" fmla="*/ 30962 w 42"/>
                <a:gd name="T23" fmla="*/ 466771 h 201"/>
                <a:gd name="T24" fmla="*/ 20974 w 42"/>
                <a:gd name="T25" fmla="*/ 496809 h 201"/>
                <a:gd name="T26" fmla="*/ 20974 w 42"/>
                <a:gd name="T27" fmla="*/ 515669 h 201"/>
                <a:gd name="T28" fmla="*/ 20974 w 42"/>
                <a:gd name="T29" fmla="*/ 515669 h 201"/>
                <a:gd name="T30" fmla="*/ 20974 w 42"/>
                <a:gd name="T31" fmla="*/ 515669 h 201"/>
                <a:gd name="T32" fmla="*/ 14208 w 42"/>
                <a:gd name="T33" fmla="*/ 539260 h 201"/>
                <a:gd name="T34" fmla="*/ 1 w 42"/>
                <a:gd name="T35" fmla="*/ 559020 h 201"/>
                <a:gd name="T36" fmla="*/ 1 w 42"/>
                <a:gd name="T37" fmla="*/ 559020 h 201"/>
                <a:gd name="T38" fmla="*/ 1 w 42"/>
                <a:gd name="T39" fmla="*/ 559020 h 201"/>
                <a:gd name="T40" fmla="*/ 1 w 42"/>
                <a:gd name="T41" fmla="*/ 588925 h 201"/>
                <a:gd name="T42" fmla="*/ 1 w 42"/>
                <a:gd name="T43" fmla="*/ 588925 h 201"/>
                <a:gd name="T44" fmla="*/ 1 w 42"/>
                <a:gd name="T45" fmla="*/ 594434 h 201"/>
                <a:gd name="T46" fmla="*/ 0 w 42"/>
                <a:gd name="T47" fmla="*/ 637584 h 201"/>
                <a:gd name="T48" fmla="*/ 0 w 42"/>
                <a:gd name="T49" fmla="*/ 748083 h 201"/>
                <a:gd name="T50" fmla="*/ 65150 w 42"/>
                <a:gd name="T51" fmla="*/ 1476935 h 201"/>
                <a:gd name="T52" fmla="*/ 217043 w 42"/>
                <a:gd name="T53" fmla="*/ 1338444 h 201"/>
                <a:gd name="T54" fmla="*/ 217043 w 42"/>
                <a:gd name="T55" fmla="*/ 1338444 h 201"/>
                <a:gd name="T56" fmla="*/ 223974 w 42"/>
                <a:gd name="T57" fmla="*/ 1338444 h 201"/>
                <a:gd name="T58" fmla="*/ 263532 w 42"/>
                <a:gd name="T59" fmla="*/ 1332571 h 201"/>
                <a:gd name="T60" fmla="*/ 185968 w 42"/>
                <a:gd name="T61" fmla="*/ 843418 h 201"/>
                <a:gd name="T62" fmla="*/ 217043 w 42"/>
                <a:gd name="T63" fmla="*/ 271562 h 201"/>
                <a:gd name="T64" fmla="*/ 328978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en-US" noProof="1">
                <a:latin typeface="Myriad Pro" pitchFamily="34" charset="0"/>
              </a:endParaRPr>
            </a:p>
          </p:txBody>
        </p:sp>
        <p:sp>
          <p:nvSpPr>
            <p:cNvPr id="149" name="Freeform 55"/>
            <p:cNvSpPr>
              <a:spLocks/>
            </p:cNvSpPr>
            <p:nvPr/>
          </p:nvSpPr>
          <p:spPr bwMode="gray">
            <a:xfrm>
              <a:off x="2430" y="1112"/>
              <a:ext cx="62" cy="296"/>
            </a:xfrm>
            <a:custGeom>
              <a:avLst/>
              <a:gdLst>
                <a:gd name="T0" fmla="*/ 0 w 42"/>
                <a:gd name="T1" fmla="*/ 0 h 201"/>
                <a:gd name="T2" fmla="*/ 99600 w 42"/>
                <a:gd name="T3" fmla="*/ 271562 h 201"/>
                <a:gd name="T4" fmla="*/ 132487 w 42"/>
                <a:gd name="T5" fmla="*/ 843418 h 201"/>
                <a:gd name="T6" fmla="*/ 51996 w 42"/>
                <a:gd name="T7" fmla="*/ 1332571 h 201"/>
                <a:gd name="T8" fmla="*/ 99600 w 42"/>
                <a:gd name="T9" fmla="*/ 1338444 h 201"/>
                <a:gd name="T10" fmla="*/ 99600 w 42"/>
                <a:gd name="T11" fmla="*/ 1338444 h 201"/>
                <a:gd name="T12" fmla="*/ 99600 w 42"/>
                <a:gd name="T13" fmla="*/ 1338444 h 201"/>
                <a:gd name="T14" fmla="*/ 255286 w 42"/>
                <a:gd name="T15" fmla="*/ 1476935 h 201"/>
                <a:gd name="T16" fmla="*/ 328978 w 42"/>
                <a:gd name="T17" fmla="*/ 748083 h 201"/>
                <a:gd name="T18" fmla="*/ 320397 w 42"/>
                <a:gd name="T19" fmla="*/ 637584 h 201"/>
                <a:gd name="T20" fmla="*/ 320397 w 42"/>
                <a:gd name="T21" fmla="*/ 594434 h 201"/>
                <a:gd name="T22" fmla="*/ 309374 w 42"/>
                <a:gd name="T23" fmla="*/ 588925 h 201"/>
                <a:gd name="T24" fmla="*/ 309374 w 42"/>
                <a:gd name="T25" fmla="*/ 559020 h 201"/>
                <a:gd name="T26" fmla="*/ 305424 w 42"/>
                <a:gd name="T27" fmla="*/ 539260 h 201"/>
                <a:gd name="T28" fmla="*/ 305424 w 42"/>
                <a:gd name="T29" fmla="*/ 515669 h 201"/>
                <a:gd name="T30" fmla="*/ 305424 w 42"/>
                <a:gd name="T31" fmla="*/ 515669 h 201"/>
                <a:gd name="T32" fmla="*/ 297997 w 42"/>
                <a:gd name="T33" fmla="*/ 496809 h 201"/>
                <a:gd name="T34" fmla="*/ 297997 w 42"/>
                <a:gd name="T35" fmla="*/ 496809 h 201"/>
                <a:gd name="T36" fmla="*/ 297997 w 42"/>
                <a:gd name="T37" fmla="*/ 496809 h 201"/>
                <a:gd name="T38" fmla="*/ 297997 w 42"/>
                <a:gd name="T39" fmla="*/ 496809 h 201"/>
                <a:gd name="T40" fmla="*/ 288707 w 42"/>
                <a:gd name="T41" fmla="*/ 466771 h 201"/>
                <a:gd name="T42" fmla="*/ 288707 w 42"/>
                <a:gd name="T43" fmla="*/ 453347 h 201"/>
                <a:gd name="T44" fmla="*/ 278764 w 42"/>
                <a:gd name="T45" fmla="*/ 423714 h 201"/>
                <a:gd name="T46" fmla="*/ 274524 w 42"/>
                <a:gd name="T47" fmla="*/ 409026 h 201"/>
                <a:gd name="T48" fmla="*/ 263532 w 42"/>
                <a:gd name="T49" fmla="*/ 373350 h 201"/>
                <a:gd name="T50" fmla="*/ 255286 w 42"/>
                <a:gd name="T51" fmla="*/ 370452 h 201"/>
                <a:gd name="T52" fmla="*/ 241564 w 42"/>
                <a:gd name="T53" fmla="*/ 329860 h 201"/>
                <a:gd name="T54" fmla="*/ 241564 w 42"/>
                <a:gd name="T55" fmla="*/ 324880 h 201"/>
                <a:gd name="T56" fmla="*/ 217043 w 42"/>
                <a:gd name="T57" fmla="*/ 285474 h 201"/>
                <a:gd name="T58" fmla="*/ 217043 w 42"/>
                <a:gd name="T59" fmla="*/ 277751 h 201"/>
                <a:gd name="T60" fmla="*/ 30962 w 42"/>
                <a:gd name="T61" fmla="*/ 29238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en-US" noProof="1">
                <a:latin typeface="Myriad Pro" pitchFamily="34" charset="0"/>
              </a:endParaRPr>
            </a:p>
          </p:txBody>
        </p:sp>
        <p:sp>
          <p:nvSpPr>
            <p:cNvPr id="150" name="Freeform 56"/>
            <p:cNvSpPr>
              <a:spLocks noEditPoints="1"/>
            </p:cNvSpPr>
            <p:nvPr/>
          </p:nvSpPr>
          <p:spPr bwMode="gray">
            <a:xfrm>
              <a:off x="1990" y="1349"/>
              <a:ext cx="490" cy="74"/>
            </a:xfrm>
            <a:custGeom>
              <a:avLst/>
              <a:gdLst>
                <a:gd name="T0" fmla="*/ 186389 w 334"/>
                <a:gd name="T1" fmla="*/ 164797 h 50"/>
                <a:gd name="T2" fmla="*/ 140262 w 334"/>
                <a:gd name="T3" fmla="*/ 185897 h 50"/>
                <a:gd name="T4" fmla="*/ 0 w 334"/>
                <a:gd name="T5" fmla="*/ 338751 h 50"/>
                <a:gd name="T6" fmla="*/ 0 w 334"/>
                <a:gd name="T7" fmla="*/ 344674 h 50"/>
                <a:gd name="T8" fmla="*/ 1 w 334"/>
                <a:gd name="T9" fmla="*/ 413863 h 50"/>
                <a:gd name="T10" fmla="*/ 159417 w 334"/>
                <a:gd name="T11" fmla="*/ 228886 h 50"/>
                <a:gd name="T12" fmla="*/ 195720 w 334"/>
                <a:gd name="T13" fmla="*/ 222071 h 50"/>
                <a:gd name="T14" fmla="*/ 825461 w 334"/>
                <a:gd name="T15" fmla="*/ 47706 h 50"/>
                <a:gd name="T16" fmla="*/ 817046 w 334"/>
                <a:gd name="T17" fmla="*/ 0 h 50"/>
                <a:gd name="T18" fmla="*/ 186389 w 334"/>
                <a:gd name="T19" fmla="*/ 164797 h 50"/>
                <a:gd name="T20" fmla="*/ 2104789 w 334"/>
                <a:gd name="T21" fmla="*/ 185897 h 50"/>
                <a:gd name="T22" fmla="*/ 2062827 w 334"/>
                <a:gd name="T23" fmla="*/ 164797 h 50"/>
                <a:gd name="T24" fmla="*/ 1426067 w 334"/>
                <a:gd name="T25" fmla="*/ 0 h 50"/>
                <a:gd name="T26" fmla="*/ 1414590 w 334"/>
                <a:gd name="T27" fmla="*/ 47706 h 50"/>
                <a:gd name="T28" fmla="*/ 2045578 w 334"/>
                <a:gd name="T29" fmla="*/ 222071 h 50"/>
                <a:gd name="T30" fmla="*/ 2081866 w 334"/>
                <a:gd name="T31" fmla="*/ 228886 h 50"/>
                <a:gd name="T32" fmla="*/ 2232961 w 334"/>
                <a:gd name="T33" fmla="*/ 413863 h 50"/>
                <a:gd name="T34" fmla="*/ 2250750 w 334"/>
                <a:gd name="T35" fmla="*/ 344674 h 50"/>
                <a:gd name="T36" fmla="*/ 2250750 w 334"/>
                <a:gd name="T37" fmla="*/ 338751 h 50"/>
                <a:gd name="T38" fmla="*/ 2104789 w 334"/>
                <a:gd name="T39" fmla="*/ 185897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en-US" noProof="1">
                <a:latin typeface="Myriad Pro" pitchFamily="34" charset="0"/>
              </a:endParaRPr>
            </a:p>
          </p:txBody>
        </p:sp>
        <p:sp>
          <p:nvSpPr>
            <p:cNvPr id="151" name="Freeform 57"/>
            <p:cNvSpPr>
              <a:spLocks/>
            </p:cNvSpPr>
            <p:nvPr/>
          </p:nvSpPr>
          <p:spPr bwMode="gray">
            <a:xfrm>
              <a:off x="2235" y="1052"/>
              <a:ext cx="219" cy="326"/>
            </a:xfrm>
            <a:custGeom>
              <a:avLst/>
              <a:gdLst>
                <a:gd name="T0" fmla="*/ 66614 w 150"/>
                <a:gd name="T1" fmla="*/ 0 h 222"/>
                <a:gd name="T2" fmla="*/ 80747 w 150"/>
                <a:gd name="T3" fmla="*/ 0 h 222"/>
                <a:gd name="T4" fmla="*/ 126875 w 150"/>
                <a:gd name="T5" fmla="*/ 0 h 222"/>
                <a:gd name="T6" fmla="*/ 155620 w 150"/>
                <a:gd name="T7" fmla="*/ 0 h 222"/>
                <a:gd name="T8" fmla="*/ 195284 w 150"/>
                <a:gd name="T9" fmla="*/ 1 h 222"/>
                <a:gd name="T10" fmla="*/ 217436 w 150"/>
                <a:gd name="T11" fmla="*/ 1 h 222"/>
                <a:gd name="T12" fmla="*/ 251297 w 150"/>
                <a:gd name="T13" fmla="*/ 12956 h 222"/>
                <a:gd name="T14" fmla="*/ 277155 w 150"/>
                <a:gd name="T15" fmla="*/ 19025 h 222"/>
                <a:gd name="T16" fmla="*/ 306032 w 150"/>
                <a:gd name="T17" fmla="*/ 19025 h 222"/>
                <a:gd name="T18" fmla="*/ 338172 w 150"/>
                <a:gd name="T19" fmla="*/ 27938 h 222"/>
                <a:gd name="T20" fmla="*/ 362585 w 150"/>
                <a:gd name="T21" fmla="*/ 32041 h 222"/>
                <a:gd name="T22" fmla="*/ 392718 w 150"/>
                <a:gd name="T23" fmla="*/ 41026 h 222"/>
                <a:gd name="T24" fmla="*/ 411254 w 150"/>
                <a:gd name="T25" fmla="*/ 47051 h 222"/>
                <a:gd name="T26" fmla="*/ 441904 w 150"/>
                <a:gd name="T27" fmla="*/ 60245 h 222"/>
                <a:gd name="T28" fmla="*/ 458688 w 150"/>
                <a:gd name="T29" fmla="*/ 60245 h 222"/>
                <a:gd name="T30" fmla="*/ 485536 w 150"/>
                <a:gd name="T31" fmla="*/ 73482 h 222"/>
                <a:gd name="T32" fmla="*/ 499495 w 150"/>
                <a:gd name="T33" fmla="*/ 82237 h 222"/>
                <a:gd name="T34" fmla="*/ 535665 w 150"/>
                <a:gd name="T35" fmla="*/ 100940 h 222"/>
                <a:gd name="T36" fmla="*/ 535665 w 150"/>
                <a:gd name="T37" fmla="*/ 100940 h 222"/>
                <a:gd name="T38" fmla="*/ 761505 w 150"/>
                <a:gd name="T39" fmla="*/ 239281 h 222"/>
                <a:gd name="T40" fmla="*/ 761505 w 150"/>
                <a:gd name="T41" fmla="*/ 239281 h 222"/>
                <a:gd name="T42" fmla="*/ 761505 w 150"/>
                <a:gd name="T43" fmla="*/ 239281 h 222"/>
                <a:gd name="T44" fmla="*/ 905041 w 150"/>
                <a:gd name="T45" fmla="*/ 1071857 h 222"/>
                <a:gd name="T46" fmla="*/ 837117 w 150"/>
                <a:gd name="T47" fmla="*/ 1527345 h 222"/>
                <a:gd name="T48" fmla="*/ 270446 w 150"/>
                <a:gd name="T49" fmla="*/ 1391177 h 222"/>
                <a:gd name="T50" fmla="*/ 270446 w 150"/>
                <a:gd name="T51" fmla="*/ 1391177 h 222"/>
                <a:gd name="T52" fmla="*/ 251297 w 150"/>
                <a:gd name="T53" fmla="*/ 1452879 h 222"/>
                <a:gd name="T54" fmla="*/ 317457 w 150"/>
                <a:gd name="T55" fmla="*/ 942015 h 222"/>
                <a:gd name="T56" fmla="*/ 0 w 150"/>
                <a:gd name="T57" fmla="*/ 82237 h 222"/>
                <a:gd name="T58" fmla="*/ 0 w 150"/>
                <a:gd name="T59" fmla="*/ 82237 h 222"/>
                <a:gd name="T60" fmla="*/ 0 w 150"/>
                <a:gd name="T61" fmla="*/ 0 h 222"/>
                <a:gd name="T62" fmla="*/ 66614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en-US" noProof="1">
                <a:latin typeface="Myriad Pro" pitchFamily="34" charset="0"/>
              </a:endParaRPr>
            </a:p>
          </p:txBody>
        </p:sp>
      </p:grpSp>
    </p:spTree>
    <p:extLst>
      <p:ext uri="{BB962C8B-B14F-4D97-AF65-F5344CB8AC3E}">
        <p14:creationId xmlns:p14="http://schemas.microsoft.com/office/powerpoint/2010/main" val="2711433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300"/>
                                        <p:tgtEl>
                                          <p:spTgt spid="40"/>
                                        </p:tgtEl>
                                      </p:cBhvr>
                                    </p:animEffect>
                                  </p:childTnLst>
                                </p:cTn>
                              </p:par>
                            </p:childTnLst>
                          </p:cTn>
                        </p:par>
                        <p:par>
                          <p:cTn id="8" fill="hold">
                            <p:stCondLst>
                              <p:cond delay="300"/>
                            </p:stCondLst>
                            <p:childTnLst>
                              <p:par>
                                <p:cTn id="9" presetID="10" presetClass="entr" presetSubtype="0" fill="hold" nodeType="afterEffect">
                                  <p:stCondLst>
                                    <p:cond delay="1000"/>
                                  </p:stCondLst>
                                  <p:childTnLst>
                                    <p:set>
                                      <p:cBhvr>
                                        <p:cTn id="10" dur="1" fill="hold">
                                          <p:stCondLst>
                                            <p:cond delay="0"/>
                                          </p:stCondLst>
                                        </p:cTn>
                                        <p:tgtEl>
                                          <p:spTgt spid="58"/>
                                        </p:tgtEl>
                                        <p:attrNameLst>
                                          <p:attrName>style.visibility</p:attrName>
                                        </p:attrNameLst>
                                      </p:cBhvr>
                                      <p:to>
                                        <p:strVal val="visible"/>
                                      </p:to>
                                    </p:set>
                                    <p:animEffect transition="in" filter="fade">
                                      <p:cBhvr>
                                        <p:cTn id="11" dur="300"/>
                                        <p:tgtEl>
                                          <p:spTgt spid="58"/>
                                        </p:tgtEl>
                                      </p:cBhvr>
                                    </p:animEffect>
                                  </p:childTnLst>
                                </p:cTn>
                              </p:par>
                            </p:childTnLst>
                          </p:cTn>
                        </p:par>
                        <p:par>
                          <p:cTn id="12" fill="hold">
                            <p:stCondLst>
                              <p:cond delay="1600"/>
                            </p:stCondLst>
                            <p:childTnLst>
                              <p:par>
                                <p:cTn id="13" presetID="10" presetClass="entr" presetSubtype="0" fill="hold" grpId="0" nodeType="afterEffect">
                                  <p:stCondLst>
                                    <p:cond delay="0"/>
                                  </p:stCondLst>
                                  <p:childTnLst>
                                    <p:set>
                                      <p:cBhvr>
                                        <p:cTn id="14" dur="1" fill="hold">
                                          <p:stCondLst>
                                            <p:cond delay="0"/>
                                          </p:stCondLst>
                                        </p:cTn>
                                        <p:tgtEl>
                                          <p:spTgt spid="57"/>
                                        </p:tgtEl>
                                        <p:attrNameLst>
                                          <p:attrName>style.visibility</p:attrName>
                                        </p:attrNameLst>
                                      </p:cBhvr>
                                      <p:to>
                                        <p:strVal val="visible"/>
                                      </p:to>
                                    </p:set>
                                    <p:animEffect transition="in" filter="fade">
                                      <p:cBhvr>
                                        <p:cTn id="15" dur="300"/>
                                        <p:tgtEl>
                                          <p:spTgt spid="57"/>
                                        </p:tgtEl>
                                      </p:cBhvr>
                                    </p:animEffect>
                                  </p:childTnLst>
                                </p:cTn>
                              </p:par>
                            </p:childTnLst>
                          </p:cTn>
                        </p:par>
                        <p:par>
                          <p:cTn id="16" fill="hold">
                            <p:stCondLst>
                              <p:cond delay="1900"/>
                            </p:stCondLst>
                            <p:childTnLst>
                              <p:par>
                                <p:cTn id="17" presetID="10" presetClass="entr" presetSubtype="0" fill="hold" nodeType="afterEffect">
                                  <p:stCondLst>
                                    <p:cond delay="200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300"/>
                                        <p:tgtEl>
                                          <p:spTgt spid="43"/>
                                        </p:tgtEl>
                                      </p:cBhvr>
                                    </p:animEffect>
                                  </p:childTnLst>
                                </p:cTn>
                              </p:par>
                            </p:childTnLst>
                          </p:cTn>
                        </p:par>
                        <p:par>
                          <p:cTn id="20" fill="hold">
                            <p:stCondLst>
                              <p:cond delay="4200"/>
                            </p:stCondLst>
                            <p:childTnLst>
                              <p:par>
                                <p:cTn id="21" presetID="10" presetClass="entr" presetSubtype="0" fill="hold" nodeType="afterEffect">
                                  <p:stCondLst>
                                    <p:cond delay="100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300"/>
                                        <p:tgtEl>
                                          <p:spTgt spid="49"/>
                                        </p:tgtEl>
                                      </p:cBhvr>
                                    </p:animEffect>
                                  </p:childTnLst>
                                </p:cTn>
                              </p:par>
                            </p:childTnLst>
                          </p:cTn>
                        </p:par>
                        <p:par>
                          <p:cTn id="24" fill="hold">
                            <p:stCondLst>
                              <p:cond delay="5500"/>
                            </p:stCondLst>
                            <p:childTnLst>
                              <p:par>
                                <p:cTn id="25" presetID="10" presetClass="entr" presetSubtype="0" fill="hold" grpId="0" nodeType="after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300"/>
                                        <p:tgtEl>
                                          <p:spTgt spid="55"/>
                                        </p:tgtEl>
                                      </p:cBhvr>
                                    </p:animEffect>
                                  </p:childTnLst>
                                </p:cTn>
                              </p:par>
                            </p:childTnLst>
                          </p:cTn>
                        </p:par>
                        <p:par>
                          <p:cTn id="28" fill="hold">
                            <p:stCondLst>
                              <p:cond delay="5800"/>
                            </p:stCondLst>
                            <p:childTnLst>
                              <p:par>
                                <p:cTn id="29" presetID="10" presetClass="entr" presetSubtype="0" fill="hold" nodeType="afterEffect">
                                  <p:stCondLst>
                                    <p:cond delay="200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300"/>
                                        <p:tgtEl>
                                          <p:spTgt spid="46"/>
                                        </p:tgtEl>
                                      </p:cBhvr>
                                    </p:animEffect>
                                  </p:childTnLst>
                                </p:cTn>
                              </p:par>
                            </p:childTnLst>
                          </p:cTn>
                        </p:par>
                        <p:par>
                          <p:cTn id="32" fill="hold">
                            <p:stCondLst>
                              <p:cond delay="8100"/>
                            </p:stCondLst>
                            <p:childTnLst>
                              <p:par>
                                <p:cTn id="33" presetID="10" presetClass="entr" presetSubtype="0" fill="hold" nodeType="afterEffect">
                                  <p:stCondLst>
                                    <p:cond delay="100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300"/>
                                        <p:tgtEl>
                                          <p:spTgt spid="52"/>
                                        </p:tgtEl>
                                      </p:cBhvr>
                                    </p:animEffect>
                                  </p:childTnLst>
                                </p:cTn>
                              </p:par>
                            </p:childTnLst>
                          </p:cTn>
                        </p:par>
                        <p:par>
                          <p:cTn id="36" fill="hold">
                            <p:stCondLst>
                              <p:cond delay="9400"/>
                            </p:stCondLst>
                            <p:childTnLst>
                              <p:par>
                                <p:cTn id="37" presetID="10" presetClass="entr" presetSubtype="0" fill="hold" grpId="0" nodeType="afterEffect">
                                  <p:stCondLst>
                                    <p:cond delay="0"/>
                                  </p:stCondLst>
                                  <p:childTnLst>
                                    <p:set>
                                      <p:cBhvr>
                                        <p:cTn id="38" dur="1" fill="hold">
                                          <p:stCondLst>
                                            <p:cond delay="0"/>
                                          </p:stCondLst>
                                        </p:cTn>
                                        <p:tgtEl>
                                          <p:spTgt spid="56"/>
                                        </p:tgtEl>
                                        <p:attrNameLst>
                                          <p:attrName>style.visibility</p:attrName>
                                        </p:attrNameLst>
                                      </p:cBhvr>
                                      <p:to>
                                        <p:strVal val="visible"/>
                                      </p:to>
                                    </p:set>
                                    <p:animEffect transition="in" filter="fade">
                                      <p:cBhvr>
                                        <p:cTn id="39" dur="300"/>
                                        <p:tgtEl>
                                          <p:spTgt spid="56"/>
                                        </p:tgtEl>
                                      </p:cBhvr>
                                    </p:animEffect>
                                  </p:childTnLst>
                                </p:cTn>
                              </p:par>
                            </p:childTnLst>
                          </p:cTn>
                        </p:par>
                        <p:par>
                          <p:cTn id="40" fill="hold">
                            <p:stCondLst>
                              <p:cond delay="9700"/>
                            </p:stCondLst>
                            <p:childTnLst>
                              <p:par>
                                <p:cTn id="41" presetID="10" presetClass="entr" presetSubtype="0" fill="hold" nodeType="afterEffect">
                                  <p:stCondLst>
                                    <p:cond delay="0"/>
                                  </p:stCondLst>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p:bldP spid="5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 name="Picture 2"/>
          <p:cNvPicPr>
            <a:picLocks noChangeAspect="1" noChangeArrowheads="1"/>
          </p:cNvPicPr>
          <p:nvPr/>
        </p:nvPicPr>
        <p:blipFill>
          <a:blip r:embed="rId2"/>
          <a:srcRect/>
          <a:stretch>
            <a:fillRect/>
          </a:stretch>
        </p:blipFill>
        <p:spPr bwMode="auto">
          <a:xfrm>
            <a:off x="-12700" y="3054350"/>
            <a:ext cx="9156700" cy="3359150"/>
          </a:xfrm>
          <a:prstGeom prst="rect">
            <a:avLst/>
          </a:prstGeom>
          <a:noFill/>
          <a:ln w="9525">
            <a:noFill/>
            <a:miter lim="800000"/>
            <a:headEnd/>
            <a:tailEnd/>
          </a:ln>
          <a:effectLst/>
        </p:spPr>
      </p:pic>
      <p:sp>
        <p:nvSpPr>
          <p:cNvPr id="2"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2800" kern="0" noProof="0" dirty="0" smtClean="0">
                <a:solidFill>
                  <a:schemeClr val="tx2"/>
                </a:solidFill>
                <a:latin typeface="Myriad Pro" pitchFamily="34" charset="0"/>
                <a:ea typeface="+mj-ea"/>
                <a:cs typeface="+mj-cs"/>
              </a:rPr>
              <a:t>3D Effekt erstellen</a:t>
            </a:r>
            <a:endParaRPr kumimoji="0" lang="de-DE" sz="2800" b="0" i="0" u="none" strike="noStrike" kern="0" cap="none" spc="0" normalizeH="0" baseline="0" noProof="0" dirty="0" smtClean="0">
              <a:ln>
                <a:noFill/>
              </a:ln>
              <a:solidFill>
                <a:schemeClr val="tx2"/>
              </a:solidFill>
              <a:effectLst/>
              <a:uLnTx/>
              <a:uFillTx/>
              <a:latin typeface="Myriad Pro" pitchFamily="34" charset="0"/>
              <a:ea typeface="+mj-ea"/>
              <a:cs typeface="+mj-cs"/>
            </a:endParaRPr>
          </a:p>
        </p:txBody>
      </p:sp>
      <p:sp>
        <p:nvSpPr>
          <p:cNvPr id="4" name="Freeform 2"/>
          <p:cNvSpPr>
            <a:spLocks noEditPoints="1"/>
          </p:cNvSpPr>
          <p:nvPr/>
        </p:nvSpPr>
        <p:spPr bwMode="auto">
          <a:xfrm>
            <a:off x="619126" y="1201775"/>
            <a:ext cx="2121104" cy="2871945"/>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a:p>
        </p:txBody>
      </p:sp>
      <p:grpSp>
        <p:nvGrpSpPr>
          <p:cNvPr id="6" name="Gruppieren 111"/>
          <p:cNvGrpSpPr/>
          <p:nvPr/>
        </p:nvGrpSpPr>
        <p:grpSpPr>
          <a:xfrm>
            <a:off x="203518" y="4966018"/>
            <a:ext cx="347663" cy="338138"/>
            <a:chOff x="203518" y="4966018"/>
            <a:chExt cx="347663" cy="338138"/>
          </a:xfrm>
        </p:grpSpPr>
        <p:pic>
          <p:nvPicPr>
            <p:cNvPr id="7" name="Grafik 6" descr="schatten.png"/>
            <p:cNvPicPr>
              <a:picLocks noChangeAspect="1"/>
            </p:cNvPicPr>
            <p:nvPr/>
          </p:nvPicPr>
          <p:blipFill>
            <a:blip r:embed="rId3" cstate="print">
              <a:lum bright="30000"/>
            </a:blip>
            <a:srcRect l="17603" t="9404" r="15359" b="14528"/>
            <a:stretch>
              <a:fillRect/>
            </a:stretch>
          </p:blipFill>
          <p:spPr>
            <a:xfrm>
              <a:off x="203518" y="4966018"/>
              <a:ext cx="347663" cy="338138"/>
            </a:xfrm>
            <a:prstGeom prst="rect">
              <a:avLst/>
            </a:prstGeom>
          </p:spPr>
        </p:pic>
        <p:sp>
          <p:nvSpPr>
            <p:cNvPr id="8"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9" name="Gruppieren 115"/>
          <p:cNvGrpSpPr/>
          <p:nvPr/>
        </p:nvGrpSpPr>
        <p:grpSpPr>
          <a:xfrm>
            <a:off x="203518" y="5530850"/>
            <a:ext cx="347663" cy="338138"/>
            <a:chOff x="203518" y="5554980"/>
            <a:chExt cx="347663" cy="338138"/>
          </a:xfrm>
        </p:grpSpPr>
        <p:pic>
          <p:nvPicPr>
            <p:cNvPr id="10" name="Grafik 9" descr="schatten.png"/>
            <p:cNvPicPr>
              <a:picLocks noChangeAspect="1"/>
            </p:cNvPicPr>
            <p:nvPr/>
          </p:nvPicPr>
          <p:blipFill>
            <a:blip r:embed="rId3" cstate="print">
              <a:lum bright="30000"/>
            </a:blip>
            <a:srcRect l="17603" t="9404" r="15359" b="14528"/>
            <a:stretch>
              <a:fillRect/>
            </a:stretch>
          </p:blipFill>
          <p:spPr>
            <a:xfrm>
              <a:off x="203518" y="5554980"/>
              <a:ext cx="347663" cy="338138"/>
            </a:xfrm>
            <a:prstGeom prst="rect">
              <a:avLst/>
            </a:prstGeom>
          </p:spPr>
        </p:pic>
        <p:sp>
          <p:nvSpPr>
            <p:cNvPr id="11"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sp>
        <p:nvSpPr>
          <p:cNvPr id="26" name="Rectangle 5"/>
          <p:cNvSpPr>
            <a:spLocks noChangeArrowheads="1"/>
          </p:cNvSpPr>
          <p:nvPr/>
        </p:nvSpPr>
        <p:spPr bwMode="gray">
          <a:xfrm>
            <a:off x="639763" y="4966018"/>
            <a:ext cx="8251825" cy="422275"/>
          </a:xfrm>
          <a:prstGeom prst="rect">
            <a:avLst/>
          </a:prstGeom>
          <a:noFill/>
          <a:ln w="12700">
            <a:noFill/>
            <a:miter lim="800000"/>
            <a:headEnd/>
            <a:tailEnd/>
          </a:ln>
        </p:spPr>
        <p:txBody>
          <a:bodyPr lIns="0" tIns="0" rIns="0" bIns="0"/>
          <a:lstStyle/>
          <a:p>
            <a:r>
              <a:rPr lang="en-US" sz="1200" dirty="0" err="1" smtClean="0">
                <a:solidFill>
                  <a:srgbClr val="000000"/>
                </a:solidFill>
                <a:latin typeface="Myriad Pro" pitchFamily="34" charset="0"/>
                <a:ea typeface="Arial Unicode MS" pitchFamily="34" charset="-128"/>
                <a:cs typeface="Arial" charset="0"/>
              </a:rPr>
              <a:t>Danach</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wähl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den </a:t>
            </a:r>
            <a:r>
              <a:rPr lang="en-US" sz="1200" dirty="0" err="1" smtClean="0">
                <a:solidFill>
                  <a:srgbClr val="000000"/>
                </a:solidFill>
                <a:latin typeface="Myriad Pro" pitchFamily="34" charset="0"/>
                <a:ea typeface="Arial Unicode MS" pitchFamily="34" charset="-128"/>
                <a:cs typeface="Arial" charset="0"/>
              </a:rPr>
              <a:t>Punkt</a:t>
            </a:r>
            <a:r>
              <a:rPr lang="en-US" sz="1200" dirty="0" smtClean="0">
                <a:solidFill>
                  <a:srgbClr val="000000"/>
                </a:solidFill>
                <a:latin typeface="Myriad Pro" pitchFamily="34" charset="0"/>
                <a:ea typeface="Arial Unicode MS" pitchFamily="34" charset="-128"/>
                <a:cs typeface="Arial" charset="0"/>
              </a:rPr>
              <a:t> 3D-Drehung </a:t>
            </a:r>
            <a:r>
              <a:rPr lang="en-US" sz="1200" dirty="0" err="1" smtClean="0">
                <a:solidFill>
                  <a:srgbClr val="000000"/>
                </a:solidFill>
                <a:latin typeface="Myriad Pro" pitchFamily="34" charset="0"/>
                <a:ea typeface="Arial Unicode MS" pitchFamily="34" charset="-128"/>
                <a:cs typeface="Arial" charset="0"/>
              </a:rPr>
              <a:t>aus</a:t>
            </a:r>
            <a:r>
              <a:rPr lang="en-US" sz="1200" dirty="0" smtClean="0">
                <a:solidFill>
                  <a:srgbClr val="000000"/>
                </a:solidFill>
                <a:latin typeface="Myriad Pro" pitchFamily="34" charset="0"/>
                <a:ea typeface="Arial Unicode MS" pitchFamily="34" charset="-128"/>
                <a:cs typeface="Arial" charset="0"/>
              </a:rPr>
              <a:t>.</a:t>
            </a:r>
            <a:endParaRPr lang="en-US" dirty="0">
              <a:solidFill>
                <a:srgbClr val="000000"/>
              </a:solidFill>
              <a:ea typeface="Arial Unicode MS" pitchFamily="34" charset="-128"/>
              <a:cs typeface="Arial" charset="0"/>
            </a:endParaRPr>
          </a:p>
        </p:txBody>
      </p:sp>
      <p:sp>
        <p:nvSpPr>
          <p:cNvPr id="27" name="Rectangle 5"/>
          <p:cNvSpPr>
            <a:spLocks noChangeArrowheads="1"/>
          </p:cNvSpPr>
          <p:nvPr/>
        </p:nvSpPr>
        <p:spPr bwMode="gray">
          <a:xfrm>
            <a:off x="639763" y="5530850"/>
            <a:ext cx="8251825" cy="423863"/>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Hier gibt es verschiedene Varianten der Karte einen 3D-Effekt zu geben.</a:t>
            </a:r>
          </a:p>
          <a:p>
            <a:endParaRPr lang="en-US" sz="1200" dirty="0">
              <a:solidFill>
                <a:srgbClr val="000000"/>
              </a:solidFill>
              <a:latin typeface="Myriad Pro" pitchFamily="34" charset="0"/>
              <a:ea typeface="Arial Unicode MS" pitchFamily="34" charset="-128"/>
              <a:cs typeface="Arial" charset="0"/>
            </a:endParaRPr>
          </a:p>
        </p:txBody>
      </p:sp>
      <p:grpSp>
        <p:nvGrpSpPr>
          <p:cNvPr id="29" name="Gruppieren 108"/>
          <p:cNvGrpSpPr/>
          <p:nvPr/>
        </p:nvGrpSpPr>
        <p:grpSpPr>
          <a:xfrm>
            <a:off x="203518" y="4378643"/>
            <a:ext cx="347663" cy="338138"/>
            <a:chOff x="203518" y="4378643"/>
            <a:chExt cx="347663" cy="338138"/>
          </a:xfrm>
        </p:grpSpPr>
        <p:pic>
          <p:nvPicPr>
            <p:cNvPr id="30" name="Grafik 29" descr="schatten.png"/>
            <p:cNvPicPr>
              <a:picLocks noChangeAspect="1"/>
            </p:cNvPicPr>
            <p:nvPr/>
          </p:nvPicPr>
          <p:blipFill>
            <a:blip r:embed="rId3" cstate="print">
              <a:lum bright="30000"/>
            </a:blip>
            <a:srcRect l="17603" t="9404" r="15359" b="14528"/>
            <a:stretch>
              <a:fillRect/>
            </a:stretch>
          </p:blipFill>
          <p:spPr>
            <a:xfrm>
              <a:off x="203518" y="4378643"/>
              <a:ext cx="347663" cy="338138"/>
            </a:xfrm>
            <a:prstGeom prst="rect">
              <a:avLst/>
            </a:prstGeom>
          </p:spPr>
        </p:pic>
        <p:sp>
          <p:nvSpPr>
            <p:cNvPr id="31"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33" name="Freeform 2"/>
          <p:cNvSpPr>
            <a:spLocks noEditPoints="1"/>
          </p:cNvSpPr>
          <p:nvPr/>
        </p:nvSpPr>
        <p:spPr bwMode="auto">
          <a:xfrm>
            <a:off x="6770484" y="1201775"/>
            <a:ext cx="2121104" cy="2871945"/>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a:scene3d>
            <a:camera prst="isometricOffAxis2Left"/>
            <a:lightRig rig="threePt" dir="t"/>
          </a:scene3d>
        </p:spPr>
        <p:txBody>
          <a:bodyPr vert="horz" wrap="square" lIns="91440" tIns="45720" rIns="91440" bIns="45720" numCol="1" anchor="t" anchorCtr="0" compatLnSpc="1">
            <a:prstTxWarp prst="textNoShape">
              <a:avLst/>
            </a:prstTxWarp>
          </a:bodyPr>
          <a:lstStyle/>
          <a:p>
            <a:endParaRPr lang="de-DE"/>
          </a:p>
        </p:txBody>
      </p:sp>
      <p:grpSp>
        <p:nvGrpSpPr>
          <p:cNvPr id="38" name="Gruppieren 108"/>
          <p:cNvGrpSpPr/>
          <p:nvPr/>
        </p:nvGrpSpPr>
        <p:grpSpPr>
          <a:xfrm>
            <a:off x="2726180" y="1020667"/>
            <a:ext cx="347663" cy="338138"/>
            <a:chOff x="203518" y="4378643"/>
            <a:chExt cx="347663" cy="338138"/>
          </a:xfrm>
        </p:grpSpPr>
        <p:pic>
          <p:nvPicPr>
            <p:cNvPr id="39" name="Grafik 38" descr="schatten.png"/>
            <p:cNvPicPr>
              <a:picLocks noChangeAspect="1"/>
            </p:cNvPicPr>
            <p:nvPr/>
          </p:nvPicPr>
          <p:blipFill>
            <a:blip r:embed="rId3" cstate="print">
              <a:lum bright="30000"/>
            </a:blip>
            <a:srcRect l="17603" t="9404" r="15359" b="14528"/>
            <a:stretch>
              <a:fillRect/>
            </a:stretch>
          </p:blipFill>
          <p:spPr>
            <a:xfrm>
              <a:off x="203518" y="4378643"/>
              <a:ext cx="347663" cy="338138"/>
            </a:xfrm>
            <a:prstGeom prst="rect">
              <a:avLst/>
            </a:prstGeom>
          </p:spPr>
        </p:pic>
        <p:sp>
          <p:nvSpPr>
            <p:cNvPr id="40"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41" name="Gruppieren 111"/>
          <p:cNvGrpSpPr/>
          <p:nvPr/>
        </p:nvGrpSpPr>
        <p:grpSpPr>
          <a:xfrm>
            <a:off x="2731833" y="1999926"/>
            <a:ext cx="347663" cy="338138"/>
            <a:chOff x="203518" y="4966018"/>
            <a:chExt cx="347663" cy="338138"/>
          </a:xfrm>
        </p:grpSpPr>
        <p:pic>
          <p:nvPicPr>
            <p:cNvPr id="42" name="Grafik 41" descr="schatten.png"/>
            <p:cNvPicPr>
              <a:picLocks noChangeAspect="1"/>
            </p:cNvPicPr>
            <p:nvPr/>
          </p:nvPicPr>
          <p:blipFill>
            <a:blip r:embed="rId3" cstate="print">
              <a:lum bright="30000"/>
            </a:blip>
            <a:srcRect l="17603" t="9404" r="15359" b="14528"/>
            <a:stretch>
              <a:fillRect/>
            </a:stretch>
          </p:blipFill>
          <p:spPr>
            <a:xfrm>
              <a:off x="203518" y="4966018"/>
              <a:ext cx="347663" cy="338138"/>
            </a:xfrm>
            <a:prstGeom prst="rect">
              <a:avLst/>
            </a:prstGeom>
          </p:spPr>
        </p:pic>
        <p:sp>
          <p:nvSpPr>
            <p:cNvPr id="43"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44" name="Gruppieren 115"/>
          <p:cNvGrpSpPr/>
          <p:nvPr/>
        </p:nvGrpSpPr>
        <p:grpSpPr>
          <a:xfrm>
            <a:off x="4383105" y="1999926"/>
            <a:ext cx="347663" cy="338138"/>
            <a:chOff x="203518" y="5554980"/>
            <a:chExt cx="347663" cy="338138"/>
          </a:xfrm>
        </p:grpSpPr>
        <p:pic>
          <p:nvPicPr>
            <p:cNvPr id="45" name="Grafik 44" descr="schatten.png"/>
            <p:cNvPicPr>
              <a:picLocks noChangeAspect="1"/>
            </p:cNvPicPr>
            <p:nvPr/>
          </p:nvPicPr>
          <p:blipFill>
            <a:blip r:embed="rId3" cstate="print">
              <a:lum bright="30000"/>
            </a:blip>
            <a:srcRect l="17603" t="9404" r="15359" b="14528"/>
            <a:stretch>
              <a:fillRect/>
            </a:stretch>
          </p:blipFill>
          <p:spPr>
            <a:xfrm>
              <a:off x="203518" y="5554980"/>
              <a:ext cx="347663" cy="338138"/>
            </a:xfrm>
            <a:prstGeom prst="rect">
              <a:avLst/>
            </a:prstGeom>
          </p:spPr>
        </p:pic>
        <p:sp>
          <p:nvSpPr>
            <p:cNvPr id="46"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88" name="Group 87"/>
          <p:cNvGrpSpPr/>
          <p:nvPr/>
        </p:nvGrpSpPr>
        <p:grpSpPr>
          <a:xfrm>
            <a:off x="3143251" y="1928545"/>
            <a:ext cx="3431743" cy="2271099"/>
            <a:chOff x="3143251" y="1928545"/>
            <a:chExt cx="3431743" cy="2271099"/>
          </a:xfrm>
        </p:grpSpPr>
        <p:pic>
          <p:nvPicPr>
            <p:cNvPr id="2050" name="Picture 2"/>
            <p:cNvPicPr>
              <a:picLocks noChangeAspect="1" noChangeArrowheads="1"/>
            </p:cNvPicPr>
            <p:nvPr/>
          </p:nvPicPr>
          <p:blipFill>
            <a:blip r:embed="rId4"/>
            <a:srcRect/>
            <a:stretch>
              <a:fillRect/>
            </a:stretch>
          </p:blipFill>
          <p:spPr bwMode="auto">
            <a:xfrm>
              <a:off x="3143251" y="1928545"/>
              <a:ext cx="1084920" cy="2271099"/>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2052" name="Picture 4"/>
            <p:cNvPicPr>
              <a:picLocks noChangeAspect="1" noChangeArrowheads="1"/>
            </p:cNvPicPr>
            <p:nvPr/>
          </p:nvPicPr>
          <p:blipFill>
            <a:blip r:embed="rId5"/>
            <a:srcRect/>
            <a:stretch>
              <a:fillRect/>
            </a:stretch>
          </p:blipFill>
          <p:spPr bwMode="auto">
            <a:xfrm>
              <a:off x="4802958" y="1928545"/>
              <a:ext cx="1772036" cy="1902227"/>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sp>
          <p:nvSpPr>
            <p:cNvPr id="47" name="Rechteck 11"/>
            <p:cNvSpPr/>
            <p:nvPr/>
          </p:nvSpPr>
          <p:spPr>
            <a:xfrm>
              <a:off x="3155860" y="3860018"/>
              <a:ext cx="1058953" cy="328601"/>
            </a:xfrm>
            <a:prstGeom prst="rect">
              <a:avLst/>
            </a:prstGeom>
            <a:solidFill>
              <a:schemeClr val="bg1">
                <a:alpha val="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sp>
        <p:nvSpPr>
          <p:cNvPr id="89"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10</a:t>
            </a:r>
            <a:endParaRPr lang="de-DE" sz="900" dirty="0">
              <a:solidFill>
                <a:schemeClr val="bg1">
                  <a:lumMod val="50000"/>
                </a:schemeClr>
              </a:solidFill>
            </a:endParaRPr>
          </a:p>
        </p:txBody>
      </p:sp>
      <p:sp>
        <p:nvSpPr>
          <p:cNvPr id="28" name="Rectangle 5"/>
          <p:cNvSpPr>
            <a:spLocks noChangeArrowheads="1"/>
          </p:cNvSpPr>
          <p:nvPr/>
        </p:nvSpPr>
        <p:spPr bwMode="gray">
          <a:xfrm>
            <a:off x="639763" y="4378643"/>
            <a:ext cx="8251825" cy="423863"/>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Wählen Sie zunächst die Karte mit der linken Maustaste aus, klicken Sie dann auf Formeffekte unter dem Reiter „Format“.</a:t>
            </a:r>
            <a:endParaRPr lang="en-US" sz="1200" dirty="0" smtClean="0">
              <a:latin typeface="Myriad Pro" pitchFamily="34" charset="0"/>
              <a:ea typeface="Arial Unicode MS" pitchFamily="34" charset="-128"/>
              <a:cs typeface="Arial" charset="0"/>
            </a:endParaRPr>
          </a:p>
        </p:txBody>
      </p:sp>
      <p:pic>
        <p:nvPicPr>
          <p:cNvPr id="92" name="Picture 2" descr="C:\Users\patrick.z\Desktop\Tutorials\Landkarten\DE\04_Schatten erstellen.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43564" y="923692"/>
            <a:ext cx="2879914" cy="631626"/>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93" name="Group 45"/>
          <p:cNvGrpSpPr>
            <a:grpSpLocks/>
          </p:cNvGrpSpPr>
          <p:nvPr/>
        </p:nvGrpSpPr>
        <p:grpSpPr bwMode="auto">
          <a:xfrm rot="20287264">
            <a:off x="2277519" y="3480771"/>
            <a:ext cx="374650" cy="609600"/>
            <a:chOff x="1950" y="1045"/>
            <a:chExt cx="568" cy="928"/>
          </a:xfrm>
        </p:grpSpPr>
        <p:sp>
          <p:nvSpPr>
            <p:cNvPr id="94"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95"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96"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97"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98"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99"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00"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01"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02"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03"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04"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05"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106" name="Group 45"/>
          <p:cNvGrpSpPr>
            <a:grpSpLocks/>
          </p:cNvGrpSpPr>
          <p:nvPr/>
        </p:nvGrpSpPr>
        <p:grpSpPr bwMode="auto">
          <a:xfrm rot="20287264">
            <a:off x="5735093" y="1399437"/>
            <a:ext cx="374712" cy="609369"/>
            <a:chOff x="1950" y="1045"/>
            <a:chExt cx="568" cy="928"/>
          </a:xfrm>
        </p:grpSpPr>
        <p:sp>
          <p:nvSpPr>
            <p:cNvPr id="107"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en-US" noProof="1">
                <a:latin typeface="Myriad Pro" pitchFamily="34" charset="0"/>
              </a:endParaRPr>
            </a:p>
          </p:txBody>
        </p:sp>
        <p:sp>
          <p:nvSpPr>
            <p:cNvPr id="108" name="Freeform 47"/>
            <p:cNvSpPr>
              <a:spLocks/>
            </p:cNvSpPr>
            <p:nvPr/>
          </p:nvSpPr>
          <p:spPr bwMode="gray">
            <a:xfrm>
              <a:off x="2014" y="1052"/>
              <a:ext cx="221" cy="326"/>
            </a:xfrm>
            <a:custGeom>
              <a:avLst/>
              <a:gdLst>
                <a:gd name="T0" fmla="*/ 1024880 w 150"/>
                <a:gd name="T1" fmla="*/ 0 h 222"/>
                <a:gd name="T2" fmla="*/ 1003064 w 150"/>
                <a:gd name="T3" fmla="*/ 0 h 222"/>
                <a:gd name="T4" fmla="*/ 952206 w 150"/>
                <a:gd name="T5" fmla="*/ 0 h 222"/>
                <a:gd name="T6" fmla="*/ 913135 w 150"/>
                <a:gd name="T7" fmla="*/ 0 h 222"/>
                <a:gd name="T8" fmla="*/ 866622 w 150"/>
                <a:gd name="T9" fmla="*/ 1 h 222"/>
                <a:gd name="T10" fmla="*/ 839209 w 150"/>
                <a:gd name="T11" fmla="*/ 1 h 222"/>
                <a:gd name="T12" fmla="*/ 800771 w 150"/>
                <a:gd name="T13" fmla="*/ 12956 h 222"/>
                <a:gd name="T14" fmla="*/ 766286 w 150"/>
                <a:gd name="T15" fmla="*/ 19025 h 222"/>
                <a:gd name="T16" fmla="*/ 725805 w 150"/>
                <a:gd name="T17" fmla="*/ 19025 h 222"/>
                <a:gd name="T18" fmla="*/ 695620 w 150"/>
                <a:gd name="T19" fmla="*/ 27938 h 222"/>
                <a:gd name="T20" fmla="*/ 659513 w 150"/>
                <a:gd name="T21" fmla="*/ 32041 h 222"/>
                <a:gd name="T22" fmla="*/ 629045 w 150"/>
                <a:gd name="T23" fmla="*/ 41026 h 222"/>
                <a:gd name="T24" fmla="*/ 598830 w 150"/>
                <a:gd name="T25" fmla="*/ 47051 h 222"/>
                <a:gd name="T26" fmla="*/ 563369 w 150"/>
                <a:gd name="T27" fmla="*/ 60245 h 222"/>
                <a:gd name="T28" fmla="*/ 543510 w 150"/>
                <a:gd name="T29" fmla="*/ 60245 h 222"/>
                <a:gd name="T30" fmla="*/ 503887 w 150"/>
                <a:gd name="T31" fmla="*/ 73482 h 222"/>
                <a:gd name="T32" fmla="*/ 489799 w 150"/>
                <a:gd name="T33" fmla="*/ 82237 h 222"/>
                <a:gd name="T34" fmla="*/ 446050 w 150"/>
                <a:gd name="T35" fmla="*/ 100940 h 222"/>
                <a:gd name="T36" fmla="*/ 446050 w 150"/>
                <a:gd name="T37" fmla="*/ 100940 h 222"/>
                <a:gd name="T38" fmla="*/ 178101 w 150"/>
                <a:gd name="T39" fmla="*/ 239281 h 222"/>
                <a:gd name="T40" fmla="*/ 171898 w 150"/>
                <a:gd name="T41" fmla="*/ 239281 h 222"/>
                <a:gd name="T42" fmla="*/ 178101 w 150"/>
                <a:gd name="T43" fmla="*/ 239281 h 222"/>
                <a:gd name="T44" fmla="*/ 0 w 150"/>
                <a:gd name="T45" fmla="*/ 1071857 h 222"/>
                <a:gd name="T46" fmla="*/ 74013 w 150"/>
                <a:gd name="T47" fmla="*/ 1527345 h 222"/>
                <a:gd name="T48" fmla="*/ 768968 w 150"/>
                <a:gd name="T49" fmla="*/ 1391177 h 222"/>
                <a:gd name="T50" fmla="*/ 768968 w 150"/>
                <a:gd name="T51" fmla="*/ 1391177 h 222"/>
                <a:gd name="T52" fmla="*/ 795957 w 150"/>
                <a:gd name="T53" fmla="*/ 1452879 h 222"/>
                <a:gd name="T54" fmla="*/ 710450 w 150"/>
                <a:gd name="T55" fmla="*/ 942015 h 222"/>
                <a:gd name="T56" fmla="*/ 1115359 w 150"/>
                <a:gd name="T57" fmla="*/ 82237 h 222"/>
                <a:gd name="T58" fmla="*/ 1115359 w 150"/>
                <a:gd name="T59" fmla="*/ 82237 h 222"/>
                <a:gd name="T60" fmla="*/ 1115359 w 150"/>
                <a:gd name="T61" fmla="*/ 0 h 222"/>
                <a:gd name="T62" fmla="*/ 102488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en-US" noProof="1">
                <a:latin typeface="Myriad Pro" pitchFamily="34" charset="0"/>
              </a:endParaRPr>
            </a:p>
          </p:txBody>
        </p:sp>
        <p:sp>
          <p:nvSpPr>
            <p:cNvPr id="109" name="Freeform 48"/>
            <p:cNvSpPr>
              <a:spLocks/>
            </p:cNvSpPr>
            <p:nvPr/>
          </p:nvSpPr>
          <p:spPr bwMode="gray">
            <a:xfrm>
              <a:off x="2032" y="1358"/>
              <a:ext cx="190" cy="199"/>
            </a:xfrm>
            <a:custGeom>
              <a:avLst/>
              <a:gdLst>
                <a:gd name="T0" fmla="*/ 595931 w 129"/>
                <a:gd name="T1" fmla="*/ 861973 h 136"/>
                <a:gd name="T2" fmla="*/ 795720 w 129"/>
                <a:gd name="T3" fmla="*/ 230651 h 136"/>
                <a:gd name="T4" fmla="*/ 752068 w 129"/>
                <a:gd name="T5" fmla="*/ 148697 h 136"/>
                <a:gd name="T6" fmla="*/ 752068 w 129"/>
                <a:gd name="T7" fmla="*/ 140257 h 136"/>
                <a:gd name="T8" fmla="*/ 699334 w 129"/>
                <a:gd name="T9" fmla="*/ 18239 h 136"/>
                <a:gd name="T10" fmla="*/ 688946 w 129"/>
                <a:gd name="T11" fmla="*/ 0 h 136"/>
                <a:gd name="T12" fmla="*/ 0 w 129"/>
                <a:gd name="T13" fmla="*/ 134306 h 136"/>
                <a:gd name="T14" fmla="*/ 33958 w 129"/>
                <a:gd name="T15" fmla="*/ 230651 h 136"/>
                <a:gd name="T16" fmla="*/ 595931 w 129"/>
                <a:gd name="T17" fmla="*/ 861973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en-US" noProof="1">
                <a:latin typeface="Myriad Pro" pitchFamily="34" charset="0"/>
              </a:endParaRPr>
            </a:p>
          </p:txBody>
        </p:sp>
        <p:sp>
          <p:nvSpPr>
            <p:cNvPr id="110" name="Freeform 49"/>
            <p:cNvSpPr>
              <a:spLocks/>
            </p:cNvSpPr>
            <p:nvPr/>
          </p:nvSpPr>
          <p:spPr bwMode="gray">
            <a:xfrm>
              <a:off x="1991" y="1388"/>
              <a:ext cx="486" cy="530"/>
            </a:xfrm>
            <a:custGeom>
              <a:avLst/>
              <a:gdLst>
                <a:gd name="T0" fmla="*/ 2115377 w 331"/>
                <a:gd name="T1" fmla="*/ 1 h 361"/>
                <a:gd name="T2" fmla="*/ 2079349 w 331"/>
                <a:gd name="T3" fmla="*/ 0 h 361"/>
                <a:gd name="T4" fmla="*/ 2079349 w 331"/>
                <a:gd name="T5" fmla="*/ 0 h 361"/>
                <a:gd name="T6" fmla="*/ 2052920 w 331"/>
                <a:gd name="T7" fmla="*/ 101157 h 361"/>
                <a:gd name="T8" fmla="*/ 1528988 w 331"/>
                <a:gd name="T9" fmla="*/ 787197 h 361"/>
                <a:gd name="T10" fmla="*/ 1338165 w 331"/>
                <a:gd name="T11" fmla="*/ 101157 h 361"/>
                <a:gd name="T12" fmla="*/ 1379083 w 331"/>
                <a:gd name="T13" fmla="*/ 12909 h 361"/>
                <a:gd name="T14" fmla="*/ 1379083 w 331"/>
                <a:gd name="T15" fmla="*/ 1 h 361"/>
                <a:gd name="T16" fmla="*/ 1325174 w 331"/>
                <a:gd name="T17" fmla="*/ 101157 h 361"/>
                <a:gd name="T18" fmla="*/ 1140746 w 331"/>
                <a:gd name="T19" fmla="*/ 222983 h 361"/>
                <a:gd name="T20" fmla="*/ 1140746 w 331"/>
                <a:gd name="T21" fmla="*/ 222983 h 361"/>
                <a:gd name="T22" fmla="*/ 1140746 w 331"/>
                <a:gd name="T23" fmla="*/ 222983 h 361"/>
                <a:gd name="T24" fmla="*/ 1140746 w 331"/>
                <a:gd name="T25" fmla="*/ 222983 h 361"/>
                <a:gd name="T26" fmla="*/ 949481 w 331"/>
                <a:gd name="T27" fmla="*/ 101157 h 361"/>
                <a:gd name="T28" fmla="*/ 889752 w 331"/>
                <a:gd name="T29" fmla="*/ 1 h 361"/>
                <a:gd name="T30" fmla="*/ 889752 w 331"/>
                <a:gd name="T31" fmla="*/ 12909 h 361"/>
                <a:gd name="T32" fmla="*/ 936482 w 331"/>
                <a:gd name="T33" fmla="*/ 101157 h 361"/>
                <a:gd name="T34" fmla="*/ 747923 w 331"/>
                <a:gd name="T35" fmla="*/ 787197 h 361"/>
                <a:gd name="T36" fmla="*/ 223250 w 331"/>
                <a:gd name="T37" fmla="*/ 101157 h 361"/>
                <a:gd name="T38" fmla="*/ 190371 w 331"/>
                <a:gd name="T39" fmla="*/ 0 h 361"/>
                <a:gd name="T40" fmla="*/ 190371 w 331"/>
                <a:gd name="T41" fmla="*/ 0 h 361"/>
                <a:gd name="T42" fmla="*/ 158142 w 331"/>
                <a:gd name="T43" fmla="*/ 1 h 361"/>
                <a:gd name="T44" fmla="*/ 0 w 331"/>
                <a:gd name="T45" fmla="*/ 157400 h 361"/>
                <a:gd name="T46" fmla="*/ 40961 w 331"/>
                <a:gd name="T47" fmla="*/ 419801 h 361"/>
                <a:gd name="T48" fmla="*/ 259333 w 331"/>
                <a:gd name="T49" fmla="*/ 1316532 h 361"/>
                <a:gd name="T50" fmla="*/ 1103277 w 331"/>
                <a:gd name="T51" fmla="*/ 2472443 h 361"/>
                <a:gd name="T52" fmla="*/ 1110682 w 331"/>
                <a:gd name="T53" fmla="*/ 2472443 h 361"/>
                <a:gd name="T54" fmla="*/ 1110682 w 331"/>
                <a:gd name="T55" fmla="*/ 2472443 h 361"/>
                <a:gd name="T56" fmla="*/ 1140746 w 331"/>
                <a:gd name="T57" fmla="*/ 2472443 h 361"/>
                <a:gd name="T58" fmla="*/ 1140746 w 331"/>
                <a:gd name="T59" fmla="*/ 2472443 h 361"/>
                <a:gd name="T60" fmla="*/ 1157725 w 331"/>
                <a:gd name="T61" fmla="*/ 2472443 h 361"/>
                <a:gd name="T62" fmla="*/ 1157725 w 331"/>
                <a:gd name="T63" fmla="*/ 2472443 h 361"/>
                <a:gd name="T64" fmla="*/ 1167804 w 331"/>
                <a:gd name="T65" fmla="*/ 2472443 h 361"/>
                <a:gd name="T66" fmla="*/ 2008635 w 331"/>
                <a:gd name="T67" fmla="*/ 1316532 h 361"/>
                <a:gd name="T68" fmla="*/ 2229169 w 331"/>
                <a:gd name="T69" fmla="*/ 419801 h 361"/>
                <a:gd name="T70" fmla="*/ 2273094 w 331"/>
                <a:gd name="T71" fmla="*/ 157400 h 361"/>
                <a:gd name="T72" fmla="*/ 2115377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en-US" noProof="1">
                <a:latin typeface="Myriad Pro" pitchFamily="34" charset="0"/>
              </a:endParaRPr>
            </a:p>
          </p:txBody>
        </p:sp>
        <p:sp>
          <p:nvSpPr>
            <p:cNvPr id="111" name="Freeform 50"/>
            <p:cNvSpPr>
              <a:spLocks/>
            </p:cNvSpPr>
            <p:nvPr/>
          </p:nvSpPr>
          <p:spPr bwMode="gray">
            <a:xfrm>
              <a:off x="2246" y="1358"/>
              <a:ext cx="190" cy="199"/>
            </a:xfrm>
            <a:custGeom>
              <a:avLst/>
              <a:gdLst>
                <a:gd name="T0" fmla="*/ 360624 w 129"/>
                <a:gd name="T1" fmla="*/ 861973 h 136"/>
                <a:gd name="T2" fmla="*/ 156863 w 129"/>
                <a:gd name="T3" fmla="*/ 230651 h 136"/>
                <a:gd name="T4" fmla="*/ 200544 w 129"/>
                <a:gd name="T5" fmla="*/ 148697 h 136"/>
                <a:gd name="T6" fmla="*/ 200544 w 129"/>
                <a:gd name="T7" fmla="*/ 140257 h 136"/>
                <a:gd name="T8" fmla="*/ 251975 w 129"/>
                <a:gd name="T9" fmla="*/ 18239 h 136"/>
                <a:gd name="T10" fmla="*/ 259291 w 129"/>
                <a:gd name="T11" fmla="*/ 0 h 136"/>
                <a:gd name="T12" fmla="*/ 951473 w 129"/>
                <a:gd name="T13" fmla="*/ 134306 h 136"/>
                <a:gd name="T14" fmla="*/ 921934 w 129"/>
                <a:gd name="T15" fmla="*/ 230651 h 136"/>
                <a:gd name="T16" fmla="*/ 360624 w 129"/>
                <a:gd name="T17" fmla="*/ 861973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en-US" noProof="1">
                <a:latin typeface="Myriad Pro" pitchFamily="34" charset="0"/>
              </a:endParaRPr>
            </a:p>
          </p:txBody>
        </p:sp>
        <p:sp>
          <p:nvSpPr>
            <p:cNvPr id="112" name="Freeform 51"/>
            <p:cNvSpPr>
              <a:spLocks noEditPoints="1"/>
            </p:cNvSpPr>
            <p:nvPr/>
          </p:nvSpPr>
          <p:spPr bwMode="gray">
            <a:xfrm>
              <a:off x="2179" y="1094"/>
              <a:ext cx="110" cy="316"/>
            </a:xfrm>
            <a:custGeom>
              <a:avLst/>
              <a:gdLst>
                <a:gd name="T0" fmla="*/ 254050 w 75"/>
                <a:gd name="T1" fmla="*/ 0 h 216"/>
                <a:gd name="T2" fmla="*/ 254050 w 75"/>
                <a:gd name="T3" fmla="*/ 0 h 216"/>
                <a:gd name="T4" fmla="*/ 254050 w 75"/>
                <a:gd name="T5" fmla="*/ 0 h 216"/>
                <a:gd name="T6" fmla="*/ 0 w 75"/>
                <a:gd name="T7" fmla="*/ 681630 h 216"/>
                <a:gd name="T8" fmla="*/ 0 w 75"/>
                <a:gd name="T9" fmla="*/ 735000 h 216"/>
                <a:gd name="T10" fmla="*/ 0 w 75"/>
                <a:gd name="T11" fmla="*/ 752849 h 216"/>
                <a:gd name="T12" fmla="*/ 1 w 75"/>
                <a:gd name="T13" fmla="*/ 783335 h 216"/>
                <a:gd name="T14" fmla="*/ 1 w 75"/>
                <a:gd name="T15" fmla="*/ 809477 h 216"/>
                <a:gd name="T16" fmla="*/ 1 w 75"/>
                <a:gd name="T17" fmla="*/ 833067 h 216"/>
                <a:gd name="T18" fmla="*/ 1 w 75"/>
                <a:gd name="T19" fmla="*/ 858600 h 216"/>
                <a:gd name="T20" fmla="*/ 12739 w 75"/>
                <a:gd name="T21" fmla="*/ 885118 h 216"/>
                <a:gd name="T22" fmla="*/ 12739 w 75"/>
                <a:gd name="T23" fmla="*/ 911250 h 216"/>
                <a:gd name="T24" fmla="*/ 18684 w 75"/>
                <a:gd name="T25" fmla="*/ 929078 h 216"/>
                <a:gd name="T26" fmla="*/ 18684 w 75"/>
                <a:gd name="T27" fmla="*/ 954041 h 216"/>
                <a:gd name="T28" fmla="*/ 27403 w 75"/>
                <a:gd name="T29" fmla="*/ 967297 h 216"/>
                <a:gd name="T30" fmla="*/ 40191 w 75"/>
                <a:gd name="T31" fmla="*/ 1041527 h 216"/>
                <a:gd name="T32" fmla="*/ 46160 w 75"/>
                <a:gd name="T33" fmla="*/ 1089148 h 216"/>
                <a:gd name="T34" fmla="*/ 86456 w 75"/>
                <a:gd name="T35" fmla="*/ 1196625 h 216"/>
                <a:gd name="T36" fmla="*/ 118102 w 75"/>
                <a:gd name="T37" fmla="*/ 1268452 h 216"/>
                <a:gd name="T38" fmla="*/ 254050 w 75"/>
                <a:gd name="T39" fmla="*/ 1363765 h 216"/>
                <a:gd name="T40" fmla="*/ 254050 w 75"/>
                <a:gd name="T41" fmla="*/ 1363765 h 216"/>
                <a:gd name="T42" fmla="*/ 254050 w 75"/>
                <a:gd name="T43" fmla="*/ 1363765 h 216"/>
                <a:gd name="T44" fmla="*/ 381880 w 75"/>
                <a:gd name="T45" fmla="*/ 1268452 h 216"/>
                <a:gd name="T46" fmla="*/ 419172 w 75"/>
                <a:gd name="T47" fmla="*/ 1196625 h 216"/>
                <a:gd name="T48" fmla="*/ 458624 w 75"/>
                <a:gd name="T49" fmla="*/ 1089148 h 216"/>
                <a:gd name="T50" fmla="*/ 468613 w 75"/>
                <a:gd name="T51" fmla="*/ 1041527 h 216"/>
                <a:gd name="T52" fmla="*/ 481445 w 75"/>
                <a:gd name="T53" fmla="*/ 967297 h 216"/>
                <a:gd name="T54" fmla="*/ 481445 w 75"/>
                <a:gd name="T55" fmla="*/ 954041 h 216"/>
                <a:gd name="T56" fmla="*/ 487401 w 75"/>
                <a:gd name="T57" fmla="*/ 929078 h 216"/>
                <a:gd name="T58" fmla="*/ 487401 w 75"/>
                <a:gd name="T59" fmla="*/ 911250 h 216"/>
                <a:gd name="T60" fmla="*/ 487401 w 75"/>
                <a:gd name="T61" fmla="*/ 885118 h 216"/>
                <a:gd name="T62" fmla="*/ 498840 w 75"/>
                <a:gd name="T63" fmla="*/ 858600 h 216"/>
                <a:gd name="T64" fmla="*/ 498840 w 75"/>
                <a:gd name="T65" fmla="*/ 833067 h 216"/>
                <a:gd name="T66" fmla="*/ 498840 w 75"/>
                <a:gd name="T67" fmla="*/ 809477 h 216"/>
                <a:gd name="T68" fmla="*/ 500171 w 75"/>
                <a:gd name="T69" fmla="*/ 783335 h 216"/>
                <a:gd name="T70" fmla="*/ 500171 w 75"/>
                <a:gd name="T71" fmla="*/ 752849 h 216"/>
                <a:gd name="T72" fmla="*/ 500171 w 75"/>
                <a:gd name="T73" fmla="*/ 735000 h 216"/>
                <a:gd name="T74" fmla="*/ 500171 w 75"/>
                <a:gd name="T75" fmla="*/ 681630 h 216"/>
                <a:gd name="T76" fmla="*/ 254050 w 75"/>
                <a:gd name="T77" fmla="*/ 0 h 216"/>
                <a:gd name="T78" fmla="*/ 254050 w 75"/>
                <a:gd name="T79" fmla="*/ 738362 h 216"/>
                <a:gd name="T80" fmla="*/ 254050 w 75"/>
                <a:gd name="T81" fmla="*/ 738362 h 216"/>
                <a:gd name="T82" fmla="*/ 254050 w 75"/>
                <a:gd name="T83" fmla="*/ 738362 h 216"/>
                <a:gd name="T84" fmla="*/ 254050 w 75"/>
                <a:gd name="T85" fmla="*/ 738362 h 216"/>
                <a:gd name="T86" fmla="*/ 114020 w 75"/>
                <a:gd name="T87" fmla="*/ 453678 h 216"/>
                <a:gd name="T88" fmla="*/ 254050 w 75"/>
                <a:gd name="T89" fmla="*/ 173370 h 216"/>
                <a:gd name="T90" fmla="*/ 254050 w 75"/>
                <a:gd name="T91" fmla="*/ 173370 h 216"/>
                <a:gd name="T92" fmla="*/ 254050 w 75"/>
                <a:gd name="T93" fmla="*/ 173370 h 216"/>
                <a:gd name="T94" fmla="*/ 254050 w 75"/>
                <a:gd name="T95" fmla="*/ 173370 h 216"/>
                <a:gd name="T96" fmla="*/ 399203 w 75"/>
                <a:gd name="T97" fmla="*/ 453678 h 216"/>
                <a:gd name="T98" fmla="*/ 254050 w 75"/>
                <a:gd name="T99" fmla="*/ 738362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en-US" noProof="1">
                <a:latin typeface="Myriad Pro" pitchFamily="34" charset="0"/>
              </a:endParaRPr>
            </a:p>
          </p:txBody>
        </p:sp>
        <p:sp>
          <p:nvSpPr>
            <p:cNvPr id="113" name="Freeform 52"/>
            <p:cNvSpPr>
              <a:spLocks/>
            </p:cNvSpPr>
            <p:nvPr/>
          </p:nvSpPr>
          <p:spPr bwMode="gray">
            <a:xfrm>
              <a:off x="2204" y="1133"/>
              <a:ext cx="62" cy="132"/>
            </a:xfrm>
            <a:custGeom>
              <a:avLst/>
              <a:gdLst>
                <a:gd name="T0" fmla="*/ 163640 w 42"/>
                <a:gd name="T1" fmla="*/ 0 h 90"/>
                <a:gd name="T2" fmla="*/ 163640 w 42"/>
                <a:gd name="T3" fmla="*/ 0 h 90"/>
                <a:gd name="T4" fmla="*/ 163640 w 42"/>
                <a:gd name="T5" fmla="*/ 0 h 90"/>
                <a:gd name="T6" fmla="*/ 0 w 42"/>
                <a:gd name="T7" fmla="*/ 300661 h 90"/>
                <a:gd name="T8" fmla="*/ 163640 w 42"/>
                <a:gd name="T9" fmla="*/ 604821 h 90"/>
                <a:gd name="T10" fmla="*/ 163640 w 42"/>
                <a:gd name="T11" fmla="*/ 604821 h 90"/>
                <a:gd name="T12" fmla="*/ 163640 w 42"/>
                <a:gd name="T13" fmla="*/ 604821 h 90"/>
                <a:gd name="T14" fmla="*/ 328978 w 42"/>
                <a:gd name="T15" fmla="*/ 300661 h 90"/>
                <a:gd name="T16" fmla="*/ 163640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en-US" noProof="1">
                <a:latin typeface="Myriad Pro" pitchFamily="34" charset="0"/>
              </a:endParaRPr>
            </a:p>
          </p:txBody>
        </p:sp>
        <p:sp>
          <p:nvSpPr>
            <p:cNvPr id="114"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en-US" noProof="1">
                <a:latin typeface="Myriad Pro" pitchFamily="34" charset="0"/>
              </a:endParaRPr>
            </a:p>
          </p:txBody>
        </p:sp>
        <p:sp>
          <p:nvSpPr>
            <p:cNvPr id="115" name="Freeform 54"/>
            <p:cNvSpPr>
              <a:spLocks/>
            </p:cNvSpPr>
            <p:nvPr/>
          </p:nvSpPr>
          <p:spPr bwMode="gray">
            <a:xfrm>
              <a:off x="1978" y="1112"/>
              <a:ext cx="62" cy="296"/>
            </a:xfrm>
            <a:custGeom>
              <a:avLst/>
              <a:gdLst>
                <a:gd name="T0" fmla="*/ 328978 w 42"/>
                <a:gd name="T1" fmla="*/ 0 h 201"/>
                <a:gd name="T2" fmla="*/ 99600 w 42"/>
                <a:gd name="T3" fmla="*/ 277751 h 201"/>
                <a:gd name="T4" fmla="*/ 99600 w 42"/>
                <a:gd name="T5" fmla="*/ 285474 h 201"/>
                <a:gd name="T6" fmla="*/ 85340 w 42"/>
                <a:gd name="T7" fmla="*/ 324880 h 201"/>
                <a:gd name="T8" fmla="*/ 76756 w 42"/>
                <a:gd name="T9" fmla="*/ 329860 h 201"/>
                <a:gd name="T10" fmla="*/ 76756 w 42"/>
                <a:gd name="T11" fmla="*/ 329860 h 201"/>
                <a:gd name="T12" fmla="*/ 65150 w 42"/>
                <a:gd name="T13" fmla="*/ 370452 h 201"/>
                <a:gd name="T14" fmla="*/ 65150 w 42"/>
                <a:gd name="T15" fmla="*/ 373350 h 201"/>
                <a:gd name="T16" fmla="*/ 45706 w 42"/>
                <a:gd name="T17" fmla="*/ 409026 h 201"/>
                <a:gd name="T18" fmla="*/ 45706 w 42"/>
                <a:gd name="T19" fmla="*/ 423714 h 201"/>
                <a:gd name="T20" fmla="*/ 30962 w 42"/>
                <a:gd name="T21" fmla="*/ 453347 h 201"/>
                <a:gd name="T22" fmla="*/ 30962 w 42"/>
                <a:gd name="T23" fmla="*/ 466771 h 201"/>
                <a:gd name="T24" fmla="*/ 20974 w 42"/>
                <a:gd name="T25" fmla="*/ 496809 h 201"/>
                <a:gd name="T26" fmla="*/ 20974 w 42"/>
                <a:gd name="T27" fmla="*/ 515669 h 201"/>
                <a:gd name="T28" fmla="*/ 20974 w 42"/>
                <a:gd name="T29" fmla="*/ 515669 h 201"/>
                <a:gd name="T30" fmla="*/ 20974 w 42"/>
                <a:gd name="T31" fmla="*/ 515669 h 201"/>
                <a:gd name="T32" fmla="*/ 14208 w 42"/>
                <a:gd name="T33" fmla="*/ 539260 h 201"/>
                <a:gd name="T34" fmla="*/ 1 w 42"/>
                <a:gd name="T35" fmla="*/ 559020 h 201"/>
                <a:gd name="T36" fmla="*/ 1 w 42"/>
                <a:gd name="T37" fmla="*/ 559020 h 201"/>
                <a:gd name="T38" fmla="*/ 1 w 42"/>
                <a:gd name="T39" fmla="*/ 559020 h 201"/>
                <a:gd name="T40" fmla="*/ 1 w 42"/>
                <a:gd name="T41" fmla="*/ 588925 h 201"/>
                <a:gd name="T42" fmla="*/ 1 w 42"/>
                <a:gd name="T43" fmla="*/ 588925 h 201"/>
                <a:gd name="T44" fmla="*/ 1 w 42"/>
                <a:gd name="T45" fmla="*/ 594434 h 201"/>
                <a:gd name="T46" fmla="*/ 0 w 42"/>
                <a:gd name="T47" fmla="*/ 637584 h 201"/>
                <a:gd name="T48" fmla="*/ 0 w 42"/>
                <a:gd name="T49" fmla="*/ 748083 h 201"/>
                <a:gd name="T50" fmla="*/ 65150 w 42"/>
                <a:gd name="T51" fmla="*/ 1476935 h 201"/>
                <a:gd name="T52" fmla="*/ 217043 w 42"/>
                <a:gd name="T53" fmla="*/ 1338444 h 201"/>
                <a:gd name="T54" fmla="*/ 217043 w 42"/>
                <a:gd name="T55" fmla="*/ 1338444 h 201"/>
                <a:gd name="T56" fmla="*/ 223974 w 42"/>
                <a:gd name="T57" fmla="*/ 1338444 h 201"/>
                <a:gd name="T58" fmla="*/ 263532 w 42"/>
                <a:gd name="T59" fmla="*/ 1332571 h 201"/>
                <a:gd name="T60" fmla="*/ 185968 w 42"/>
                <a:gd name="T61" fmla="*/ 843418 h 201"/>
                <a:gd name="T62" fmla="*/ 217043 w 42"/>
                <a:gd name="T63" fmla="*/ 271562 h 201"/>
                <a:gd name="T64" fmla="*/ 328978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en-US" noProof="1">
                <a:latin typeface="Myriad Pro" pitchFamily="34" charset="0"/>
              </a:endParaRPr>
            </a:p>
          </p:txBody>
        </p:sp>
        <p:sp>
          <p:nvSpPr>
            <p:cNvPr id="116" name="Freeform 55"/>
            <p:cNvSpPr>
              <a:spLocks/>
            </p:cNvSpPr>
            <p:nvPr/>
          </p:nvSpPr>
          <p:spPr bwMode="gray">
            <a:xfrm>
              <a:off x="2430" y="1112"/>
              <a:ext cx="62" cy="296"/>
            </a:xfrm>
            <a:custGeom>
              <a:avLst/>
              <a:gdLst>
                <a:gd name="T0" fmla="*/ 0 w 42"/>
                <a:gd name="T1" fmla="*/ 0 h 201"/>
                <a:gd name="T2" fmla="*/ 99600 w 42"/>
                <a:gd name="T3" fmla="*/ 271562 h 201"/>
                <a:gd name="T4" fmla="*/ 132487 w 42"/>
                <a:gd name="T5" fmla="*/ 843418 h 201"/>
                <a:gd name="T6" fmla="*/ 51996 w 42"/>
                <a:gd name="T7" fmla="*/ 1332571 h 201"/>
                <a:gd name="T8" fmla="*/ 99600 w 42"/>
                <a:gd name="T9" fmla="*/ 1338444 h 201"/>
                <a:gd name="T10" fmla="*/ 99600 w 42"/>
                <a:gd name="T11" fmla="*/ 1338444 h 201"/>
                <a:gd name="T12" fmla="*/ 99600 w 42"/>
                <a:gd name="T13" fmla="*/ 1338444 h 201"/>
                <a:gd name="T14" fmla="*/ 255286 w 42"/>
                <a:gd name="T15" fmla="*/ 1476935 h 201"/>
                <a:gd name="T16" fmla="*/ 328978 w 42"/>
                <a:gd name="T17" fmla="*/ 748083 h 201"/>
                <a:gd name="T18" fmla="*/ 320397 w 42"/>
                <a:gd name="T19" fmla="*/ 637584 h 201"/>
                <a:gd name="T20" fmla="*/ 320397 w 42"/>
                <a:gd name="T21" fmla="*/ 594434 h 201"/>
                <a:gd name="T22" fmla="*/ 309374 w 42"/>
                <a:gd name="T23" fmla="*/ 588925 h 201"/>
                <a:gd name="T24" fmla="*/ 309374 w 42"/>
                <a:gd name="T25" fmla="*/ 559020 h 201"/>
                <a:gd name="T26" fmla="*/ 305424 w 42"/>
                <a:gd name="T27" fmla="*/ 539260 h 201"/>
                <a:gd name="T28" fmla="*/ 305424 w 42"/>
                <a:gd name="T29" fmla="*/ 515669 h 201"/>
                <a:gd name="T30" fmla="*/ 305424 w 42"/>
                <a:gd name="T31" fmla="*/ 515669 h 201"/>
                <a:gd name="T32" fmla="*/ 297997 w 42"/>
                <a:gd name="T33" fmla="*/ 496809 h 201"/>
                <a:gd name="T34" fmla="*/ 297997 w 42"/>
                <a:gd name="T35" fmla="*/ 496809 h 201"/>
                <a:gd name="T36" fmla="*/ 297997 w 42"/>
                <a:gd name="T37" fmla="*/ 496809 h 201"/>
                <a:gd name="T38" fmla="*/ 297997 w 42"/>
                <a:gd name="T39" fmla="*/ 496809 h 201"/>
                <a:gd name="T40" fmla="*/ 288707 w 42"/>
                <a:gd name="T41" fmla="*/ 466771 h 201"/>
                <a:gd name="T42" fmla="*/ 288707 w 42"/>
                <a:gd name="T43" fmla="*/ 453347 h 201"/>
                <a:gd name="T44" fmla="*/ 278764 w 42"/>
                <a:gd name="T45" fmla="*/ 423714 h 201"/>
                <a:gd name="T46" fmla="*/ 274524 w 42"/>
                <a:gd name="T47" fmla="*/ 409026 h 201"/>
                <a:gd name="T48" fmla="*/ 263532 w 42"/>
                <a:gd name="T49" fmla="*/ 373350 h 201"/>
                <a:gd name="T50" fmla="*/ 255286 w 42"/>
                <a:gd name="T51" fmla="*/ 370452 h 201"/>
                <a:gd name="T52" fmla="*/ 241564 w 42"/>
                <a:gd name="T53" fmla="*/ 329860 h 201"/>
                <a:gd name="T54" fmla="*/ 241564 w 42"/>
                <a:gd name="T55" fmla="*/ 324880 h 201"/>
                <a:gd name="T56" fmla="*/ 217043 w 42"/>
                <a:gd name="T57" fmla="*/ 285474 h 201"/>
                <a:gd name="T58" fmla="*/ 217043 w 42"/>
                <a:gd name="T59" fmla="*/ 277751 h 201"/>
                <a:gd name="T60" fmla="*/ 30962 w 42"/>
                <a:gd name="T61" fmla="*/ 29238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en-US" noProof="1">
                <a:latin typeface="Myriad Pro" pitchFamily="34" charset="0"/>
              </a:endParaRPr>
            </a:p>
          </p:txBody>
        </p:sp>
        <p:sp>
          <p:nvSpPr>
            <p:cNvPr id="117" name="Freeform 56"/>
            <p:cNvSpPr>
              <a:spLocks noEditPoints="1"/>
            </p:cNvSpPr>
            <p:nvPr/>
          </p:nvSpPr>
          <p:spPr bwMode="gray">
            <a:xfrm>
              <a:off x="1990" y="1349"/>
              <a:ext cx="490" cy="74"/>
            </a:xfrm>
            <a:custGeom>
              <a:avLst/>
              <a:gdLst>
                <a:gd name="T0" fmla="*/ 186389 w 334"/>
                <a:gd name="T1" fmla="*/ 164797 h 50"/>
                <a:gd name="T2" fmla="*/ 140262 w 334"/>
                <a:gd name="T3" fmla="*/ 185897 h 50"/>
                <a:gd name="T4" fmla="*/ 0 w 334"/>
                <a:gd name="T5" fmla="*/ 338751 h 50"/>
                <a:gd name="T6" fmla="*/ 0 w 334"/>
                <a:gd name="T7" fmla="*/ 344674 h 50"/>
                <a:gd name="T8" fmla="*/ 1 w 334"/>
                <a:gd name="T9" fmla="*/ 413863 h 50"/>
                <a:gd name="T10" fmla="*/ 159417 w 334"/>
                <a:gd name="T11" fmla="*/ 228886 h 50"/>
                <a:gd name="T12" fmla="*/ 195720 w 334"/>
                <a:gd name="T13" fmla="*/ 222071 h 50"/>
                <a:gd name="T14" fmla="*/ 825461 w 334"/>
                <a:gd name="T15" fmla="*/ 47706 h 50"/>
                <a:gd name="T16" fmla="*/ 817046 w 334"/>
                <a:gd name="T17" fmla="*/ 0 h 50"/>
                <a:gd name="T18" fmla="*/ 186389 w 334"/>
                <a:gd name="T19" fmla="*/ 164797 h 50"/>
                <a:gd name="T20" fmla="*/ 2104789 w 334"/>
                <a:gd name="T21" fmla="*/ 185897 h 50"/>
                <a:gd name="T22" fmla="*/ 2062827 w 334"/>
                <a:gd name="T23" fmla="*/ 164797 h 50"/>
                <a:gd name="T24" fmla="*/ 1426067 w 334"/>
                <a:gd name="T25" fmla="*/ 0 h 50"/>
                <a:gd name="T26" fmla="*/ 1414590 w 334"/>
                <a:gd name="T27" fmla="*/ 47706 h 50"/>
                <a:gd name="T28" fmla="*/ 2045578 w 334"/>
                <a:gd name="T29" fmla="*/ 222071 h 50"/>
                <a:gd name="T30" fmla="*/ 2081866 w 334"/>
                <a:gd name="T31" fmla="*/ 228886 h 50"/>
                <a:gd name="T32" fmla="*/ 2232961 w 334"/>
                <a:gd name="T33" fmla="*/ 413863 h 50"/>
                <a:gd name="T34" fmla="*/ 2250750 w 334"/>
                <a:gd name="T35" fmla="*/ 344674 h 50"/>
                <a:gd name="T36" fmla="*/ 2250750 w 334"/>
                <a:gd name="T37" fmla="*/ 338751 h 50"/>
                <a:gd name="T38" fmla="*/ 2104789 w 334"/>
                <a:gd name="T39" fmla="*/ 185897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en-US" noProof="1">
                <a:latin typeface="Myriad Pro" pitchFamily="34" charset="0"/>
              </a:endParaRPr>
            </a:p>
          </p:txBody>
        </p:sp>
        <p:sp>
          <p:nvSpPr>
            <p:cNvPr id="118" name="Freeform 57"/>
            <p:cNvSpPr>
              <a:spLocks/>
            </p:cNvSpPr>
            <p:nvPr/>
          </p:nvSpPr>
          <p:spPr bwMode="gray">
            <a:xfrm>
              <a:off x="2235" y="1052"/>
              <a:ext cx="219" cy="326"/>
            </a:xfrm>
            <a:custGeom>
              <a:avLst/>
              <a:gdLst>
                <a:gd name="T0" fmla="*/ 66614 w 150"/>
                <a:gd name="T1" fmla="*/ 0 h 222"/>
                <a:gd name="T2" fmla="*/ 80747 w 150"/>
                <a:gd name="T3" fmla="*/ 0 h 222"/>
                <a:gd name="T4" fmla="*/ 126875 w 150"/>
                <a:gd name="T5" fmla="*/ 0 h 222"/>
                <a:gd name="T6" fmla="*/ 155620 w 150"/>
                <a:gd name="T7" fmla="*/ 0 h 222"/>
                <a:gd name="T8" fmla="*/ 195284 w 150"/>
                <a:gd name="T9" fmla="*/ 1 h 222"/>
                <a:gd name="T10" fmla="*/ 217436 w 150"/>
                <a:gd name="T11" fmla="*/ 1 h 222"/>
                <a:gd name="T12" fmla="*/ 251297 w 150"/>
                <a:gd name="T13" fmla="*/ 12956 h 222"/>
                <a:gd name="T14" fmla="*/ 277155 w 150"/>
                <a:gd name="T15" fmla="*/ 19025 h 222"/>
                <a:gd name="T16" fmla="*/ 306032 w 150"/>
                <a:gd name="T17" fmla="*/ 19025 h 222"/>
                <a:gd name="T18" fmla="*/ 338172 w 150"/>
                <a:gd name="T19" fmla="*/ 27938 h 222"/>
                <a:gd name="T20" fmla="*/ 362585 w 150"/>
                <a:gd name="T21" fmla="*/ 32041 h 222"/>
                <a:gd name="T22" fmla="*/ 392718 w 150"/>
                <a:gd name="T23" fmla="*/ 41026 h 222"/>
                <a:gd name="T24" fmla="*/ 411254 w 150"/>
                <a:gd name="T25" fmla="*/ 47051 h 222"/>
                <a:gd name="T26" fmla="*/ 441904 w 150"/>
                <a:gd name="T27" fmla="*/ 60245 h 222"/>
                <a:gd name="T28" fmla="*/ 458688 w 150"/>
                <a:gd name="T29" fmla="*/ 60245 h 222"/>
                <a:gd name="T30" fmla="*/ 485536 w 150"/>
                <a:gd name="T31" fmla="*/ 73482 h 222"/>
                <a:gd name="T32" fmla="*/ 499495 w 150"/>
                <a:gd name="T33" fmla="*/ 82237 h 222"/>
                <a:gd name="T34" fmla="*/ 535665 w 150"/>
                <a:gd name="T35" fmla="*/ 100940 h 222"/>
                <a:gd name="T36" fmla="*/ 535665 w 150"/>
                <a:gd name="T37" fmla="*/ 100940 h 222"/>
                <a:gd name="T38" fmla="*/ 761505 w 150"/>
                <a:gd name="T39" fmla="*/ 239281 h 222"/>
                <a:gd name="T40" fmla="*/ 761505 w 150"/>
                <a:gd name="T41" fmla="*/ 239281 h 222"/>
                <a:gd name="T42" fmla="*/ 761505 w 150"/>
                <a:gd name="T43" fmla="*/ 239281 h 222"/>
                <a:gd name="T44" fmla="*/ 905041 w 150"/>
                <a:gd name="T45" fmla="*/ 1071857 h 222"/>
                <a:gd name="T46" fmla="*/ 837117 w 150"/>
                <a:gd name="T47" fmla="*/ 1527345 h 222"/>
                <a:gd name="T48" fmla="*/ 270446 w 150"/>
                <a:gd name="T49" fmla="*/ 1391177 h 222"/>
                <a:gd name="T50" fmla="*/ 270446 w 150"/>
                <a:gd name="T51" fmla="*/ 1391177 h 222"/>
                <a:gd name="T52" fmla="*/ 251297 w 150"/>
                <a:gd name="T53" fmla="*/ 1452879 h 222"/>
                <a:gd name="T54" fmla="*/ 317457 w 150"/>
                <a:gd name="T55" fmla="*/ 942015 h 222"/>
                <a:gd name="T56" fmla="*/ 0 w 150"/>
                <a:gd name="T57" fmla="*/ 82237 h 222"/>
                <a:gd name="T58" fmla="*/ 0 w 150"/>
                <a:gd name="T59" fmla="*/ 82237 h 222"/>
                <a:gd name="T60" fmla="*/ 0 w 150"/>
                <a:gd name="T61" fmla="*/ 0 h 222"/>
                <a:gd name="T62" fmla="*/ 66614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en-US" noProof="1">
                <a:latin typeface="Myriad Pro" pitchFamily="34" charset="0"/>
              </a:endParaRPr>
            </a:p>
          </p:txBody>
        </p:sp>
      </p:grpSp>
      <p:grpSp>
        <p:nvGrpSpPr>
          <p:cNvPr id="119" name="Group 45"/>
          <p:cNvGrpSpPr>
            <a:grpSpLocks/>
          </p:cNvGrpSpPr>
          <p:nvPr/>
        </p:nvGrpSpPr>
        <p:grpSpPr bwMode="auto">
          <a:xfrm rot="20287264">
            <a:off x="4088684" y="3827823"/>
            <a:ext cx="374650" cy="609600"/>
            <a:chOff x="1950" y="1045"/>
            <a:chExt cx="568" cy="928"/>
          </a:xfrm>
        </p:grpSpPr>
        <p:sp>
          <p:nvSpPr>
            <p:cNvPr id="120"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121"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122"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23"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124"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25"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26"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27"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28"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29"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30"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31"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spTree>
    <p:extLst>
      <p:ext uri="{BB962C8B-B14F-4D97-AF65-F5344CB8AC3E}">
        <p14:creationId xmlns:p14="http://schemas.microsoft.com/office/powerpoint/2010/main" val="80059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300"/>
                                        <p:tgtEl>
                                          <p:spTgt spid="29"/>
                                        </p:tgtEl>
                                      </p:cBhvr>
                                    </p:animEffect>
                                  </p:childTnLst>
                                </p:cTn>
                              </p:par>
                            </p:childTnLst>
                          </p:cTn>
                        </p:par>
                        <p:par>
                          <p:cTn id="8" fill="hold">
                            <p:stCondLst>
                              <p:cond delay="1300"/>
                            </p:stCondLst>
                            <p:childTnLst>
                              <p:par>
                                <p:cTn id="9" presetID="10"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300"/>
                                        <p:tgtEl>
                                          <p:spTgt spid="28"/>
                                        </p:tgtEl>
                                      </p:cBhvr>
                                    </p:animEffect>
                                  </p:childTnLst>
                                </p:cTn>
                              </p:par>
                            </p:childTnLst>
                          </p:cTn>
                        </p:par>
                        <p:par>
                          <p:cTn id="12" fill="hold">
                            <p:stCondLst>
                              <p:cond delay="1600"/>
                            </p:stCondLst>
                            <p:childTnLst>
                              <p:par>
                                <p:cTn id="13" presetID="10" presetClass="entr" presetSubtype="0" fill="hold" nodeType="after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300"/>
                                        <p:tgtEl>
                                          <p:spTgt spid="6"/>
                                        </p:tgtEl>
                                      </p:cBhvr>
                                    </p:animEffect>
                                  </p:childTnLst>
                                </p:cTn>
                              </p:par>
                            </p:childTnLst>
                          </p:cTn>
                        </p:par>
                        <p:par>
                          <p:cTn id="16" fill="hold">
                            <p:stCondLst>
                              <p:cond delay="29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300"/>
                                        <p:tgtEl>
                                          <p:spTgt spid="26"/>
                                        </p:tgtEl>
                                      </p:cBhvr>
                                    </p:animEffect>
                                  </p:childTnLst>
                                </p:cTn>
                              </p:par>
                            </p:childTnLst>
                          </p:cTn>
                        </p:par>
                        <p:par>
                          <p:cTn id="20" fill="hold">
                            <p:stCondLst>
                              <p:cond delay="3200"/>
                            </p:stCondLst>
                            <p:childTnLst>
                              <p:par>
                                <p:cTn id="21" presetID="10" presetClass="entr" presetSubtype="0" fill="hold" nodeType="afterEffect">
                                  <p:stCondLst>
                                    <p:cond delay="100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300"/>
                                        <p:tgtEl>
                                          <p:spTgt spid="9"/>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300"/>
                                        <p:tgtEl>
                                          <p:spTgt spid="27"/>
                                        </p:tgtEl>
                                      </p:cBhvr>
                                    </p:animEffect>
                                  </p:childTnLst>
                                </p:cTn>
                              </p:par>
                            </p:childTnLst>
                          </p:cTn>
                        </p:par>
                        <p:par>
                          <p:cTn id="28" fill="hold">
                            <p:stCondLst>
                              <p:cond delay="4800"/>
                            </p:stCondLst>
                            <p:childTnLst>
                              <p:par>
                                <p:cTn id="29" presetID="10" presetClass="entr" presetSubtype="0" fill="hold" nodeType="afterEffect">
                                  <p:stCondLst>
                                    <p:cond delay="100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300"/>
                                        <p:tgtEl>
                                          <p:spTgt spid="38"/>
                                        </p:tgtEl>
                                      </p:cBhvr>
                                    </p:animEffect>
                                  </p:childTnLst>
                                </p:cTn>
                              </p:par>
                            </p:childTnLst>
                          </p:cTn>
                        </p:par>
                        <p:par>
                          <p:cTn id="32" fill="hold">
                            <p:stCondLst>
                              <p:cond delay="6100"/>
                            </p:stCondLst>
                            <p:childTnLst>
                              <p:par>
                                <p:cTn id="33" presetID="10" presetClass="entr" presetSubtype="0" fill="hold" nodeType="afterEffect">
                                  <p:stCondLst>
                                    <p:cond delay="1000"/>
                                  </p:stCondLst>
                                  <p:childTnLst>
                                    <p:set>
                                      <p:cBhvr>
                                        <p:cTn id="34" dur="1" fill="hold">
                                          <p:stCondLst>
                                            <p:cond delay="0"/>
                                          </p:stCondLst>
                                        </p:cTn>
                                        <p:tgtEl>
                                          <p:spTgt spid="41"/>
                                        </p:tgtEl>
                                        <p:attrNameLst>
                                          <p:attrName>style.visibility</p:attrName>
                                        </p:attrNameLst>
                                      </p:cBhvr>
                                      <p:to>
                                        <p:strVal val="visible"/>
                                      </p:to>
                                    </p:set>
                                    <p:animEffect transition="in" filter="fade">
                                      <p:cBhvr>
                                        <p:cTn id="35" dur="300"/>
                                        <p:tgtEl>
                                          <p:spTgt spid="41"/>
                                        </p:tgtEl>
                                      </p:cBhvr>
                                    </p:animEffect>
                                  </p:childTnLst>
                                </p:cTn>
                              </p:par>
                            </p:childTnLst>
                          </p:cTn>
                        </p:par>
                        <p:par>
                          <p:cTn id="36" fill="hold">
                            <p:stCondLst>
                              <p:cond delay="7400"/>
                            </p:stCondLst>
                            <p:childTnLst>
                              <p:par>
                                <p:cTn id="37" presetID="10" presetClass="entr" presetSubtype="0" fill="hold" nodeType="afterEffect">
                                  <p:stCondLst>
                                    <p:cond delay="100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300"/>
                                        <p:tgtEl>
                                          <p:spTgt spid="44"/>
                                        </p:tgtEl>
                                      </p:cBhvr>
                                    </p:animEffect>
                                  </p:childTnLst>
                                </p:cTn>
                              </p:par>
                            </p:childTnLst>
                          </p:cTn>
                        </p:par>
                        <p:par>
                          <p:cTn id="40" fill="hold">
                            <p:stCondLst>
                              <p:cond delay="8700"/>
                            </p:stCondLst>
                            <p:childTnLst>
                              <p:par>
                                <p:cTn id="41" presetID="10" presetClass="entr" presetSubtype="0" fill="hold" nodeType="afterEffect">
                                  <p:stCondLst>
                                    <p:cond delay="0"/>
                                  </p:stCondLst>
                                  <p:childTnLst>
                                    <p:set>
                                      <p:cBhvr>
                                        <p:cTn id="42" dur="1" fill="hold">
                                          <p:stCondLst>
                                            <p:cond delay="0"/>
                                          </p:stCondLst>
                                        </p:cTn>
                                        <p:tgtEl>
                                          <p:spTgt spid="106"/>
                                        </p:tgtEl>
                                        <p:attrNameLst>
                                          <p:attrName>style.visibility</p:attrName>
                                        </p:attrNameLst>
                                      </p:cBhvr>
                                      <p:to>
                                        <p:strVal val="visible"/>
                                      </p:to>
                                    </p:set>
                                    <p:animEffect transition="in" filter="fade">
                                      <p:cBhvr>
                                        <p:cTn id="43"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 name="Picture 2"/>
          <p:cNvPicPr>
            <a:picLocks noChangeAspect="1" noChangeArrowheads="1"/>
          </p:cNvPicPr>
          <p:nvPr/>
        </p:nvPicPr>
        <p:blipFill>
          <a:blip r:embed="rId2"/>
          <a:srcRect/>
          <a:stretch>
            <a:fillRect/>
          </a:stretch>
        </p:blipFill>
        <p:spPr bwMode="auto">
          <a:xfrm>
            <a:off x="-12700" y="3054350"/>
            <a:ext cx="9156700" cy="3359150"/>
          </a:xfrm>
          <a:prstGeom prst="rect">
            <a:avLst/>
          </a:prstGeom>
          <a:noFill/>
          <a:ln w="9525">
            <a:noFill/>
            <a:miter lim="800000"/>
            <a:headEnd/>
            <a:tailEnd/>
          </a:ln>
          <a:effectLst/>
        </p:spPr>
      </p:pic>
      <p:grpSp>
        <p:nvGrpSpPr>
          <p:cNvPr id="87" name="Group 86"/>
          <p:cNvGrpSpPr/>
          <p:nvPr/>
        </p:nvGrpSpPr>
        <p:grpSpPr>
          <a:xfrm>
            <a:off x="6264279" y="1608390"/>
            <a:ext cx="2271508" cy="2851479"/>
            <a:chOff x="6264279" y="1608390"/>
            <a:chExt cx="2271508" cy="2851479"/>
          </a:xfrm>
          <a:blipFill>
            <a:blip r:embed="rId3"/>
            <a:tile tx="0" ty="0" sx="100000" sy="100000" flip="none" algn="tl"/>
          </a:blipFill>
        </p:grpSpPr>
        <p:sp>
          <p:nvSpPr>
            <p:cNvPr id="53" name="Rechteck 52"/>
            <p:cNvSpPr/>
            <p:nvPr/>
          </p:nvSpPr>
          <p:spPr>
            <a:xfrm>
              <a:off x="6431423" y="2076449"/>
              <a:ext cx="521827" cy="169871"/>
            </a:xfrm>
            <a:prstGeom prst="rect">
              <a:avLst/>
            </a:prstGeom>
            <a:grp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sp>
          <p:nvSpPr>
            <p:cNvPr id="54" name="Rechteck 53"/>
            <p:cNvSpPr/>
            <p:nvPr/>
          </p:nvSpPr>
          <p:spPr>
            <a:xfrm>
              <a:off x="6264279" y="1608390"/>
              <a:ext cx="165100" cy="160338"/>
            </a:xfrm>
            <a:prstGeom prst="rect">
              <a:avLst/>
            </a:prstGeom>
            <a:grp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sp>
          <p:nvSpPr>
            <p:cNvPr id="55" name="Rechteck 54"/>
            <p:cNvSpPr/>
            <p:nvPr/>
          </p:nvSpPr>
          <p:spPr>
            <a:xfrm>
              <a:off x="8158878" y="4367676"/>
              <a:ext cx="376909" cy="92193"/>
            </a:xfrm>
            <a:prstGeom prst="rect">
              <a:avLst/>
            </a:prstGeom>
            <a:grp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grpSp>
        <p:nvGrpSpPr>
          <p:cNvPr id="37" name="Gruppieren 137"/>
          <p:cNvGrpSpPr/>
          <p:nvPr/>
        </p:nvGrpSpPr>
        <p:grpSpPr>
          <a:xfrm>
            <a:off x="2916829" y="1629707"/>
            <a:ext cx="347663" cy="338138"/>
            <a:chOff x="203518" y="4378643"/>
            <a:chExt cx="347663" cy="338138"/>
          </a:xfrm>
        </p:grpSpPr>
        <p:pic>
          <p:nvPicPr>
            <p:cNvPr id="38" name="Grafik 37" descr="schatten.png"/>
            <p:cNvPicPr>
              <a:picLocks noChangeAspect="1"/>
            </p:cNvPicPr>
            <p:nvPr/>
          </p:nvPicPr>
          <p:blipFill>
            <a:blip r:embed="rId4" cstate="print">
              <a:lum bright="30000"/>
            </a:blip>
            <a:srcRect l="17603" t="9404" r="15359" b="14528"/>
            <a:stretch>
              <a:fillRect/>
            </a:stretch>
          </p:blipFill>
          <p:spPr>
            <a:xfrm>
              <a:off x="203518" y="4378643"/>
              <a:ext cx="347663" cy="338138"/>
            </a:xfrm>
            <a:prstGeom prst="rect">
              <a:avLst/>
            </a:prstGeom>
          </p:spPr>
        </p:pic>
        <p:sp>
          <p:nvSpPr>
            <p:cNvPr id="39"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grpSp>
        <p:nvGrpSpPr>
          <p:cNvPr id="43" name="Gruppieren 144"/>
          <p:cNvGrpSpPr/>
          <p:nvPr/>
        </p:nvGrpSpPr>
        <p:grpSpPr>
          <a:xfrm>
            <a:off x="5205557" y="1058726"/>
            <a:ext cx="347663" cy="338138"/>
            <a:chOff x="203518" y="5554980"/>
            <a:chExt cx="347663" cy="338138"/>
          </a:xfrm>
        </p:grpSpPr>
        <p:pic>
          <p:nvPicPr>
            <p:cNvPr id="44" name="Grafik 43" descr="schatten.png"/>
            <p:cNvPicPr>
              <a:picLocks noChangeAspect="1"/>
            </p:cNvPicPr>
            <p:nvPr/>
          </p:nvPicPr>
          <p:blipFill>
            <a:blip r:embed="rId4" cstate="print">
              <a:lum bright="30000"/>
            </a:blip>
            <a:srcRect l="17603" t="9404" r="15359" b="14528"/>
            <a:stretch>
              <a:fillRect/>
            </a:stretch>
          </p:blipFill>
          <p:spPr>
            <a:xfrm>
              <a:off x="203518" y="5554980"/>
              <a:ext cx="347663" cy="338138"/>
            </a:xfrm>
            <a:prstGeom prst="rect">
              <a:avLst/>
            </a:prstGeom>
          </p:spPr>
        </p:pic>
        <p:sp>
          <p:nvSpPr>
            <p:cNvPr id="45"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47" name="Gruppieren 111"/>
          <p:cNvGrpSpPr/>
          <p:nvPr/>
        </p:nvGrpSpPr>
        <p:grpSpPr>
          <a:xfrm>
            <a:off x="203518" y="4966018"/>
            <a:ext cx="347663" cy="338138"/>
            <a:chOff x="203518" y="4966018"/>
            <a:chExt cx="347663" cy="338138"/>
          </a:xfrm>
        </p:grpSpPr>
        <p:pic>
          <p:nvPicPr>
            <p:cNvPr id="48" name="Grafik 47" descr="schatten.png"/>
            <p:cNvPicPr>
              <a:picLocks noChangeAspect="1"/>
            </p:cNvPicPr>
            <p:nvPr/>
          </p:nvPicPr>
          <p:blipFill>
            <a:blip r:embed="rId4" cstate="print">
              <a:lum bright="30000"/>
            </a:blip>
            <a:srcRect l="17603" t="9404" r="15359" b="14528"/>
            <a:stretch>
              <a:fillRect/>
            </a:stretch>
          </p:blipFill>
          <p:spPr>
            <a:xfrm>
              <a:off x="203518" y="4966018"/>
              <a:ext cx="347663" cy="338138"/>
            </a:xfrm>
            <a:prstGeom prst="rect">
              <a:avLst/>
            </a:prstGeom>
          </p:spPr>
        </p:pic>
        <p:sp>
          <p:nvSpPr>
            <p:cNvPr id="49"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50" name="Gruppieren 115"/>
          <p:cNvGrpSpPr/>
          <p:nvPr/>
        </p:nvGrpSpPr>
        <p:grpSpPr>
          <a:xfrm>
            <a:off x="203518" y="5530850"/>
            <a:ext cx="347663" cy="338138"/>
            <a:chOff x="203518" y="5554980"/>
            <a:chExt cx="347663" cy="338138"/>
          </a:xfrm>
        </p:grpSpPr>
        <p:pic>
          <p:nvPicPr>
            <p:cNvPr id="51" name="Grafik 50" descr="schatten.png"/>
            <p:cNvPicPr>
              <a:picLocks noChangeAspect="1"/>
            </p:cNvPicPr>
            <p:nvPr/>
          </p:nvPicPr>
          <p:blipFill>
            <a:blip r:embed="rId4" cstate="print">
              <a:lum bright="30000"/>
            </a:blip>
            <a:srcRect l="17603" t="9404" r="15359" b="14528"/>
            <a:stretch>
              <a:fillRect/>
            </a:stretch>
          </p:blipFill>
          <p:spPr>
            <a:xfrm>
              <a:off x="203518" y="5554980"/>
              <a:ext cx="347663" cy="338138"/>
            </a:xfrm>
            <a:prstGeom prst="rect">
              <a:avLst/>
            </a:prstGeom>
          </p:spPr>
        </p:pic>
        <p:sp>
          <p:nvSpPr>
            <p:cNvPr id="52"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sp>
        <p:nvSpPr>
          <p:cNvPr id="82" name="Rectangle 5"/>
          <p:cNvSpPr>
            <a:spLocks noChangeArrowheads="1"/>
          </p:cNvSpPr>
          <p:nvPr/>
        </p:nvSpPr>
        <p:spPr bwMode="gray">
          <a:xfrm>
            <a:off x="639763" y="4966018"/>
            <a:ext cx="8251825" cy="422275"/>
          </a:xfrm>
          <a:prstGeom prst="rect">
            <a:avLst/>
          </a:prstGeom>
          <a:noFill/>
          <a:ln w="12700">
            <a:noFill/>
            <a:miter lim="800000"/>
            <a:headEnd/>
            <a:tailEnd/>
          </a:ln>
        </p:spPr>
        <p:txBody>
          <a:bodyPr lIns="0" tIns="0" rIns="0" bIns="0"/>
          <a:lstStyle/>
          <a:p>
            <a:r>
              <a:rPr lang="en-US" sz="1200" dirty="0" smtClean="0">
                <a:solidFill>
                  <a:srgbClr val="000000"/>
                </a:solidFill>
                <a:latin typeface="Myriad Pro" pitchFamily="34" charset="0"/>
                <a:ea typeface="Arial Unicode MS" pitchFamily="34" charset="-128"/>
                <a:cs typeface="Arial" charset="0"/>
              </a:rPr>
              <a:t>In </a:t>
            </a:r>
            <a:r>
              <a:rPr lang="en-US" sz="1200" dirty="0" err="1" smtClean="0">
                <a:solidFill>
                  <a:srgbClr val="000000"/>
                </a:solidFill>
                <a:latin typeface="Myriad Pro" pitchFamily="34" charset="0"/>
                <a:ea typeface="Arial Unicode MS" pitchFamily="34" charset="-128"/>
                <a:cs typeface="Arial" charset="0"/>
              </a:rPr>
              <a:t>dem</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erscheinend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Menü</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wähl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den </a:t>
            </a:r>
            <a:r>
              <a:rPr lang="en-US" sz="1200" dirty="0" err="1" smtClean="0">
                <a:solidFill>
                  <a:srgbClr val="000000"/>
                </a:solidFill>
                <a:latin typeface="Myriad Pro" pitchFamily="34" charset="0"/>
                <a:ea typeface="Arial Unicode MS" pitchFamily="34" charset="-128"/>
                <a:cs typeface="Arial" charset="0"/>
              </a:rPr>
              <a:t>Punkt</a:t>
            </a:r>
            <a:r>
              <a:rPr lang="en-US" sz="1200" dirty="0" smtClean="0">
                <a:solidFill>
                  <a:srgbClr val="000000"/>
                </a:solidFill>
                <a:latin typeface="Myriad Pro" pitchFamily="34" charset="0"/>
                <a:ea typeface="Arial Unicode MS" pitchFamily="34" charset="-128"/>
                <a:cs typeface="Arial" charset="0"/>
              </a:rPr>
              <a:t> “Grafik </a:t>
            </a:r>
            <a:r>
              <a:rPr lang="en-US" sz="1200" dirty="0" err="1" smtClean="0">
                <a:solidFill>
                  <a:srgbClr val="000000"/>
                </a:solidFill>
                <a:latin typeface="Myriad Pro" pitchFamily="34" charset="0"/>
                <a:ea typeface="Arial Unicode MS" pitchFamily="34" charset="-128"/>
                <a:cs typeface="Arial" charset="0"/>
              </a:rPr>
              <a:t>formatieren</a:t>
            </a:r>
            <a:r>
              <a:rPr lang="en-US" sz="1200" dirty="0" smtClean="0">
                <a:solidFill>
                  <a:srgbClr val="000000"/>
                </a:solidFill>
                <a:latin typeface="Myriad Pro" pitchFamily="34" charset="0"/>
                <a:ea typeface="Arial Unicode MS" pitchFamily="34" charset="-128"/>
                <a:cs typeface="Arial" charset="0"/>
              </a:rPr>
              <a:t>…”</a:t>
            </a:r>
            <a:endParaRPr lang="en-US" dirty="0">
              <a:solidFill>
                <a:srgbClr val="000000"/>
              </a:solidFill>
              <a:ea typeface="Arial Unicode MS" pitchFamily="34" charset="-128"/>
              <a:cs typeface="Arial" charset="0"/>
            </a:endParaRPr>
          </a:p>
        </p:txBody>
      </p:sp>
      <p:sp>
        <p:nvSpPr>
          <p:cNvPr id="83" name="Rectangle 5"/>
          <p:cNvSpPr>
            <a:spLocks noChangeArrowheads="1"/>
          </p:cNvSpPr>
          <p:nvPr/>
        </p:nvSpPr>
        <p:spPr bwMode="gray">
          <a:xfrm>
            <a:off x="639763" y="5530850"/>
            <a:ext cx="8251825" cy="423863"/>
          </a:xfrm>
          <a:prstGeom prst="rect">
            <a:avLst/>
          </a:prstGeom>
          <a:noFill/>
          <a:ln w="12700">
            <a:noFill/>
            <a:miter lim="800000"/>
            <a:headEnd/>
            <a:tailEnd/>
          </a:ln>
        </p:spPr>
        <p:txBody>
          <a:bodyPr lIns="0" tIns="0" rIns="0" bIns="0"/>
          <a:lstStyle/>
          <a:p>
            <a:r>
              <a:rPr lang="en-US" sz="1200" dirty="0" err="1" smtClean="0">
                <a:solidFill>
                  <a:srgbClr val="000000"/>
                </a:solidFill>
                <a:latin typeface="Myriad Pro" pitchFamily="34" charset="0"/>
                <a:ea typeface="Arial Unicode MS" pitchFamily="34" charset="-128"/>
                <a:cs typeface="Arial" charset="0"/>
              </a:rPr>
              <a:t>Klick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nun auf “</a:t>
            </a:r>
            <a:r>
              <a:rPr lang="en-US" sz="1200" dirty="0" err="1" smtClean="0">
                <a:solidFill>
                  <a:srgbClr val="000000"/>
                </a:solidFill>
                <a:latin typeface="Myriad Pro" pitchFamily="34" charset="0"/>
                <a:ea typeface="Arial Unicode MS" pitchFamily="34" charset="-128"/>
                <a:cs typeface="Arial" charset="0"/>
              </a:rPr>
              <a:t>Füllung</a:t>
            </a:r>
            <a:r>
              <a:rPr lang="en-US" sz="1200" dirty="0" smtClean="0">
                <a:solidFill>
                  <a:srgbClr val="000000"/>
                </a:solidFill>
                <a:latin typeface="Myriad Pro" pitchFamily="34" charset="0"/>
                <a:ea typeface="Arial Unicode MS" pitchFamily="34" charset="-128"/>
                <a:cs typeface="Arial" charset="0"/>
              </a:rPr>
              <a:t>” . </a:t>
            </a:r>
            <a:r>
              <a:rPr lang="en-US" sz="1200" dirty="0" err="1" smtClean="0">
                <a:solidFill>
                  <a:srgbClr val="000000"/>
                </a:solidFill>
                <a:latin typeface="Myriad Pro" pitchFamily="34" charset="0"/>
                <a:ea typeface="Arial Unicode MS" pitchFamily="34" charset="-128"/>
                <a:cs typeface="Arial" charset="0"/>
              </a:rPr>
              <a:t>Als</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nächstes</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wähl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unter</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dem</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Punkt</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Bild</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oder</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Texturfüllung</a:t>
            </a:r>
            <a:r>
              <a:rPr lang="en-US" sz="1200" dirty="0" smtClean="0">
                <a:solidFill>
                  <a:srgbClr val="000000"/>
                </a:solidFill>
                <a:latin typeface="Myriad Pro" pitchFamily="34" charset="0"/>
                <a:ea typeface="Arial Unicode MS" pitchFamily="34" charset="-128"/>
                <a:cs typeface="Arial" charset="0"/>
              </a:rPr>
              <a:t>” die </a:t>
            </a:r>
            <a:r>
              <a:rPr lang="en-US" sz="1200" dirty="0" err="1" smtClean="0">
                <a:solidFill>
                  <a:srgbClr val="000000"/>
                </a:solidFill>
                <a:latin typeface="Myriad Pro" pitchFamily="34" charset="0"/>
                <a:ea typeface="Arial Unicode MS" pitchFamily="34" charset="-128"/>
                <a:cs typeface="Arial" charset="0"/>
              </a:rPr>
              <a:t>Funktio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Datei</a:t>
            </a:r>
            <a:r>
              <a:rPr lang="en-US" sz="1200" dirty="0" smtClean="0">
                <a:solidFill>
                  <a:srgbClr val="000000"/>
                </a:solidFill>
                <a:latin typeface="Myriad Pro" pitchFamily="34" charset="0"/>
                <a:ea typeface="Arial Unicode MS" pitchFamily="34" charset="-128"/>
                <a:cs typeface="Arial" charset="0"/>
              </a:rPr>
              <a:t>… “. </a:t>
            </a:r>
            <a:r>
              <a:rPr lang="en-US" sz="1200" dirty="0" err="1" smtClean="0">
                <a:solidFill>
                  <a:srgbClr val="000000"/>
                </a:solidFill>
                <a:latin typeface="Myriad Pro" pitchFamily="34" charset="0"/>
                <a:ea typeface="Arial Unicode MS" pitchFamily="34" charset="-128"/>
                <a:cs typeface="Arial" charset="0"/>
              </a:rPr>
              <a:t>Hier</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könn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ei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Bild</a:t>
            </a:r>
            <a:r>
              <a:rPr lang="en-US" sz="1200" dirty="0" smtClean="0">
                <a:solidFill>
                  <a:srgbClr val="000000"/>
                </a:solidFill>
                <a:latin typeface="Myriad Pro" pitchFamily="34" charset="0"/>
                <a:ea typeface="Arial Unicode MS" pitchFamily="34" charset="-128"/>
                <a:cs typeface="Arial" charset="0"/>
              </a:rPr>
              <a:t> von </a:t>
            </a:r>
            <a:r>
              <a:rPr lang="en-US" sz="1200" dirty="0" err="1" smtClean="0">
                <a:solidFill>
                  <a:srgbClr val="000000"/>
                </a:solidFill>
                <a:latin typeface="Myriad Pro" pitchFamily="34" charset="0"/>
                <a:ea typeface="Arial Unicode MS" pitchFamily="34" charset="-128"/>
                <a:cs typeface="Arial" charset="0"/>
              </a:rPr>
              <a:t>Ihrem</a:t>
            </a:r>
            <a:r>
              <a:rPr lang="en-US" sz="1200" dirty="0" smtClean="0">
                <a:solidFill>
                  <a:srgbClr val="000000"/>
                </a:solidFill>
                <a:latin typeface="Myriad Pro" pitchFamily="34" charset="0"/>
                <a:ea typeface="Arial Unicode MS" pitchFamily="34" charset="-128"/>
                <a:cs typeface="Arial" charset="0"/>
              </a:rPr>
              <a:t> Computer </a:t>
            </a:r>
            <a:r>
              <a:rPr lang="en-US" sz="1200" dirty="0" err="1" smtClean="0">
                <a:solidFill>
                  <a:srgbClr val="000000"/>
                </a:solidFill>
                <a:latin typeface="Myriad Pro" pitchFamily="34" charset="0"/>
                <a:ea typeface="Arial Unicode MS" pitchFamily="34" charset="-128"/>
                <a:cs typeface="Arial" charset="0"/>
              </a:rPr>
              <a:t>auswählen</a:t>
            </a:r>
            <a:r>
              <a:rPr lang="en-US" sz="1200" dirty="0" smtClean="0">
                <a:solidFill>
                  <a:srgbClr val="000000"/>
                </a:solidFill>
                <a:latin typeface="Myriad Pro" pitchFamily="34" charset="0"/>
                <a:ea typeface="Arial Unicode MS" pitchFamily="34" charset="-128"/>
                <a:cs typeface="Arial" charset="0"/>
              </a:rPr>
              <a:t>.</a:t>
            </a:r>
            <a:endParaRPr lang="de-DE" sz="1200" dirty="0" smtClean="0">
              <a:solidFill>
                <a:srgbClr val="000000"/>
              </a:solidFill>
              <a:latin typeface="Myriad Pro" pitchFamily="34" charset="0"/>
              <a:ea typeface="Arial Unicode MS" pitchFamily="34" charset="-128"/>
              <a:cs typeface="Arial" charset="0"/>
            </a:endParaRPr>
          </a:p>
        </p:txBody>
      </p:sp>
      <p:sp>
        <p:nvSpPr>
          <p:cNvPr id="111" name="Rectangle 5"/>
          <p:cNvSpPr>
            <a:spLocks noChangeArrowheads="1"/>
          </p:cNvSpPr>
          <p:nvPr/>
        </p:nvSpPr>
        <p:spPr bwMode="gray">
          <a:xfrm>
            <a:off x="639763" y="4378643"/>
            <a:ext cx="8251825" cy="423863"/>
          </a:xfrm>
          <a:prstGeom prst="rect">
            <a:avLst/>
          </a:prstGeom>
          <a:noFill/>
          <a:ln w="12700">
            <a:noFill/>
            <a:miter lim="800000"/>
            <a:headEnd/>
            <a:tailEnd/>
          </a:ln>
        </p:spPr>
        <p:txBody>
          <a:bodyPr lIns="0" tIns="0" rIns="0" bIns="0"/>
          <a:lstStyle/>
          <a:p>
            <a:r>
              <a:rPr lang="en-US" sz="1200" dirty="0" err="1" smtClean="0">
                <a:latin typeface="Myriad Pro" pitchFamily="34" charset="0"/>
                <a:ea typeface="Arial Unicode MS" pitchFamily="34" charset="-128"/>
                <a:cs typeface="Arial" charset="0"/>
              </a:rPr>
              <a:t>Klicken</a:t>
            </a:r>
            <a:r>
              <a:rPr lang="en-US" sz="1200" dirty="0" smtClean="0">
                <a:latin typeface="Myriad Pro" pitchFamily="34" charset="0"/>
                <a:ea typeface="Arial Unicode MS" pitchFamily="34" charset="-128"/>
                <a:cs typeface="Arial" charset="0"/>
              </a:rPr>
              <a:t> </a:t>
            </a:r>
            <a:r>
              <a:rPr lang="en-US" sz="1200" dirty="0" err="1" smtClean="0">
                <a:latin typeface="Myriad Pro" pitchFamily="34" charset="0"/>
                <a:ea typeface="Arial Unicode MS" pitchFamily="34" charset="-128"/>
                <a:cs typeface="Arial" charset="0"/>
              </a:rPr>
              <a:t>Sie</a:t>
            </a:r>
            <a:r>
              <a:rPr lang="en-US" sz="1200" dirty="0" smtClean="0">
                <a:latin typeface="Myriad Pro" pitchFamily="34" charset="0"/>
                <a:ea typeface="Arial Unicode MS" pitchFamily="34" charset="-128"/>
                <a:cs typeface="Arial" charset="0"/>
              </a:rPr>
              <a:t> </a:t>
            </a:r>
            <a:r>
              <a:rPr lang="en-US" sz="1200" dirty="0" err="1" smtClean="0">
                <a:latin typeface="Myriad Pro" pitchFamily="34" charset="0"/>
                <a:ea typeface="Arial Unicode MS" pitchFamily="34" charset="-128"/>
                <a:cs typeface="Arial" charset="0"/>
              </a:rPr>
              <a:t>mit</a:t>
            </a:r>
            <a:r>
              <a:rPr lang="en-US" sz="1200" dirty="0" smtClean="0">
                <a:latin typeface="Myriad Pro" pitchFamily="34" charset="0"/>
                <a:ea typeface="Arial Unicode MS" pitchFamily="34" charset="-128"/>
                <a:cs typeface="Arial" charset="0"/>
              </a:rPr>
              <a:t> der </a:t>
            </a:r>
            <a:r>
              <a:rPr lang="en-US" sz="1200" dirty="0" err="1" smtClean="0">
                <a:latin typeface="Myriad Pro" pitchFamily="34" charset="0"/>
                <a:ea typeface="Arial Unicode MS" pitchFamily="34" charset="-128"/>
                <a:cs typeface="Arial" charset="0"/>
              </a:rPr>
              <a:t>rechten</a:t>
            </a:r>
            <a:r>
              <a:rPr lang="en-US" sz="1200" dirty="0" smtClean="0">
                <a:latin typeface="Myriad Pro" pitchFamily="34" charset="0"/>
                <a:ea typeface="Arial Unicode MS" pitchFamily="34" charset="-128"/>
                <a:cs typeface="Arial" charset="0"/>
              </a:rPr>
              <a:t> </a:t>
            </a:r>
            <a:r>
              <a:rPr lang="en-US" sz="1200" dirty="0" err="1" smtClean="0">
                <a:latin typeface="Myriad Pro" pitchFamily="34" charset="0"/>
                <a:ea typeface="Arial Unicode MS" pitchFamily="34" charset="-128"/>
                <a:cs typeface="Arial" charset="0"/>
              </a:rPr>
              <a:t>Maustaste</a:t>
            </a:r>
            <a:r>
              <a:rPr lang="en-US" sz="1200" dirty="0" smtClean="0">
                <a:latin typeface="Myriad Pro" pitchFamily="34" charset="0"/>
                <a:ea typeface="Arial Unicode MS" pitchFamily="34" charset="-128"/>
                <a:cs typeface="Arial" charset="0"/>
              </a:rPr>
              <a:t> auf die </a:t>
            </a:r>
            <a:r>
              <a:rPr lang="en-US" sz="1200" dirty="0" err="1" smtClean="0">
                <a:latin typeface="Myriad Pro" pitchFamily="34" charset="0"/>
                <a:ea typeface="Arial Unicode MS" pitchFamily="34" charset="-128"/>
                <a:cs typeface="Arial" charset="0"/>
              </a:rPr>
              <a:t>Karte</a:t>
            </a:r>
            <a:r>
              <a:rPr lang="en-US" sz="1200" dirty="0" smtClean="0">
                <a:latin typeface="Myriad Pro" pitchFamily="34" charset="0"/>
                <a:ea typeface="Arial Unicode MS" pitchFamily="34" charset="-128"/>
                <a:cs typeface="Arial" charset="0"/>
              </a:rPr>
              <a:t>.</a:t>
            </a:r>
          </a:p>
        </p:txBody>
      </p:sp>
      <p:grpSp>
        <p:nvGrpSpPr>
          <p:cNvPr id="112" name="Gruppieren 108"/>
          <p:cNvGrpSpPr/>
          <p:nvPr/>
        </p:nvGrpSpPr>
        <p:grpSpPr>
          <a:xfrm>
            <a:off x="203518" y="4378643"/>
            <a:ext cx="347663" cy="338138"/>
            <a:chOff x="203518" y="4378643"/>
            <a:chExt cx="347663" cy="338138"/>
          </a:xfrm>
        </p:grpSpPr>
        <p:pic>
          <p:nvPicPr>
            <p:cNvPr id="113" name="Grafik 112" descr="schatten.png"/>
            <p:cNvPicPr>
              <a:picLocks noChangeAspect="1"/>
            </p:cNvPicPr>
            <p:nvPr/>
          </p:nvPicPr>
          <p:blipFill>
            <a:blip r:embed="rId4" cstate="print">
              <a:lum bright="30000"/>
            </a:blip>
            <a:srcRect l="17603" t="9404" r="15359" b="14528"/>
            <a:stretch>
              <a:fillRect/>
            </a:stretch>
          </p:blipFill>
          <p:spPr>
            <a:xfrm>
              <a:off x="203518" y="4378643"/>
              <a:ext cx="347663" cy="338138"/>
            </a:xfrm>
            <a:prstGeom prst="rect">
              <a:avLst/>
            </a:prstGeom>
          </p:spPr>
        </p:pic>
        <p:sp>
          <p:nvSpPr>
            <p:cNvPr id="114"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115"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2800" kern="0" dirty="0" smtClean="0">
                <a:solidFill>
                  <a:schemeClr val="tx2"/>
                </a:solidFill>
                <a:latin typeface="Myriad Pro" pitchFamily="34" charset="0"/>
                <a:ea typeface="+mj-ea"/>
                <a:cs typeface="+mj-cs"/>
              </a:rPr>
              <a:t>Bilder in Länderkonturen einfügen</a:t>
            </a:r>
            <a:endParaRPr kumimoji="0" lang="de-DE" sz="2800" b="0" i="0" u="none" strike="noStrike" kern="0" cap="none" spc="0" normalizeH="0" baseline="0" noProof="0" dirty="0" smtClean="0">
              <a:ln>
                <a:noFill/>
              </a:ln>
              <a:solidFill>
                <a:schemeClr val="tx2"/>
              </a:solidFill>
              <a:effectLst/>
              <a:uLnTx/>
              <a:uFillTx/>
              <a:latin typeface="Myriad Pro" pitchFamily="34" charset="0"/>
              <a:ea typeface="+mj-ea"/>
              <a:cs typeface="+mj-cs"/>
            </a:endParaRPr>
          </a:p>
        </p:txBody>
      </p:sp>
      <p:grpSp>
        <p:nvGrpSpPr>
          <p:cNvPr id="89" name="Gruppieren 137"/>
          <p:cNvGrpSpPr/>
          <p:nvPr/>
        </p:nvGrpSpPr>
        <p:grpSpPr>
          <a:xfrm>
            <a:off x="594411" y="1629707"/>
            <a:ext cx="347663" cy="338138"/>
            <a:chOff x="203518" y="4378643"/>
            <a:chExt cx="347663" cy="338138"/>
          </a:xfrm>
        </p:grpSpPr>
        <p:pic>
          <p:nvPicPr>
            <p:cNvPr id="90" name="Grafik 89" descr="schatten.png"/>
            <p:cNvPicPr>
              <a:picLocks noChangeAspect="1"/>
            </p:cNvPicPr>
            <p:nvPr/>
          </p:nvPicPr>
          <p:blipFill>
            <a:blip r:embed="rId4" cstate="print">
              <a:lum bright="30000"/>
            </a:blip>
            <a:srcRect l="17603" t="9404" r="15359" b="14528"/>
            <a:stretch>
              <a:fillRect/>
            </a:stretch>
          </p:blipFill>
          <p:spPr>
            <a:xfrm>
              <a:off x="203518" y="4378643"/>
              <a:ext cx="347663" cy="338138"/>
            </a:xfrm>
            <a:prstGeom prst="rect">
              <a:avLst/>
            </a:prstGeom>
          </p:spPr>
        </p:pic>
        <p:sp>
          <p:nvSpPr>
            <p:cNvPr id="91"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28" name="Group 45"/>
          <p:cNvGrpSpPr>
            <a:grpSpLocks/>
          </p:cNvGrpSpPr>
          <p:nvPr/>
        </p:nvGrpSpPr>
        <p:grpSpPr bwMode="auto">
          <a:xfrm rot="20287264">
            <a:off x="6915874" y="2096921"/>
            <a:ext cx="374650" cy="609600"/>
            <a:chOff x="1950" y="1045"/>
            <a:chExt cx="568" cy="928"/>
          </a:xfrm>
        </p:grpSpPr>
        <p:sp>
          <p:nvSpPr>
            <p:cNvPr id="129"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130"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131"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32"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133"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34"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35"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36"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37"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38"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39"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40"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pic>
        <p:nvPicPr>
          <p:cNvPr id="4098" name="Picture 2" descr="C:\Users\patrick.z\Desktop\Tutorials\Landkarten\DE\05_Bilder in Länderonturen einfügen.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29265" y="1584247"/>
            <a:ext cx="1391450" cy="2337635"/>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92" name="Group 45"/>
          <p:cNvGrpSpPr>
            <a:grpSpLocks/>
          </p:cNvGrpSpPr>
          <p:nvPr/>
        </p:nvGrpSpPr>
        <p:grpSpPr bwMode="auto">
          <a:xfrm rot="20287264">
            <a:off x="4542984" y="3715822"/>
            <a:ext cx="374650" cy="609600"/>
            <a:chOff x="1950" y="1045"/>
            <a:chExt cx="568" cy="928"/>
          </a:xfrm>
        </p:grpSpPr>
        <p:sp>
          <p:nvSpPr>
            <p:cNvPr id="93"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94"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95"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96"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97"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98"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99"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00"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01"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02"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03"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04"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pic>
        <p:nvPicPr>
          <p:cNvPr id="4099" name="Picture 3" descr="C:\Users\patrick.z\Desktop\Tutorials\Landkarten\DE\06_Bilder in Länderkonturen einfügen.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26248" y="1005864"/>
            <a:ext cx="2874381" cy="255680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4100" name="Picture 4" descr="C:\Users\patrick.z\Desktop\Tutorials\Landkarten\DE\07_Bilder in Länderkonturen einfügen.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92356" y="2619486"/>
            <a:ext cx="2503289" cy="1863998"/>
          </a:xfrm>
          <a:prstGeom prst="rect">
            <a:avLst/>
          </a:prstGeom>
          <a:noFill/>
          <a:extLst>
            <a:ext uri="{909E8E84-426E-40DD-AFC4-6F175D3DCCD1}">
              <a14:hiddenFill xmlns:a14="http://schemas.microsoft.com/office/drawing/2010/main">
                <a:solidFill>
                  <a:srgbClr val="FFFFFF"/>
                </a:solidFill>
              </a14:hiddenFill>
            </a:ext>
          </a:extLst>
        </p:spPr>
      </p:pic>
      <p:grpSp>
        <p:nvGrpSpPr>
          <p:cNvPr id="141" name="Group 45"/>
          <p:cNvGrpSpPr>
            <a:grpSpLocks/>
          </p:cNvGrpSpPr>
          <p:nvPr/>
        </p:nvGrpSpPr>
        <p:grpSpPr bwMode="auto">
          <a:xfrm rot="20287264">
            <a:off x="7998134" y="4288673"/>
            <a:ext cx="374650" cy="609600"/>
            <a:chOff x="1950" y="1045"/>
            <a:chExt cx="568" cy="928"/>
          </a:xfrm>
        </p:grpSpPr>
        <p:sp>
          <p:nvSpPr>
            <p:cNvPr id="142"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143"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144"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45"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146"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47"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48"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49"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50"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51"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52"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53"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154" name="Group 146"/>
          <p:cNvGrpSpPr>
            <a:grpSpLocks/>
          </p:cNvGrpSpPr>
          <p:nvPr/>
        </p:nvGrpSpPr>
        <p:grpSpPr bwMode="auto">
          <a:xfrm>
            <a:off x="696913" y="775925"/>
            <a:ext cx="2250000" cy="3394800"/>
            <a:chOff x="1463" y="592"/>
            <a:chExt cx="2191" cy="3229"/>
          </a:xfrm>
          <a:effectLst>
            <a:reflection blurRad="6350" stA="52000" endA="300" endPos="35000" dir="5400000" sy="-100000" algn="bl" rotWithShape="0"/>
          </a:effectLst>
        </p:grpSpPr>
        <p:sp>
          <p:nvSpPr>
            <p:cNvPr id="155" name="Freeform 147"/>
            <p:cNvSpPr>
              <a:spLocks noEditPoints="1"/>
            </p:cNvSpPr>
            <p:nvPr/>
          </p:nvSpPr>
          <p:spPr bwMode="auto">
            <a:xfrm>
              <a:off x="1463" y="2157"/>
              <a:ext cx="824" cy="1180"/>
            </a:xfrm>
            <a:custGeom>
              <a:avLst/>
              <a:gdLst/>
              <a:ahLst/>
              <a:cxnLst>
                <a:cxn ang="0">
                  <a:pos x="28" y="2530"/>
                </a:cxn>
                <a:cxn ang="0">
                  <a:pos x="1174" y="189"/>
                </a:cxn>
                <a:cxn ang="0">
                  <a:pos x="1602" y="7"/>
                </a:cxn>
                <a:cxn ang="0">
                  <a:pos x="232" y="965"/>
                </a:cxn>
                <a:cxn ang="0">
                  <a:pos x="1842" y="2531"/>
                </a:cxn>
                <a:cxn ang="0">
                  <a:pos x="257" y="1277"/>
                </a:cxn>
                <a:cxn ang="0">
                  <a:pos x="468" y="1715"/>
                </a:cxn>
                <a:cxn ang="0">
                  <a:pos x="1043" y="260"/>
                </a:cxn>
                <a:cxn ang="0">
                  <a:pos x="2032" y="1595"/>
                </a:cxn>
                <a:cxn ang="0">
                  <a:pos x="2034" y="1240"/>
                </a:cxn>
                <a:cxn ang="0">
                  <a:pos x="1999" y="1024"/>
                </a:cxn>
                <a:cxn ang="0">
                  <a:pos x="1770" y="915"/>
                </a:cxn>
                <a:cxn ang="0">
                  <a:pos x="1541" y="994"/>
                </a:cxn>
                <a:cxn ang="0">
                  <a:pos x="1284" y="851"/>
                </a:cxn>
                <a:cxn ang="0">
                  <a:pos x="1303" y="669"/>
                </a:cxn>
                <a:cxn ang="0">
                  <a:pos x="1458" y="477"/>
                </a:cxn>
                <a:cxn ang="0">
                  <a:pos x="1535" y="80"/>
                </a:cxn>
                <a:cxn ang="0">
                  <a:pos x="1459" y="296"/>
                </a:cxn>
                <a:cxn ang="0">
                  <a:pos x="1347" y="147"/>
                </a:cxn>
                <a:cxn ang="0">
                  <a:pos x="1187" y="216"/>
                </a:cxn>
                <a:cxn ang="0">
                  <a:pos x="1049" y="329"/>
                </a:cxn>
                <a:cxn ang="0">
                  <a:pos x="1002" y="461"/>
                </a:cxn>
                <a:cxn ang="0">
                  <a:pos x="990" y="592"/>
                </a:cxn>
                <a:cxn ang="0">
                  <a:pos x="1164" y="585"/>
                </a:cxn>
                <a:cxn ang="0">
                  <a:pos x="983" y="750"/>
                </a:cxn>
                <a:cxn ang="0">
                  <a:pos x="756" y="862"/>
                </a:cxn>
                <a:cxn ang="0">
                  <a:pos x="591" y="806"/>
                </a:cxn>
                <a:cxn ang="0">
                  <a:pos x="373" y="845"/>
                </a:cxn>
                <a:cxn ang="0">
                  <a:pos x="299" y="946"/>
                </a:cxn>
                <a:cxn ang="0">
                  <a:pos x="351" y="938"/>
                </a:cxn>
                <a:cxn ang="0">
                  <a:pos x="362" y="1093"/>
                </a:cxn>
                <a:cxn ang="0">
                  <a:pos x="239" y="1077"/>
                </a:cxn>
                <a:cxn ang="0">
                  <a:pos x="487" y="1174"/>
                </a:cxn>
                <a:cxn ang="0">
                  <a:pos x="359" y="1278"/>
                </a:cxn>
                <a:cxn ang="0">
                  <a:pos x="224" y="1393"/>
                </a:cxn>
                <a:cxn ang="0">
                  <a:pos x="264" y="1499"/>
                </a:cxn>
                <a:cxn ang="0">
                  <a:pos x="355" y="1570"/>
                </a:cxn>
                <a:cxn ang="0">
                  <a:pos x="460" y="1567"/>
                </a:cxn>
                <a:cxn ang="0">
                  <a:pos x="780" y="1665"/>
                </a:cxn>
                <a:cxn ang="0">
                  <a:pos x="650" y="1703"/>
                </a:cxn>
                <a:cxn ang="0">
                  <a:pos x="554" y="1937"/>
                </a:cxn>
                <a:cxn ang="0">
                  <a:pos x="431" y="2147"/>
                </a:cxn>
                <a:cxn ang="0">
                  <a:pos x="722" y="2081"/>
                </a:cxn>
                <a:cxn ang="0">
                  <a:pos x="718" y="2108"/>
                </a:cxn>
                <a:cxn ang="0">
                  <a:pos x="346" y="2354"/>
                </a:cxn>
                <a:cxn ang="0">
                  <a:pos x="235" y="2395"/>
                </a:cxn>
                <a:cxn ang="0">
                  <a:pos x="82" y="2457"/>
                </a:cxn>
                <a:cxn ang="0">
                  <a:pos x="152" y="2483"/>
                </a:cxn>
                <a:cxn ang="0">
                  <a:pos x="289" y="2548"/>
                </a:cxn>
                <a:cxn ang="0">
                  <a:pos x="103" y="2695"/>
                </a:cxn>
                <a:cxn ang="0">
                  <a:pos x="216" y="2779"/>
                </a:cxn>
                <a:cxn ang="0">
                  <a:pos x="359" y="2760"/>
                </a:cxn>
                <a:cxn ang="0">
                  <a:pos x="211" y="2898"/>
                </a:cxn>
                <a:cxn ang="0">
                  <a:pos x="486" y="2846"/>
                </a:cxn>
                <a:cxn ang="0">
                  <a:pos x="373" y="3017"/>
                </a:cxn>
                <a:cxn ang="0">
                  <a:pos x="539" y="2988"/>
                </a:cxn>
                <a:cxn ang="0">
                  <a:pos x="754" y="2973"/>
                </a:cxn>
                <a:cxn ang="0">
                  <a:pos x="931" y="2886"/>
                </a:cxn>
                <a:cxn ang="0">
                  <a:pos x="1061" y="2730"/>
                </a:cxn>
                <a:cxn ang="0">
                  <a:pos x="1305" y="2659"/>
                </a:cxn>
                <a:cxn ang="0">
                  <a:pos x="1617" y="2531"/>
                </a:cxn>
                <a:cxn ang="0">
                  <a:pos x="1816" y="2466"/>
                </a:cxn>
                <a:cxn ang="0">
                  <a:pos x="2036" y="2191"/>
                </a:cxn>
              </a:cxnLst>
              <a:rect l="0" t="0" r="r" b="b"/>
              <a:pathLst>
                <a:path w="2133" h="3053">
                  <a:moveTo>
                    <a:pt x="516" y="1963"/>
                  </a:moveTo>
                  <a:cubicBezTo>
                    <a:pt x="516" y="1963"/>
                    <a:pt x="523" y="1975"/>
                    <a:pt x="523" y="1967"/>
                  </a:cubicBezTo>
                  <a:cubicBezTo>
                    <a:pt x="524" y="1959"/>
                    <a:pt x="516" y="1963"/>
                    <a:pt x="516" y="1963"/>
                  </a:cubicBezTo>
                  <a:close/>
                  <a:moveTo>
                    <a:pt x="513" y="3020"/>
                  </a:moveTo>
                  <a:cubicBezTo>
                    <a:pt x="510" y="3023"/>
                    <a:pt x="474" y="3044"/>
                    <a:pt x="493" y="3053"/>
                  </a:cubicBezTo>
                  <a:cubicBezTo>
                    <a:pt x="507" y="3048"/>
                    <a:pt x="507" y="3048"/>
                    <a:pt x="507" y="3048"/>
                  </a:cubicBezTo>
                  <a:cubicBezTo>
                    <a:pt x="507" y="3048"/>
                    <a:pt x="522" y="3039"/>
                    <a:pt x="517" y="3031"/>
                  </a:cubicBezTo>
                  <a:cubicBezTo>
                    <a:pt x="514" y="3026"/>
                    <a:pt x="513" y="3021"/>
                    <a:pt x="513" y="3020"/>
                  </a:cubicBezTo>
                  <a:close/>
                  <a:moveTo>
                    <a:pt x="158" y="2805"/>
                  </a:moveTo>
                  <a:cubicBezTo>
                    <a:pt x="165" y="2813"/>
                    <a:pt x="167" y="2802"/>
                    <a:pt x="167" y="2796"/>
                  </a:cubicBezTo>
                  <a:cubicBezTo>
                    <a:pt x="167" y="2796"/>
                    <a:pt x="151" y="2797"/>
                    <a:pt x="158" y="2805"/>
                  </a:cubicBezTo>
                  <a:close/>
                  <a:moveTo>
                    <a:pt x="47" y="2508"/>
                  </a:moveTo>
                  <a:cubicBezTo>
                    <a:pt x="36" y="2509"/>
                    <a:pt x="27" y="2525"/>
                    <a:pt x="27" y="2525"/>
                  </a:cubicBezTo>
                  <a:cubicBezTo>
                    <a:pt x="15" y="2531"/>
                    <a:pt x="24" y="2530"/>
                    <a:pt x="28" y="2530"/>
                  </a:cubicBezTo>
                  <a:cubicBezTo>
                    <a:pt x="32" y="2530"/>
                    <a:pt x="49" y="2515"/>
                    <a:pt x="56" y="2515"/>
                  </a:cubicBezTo>
                  <a:cubicBezTo>
                    <a:pt x="63" y="2515"/>
                    <a:pt x="49" y="2497"/>
                    <a:pt x="49" y="2497"/>
                  </a:cubicBezTo>
                  <a:lnTo>
                    <a:pt x="47" y="2508"/>
                  </a:lnTo>
                  <a:close/>
                  <a:moveTo>
                    <a:pt x="9" y="2549"/>
                  </a:moveTo>
                  <a:cubicBezTo>
                    <a:pt x="9" y="2549"/>
                    <a:pt x="18" y="2549"/>
                    <a:pt x="12" y="2539"/>
                  </a:cubicBezTo>
                  <a:cubicBezTo>
                    <a:pt x="8" y="2533"/>
                    <a:pt x="0" y="2547"/>
                    <a:pt x="0" y="2547"/>
                  </a:cubicBezTo>
                  <a:cubicBezTo>
                    <a:pt x="0" y="2547"/>
                    <a:pt x="3" y="2555"/>
                    <a:pt x="13" y="2556"/>
                  </a:cubicBezTo>
                  <a:cubicBezTo>
                    <a:pt x="23" y="2557"/>
                    <a:pt x="9" y="2549"/>
                    <a:pt x="9" y="2549"/>
                  </a:cubicBezTo>
                  <a:close/>
                  <a:moveTo>
                    <a:pt x="25" y="2475"/>
                  </a:moveTo>
                  <a:cubicBezTo>
                    <a:pt x="25" y="2475"/>
                    <a:pt x="11" y="2490"/>
                    <a:pt x="18" y="2497"/>
                  </a:cubicBezTo>
                  <a:cubicBezTo>
                    <a:pt x="25" y="2503"/>
                    <a:pt x="25" y="2475"/>
                    <a:pt x="25" y="2475"/>
                  </a:cubicBezTo>
                  <a:close/>
                  <a:moveTo>
                    <a:pt x="1174" y="189"/>
                  </a:moveTo>
                  <a:cubicBezTo>
                    <a:pt x="1182" y="189"/>
                    <a:pt x="1179" y="177"/>
                    <a:pt x="1173" y="177"/>
                  </a:cubicBezTo>
                  <a:cubicBezTo>
                    <a:pt x="1165" y="177"/>
                    <a:pt x="1166" y="188"/>
                    <a:pt x="1174" y="189"/>
                  </a:cubicBezTo>
                  <a:close/>
                  <a:moveTo>
                    <a:pt x="1159" y="123"/>
                  </a:moveTo>
                  <a:cubicBezTo>
                    <a:pt x="1173" y="126"/>
                    <a:pt x="1164" y="112"/>
                    <a:pt x="1164" y="112"/>
                  </a:cubicBezTo>
                  <a:cubicBezTo>
                    <a:pt x="1156" y="115"/>
                    <a:pt x="1156" y="115"/>
                    <a:pt x="1156" y="115"/>
                  </a:cubicBezTo>
                  <a:cubicBezTo>
                    <a:pt x="1140" y="104"/>
                    <a:pt x="1140" y="104"/>
                    <a:pt x="1140" y="104"/>
                  </a:cubicBezTo>
                  <a:cubicBezTo>
                    <a:pt x="1133" y="115"/>
                    <a:pt x="1133" y="115"/>
                    <a:pt x="1133" y="115"/>
                  </a:cubicBezTo>
                  <a:cubicBezTo>
                    <a:pt x="1147" y="113"/>
                    <a:pt x="1147" y="113"/>
                    <a:pt x="1147" y="113"/>
                  </a:cubicBezTo>
                  <a:cubicBezTo>
                    <a:pt x="1147" y="113"/>
                    <a:pt x="1145" y="121"/>
                    <a:pt x="1159" y="123"/>
                  </a:cubicBezTo>
                  <a:close/>
                  <a:moveTo>
                    <a:pt x="1087" y="254"/>
                  </a:moveTo>
                  <a:cubicBezTo>
                    <a:pt x="1097" y="247"/>
                    <a:pt x="1081" y="235"/>
                    <a:pt x="1081" y="235"/>
                  </a:cubicBezTo>
                  <a:cubicBezTo>
                    <a:pt x="1073" y="247"/>
                    <a:pt x="1073" y="247"/>
                    <a:pt x="1073" y="247"/>
                  </a:cubicBezTo>
                  <a:cubicBezTo>
                    <a:pt x="1073" y="247"/>
                    <a:pt x="1078" y="261"/>
                    <a:pt x="1087" y="254"/>
                  </a:cubicBezTo>
                  <a:close/>
                  <a:moveTo>
                    <a:pt x="1602" y="7"/>
                  </a:moveTo>
                  <a:cubicBezTo>
                    <a:pt x="1605" y="0"/>
                    <a:pt x="1595" y="1"/>
                    <a:pt x="1595" y="1"/>
                  </a:cubicBezTo>
                  <a:cubicBezTo>
                    <a:pt x="1593" y="3"/>
                    <a:pt x="1599" y="15"/>
                    <a:pt x="1602" y="7"/>
                  </a:cubicBezTo>
                  <a:close/>
                  <a:moveTo>
                    <a:pt x="1010" y="334"/>
                  </a:moveTo>
                  <a:cubicBezTo>
                    <a:pt x="1023" y="340"/>
                    <a:pt x="1028" y="337"/>
                    <a:pt x="1027" y="329"/>
                  </a:cubicBezTo>
                  <a:cubicBezTo>
                    <a:pt x="1027" y="320"/>
                    <a:pt x="1015" y="295"/>
                    <a:pt x="1015" y="295"/>
                  </a:cubicBezTo>
                  <a:cubicBezTo>
                    <a:pt x="997" y="293"/>
                    <a:pt x="997" y="293"/>
                    <a:pt x="997" y="293"/>
                  </a:cubicBezTo>
                  <a:cubicBezTo>
                    <a:pt x="1003" y="305"/>
                    <a:pt x="1003" y="305"/>
                    <a:pt x="1003" y="305"/>
                  </a:cubicBezTo>
                  <a:cubicBezTo>
                    <a:pt x="1003" y="305"/>
                    <a:pt x="997" y="307"/>
                    <a:pt x="995" y="313"/>
                  </a:cubicBezTo>
                  <a:cubicBezTo>
                    <a:pt x="993" y="320"/>
                    <a:pt x="997" y="328"/>
                    <a:pt x="1010" y="334"/>
                  </a:cubicBezTo>
                  <a:close/>
                  <a:moveTo>
                    <a:pt x="232" y="965"/>
                  </a:moveTo>
                  <a:cubicBezTo>
                    <a:pt x="241" y="967"/>
                    <a:pt x="235" y="953"/>
                    <a:pt x="235" y="953"/>
                  </a:cubicBezTo>
                  <a:cubicBezTo>
                    <a:pt x="235" y="953"/>
                    <a:pt x="241" y="950"/>
                    <a:pt x="249" y="948"/>
                  </a:cubicBezTo>
                  <a:cubicBezTo>
                    <a:pt x="257" y="946"/>
                    <a:pt x="249" y="935"/>
                    <a:pt x="237" y="932"/>
                  </a:cubicBezTo>
                  <a:cubicBezTo>
                    <a:pt x="232" y="947"/>
                    <a:pt x="232" y="947"/>
                    <a:pt x="232" y="947"/>
                  </a:cubicBezTo>
                  <a:cubicBezTo>
                    <a:pt x="222" y="960"/>
                    <a:pt x="222" y="960"/>
                    <a:pt x="222" y="960"/>
                  </a:cubicBezTo>
                  <a:cubicBezTo>
                    <a:pt x="222" y="960"/>
                    <a:pt x="223" y="963"/>
                    <a:pt x="232" y="965"/>
                  </a:cubicBezTo>
                  <a:close/>
                  <a:moveTo>
                    <a:pt x="239" y="1346"/>
                  </a:moveTo>
                  <a:cubicBezTo>
                    <a:pt x="247" y="1344"/>
                    <a:pt x="236" y="1325"/>
                    <a:pt x="222" y="1323"/>
                  </a:cubicBezTo>
                  <a:cubicBezTo>
                    <a:pt x="208" y="1320"/>
                    <a:pt x="201" y="1339"/>
                    <a:pt x="201" y="1339"/>
                  </a:cubicBezTo>
                  <a:cubicBezTo>
                    <a:pt x="188" y="1335"/>
                    <a:pt x="188" y="1335"/>
                    <a:pt x="188" y="1335"/>
                  </a:cubicBezTo>
                  <a:cubicBezTo>
                    <a:pt x="188" y="1335"/>
                    <a:pt x="183" y="1350"/>
                    <a:pt x="183" y="1353"/>
                  </a:cubicBezTo>
                  <a:cubicBezTo>
                    <a:pt x="183" y="1353"/>
                    <a:pt x="207" y="1340"/>
                    <a:pt x="214" y="1339"/>
                  </a:cubicBezTo>
                  <a:cubicBezTo>
                    <a:pt x="221" y="1339"/>
                    <a:pt x="232" y="1348"/>
                    <a:pt x="239" y="1346"/>
                  </a:cubicBezTo>
                  <a:close/>
                  <a:moveTo>
                    <a:pt x="247" y="987"/>
                  </a:moveTo>
                  <a:cubicBezTo>
                    <a:pt x="246" y="991"/>
                    <a:pt x="261" y="1003"/>
                    <a:pt x="257" y="993"/>
                  </a:cubicBezTo>
                  <a:cubicBezTo>
                    <a:pt x="253" y="984"/>
                    <a:pt x="247" y="987"/>
                    <a:pt x="247" y="987"/>
                  </a:cubicBezTo>
                  <a:close/>
                  <a:moveTo>
                    <a:pt x="1842" y="2531"/>
                  </a:moveTo>
                  <a:cubicBezTo>
                    <a:pt x="1833" y="2545"/>
                    <a:pt x="1833" y="2545"/>
                    <a:pt x="1833" y="2545"/>
                  </a:cubicBezTo>
                  <a:cubicBezTo>
                    <a:pt x="1833" y="2545"/>
                    <a:pt x="1848" y="2537"/>
                    <a:pt x="1850" y="2537"/>
                  </a:cubicBezTo>
                  <a:cubicBezTo>
                    <a:pt x="1852" y="2536"/>
                    <a:pt x="1842" y="2531"/>
                    <a:pt x="1842" y="2531"/>
                  </a:cubicBezTo>
                  <a:close/>
                  <a:moveTo>
                    <a:pt x="537" y="1777"/>
                  </a:moveTo>
                  <a:cubicBezTo>
                    <a:pt x="529" y="1765"/>
                    <a:pt x="530" y="1759"/>
                    <a:pt x="522" y="1762"/>
                  </a:cubicBezTo>
                  <a:cubicBezTo>
                    <a:pt x="514" y="1765"/>
                    <a:pt x="511" y="1781"/>
                    <a:pt x="511" y="1789"/>
                  </a:cubicBezTo>
                  <a:cubicBezTo>
                    <a:pt x="511" y="1789"/>
                    <a:pt x="545" y="1790"/>
                    <a:pt x="537" y="1777"/>
                  </a:cubicBezTo>
                  <a:close/>
                  <a:moveTo>
                    <a:pt x="505" y="1743"/>
                  </a:moveTo>
                  <a:cubicBezTo>
                    <a:pt x="498" y="1737"/>
                    <a:pt x="477" y="1762"/>
                    <a:pt x="477" y="1762"/>
                  </a:cubicBezTo>
                  <a:cubicBezTo>
                    <a:pt x="486" y="1773"/>
                    <a:pt x="486" y="1773"/>
                    <a:pt x="486" y="1773"/>
                  </a:cubicBezTo>
                  <a:cubicBezTo>
                    <a:pt x="499" y="1773"/>
                    <a:pt x="513" y="1749"/>
                    <a:pt x="505" y="1743"/>
                  </a:cubicBezTo>
                  <a:close/>
                  <a:moveTo>
                    <a:pt x="268" y="1281"/>
                  </a:moveTo>
                  <a:cubicBezTo>
                    <a:pt x="271" y="1276"/>
                    <a:pt x="283" y="1282"/>
                    <a:pt x="283" y="1282"/>
                  </a:cubicBezTo>
                  <a:cubicBezTo>
                    <a:pt x="282" y="1263"/>
                    <a:pt x="282" y="1263"/>
                    <a:pt x="282" y="1263"/>
                  </a:cubicBezTo>
                  <a:cubicBezTo>
                    <a:pt x="271" y="1269"/>
                    <a:pt x="271" y="1269"/>
                    <a:pt x="271" y="1269"/>
                  </a:cubicBezTo>
                  <a:cubicBezTo>
                    <a:pt x="267" y="1259"/>
                    <a:pt x="267" y="1259"/>
                    <a:pt x="267" y="1259"/>
                  </a:cubicBezTo>
                  <a:cubicBezTo>
                    <a:pt x="257" y="1277"/>
                    <a:pt x="257" y="1277"/>
                    <a:pt x="257" y="1277"/>
                  </a:cubicBezTo>
                  <a:cubicBezTo>
                    <a:pt x="257" y="1277"/>
                    <a:pt x="265" y="1285"/>
                    <a:pt x="268" y="1281"/>
                  </a:cubicBezTo>
                  <a:close/>
                  <a:moveTo>
                    <a:pt x="313" y="1269"/>
                  </a:moveTo>
                  <a:cubicBezTo>
                    <a:pt x="306" y="1256"/>
                    <a:pt x="306" y="1256"/>
                    <a:pt x="306" y="1256"/>
                  </a:cubicBezTo>
                  <a:cubicBezTo>
                    <a:pt x="298" y="1271"/>
                    <a:pt x="313" y="1269"/>
                    <a:pt x="313" y="1269"/>
                  </a:cubicBezTo>
                  <a:close/>
                  <a:moveTo>
                    <a:pt x="468" y="1715"/>
                  </a:moveTo>
                  <a:cubicBezTo>
                    <a:pt x="469" y="1706"/>
                    <a:pt x="439" y="1703"/>
                    <a:pt x="439" y="1703"/>
                  </a:cubicBezTo>
                  <a:cubicBezTo>
                    <a:pt x="429" y="1713"/>
                    <a:pt x="429" y="1713"/>
                    <a:pt x="429" y="1713"/>
                  </a:cubicBezTo>
                  <a:cubicBezTo>
                    <a:pt x="429" y="1713"/>
                    <a:pt x="420" y="1698"/>
                    <a:pt x="407" y="1696"/>
                  </a:cubicBezTo>
                  <a:cubicBezTo>
                    <a:pt x="393" y="1694"/>
                    <a:pt x="387" y="1712"/>
                    <a:pt x="387" y="1712"/>
                  </a:cubicBezTo>
                  <a:cubicBezTo>
                    <a:pt x="391" y="1712"/>
                    <a:pt x="409" y="1717"/>
                    <a:pt x="412" y="1719"/>
                  </a:cubicBezTo>
                  <a:cubicBezTo>
                    <a:pt x="415" y="1720"/>
                    <a:pt x="467" y="1751"/>
                    <a:pt x="467" y="1751"/>
                  </a:cubicBezTo>
                  <a:cubicBezTo>
                    <a:pt x="477" y="1735"/>
                    <a:pt x="477" y="1735"/>
                    <a:pt x="477" y="1735"/>
                  </a:cubicBezTo>
                  <a:cubicBezTo>
                    <a:pt x="477" y="1735"/>
                    <a:pt x="459" y="1736"/>
                    <a:pt x="459" y="1729"/>
                  </a:cubicBezTo>
                  <a:cubicBezTo>
                    <a:pt x="459" y="1721"/>
                    <a:pt x="467" y="1723"/>
                    <a:pt x="468" y="1715"/>
                  </a:cubicBezTo>
                  <a:close/>
                  <a:moveTo>
                    <a:pt x="350" y="1197"/>
                  </a:moveTo>
                  <a:cubicBezTo>
                    <a:pt x="345" y="1188"/>
                    <a:pt x="332" y="1181"/>
                    <a:pt x="332" y="1181"/>
                  </a:cubicBezTo>
                  <a:cubicBezTo>
                    <a:pt x="317" y="1193"/>
                    <a:pt x="317" y="1193"/>
                    <a:pt x="317" y="1193"/>
                  </a:cubicBezTo>
                  <a:cubicBezTo>
                    <a:pt x="317" y="1193"/>
                    <a:pt x="295" y="1191"/>
                    <a:pt x="298" y="1215"/>
                  </a:cubicBezTo>
                  <a:cubicBezTo>
                    <a:pt x="298" y="1219"/>
                    <a:pt x="321" y="1217"/>
                    <a:pt x="328" y="1214"/>
                  </a:cubicBezTo>
                  <a:cubicBezTo>
                    <a:pt x="335" y="1211"/>
                    <a:pt x="355" y="1207"/>
                    <a:pt x="350" y="1197"/>
                  </a:cubicBezTo>
                  <a:close/>
                  <a:moveTo>
                    <a:pt x="322" y="1558"/>
                  </a:moveTo>
                  <a:cubicBezTo>
                    <a:pt x="309" y="1557"/>
                    <a:pt x="316" y="1567"/>
                    <a:pt x="326" y="1567"/>
                  </a:cubicBezTo>
                  <a:cubicBezTo>
                    <a:pt x="336" y="1568"/>
                    <a:pt x="333" y="1559"/>
                    <a:pt x="322" y="1558"/>
                  </a:cubicBezTo>
                  <a:close/>
                  <a:moveTo>
                    <a:pt x="2114" y="1477"/>
                  </a:moveTo>
                  <a:cubicBezTo>
                    <a:pt x="2114" y="1477"/>
                    <a:pt x="2112" y="1491"/>
                    <a:pt x="2122" y="1488"/>
                  </a:cubicBezTo>
                  <a:cubicBezTo>
                    <a:pt x="2132" y="1485"/>
                    <a:pt x="2133" y="1477"/>
                    <a:pt x="2133" y="1477"/>
                  </a:cubicBezTo>
                  <a:lnTo>
                    <a:pt x="2114" y="1477"/>
                  </a:lnTo>
                  <a:close/>
                  <a:moveTo>
                    <a:pt x="1043" y="260"/>
                  </a:moveTo>
                  <a:cubicBezTo>
                    <a:pt x="1038" y="270"/>
                    <a:pt x="1038" y="270"/>
                    <a:pt x="1038" y="270"/>
                  </a:cubicBezTo>
                  <a:cubicBezTo>
                    <a:pt x="1047" y="270"/>
                    <a:pt x="1047" y="270"/>
                    <a:pt x="1047" y="270"/>
                  </a:cubicBezTo>
                  <a:cubicBezTo>
                    <a:pt x="1044" y="265"/>
                    <a:pt x="1043" y="260"/>
                    <a:pt x="1043" y="260"/>
                  </a:cubicBezTo>
                  <a:close/>
                  <a:moveTo>
                    <a:pt x="177" y="2799"/>
                  </a:moveTo>
                  <a:cubicBezTo>
                    <a:pt x="184" y="2799"/>
                    <a:pt x="184" y="2799"/>
                    <a:pt x="184" y="2799"/>
                  </a:cubicBezTo>
                  <a:cubicBezTo>
                    <a:pt x="177" y="2791"/>
                    <a:pt x="177" y="2791"/>
                    <a:pt x="177" y="2791"/>
                  </a:cubicBezTo>
                  <a:lnTo>
                    <a:pt x="177" y="2799"/>
                  </a:lnTo>
                  <a:close/>
                  <a:moveTo>
                    <a:pt x="2103" y="1863"/>
                  </a:moveTo>
                  <a:cubicBezTo>
                    <a:pt x="2103" y="1863"/>
                    <a:pt x="2110" y="1768"/>
                    <a:pt x="2105" y="1752"/>
                  </a:cubicBezTo>
                  <a:cubicBezTo>
                    <a:pt x="2094" y="1751"/>
                    <a:pt x="2092" y="1728"/>
                    <a:pt x="2092" y="1709"/>
                  </a:cubicBezTo>
                  <a:cubicBezTo>
                    <a:pt x="2073" y="1693"/>
                    <a:pt x="2077" y="1649"/>
                    <a:pt x="2077" y="1649"/>
                  </a:cubicBezTo>
                  <a:cubicBezTo>
                    <a:pt x="2077" y="1649"/>
                    <a:pt x="2085" y="1649"/>
                    <a:pt x="2086" y="1644"/>
                  </a:cubicBezTo>
                  <a:cubicBezTo>
                    <a:pt x="2087" y="1639"/>
                    <a:pt x="2093" y="1644"/>
                    <a:pt x="2067" y="1625"/>
                  </a:cubicBezTo>
                  <a:cubicBezTo>
                    <a:pt x="2034" y="1623"/>
                    <a:pt x="2032" y="1595"/>
                    <a:pt x="2032" y="1595"/>
                  </a:cubicBezTo>
                  <a:cubicBezTo>
                    <a:pt x="2045" y="1595"/>
                    <a:pt x="2045" y="1595"/>
                    <a:pt x="2045" y="1595"/>
                  </a:cubicBezTo>
                  <a:cubicBezTo>
                    <a:pt x="2039" y="1581"/>
                    <a:pt x="2039" y="1581"/>
                    <a:pt x="2039" y="1581"/>
                  </a:cubicBezTo>
                  <a:cubicBezTo>
                    <a:pt x="2087" y="1565"/>
                    <a:pt x="2087" y="1565"/>
                    <a:pt x="2087" y="1565"/>
                  </a:cubicBezTo>
                  <a:cubicBezTo>
                    <a:pt x="2087" y="1583"/>
                    <a:pt x="2087" y="1583"/>
                    <a:pt x="2087" y="1583"/>
                  </a:cubicBezTo>
                  <a:cubicBezTo>
                    <a:pt x="2087" y="1583"/>
                    <a:pt x="2105" y="1566"/>
                    <a:pt x="2108" y="1562"/>
                  </a:cubicBezTo>
                  <a:cubicBezTo>
                    <a:pt x="2108" y="1562"/>
                    <a:pt x="2108" y="1562"/>
                    <a:pt x="2108" y="1562"/>
                  </a:cubicBezTo>
                  <a:cubicBezTo>
                    <a:pt x="2107" y="1562"/>
                    <a:pt x="2104" y="1560"/>
                    <a:pt x="2099" y="1548"/>
                  </a:cubicBezTo>
                  <a:cubicBezTo>
                    <a:pt x="2070" y="1549"/>
                    <a:pt x="2069" y="1524"/>
                    <a:pt x="2075" y="1512"/>
                  </a:cubicBezTo>
                  <a:cubicBezTo>
                    <a:pt x="2066" y="1510"/>
                    <a:pt x="2084" y="1479"/>
                    <a:pt x="2084" y="1479"/>
                  </a:cubicBezTo>
                  <a:cubicBezTo>
                    <a:pt x="2075" y="1460"/>
                    <a:pt x="2101" y="1456"/>
                    <a:pt x="2096" y="1456"/>
                  </a:cubicBezTo>
                  <a:cubicBezTo>
                    <a:pt x="2091" y="1456"/>
                    <a:pt x="2097" y="1437"/>
                    <a:pt x="2097" y="1437"/>
                  </a:cubicBezTo>
                  <a:cubicBezTo>
                    <a:pt x="2097" y="1437"/>
                    <a:pt x="2097" y="1428"/>
                    <a:pt x="2083" y="1404"/>
                  </a:cubicBezTo>
                  <a:cubicBezTo>
                    <a:pt x="2054" y="1405"/>
                    <a:pt x="2064" y="1405"/>
                    <a:pt x="2056" y="1385"/>
                  </a:cubicBezTo>
                  <a:cubicBezTo>
                    <a:pt x="1983" y="1309"/>
                    <a:pt x="2037" y="1244"/>
                    <a:pt x="2034" y="1240"/>
                  </a:cubicBezTo>
                  <a:cubicBezTo>
                    <a:pt x="1998" y="1239"/>
                    <a:pt x="2028" y="1189"/>
                    <a:pt x="2028" y="1189"/>
                  </a:cubicBezTo>
                  <a:cubicBezTo>
                    <a:pt x="2028" y="1189"/>
                    <a:pt x="1994" y="1185"/>
                    <a:pt x="1975" y="1173"/>
                  </a:cubicBezTo>
                  <a:cubicBezTo>
                    <a:pt x="1956" y="1161"/>
                    <a:pt x="1960" y="1121"/>
                    <a:pt x="1960" y="1121"/>
                  </a:cubicBezTo>
                  <a:cubicBezTo>
                    <a:pt x="1974" y="1114"/>
                    <a:pt x="1974" y="1114"/>
                    <a:pt x="1974" y="1114"/>
                  </a:cubicBezTo>
                  <a:cubicBezTo>
                    <a:pt x="1974" y="1083"/>
                    <a:pt x="1996" y="1081"/>
                    <a:pt x="1996" y="1081"/>
                  </a:cubicBezTo>
                  <a:cubicBezTo>
                    <a:pt x="1996" y="1081"/>
                    <a:pt x="2032" y="1106"/>
                    <a:pt x="2057" y="1110"/>
                  </a:cubicBezTo>
                  <a:cubicBezTo>
                    <a:pt x="2082" y="1114"/>
                    <a:pt x="2091" y="1086"/>
                    <a:pt x="2091" y="1086"/>
                  </a:cubicBezTo>
                  <a:cubicBezTo>
                    <a:pt x="2083" y="1077"/>
                    <a:pt x="2083" y="1077"/>
                    <a:pt x="2083" y="1077"/>
                  </a:cubicBezTo>
                  <a:cubicBezTo>
                    <a:pt x="2077" y="1074"/>
                    <a:pt x="2077" y="1074"/>
                    <a:pt x="2077" y="1074"/>
                  </a:cubicBezTo>
                  <a:cubicBezTo>
                    <a:pt x="2077" y="1074"/>
                    <a:pt x="2077" y="1074"/>
                    <a:pt x="2075" y="1062"/>
                  </a:cubicBezTo>
                  <a:cubicBezTo>
                    <a:pt x="2053" y="1063"/>
                    <a:pt x="2062" y="1061"/>
                    <a:pt x="2044" y="1036"/>
                  </a:cubicBezTo>
                  <a:cubicBezTo>
                    <a:pt x="2028" y="1036"/>
                    <a:pt x="2024" y="1026"/>
                    <a:pt x="2024" y="1018"/>
                  </a:cubicBezTo>
                  <a:cubicBezTo>
                    <a:pt x="2020" y="1017"/>
                    <a:pt x="2016" y="1016"/>
                    <a:pt x="2014" y="1016"/>
                  </a:cubicBezTo>
                  <a:cubicBezTo>
                    <a:pt x="2008" y="1016"/>
                    <a:pt x="1999" y="1024"/>
                    <a:pt x="1999" y="1024"/>
                  </a:cubicBezTo>
                  <a:cubicBezTo>
                    <a:pt x="1983" y="1005"/>
                    <a:pt x="1983" y="1005"/>
                    <a:pt x="1983" y="1005"/>
                  </a:cubicBezTo>
                  <a:cubicBezTo>
                    <a:pt x="1983" y="1005"/>
                    <a:pt x="1983" y="1005"/>
                    <a:pt x="1979" y="1013"/>
                  </a:cubicBezTo>
                  <a:cubicBezTo>
                    <a:pt x="1980" y="1027"/>
                    <a:pt x="1959" y="1051"/>
                    <a:pt x="1947" y="1053"/>
                  </a:cubicBezTo>
                  <a:cubicBezTo>
                    <a:pt x="1936" y="1055"/>
                    <a:pt x="1927" y="1037"/>
                    <a:pt x="1927" y="1037"/>
                  </a:cubicBezTo>
                  <a:cubicBezTo>
                    <a:pt x="1927" y="1037"/>
                    <a:pt x="1924" y="1037"/>
                    <a:pt x="1917" y="1048"/>
                  </a:cubicBezTo>
                  <a:cubicBezTo>
                    <a:pt x="1905" y="1049"/>
                    <a:pt x="1890" y="1057"/>
                    <a:pt x="1890" y="1057"/>
                  </a:cubicBezTo>
                  <a:cubicBezTo>
                    <a:pt x="1877" y="1047"/>
                    <a:pt x="1877" y="1047"/>
                    <a:pt x="1877" y="1047"/>
                  </a:cubicBezTo>
                  <a:cubicBezTo>
                    <a:pt x="1877" y="1047"/>
                    <a:pt x="1865" y="1059"/>
                    <a:pt x="1864" y="1061"/>
                  </a:cubicBezTo>
                  <a:cubicBezTo>
                    <a:pt x="1863" y="1063"/>
                    <a:pt x="1841" y="1038"/>
                    <a:pt x="1840" y="1022"/>
                  </a:cubicBezTo>
                  <a:cubicBezTo>
                    <a:pt x="1839" y="1006"/>
                    <a:pt x="1854" y="982"/>
                    <a:pt x="1854" y="982"/>
                  </a:cubicBezTo>
                  <a:cubicBezTo>
                    <a:pt x="1851" y="975"/>
                    <a:pt x="1851" y="975"/>
                    <a:pt x="1851" y="975"/>
                  </a:cubicBezTo>
                  <a:cubicBezTo>
                    <a:pt x="1851" y="975"/>
                    <a:pt x="1836" y="938"/>
                    <a:pt x="1828" y="936"/>
                  </a:cubicBezTo>
                  <a:cubicBezTo>
                    <a:pt x="1820" y="934"/>
                    <a:pt x="1805" y="951"/>
                    <a:pt x="1805" y="951"/>
                  </a:cubicBezTo>
                  <a:cubicBezTo>
                    <a:pt x="1770" y="915"/>
                    <a:pt x="1770" y="915"/>
                    <a:pt x="1770" y="915"/>
                  </a:cubicBezTo>
                  <a:cubicBezTo>
                    <a:pt x="1768" y="886"/>
                    <a:pt x="1745" y="881"/>
                    <a:pt x="1745" y="881"/>
                  </a:cubicBezTo>
                  <a:cubicBezTo>
                    <a:pt x="1745" y="881"/>
                    <a:pt x="1745" y="878"/>
                    <a:pt x="1755" y="855"/>
                  </a:cubicBezTo>
                  <a:cubicBezTo>
                    <a:pt x="1751" y="833"/>
                    <a:pt x="1703" y="781"/>
                    <a:pt x="1703" y="781"/>
                  </a:cubicBezTo>
                  <a:cubicBezTo>
                    <a:pt x="1689" y="781"/>
                    <a:pt x="1689" y="781"/>
                    <a:pt x="1689" y="781"/>
                  </a:cubicBezTo>
                  <a:cubicBezTo>
                    <a:pt x="1678" y="769"/>
                    <a:pt x="1678" y="769"/>
                    <a:pt x="1678" y="769"/>
                  </a:cubicBezTo>
                  <a:cubicBezTo>
                    <a:pt x="1629" y="832"/>
                    <a:pt x="1629" y="832"/>
                    <a:pt x="1629" y="832"/>
                  </a:cubicBezTo>
                  <a:cubicBezTo>
                    <a:pt x="1613" y="833"/>
                    <a:pt x="1613" y="833"/>
                    <a:pt x="1613" y="833"/>
                  </a:cubicBezTo>
                  <a:cubicBezTo>
                    <a:pt x="1613" y="833"/>
                    <a:pt x="1589" y="858"/>
                    <a:pt x="1595" y="858"/>
                  </a:cubicBezTo>
                  <a:cubicBezTo>
                    <a:pt x="1601" y="858"/>
                    <a:pt x="1617" y="879"/>
                    <a:pt x="1617" y="879"/>
                  </a:cubicBezTo>
                  <a:cubicBezTo>
                    <a:pt x="1617" y="879"/>
                    <a:pt x="1628" y="885"/>
                    <a:pt x="1615" y="914"/>
                  </a:cubicBezTo>
                  <a:cubicBezTo>
                    <a:pt x="1563" y="919"/>
                    <a:pt x="1560" y="993"/>
                    <a:pt x="1560" y="993"/>
                  </a:cubicBezTo>
                  <a:cubicBezTo>
                    <a:pt x="1560" y="993"/>
                    <a:pt x="1556" y="957"/>
                    <a:pt x="1551" y="956"/>
                  </a:cubicBezTo>
                  <a:cubicBezTo>
                    <a:pt x="1547" y="955"/>
                    <a:pt x="1539" y="971"/>
                    <a:pt x="1539" y="975"/>
                  </a:cubicBezTo>
                  <a:cubicBezTo>
                    <a:pt x="1539" y="978"/>
                    <a:pt x="1541" y="987"/>
                    <a:pt x="1541" y="994"/>
                  </a:cubicBezTo>
                  <a:cubicBezTo>
                    <a:pt x="1541" y="1001"/>
                    <a:pt x="1533" y="985"/>
                    <a:pt x="1526" y="985"/>
                  </a:cubicBezTo>
                  <a:cubicBezTo>
                    <a:pt x="1519" y="985"/>
                    <a:pt x="1517" y="997"/>
                    <a:pt x="1517" y="997"/>
                  </a:cubicBezTo>
                  <a:cubicBezTo>
                    <a:pt x="1517" y="997"/>
                    <a:pt x="1516" y="985"/>
                    <a:pt x="1516" y="980"/>
                  </a:cubicBezTo>
                  <a:cubicBezTo>
                    <a:pt x="1516" y="975"/>
                    <a:pt x="1501" y="979"/>
                    <a:pt x="1498" y="979"/>
                  </a:cubicBezTo>
                  <a:cubicBezTo>
                    <a:pt x="1495" y="979"/>
                    <a:pt x="1496" y="964"/>
                    <a:pt x="1496" y="964"/>
                  </a:cubicBezTo>
                  <a:cubicBezTo>
                    <a:pt x="1496" y="964"/>
                    <a:pt x="1477" y="991"/>
                    <a:pt x="1467" y="993"/>
                  </a:cubicBezTo>
                  <a:cubicBezTo>
                    <a:pt x="1458" y="996"/>
                    <a:pt x="1419" y="978"/>
                    <a:pt x="1419" y="978"/>
                  </a:cubicBezTo>
                  <a:cubicBezTo>
                    <a:pt x="1391" y="943"/>
                    <a:pt x="1391" y="943"/>
                    <a:pt x="1391" y="943"/>
                  </a:cubicBezTo>
                  <a:cubicBezTo>
                    <a:pt x="1384" y="943"/>
                    <a:pt x="1384" y="943"/>
                    <a:pt x="1384" y="943"/>
                  </a:cubicBezTo>
                  <a:cubicBezTo>
                    <a:pt x="1384" y="943"/>
                    <a:pt x="1369" y="924"/>
                    <a:pt x="1369" y="922"/>
                  </a:cubicBezTo>
                  <a:cubicBezTo>
                    <a:pt x="1368" y="920"/>
                    <a:pt x="1314" y="921"/>
                    <a:pt x="1314" y="921"/>
                  </a:cubicBezTo>
                  <a:cubicBezTo>
                    <a:pt x="1307" y="924"/>
                    <a:pt x="1307" y="924"/>
                    <a:pt x="1307" y="924"/>
                  </a:cubicBezTo>
                  <a:cubicBezTo>
                    <a:pt x="1307" y="923"/>
                    <a:pt x="1305" y="920"/>
                    <a:pt x="1300" y="913"/>
                  </a:cubicBezTo>
                  <a:cubicBezTo>
                    <a:pt x="1298" y="890"/>
                    <a:pt x="1284" y="851"/>
                    <a:pt x="1284" y="851"/>
                  </a:cubicBezTo>
                  <a:cubicBezTo>
                    <a:pt x="1268" y="849"/>
                    <a:pt x="1268" y="849"/>
                    <a:pt x="1268" y="849"/>
                  </a:cubicBezTo>
                  <a:cubicBezTo>
                    <a:pt x="1268" y="849"/>
                    <a:pt x="1248" y="839"/>
                    <a:pt x="1248" y="833"/>
                  </a:cubicBezTo>
                  <a:cubicBezTo>
                    <a:pt x="1248" y="827"/>
                    <a:pt x="1241" y="822"/>
                    <a:pt x="1226" y="797"/>
                  </a:cubicBezTo>
                  <a:cubicBezTo>
                    <a:pt x="1205" y="796"/>
                    <a:pt x="1171" y="740"/>
                    <a:pt x="1171" y="740"/>
                  </a:cubicBezTo>
                  <a:cubicBezTo>
                    <a:pt x="1173" y="733"/>
                    <a:pt x="1173" y="733"/>
                    <a:pt x="1173" y="733"/>
                  </a:cubicBezTo>
                  <a:cubicBezTo>
                    <a:pt x="1170" y="719"/>
                    <a:pt x="1170" y="719"/>
                    <a:pt x="1170" y="719"/>
                  </a:cubicBezTo>
                  <a:cubicBezTo>
                    <a:pt x="1191" y="718"/>
                    <a:pt x="1191" y="718"/>
                    <a:pt x="1191" y="718"/>
                  </a:cubicBezTo>
                  <a:cubicBezTo>
                    <a:pt x="1203" y="704"/>
                    <a:pt x="1203" y="704"/>
                    <a:pt x="1203" y="704"/>
                  </a:cubicBezTo>
                  <a:cubicBezTo>
                    <a:pt x="1213" y="706"/>
                    <a:pt x="1213" y="706"/>
                    <a:pt x="1213" y="706"/>
                  </a:cubicBezTo>
                  <a:cubicBezTo>
                    <a:pt x="1239" y="665"/>
                    <a:pt x="1239" y="665"/>
                    <a:pt x="1239" y="665"/>
                  </a:cubicBezTo>
                  <a:cubicBezTo>
                    <a:pt x="1239" y="665"/>
                    <a:pt x="1248" y="659"/>
                    <a:pt x="1251" y="667"/>
                  </a:cubicBezTo>
                  <a:cubicBezTo>
                    <a:pt x="1255" y="674"/>
                    <a:pt x="1293" y="675"/>
                    <a:pt x="1293" y="675"/>
                  </a:cubicBezTo>
                  <a:cubicBezTo>
                    <a:pt x="1303" y="669"/>
                    <a:pt x="1303" y="669"/>
                    <a:pt x="1303" y="669"/>
                  </a:cubicBezTo>
                  <a:cubicBezTo>
                    <a:pt x="1302" y="669"/>
                    <a:pt x="1303" y="669"/>
                    <a:pt x="1303" y="669"/>
                  </a:cubicBezTo>
                  <a:cubicBezTo>
                    <a:pt x="1303" y="669"/>
                    <a:pt x="1303" y="669"/>
                    <a:pt x="1303" y="669"/>
                  </a:cubicBezTo>
                  <a:cubicBezTo>
                    <a:pt x="1303" y="669"/>
                    <a:pt x="1307" y="668"/>
                    <a:pt x="1320" y="663"/>
                  </a:cubicBezTo>
                  <a:cubicBezTo>
                    <a:pt x="1327" y="643"/>
                    <a:pt x="1380" y="616"/>
                    <a:pt x="1380" y="616"/>
                  </a:cubicBezTo>
                  <a:cubicBezTo>
                    <a:pt x="1380" y="616"/>
                    <a:pt x="1385" y="617"/>
                    <a:pt x="1377" y="607"/>
                  </a:cubicBezTo>
                  <a:cubicBezTo>
                    <a:pt x="1343" y="612"/>
                    <a:pt x="1323" y="593"/>
                    <a:pt x="1323" y="593"/>
                  </a:cubicBezTo>
                  <a:cubicBezTo>
                    <a:pt x="1314" y="605"/>
                    <a:pt x="1314" y="605"/>
                    <a:pt x="1314" y="605"/>
                  </a:cubicBezTo>
                  <a:cubicBezTo>
                    <a:pt x="1281" y="570"/>
                    <a:pt x="1281" y="570"/>
                    <a:pt x="1281" y="570"/>
                  </a:cubicBezTo>
                  <a:cubicBezTo>
                    <a:pt x="1289" y="560"/>
                    <a:pt x="1289" y="560"/>
                    <a:pt x="1289" y="560"/>
                  </a:cubicBezTo>
                  <a:cubicBezTo>
                    <a:pt x="1279" y="550"/>
                    <a:pt x="1279" y="550"/>
                    <a:pt x="1279" y="550"/>
                  </a:cubicBezTo>
                  <a:cubicBezTo>
                    <a:pt x="1279" y="550"/>
                    <a:pt x="1313" y="524"/>
                    <a:pt x="1318" y="524"/>
                  </a:cubicBezTo>
                  <a:cubicBezTo>
                    <a:pt x="1323" y="524"/>
                    <a:pt x="1353" y="548"/>
                    <a:pt x="1353" y="548"/>
                  </a:cubicBezTo>
                  <a:cubicBezTo>
                    <a:pt x="1407" y="514"/>
                    <a:pt x="1407" y="514"/>
                    <a:pt x="1407" y="514"/>
                  </a:cubicBezTo>
                  <a:cubicBezTo>
                    <a:pt x="1447" y="516"/>
                    <a:pt x="1447" y="516"/>
                    <a:pt x="1447" y="516"/>
                  </a:cubicBezTo>
                  <a:cubicBezTo>
                    <a:pt x="1447" y="516"/>
                    <a:pt x="1447" y="516"/>
                    <a:pt x="1458" y="477"/>
                  </a:cubicBezTo>
                  <a:cubicBezTo>
                    <a:pt x="1495" y="457"/>
                    <a:pt x="1501" y="412"/>
                    <a:pt x="1500" y="393"/>
                  </a:cubicBezTo>
                  <a:cubicBezTo>
                    <a:pt x="1500" y="383"/>
                    <a:pt x="1509" y="363"/>
                    <a:pt x="1517" y="349"/>
                  </a:cubicBezTo>
                  <a:cubicBezTo>
                    <a:pt x="1516" y="336"/>
                    <a:pt x="1517" y="312"/>
                    <a:pt x="1517" y="312"/>
                  </a:cubicBezTo>
                  <a:cubicBezTo>
                    <a:pt x="1545" y="283"/>
                    <a:pt x="1545" y="283"/>
                    <a:pt x="1545" y="283"/>
                  </a:cubicBezTo>
                  <a:cubicBezTo>
                    <a:pt x="1569" y="287"/>
                    <a:pt x="1569" y="287"/>
                    <a:pt x="1569" y="287"/>
                  </a:cubicBezTo>
                  <a:cubicBezTo>
                    <a:pt x="1569" y="287"/>
                    <a:pt x="1551" y="281"/>
                    <a:pt x="1635" y="210"/>
                  </a:cubicBezTo>
                  <a:cubicBezTo>
                    <a:pt x="1726" y="161"/>
                    <a:pt x="1729" y="161"/>
                    <a:pt x="1734" y="151"/>
                  </a:cubicBezTo>
                  <a:cubicBezTo>
                    <a:pt x="1739" y="141"/>
                    <a:pt x="1676" y="118"/>
                    <a:pt x="1676" y="118"/>
                  </a:cubicBezTo>
                  <a:cubicBezTo>
                    <a:pt x="1666" y="118"/>
                    <a:pt x="1666" y="118"/>
                    <a:pt x="1666" y="118"/>
                  </a:cubicBezTo>
                  <a:cubicBezTo>
                    <a:pt x="1647" y="118"/>
                    <a:pt x="1631" y="88"/>
                    <a:pt x="1625" y="67"/>
                  </a:cubicBezTo>
                  <a:cubicBezTo>
                    <a:pt x="1604" y="46"/>
                    <a:pt x="1525" y="34"/>
                    <a:pt x="1525" y="34"/>
                  </a:cubicBezTo>
                  <a:cubicBezTo>
                    <a:pt x="1511" y="37"/>
                    <a:pt x="1531" y="48"/>
                    <a:pt x="1545" y="54"/>
                  </a:cubicBezTo>
                  <a:cubicBezTo>
                    <a:pt x="1532" y="56"/>
                    <a:pt x="1545" y="83"/>
                    <a:pt x="1545" y="83"/>
                  </a:cubicBezTo>
                  <a:cubicBezTo>
                    <a:pt x="1535" y="80"/>
                    <a:pt x="1535" y="80"/>
                    <a:pt x="1535" y="80"/>
                  </a:cubicBezTo>
                  <a:cubicBezTo>
                    <a:pt x="1535" y="80"/>
                    <a:pt x="1508" y="105"/>
                    <a:pt x="1505" y="105"/>
                  </a:cubicBezTo>
                  <a:cubicBezTo>
                    <a:pt x="1502" y="105"/>
                    <a:pt x="1495" y="97"/>
                    <a:pt x="1495" y="97"/>
                  </a:cubicBezTo>
                  <a:cubicBezTo>
                    <a:pt x="1462" y="103"/>
                    <a:pt x="1462" y="103"/>
                    <a:pt x="1462" y="103"/>
                  </a:cubicBezTo>
                  <a:cubicBezTo>
                    <a:pt x="1470" y="116"/>
                    <a:pt x="1470" y="116"/>
                    <a:pt x="1470" y="116"/>
                  </a:cubicBezTo>
                  <a:cubicBezTo>
                    <a:pt x="1459" y="131"/>
                    <a:pt x="1459" y="131"/>
                    <a:pt x="1459" y="131"/>
                  </a:cubicBezTo>
                  <a:cubicBezTo>
                    <a:pt x="1463" y="139"/>
                    <a:pt x="1463" y="139"/>
                    <a:pt x="1463" y="139"/>
                  </a:cubicBezTo>
                  <a:cubicBezTo>
                    <a:pt x="1449" y="170"/>
                    <a:pt x="1449" y="170"/>
                    <a:pt x="1449" y="170"/>
                  </a:cubicBezTo>
                  <a:cubicBezTo>
                    <a:pt x="1449" y="170"/>
                    <a:pt x="1482" y="205"/>
                    <a:pt x="1492" y="221"/>
                  </a:cubicBezTo>
                  <a:cubicBezTo>
                    <a:pt x="1502" y="237"/>
                    <a:pt x="1479" y="239"/>
                    <a:pt x="1479" y="245"/>
                  </a:cubicBezTo>
                  <a:cubicBezTo>
                    <a:pt x="1479" y="251"/>
                    <a:pt x="1497" y="266"/>
                    <a:pt x="1495" y="272"/>
                  </a:cubicBezTo>
                  <a:cubicBezTo>
                    <a:pt x="1493" y="278"/>
                    <a:pt x="1474" y="249"/>
                    <a:pt x="1474" y="249"/>
                  </a:cubicBezTo>
                  <a:cubicBezTo>
                    <a:pt x="1462" y="265"/>
                    <a:pt x="1462" y="265"/>
                    <a:pt x="1462" y="265"/>
                  </a:cubicBezTo>
                  <a:cubicBezTo>
                    <a:pt x="1462" y="265"/>
                    <a:pt x="1467" y="272"/>
                    <a:pt x="1470" y="278"/>
                  </a:cubicBezTo>
                  <a:cubicBezTo>
                    <a:pt x="1473" y="284"/>
                    <a:pt x="1459" y="296"/>
                    <a:pt x="1459" y="296"/>
                  </a:cubicBezTo>
                  <a:cubicBezTo>
                    <a:pt x="1459" y="296"/>
                    <a:pt x="1411" y="341"/>
                    <a:pt x="1402" y="341"/>
                  </a:cubicBezTo>
                  <a:cubicBezTo>
                    <a:pt x="1393" y="341"/>
                    <a:pt x="1444" y="292"/>
                    <a:pt x="1444" y="292"/>
                  </a:cubicBezTo>
                  <a:cubicBezTo>
                    <a:pt x="1436" y="279"/>
                    <a:pt x="1436" y="279"/>
                    <a:pt x="1436" y="279"/>
                  </a:cubicBezTo>
                  <a:cubicBezTo>
                    <a:pt x="1424" y="281"/>
                    <a:pt x="1424" y="281"/>
                    <a:pt x="1424" y="281"/>
                  </a:cubicBezTo>
                  <a:cubicBezTo>
                    <a:pt x="1424" y="281"/>
                    <a:pt x="1455" y="238"/>
                    <a:pt x="1465" y="226"/>
                  </a:cubicBezTo>
                  <a:cubicBezTo>
                    <a:pt x="1475" y="214"/>
                    <a:pt x="1444" y="199"/>
                    <a:pt x="1444" y="199"/>
                  </a:cubicBezTo>
                  <a:cubicBezTo>
                    <a:pt x="1445" y="178"/>
                    <a:pt x="1445" y="178"/>
                    <a:pt x="1445" y="178"/>
                  </a:cubicBezTo>
                  <a:cubicBezTo>
                    <a:pt x="1425" y="174"/>
                    <a:pt x="1425" y="174"/>
                    <a:pt x="1425" y="174"/>
                  </a:cubicBezTo>
                  <a:cubicBezTo>
                    <a:pt x="1417" y="160"/>
                    <a:pt x="1417" y="160"/>
                    <a:pt x="1417" y="160"/>
                  </a:cubicBezTo>
                  <a:cubicBezTo>
                    <a:pt x="1428" y="145"/>
                    <a:pt x="1428" y="145"/>
                    <a:pt x="1428" y="145"/>
                  </a:cubicBezTo>
                  <a:cubicBezTo>
                    <a:pt x="1428" y="145"/>
                    <a:pt x="1420" y="107"/>
                    <a:pt x="1410" y="107"/>
                  </a:cubicBezTo>
                  <a:cubicBezTo>
                    <a:pt x="1400" y="107"/>
                    <a:pt x="1390" y="127"/>
                    <a:pt x="1379" y="127"/>
                  </a:cubicBezTo>
                  <a:cubicBezTo>
                    <a:pt x="1368" y="127"/>
                    <a:pt x="1362" y="122"/>
                    <a:pt x="1362" y="122"/>
                  </a:cubicBezTo>
                  <a:cubicBezTo>
                    <a:pt x="1362" y="122"/>
                    <a:pt x="1353" y="147"/>
                    <a:pt x="1347" y="147"/>
                  </a:cubicBezTo>
                  <a:cubicBezTo>
                    <a:pt x="1341" y="147"/>
                    <a:pt x="1346" y="127"/>
                    <a:pt x="1346" y="127"/>
                  </a:cubicBezTo>
                  <a:cubicBezTo>
                    <a:pt x="1346" y="127"/>
                    <a:pt x="1334" y="130"/>
                    <a:pt x="1329" y="145"/>
                  </a:cubicBezTo>
                  <a:cubicBezTo>
                    <a:pt x="1320" y="140"/>
                    <a:pt x="1310" y="141"/>
                    <a:pt x="1306" y="154"/>
                  </a:cubicBezTo>
                  <a:cubicBezTo>
                    <a:pt x="1302" y="167"/>
                    <a:pt x="1327" y="186"/>
                    <a:pt x="1327" y="186"/>
                  </a:cubicBezTo>
                  <a:cubicBezTo>
                    <a:pt x="1309" y="210"/>
                    <a:pt x="1309" y="210"/>
                    <a:pt x="1309" y="210"/>
                  </a:cubicBezTo>
                  <a:cubicBezTo>
                    <a:pt x="1316" y="189"/>
                    <a:pt x="1316" y="189"/>
                    <a:pt x="1316" y="189"/>
                  </a:cubicBezTo>
                  <a:cubicBezTo>
                    <a:pt x="1316" y="189"/>
                    <a:pt x="1300" y="191"/>
                    <a:pt x="1300" y="184"/>
                  </a:cubicBezTo>
                  <a:cubicBezTo>
                    <a:pt x="1300" y="177"/>
                    <a:pt x="1292" y="177"/>
                    <a:pt x="1275" y="172"/>
                  </a:cubicBezTo>
                  <a:cubicBezTo>
                    <a:pt x="1269" y="119"/>
                    <a:pt x="1245" y="157"/>
                    <a:pt x="1239" y="157"/>
                  </a:cubicBezTo>
                  <a:cubicBezTo>
                    <a:pt x="1233" y="157"/>
                    <a:pt x="1238" y="186"/>
                    <a:pt x="1238" y="186"/>
                  </a:cubicBezTo>
                  <a:cubicBezTo>
                    <a:pt x="1238" y="186"/>
                    <a:pt x="1231" y="180"/>
                    <a:pt x="1228" y="180"/>
                  </a:cubicBezTo>
                  <a:cubicBezTo>
                    <a:pt x="1225" y="180"/>
                    <a:pt x="1221" y="188"/>
                    <a:pt x="1221" y="188"/>
                  </a:cubicBezTo>
                  <a:cubicBezTo>
                    <a:pt x="1221" y="188"/>
                    <a:pt x="1178" y="194"/>
                    <a:pt x="1178" y="198"/>
                  </a:cubicBezTo>
                  <a:cubicBezTo>
                    <a:pt x="1178" y="202"/>
                    <a:pt x="1188" y="205"/>
                    <a:pt x="1187" y="216"/>
                  </a:cubicBezTo>
                  <a:cubicBezTo>
                    <a:pt x="1186" y="227"/>
                    <a:pt x="1166" y="199"/>
                    <a:pt x="1166" y="199"/>
                  </a:cubicBezTo>
                  <a:cubicBezTo>
                    <a:pt x="1166" y="199"/>
                    <a:pt x="1124" y="198"/>
                    <a:pt x="1113" y="201"/>
                  </a:cubicBezTo>
                  <a:cubicBezTo>
                    <a:pt x="1102" y="204"/>
                    <a:pt x="1113" y="214"/>
                    <a:pt x="1113" y="214"/>
                  </a:cubicBezTo>
                  <a:cubicBezTo>
                    <a:pt x="1113" y="214"/>
                    <a:pt x="1113" y="218"/>
                    <a:pt x="1103" y="220"/>
                  </a:cubicBezTo>
                  <a:cubicBezTo>
                    <a:pt x="1093" y="222"/>
                    <a:pt x="1107" y="233"/>
                    <a:pt x="1107" y="233"/>
                  </a:cubicBezTo>
                  <a:cubicBezTo>
                    <a:pt x="1107" y="233"/>
                    <a:pt x="1106" y="237"/>
                    <a:pt x="1106" y="258"/>
                  </a:cubicBezTo>
                  <a:cubicBezTo>
                    <a:pt x="1106" y="279"/>
                    <a:pt x="1080" y="278"/>
                    <a:pt x="1080" y="278"/>
                  </a:cubicBezTo>
                  <a:cubicBezTo>
                    <a:pt x="1080" y="278"/>
                    <a:pt x="1077" y="278"/>
                    <a:pt x="1062" y="278"/>
                  </a:cubicBezTo>
                  <a:cubicBezTo>
                    <a:pt x="1058" y="278"/>
                    <a:pt x="1055" y="277"/>
                    <a:pt x="1053" y="276"/>
                  </a:cubicBezTo>
                  <a:cubicBezTo>
                    <a:pt x="1061" y="303"/>
                    <a:pt x="1061" y="303"/>
                    <a:pt x="1061" y="303"/>
                  </a:cubicBezTo>
                  <a:cubicBezTo>
                    <a:pt x="1045" y="310"/>
                    <a:pt x="1045" y="310"/>
                    <a:pt x="1045" y="310"/>
                  </a:cubicBezTo>
                  <a:cubicBezTo>
                    <a:pt x="1069" y="344"/>
                    <a:pt x="1069" y="344"/>
                    <a:pt x="1069" y="344"/>
                  </a:cubicBezTo>
                  <a:cubicBezTo>
                    <a:pt x="1069" y="344"/>
                    <a:pt x="1067" y="355"/>
                    <a:pt x="1055" y="355"/>
                  </a:cubicBezTo>
                  <a:cubicBezTo>
                    <a:pt x="1043" y="355"/>
                    <a:pt x="1049" y="329"/>
                    <a:pt x="1049" y="329"/>
                  </a:cubicBezTo>
                  <a:cubicBezTo>
                    <a:pt x="1033" y="309"/>
                    <a:pt x="1033" y="309"/>
                    <a:pt x="1033" y="309"/>
                  </a:cubicBezTo>
                  <a:cubicBezTo>
                    <a:pt x="1040" y="334"/>
                    <a:pt x="1040" y="334"/>
                    <a:pt x="1040" y="334"/>
                  </a:cubicBezTo>
                  <a:cubicBezTo>
                    <a:pt x="1040" y="334"/>
                    <a:pt x="1041" y="355"/>
                    <a:pt x="1041" y="373"/>
                  </a:cubicBezTo>
                  <a:cubicBezTo>
                    <a:pt x="1041" y="391"/>
                    <a:pt x="1063" y="388"/>
                    <a:pt x="1063" y="388"/>
                  </a:cubicBezTo>
                  <a:cubicBezTo>
                    <a:pt x="1063" y="388"/>
                    <a:pt x="1072" y="405"/>
                    <a:pt x="1072" y="417"/>
                  </a:cubicBezTo>
                  <a:cubicBezTo>
                    <a:pt x="1072" y="429"/>
                    <a:pt x="1049" y="423"/>
                    <a:pt x="1049" y="423"/>
                  </a:cubicBezTo>
                  <a:cubicBezTo>
                    <a:pt x="1042" y="423"/>
                    <a:pt x="1042" y="423"/>
                    <a:pt x="1042" y="423"/>
                  </a:cubicBezTo>
                  <a:cubicBezTo>
                    <a:pt x="1042" y="423"/>
                    <a:pt x="1032" y="422"/>
                    <a:pt x="1024" y="422"/>
                  </a:cubicBezTo>
                  <a:cubicBezTo>
                    <a:pt x="1016" y="422"/>
                    <a:pt x="1016" y="433"/>
                    <a:pt x="1016" y="433"/>
                  </a:cubicBezTo>
                  <a:cubicBezTo>
                    <a:pt x="1016" y="433"/>
                    <a:pt x="1007" y="429"/>
                    <a:pt x="1000" y="429"/>
                  </a:cubicBezTo>
                  <a:cubicBezTo>
                    <a:pt x="993" y="429"/>
                    <a:pt x="990" y="440"/>
                    <a:pt x="990" y="440"/>
                  </a:cubicBezTo>
                  <a:cubicBezTo>
                    <a:pt x="1015" y="451"/>
                    <a:pt x="1015" y="451"/>
                    <a:pt x="1015" y="451"/>
                  </a:cubicBezTo>
                  <a:cubicBezTo>
                    <a:pt x="1010" y="466"/>
                    <a:pt x="1010" y="466"/>
                    <a:pt x="1010" y="466"/>
                  </a:cubicBezTo>
                  <a:cubicBezTo>
                    <a:pt x="1002" y="461"/>
                    <a:pt x="1002" y="461"/>
                    <a:pt x="1002" y="461"/>
                  </a:cubicBezTo>
                  <a:cubicBezTo>
                    <a:pt x="1002" y="461"/>
                    <a:pt x="1002" y="461"/>
                    <a:pt x="999" y="467"/>
                  </a:cubicBezTo>
                  <a:cubicBezTo>
                    <a:pt x="996" y="473"/>
                    <a:pt x="1003" y="478"/>
                    <a:pt x="1003" y="478"/>
                  </a:cubicBezTo>
                  <a:cubicBezTo>
                    <a:pt x="1003" y="478"/>
                    <a:pt x="1002" y="485"/>
                    <a:pt x="998" y="486"/>
                  </a:cubicBezTo>
                  <a:cubicBezTo>
                    <a:pt x="994" y="487"/>
                    <a:pt x="996" y="474"/>
                    <a:pt x="996" y="474"/>
                  </a:cubicBezTo>
                  <a:cubicBezTo>
                    <a:pt x="947" y="476"/>
                    <a:pt x="947" y="476"/>
                    <a:pt x="947" y="476"/>
                  </a:cubicBezTo>
                  <a:cubicBezTo>
                    <a:pt x="906" y="503"/>
                    <a:pt x="906" y="503"/>
                    <a:pt x="906" y="503"/>
                  </a:cubicBezTo>
                  <a:cubicBezTo>
                    <a:pt x="900" y="523"/>
                    <a:pt x="900" y="523"/>
                    <a:pt x="900" y="523"/>
                  </a:cubicBezTo>
                  <a:cubicBezTo>
                    <a:pt x="900" y="523"/>
                    <a:pt x="881" y="529"/>
                    <a:pt x="884" y="535"/>
                  </a:cubicBezTo>
                  <a:cubicBezTo>
                    <a:pt x="887" y="541"/>
                    <a:pt x="888" y="559"/>
                    <a:pt x="888" y="562"/>
                  </a:cubicBezTo>
                  <a:cubicBezTo>
                    <a:pt x="888" y="565"/>
                    <a:pt x="919" y="574"/>
                    <a:pt x="930" y="574"/>
                  </a:cubicBezTo>
                  <a:cubicBezTo>
                    <a:pt x="941" y="574"/>
                    <a:pt x="936" y="591"/>
                    <a:pt x="936" y="591"/>
                  </a:cubicBezTo>
                  <a:cubicBezTo>
                    <a:pt x="973" y="597"/>
                    <a:pt x="973" y="597"/>
                    <a:pt x="973" y="597"/>
                  </a:cubicBezTo>
                  <a:cubicBezTo>
                    <a:pt x="976" y="612"/>
                    <a:pt x="976" y="612"/>
                    <a:pt x="976" y="612"/>
                  </a:cubicBezTo>
                  <a:cubicBezTo>
                    <a:pt x="976" y="612"/>
                    <a:pt x="978" y="592"/>
                    <a:pt x="990" y="592"/>
                  </a:cubicBezTo>
                  <a:cubicBezTo>
                    <a:pt x="1002" y="592"/>
                    <a:pt x="1021" y="580"/>
                    <a:pt x="1024" y="581"/>
                  </a:cubicBezTo>
                  <a:cubicBezTo>
                    <a:pt x="1027" y="582"/>
                    <a:pt x="1022" y="588"/>
                    <a:pt x="1019" y="592"/>
                  </a:cubicBezTo>
                  <a:cubicBezTo>
                    <a:pt x="1016" y="596"/>
                    <a:pt x="1024" y="608"/>
                    <a:pt x="1024" y="608"/>
                  </a:cubicBezTo>
                  <a:cubicBezTo>
                    <a:pt x="1024" y="608"/>
                    <a:pt x="1057" y="586"/>
                    <a:pt x="1067" y="589"/>
                  </a:cubicBezTo>
                  <a:cubicBezTo>
                    <a:pt x="1077" y="592"/>
                    <a:pt x="1063" y="609"/>
                    <a:pt x="1063" y="609"/>
                  </a:cubicBezTo>
                  <a:cubicBezTo>
                    <a:pt x="1063" y="609"/>
                    <a:pt x="1045" y="609"/>
                    <a:pt x="1042" y="609"/>
                  </a:cubicBezTo>
                  <a:cubicBezTo>
                    <a:pt x="1039" y="609"/>
                    <a:pt x="1029" y="632"/>
                    <a:pt x="1033" y="637"/>
                  </a:cubicBezTo>
                  <a:cubicBezTo>
                    <a:pt x="1037" y="642"/>
                    <a:pt x="1051" y="615"/>
                    <a:pt x="1051" y="615"/>
                  </a:cubicBezTo>
                  <a:cubicBezTo>
                    <a:pt x="1065" y="617"/>
                    <a:pt x="1065" y="617"/>
                    <a:pt x="1065" y="617"/>
                  </a:cubicBezTo>
                  <a:cubicBezTo>
                    <a:pt x="1065" y="617"/>
                    <a:pt x="1071" y="604"/>
                    <a:pt x="1082" y="596"/>
                  </a:cubicBezTo>
                  <a:cubicBezTo>
                    <a:pt x="1086" y="585"/>
                    <a:pt x="1118" y="580"/>
                    <a:pt x="1118" y="580"/>
                  </a:cubicBezTo>
                  <a:cubicBezTo>
                    <a:pt x="1118" y="580"/>
                    <a:pt x="1103" y="599"/>
                    <a:pt x="1100" y="599"/>
                  </a:cubicBezTo>
                  <a:cubicBezTo>
                    <a:pt x="1097" y="599"/>
                    <a:pt x="1106" y="614"/>
                    <a:pt x="1106" y="614"/>
                  </a:cubicBezTo>
                  <a:cubicBezTo>
                    <a:pt x="1106" y="614"/>
                    <a:pt x="1150" y="584"/>
                    <a:pt x="1164" y="585"/>
                  </a:cubicBezTo>
                  <a:cubicBezTo>
                    <a:pt x="1178" y="586"/>
                    <a:pt x="1162" y="608"/>
                    <a:pt x="1162" y="608"/>
                  </a:cubicBezTo>
                  <a:cubicBezTo>
                    <a:pt x="1162" y="608"/>
                    <a:pt x="1146" y="633"/>
                    <a:pt x="1139" y="637"/>
                  </a:cubicBezTo>
                  <a:cubicBezTo>
                    <a:pt x="1132" y="641"/>
                    <a:pt x="1139" y="637"/>
                    <a:pt x="1141" y="646"/>
                  </a:cubicBezTo>
                  <a:cubicBezTo>
                    <a:pt x="1143" y="655"/>
                    <a:pt x="1123" y="661"/>
                    <a:pt x="1119" y="664"/>
                  </a:cubicBezTo>
                  <a:cubicBezTo>
                    <a:pt x="1115" y="667"/>
                    <a:pt x="1119" y="672"/>
                    <a:pt x="1126" y="679"/>
                  </a:cubicBezTo>
                  <a:cubicBezTo>
                    <a:pt x="1133" y="686"/>
                    <a:pt x="1113" y="696"/>
                    <a:pt x="1100" y="702"/>
                  </a:cubicBezTo>
                  <a:cubicBezTo>
                    <a:pt x="1087" y="708"/>
                    <a:pt x="1059" y="705"/>
                    <a:pt x="1059" y="705"/>
                  </a:cubicBezTo>
                  <a:cubicBezTo>
                    <a:pt x="1047" y="714"/>
                    <a:pt x="1047" y="714"/>
                    <a:pt x="1047" y="714"/>
                  </a:cubicBezTo>
                  <a:cubicBezTo>
                    <a:pt x="1047" y="714"/>
                    <a:pt x="1035" y="706"/>
                    <a:pt x="1025" y="708"/>
                  </a:cubicBezTo>
                  <a:cubicBezTo>
                    <a:pt x="1015" y="710"/>
                    <a:pt x="1025" y="726"/>
                    <a:pt x="1025" y="726"/>
                  </a:cubicBezTo>
                  <a:cubicBezTo>
                    <a:pt x="1025" y="726"/>
                    <a:pt x="1011" y="741"/>
                    <a:pt x="1011" y="744"/>
                  </a:cubicBezTo>
                  <a:cubicBezTo>
                    <a:pt x="1011" y="747"/>
                    <a:pt x="1002" y="738"/>
                    <a:pt x="1002" y="738"/>
                  </a:cubicBezTo>
                  <a:cubicBezTo>
                    <a:pt x="996" y="750"/>
                    <a:pt x="996" y="750"/>
                    <a:pt x="996" y="750"/>
                  </a:cubicBezTo>
                  <a:cubicBezTo>
                    <a:pt x="983" y="750"/>
                    <a:pt x="983" y="750"/>
                    <a:pt x="983" y="750"/>
                  </a:cubicBezTo>
                  <a:cubicBezTo>
                    <a:pt x="976" y="763"/>
                    <a:pt x="976" y="763"/>
                    <a:pt x="976" y="763"/>
                  </a:cubicBezTo>
                  <a:cubicBezTo>
                    <a:pt x="976" y="763"/>
                    <a:pt x="943" y="775"/>
                    <a:pt x="932" y="780"/>
                  </a:cubicBezTo>
                  <a:cubicBezTo>
                    <a:pt x="921" y="785"/>
                    <a:pt x="930" y="789"/>
                    <a:pt x="947" y="813"/>
                  </a:cubicBezTo>
                  <a:cubicBezTo>
                    <a:pt x="980" y="794"/>
                    <a:pt x="976" y="814"/>
                    <a:pt x="976" y="819"/>
                  </a:cubicBezTo>
                  <a:cubicBezTo>
                    <a:pt x="976" y="824"/>
                    <a:pt x="949" y="868"/>
                    <a:pt x="949" y="868"/>
                  </a:cubicBezTo>
                  <a:cubicBezTo>
                    <a:pt x="949" y="868"/>
                    <a:pt x="946" y="855"/>
                    <a:pt x="928" y="855"/>
                  </a:cubicBezTo>
                  <a:cubicBezTo>
                    <a:pt x="910" y="855"/>
                    <a:pt x="913" y="862"/>
                    <a:pt x="910" y="862"/>
                  </a:cubicBezTo>
                  <a:cubicBezTo>
                    <a:pt x="907" y="862"/>
                    <a:pt x="895" y="843"/>
                    <a:pt x="895" y="843"/>
                  </a:cubicBezTo>
                  <a:cubicBezTo>
                    <a:pt x="895" y="843"/>
                    <a:pt x="878" y="866"/>
                    <a:pt x="862" y="866"/>
                  </a:cubicBezTo>
                  <a:cubicBezTo>
                    <a:pt x="846" y="866"/>
                    <a:pt x="826" y="836"/>
                    <a:pt x="826" y="836"/>
                  </a:cubicBezTo>
                  <a:cubicBezTo>
                    <a:pt x="801" y="837"/>
                    <a:pt x="801" y="837"/>
                    <a:pt x="801" y="837"/>
                  </a:cubicBezTo>
                  <a:cubicBezTo>
                    <a:pt x="793" y="829"/>
                    <a:pt x="793" y="829"/>
                    <a:pt x="793" y="829"/>
                  </a:cubicBezTo>
                  <a:cubicBezTo>
                    <a:pt x="761" y="826"/>
                    <a:pt x="761" y="826"/>
                    <a:pt x="761" y="826"/>
                  </a:cubicBezTo>
                  <a:cubicBezTo>
                    <a:pt x="761" y="826"/>
                    <a:pt x="756" y="849"/>
                    <a:pt x="756" y="862"/>
                  </a:cubicBezTo>
                  <a:cubicBezTo>
                    <a:pt x="756" y="875"/>
                    <a:pt x="739" y="882"/>
                    <a:pt x="739" y="882"/>
                  </a:cubicBezTo>
                  <a:cubicBezTo>
                    <a:pt x="739" y="893"/>
                    <a:pt x="739" y="893"/>
                    <a:pt x="739" y="893"/>
                  </a:cubicBezTo>
                  <a:cubicBezTo>
                    <a:pt x="739" y="893"/>
                    <a:pt x="741" y="896"/>
                    <a:pt x="730" y="899"/>
                  </a:cubicBezTo>
                  <a:cubicBezTo>
                    <a:pt x="739" y="912"/>
                    <a:pt x="720" y="915"/>
                    <a:pt x="720" y="915"/>
                  </a:cubicBezTo>
                  <a:cubicBezTo>
                    <a:pt x="715" y="912"/>
                    <a:pt x="715" y="912"/>
                    <a:pt x="715" y="912"/>
                  </a:cubicBezTo>
                  <a:cubicBezTo>
                    <a:pt x="720" y="904"/>
                    <a:pt x="720" y="904"/>
                    <a:pt x="720" y="904"/>
                  </a:cubicBezTo>
                  <a:cubicBezTo>
                    <a:pt x="720" y="904"/>
                    <a:pt x="702" y="891"/>
                    <a:pt x="702" y="882"/>
                  </a:cubicBezTo>
                  <a:cubicBezTo>
                    <a:pt x="702" y="873"/>
                    <a:pt x="686" y="859"/>
                    <a:pt x="690" y="858"/>
                  </a:cubicBezTo>
                  <a:cubicBezTo>
                    <a:pt x="694" y="857"/>
                    <a:pt x="689" y="836"/>
                    <a:pt x="689" y="833"/>
                  </a:cubicBezTo>
                  <a:cubicBezTo>
                    <a:pt x="689" y="834"/>
                    <a:pt x="689" y="839"/>
                    <a:pt x="677" y="838"/>
                  </a:cubicBezTo>
                  <a:cubicBezTo>
                    <a:pt x="677" y="811"/>
                    <a:pt x="644" y="811"/>
                    <a:pt x="644" y="811"/>
                  </a:cubicBezTo>
                  <a:cubicBezTo>
                    <a:pt x="638" y="801"/>
                    <a:pt x="638" y="801"/>
                    <a:pt x="638" y="801"/>
                  </a:cubicBezTo>
                  <a:cubicBezTo>
                    <a:pt x="615" y="823"/>
                    <a:pt x="615" y="823"/>
                    <a:pt x="615" y="823"/>
                  </a:cubicBezTo>
                  <a:cubicBezTo>
                    <a:pt x="591" y="806"/>
                    <a:pt x="591" y="806"/>
                    <a:pt x="591" y="806"/>
                  </a:cubicBezTo>
                  <a:cubicBezTo>
                    <a:pt x="586" y="816"/>
                    <a:pt x="586" y="816"/>
                    <a:pt x="586" y="816"/>
                  </a:cubicBezTo>
                  <a:cubicBezTo>
                    <a:pt x="586" y="816"/>
                    <a:pt x="576" y="806"/>
                    <a:pt x="561" y="805"/>
                  </a:cubicBezTo>
                  <a:cubicBezTo>
                    <a:pt x="546" y="804"/>
                    <a:pt x="538" y="802"/>
                    <a:pt x="517" y="801"/>
                  </a:cubicBezTo>
                  <a:cubicBezTo>
                    <a:pt x="496" y="800"/>
                    <a:pt x="491" y="807"/>
                    <a:pt x="473" y="807"/>
                  </a:cubicBezTo>
                  <a:cubicBezTo>
                    <a:pt x="455" y="807"/>
                    <a:pt x="442" y="786"/>
                    <a:pt x="426" y="784"/>
                  </a:cubicBezTo>
                  <a:cubicBezTo>
                    <a:pt x="410" y="782"/>
                    <a:pt x="399" y="801"/>
                    <a:pt x="399" y="801"/>
                  </a:cubicBezTo>
                  <a:cubicBezTo>
                    <a:pt x="399" y="816"/>
                    <a:pt x="399" y="816"/>
                    <a:pt x="399" y="816"/>
                  </a:cubicBezTo>
                  <a:cubicBezTo>
                    <a:pt x="413" y="833"/>
                    <a:pt x="413" y="833"/>
                    <a:pt x="413" y="833"/>
                  </a:cubicBezTo>
                  <a:cubicBezTo>
                    <a:pt x="413" y="833"/>
                    <a:pt x="410" y="834"/>
                    <a:pt x="399" y="834"/>
                  </a:cubicBezTo>
                  <a:cubicBezTo>
                    <a:pt x="388" y="834"/>
                    <a:pt x="385" y="869"/>
                    <a:pt x="385" y="869"/>
                  </a:cubicBezTo>
                  <a:cubicBezTo>
                    <a:pt x="385" y="883"/>
                    <a:pt x="385" y="883"/>
                    <a:pt x="385" y="883"/>
                  </a:cubicBezTo>
                  <a:cubicBezTo>
                    <a:pt x="367" y="874"/>
                    <a:pt x="367" y="874"/>
                    <a:pt x="367" y="874"/>
                  </a:cubicBezTo>
                  <a:cubicBezTo>
                    <a:pt x="384" y="841"/>
                    <a:pt x="384" y="841"/>
                    <a:pt x="384" y="841"/>
                  </a:cubicBezTo>
                  <a:cubicBezTo>
                    <a:pt x="373" y="845"/>
                    <a:pt x="373" y="845"/>
                    <a:pt x="373" y="845"/>
                  </a:cubicBezTo>
                  <a:cubicBezTo>
                    <a:pt x="363" y="835"/>
                    <a:pt x="363" y="835"/>
                    <a:pt x="363" y="835"/>
                  </a:cubicBezTo>
                  <a:cubicBezTo>
                    <a:pt x="357" y="841"/>
                    <a:pt x="357" y="841"/>
                    <a:pt x="357" y="841"/>
                  </a:cubicBezTo>
                  <a:cubicBezTo>
                    <a:pt x="337" y="811"/>
                    <a:pt x="337" y="811"/>
                    <a:pt x="337" y="811"/>
                  </a:cubicBezTo>
                  <a:cubicBezTo>
                    <a:pt x="337" y="811"/>
                    <a:pt x="291" y="835"/>
                    <a:pt x="291" y="845"/>
                  </a:cubicBezTo>
                  <a:cubicBezTo>
                    <a:pt x="291" y="855"/>
                    <a:pt x="282" y="861"/>
                    <a:pt x="282" y="861"/>
                  </a:cubicBezTo>
                  <a:cubicBezTo>
                    <a:pt x="307" y="873"/>
                    <a:pt x="307" y="873"/>
                    <a:pt x="307" y="873"/>
                  </a:cubicBezTo>
                  <a:cubicBezTo>
                    <a:pt x="307" y="873"/>
                    <a:pt x="309" y="882"/>
                    <a:pt x="306" y="883"/>
                  </a:cubicBezTo>
                  <a:cubicBezTo>
                    <a:pt x="303" y="884"/>
                    <a:pt x="289" y="889"/>
                    <a:pt x="292" y="907"/>
                  </a:cubicBezTo>
                  <a:cubicBezTo>
                    <a:pt x="274" y="926"/>
                    <a:pt x="272" y="959"/>
                    <a:pt x="272" y="966"/>
                  </a:cubicBezTo>
                  <a:cubicBezTo>
                    <a:pt x="272" y="973"/>
                    <a:pt x="285" y="979"/>
                    <a:pt x="285" y="979"/>
                  </a:cubicBezTo>
                  <a:cubicBezTo>
                    <a:pt x="300" y="979"/>
                    <a:pt x="300" y="979"/>
                    <a:pt x="300" y="979"/>
                  </a:cubicBezTo>
                  <a:cubicBezTo>
                    <a:pt x="300" y="959"/>
                    <a:pt x="300" y="959"/>
                    <a:pt x="300" y="959"/>
                  </a:cubicBezTo>
                  <a:cubicBezTo>
                    <a:pt x="291" y="957"/>
                    <a:pt x="291" y="957"/>
                    <a:pt x="291" y="957"/>
                  </a:cubicBezTo>
                  <a:cubicBezTo>
                    <a:pt x="299" y="946"/>
                    <a:pt x="299" y="946"/>
                    <a:pt x="299" y="946"/>
                  </a:cubicBezTo>
                  <a:cubicBezTo>
                    <a:pt x="296" y="943"/>
                    <a:pt x="296" y="943"/>
                    <a:pt x="296" y="943"/>
                  </a:cubicBezTo>
                  <a:cubicBezTo>
                    <a:pt x="305" y="938"/>
                    <a:pt x="305" y="938"/>
                    <a:pt x="305" y="938"/>
                  </a:cubicBezTo>
                  <a:cubicBezTo>
                    <a:pt x="298" y="919"/>
                    <a:pt x="298" y="919"/>
                    <a:pt x="298" y="919"/>
                  </a:cubicBezTo>
                  <a:cubicBezTo>
                    <a:pt x="315" y="918"/>
                    <a:pt x="315" y="918"/>
                    <a:pt x="315" y="918"/>
                  </a:cubicBezTo>
                  <a:cubicBezTo>
                    <a:pt x="318" y="902"/>
                    <a:pt x="318" y="902"/>
                    <a:pt x="318" y="902"/>
                  </a:cubicBezTo>
                  <a:cubicBezTo>
                    <a:pt x="324" y="908"/>
                    <a:pt x="324" y="908"/>
                    <a:pt x="324" y="908"/>
                  </a:cubicBezTo>
                  <a:cubicBezTo>
                    <a:pt x="334" y="899"/>
                    <a:pt x="334" y="899"/>
                    <a:pt x="334" y="899"/>
                  </a:cubicBezTo>
                  <a:cubicBezTo>
                    <a:pt x="326" y="886"/>
                    <a:pt x="326" y="886"/>
                    <a:pt x="326" y="886"/>
                  </a:cubicBezTo>
                  <a:cubicBezTo>
                    <a:pt x="335" y="882"/>
                    <a:pt x="335" y="882"/>
                    <a:pt x="335" y="882"/>
                  </a:cubicBezTo>
                  <a:cubicBezTo>
                    <a:pt x="356" y="902"/>
                    <a:pt x="356" y="902"/>
                    <a:pt x="356" y="902"/>
                  </a:cubicBezTo>
                  <a:cubicBezTo>
                    <a:pt x="354" y="912"/>
                    <a:pt x="354" y="912"/>
                    <a:pt x="354" y="912"/>
                  </a:cubicBezTo>
                  <a:cubicBezTo>
                    <a:pt x="354" y="912"/>
                    <a:pt x="339" y="904"/>
                    <a:pt x="338" y="908"/>
                  </a:cubicBezTo>
                  <a:cubicBezTo>
                    <a:pt x="337" y="912"/>
                    <a:pt x="356" y="923"/>
                    <a:pt x="356" y="923"/>
                  </a:cubicBezTo>
                  <a:cubicBezTo>
                    <a:pt x="356" y="923"/>
                    <a:pt x="349" y="930"/>
                    <a:pt x="351" y="938"/>
                  </a:cubicBezTo>
                  <a:cubicBezTo>
                    <a:pt x="353" y="946"/>
                    <a:pt x="365" y="943"/>
                    <a:pt x="368" y="954"/>
                  </a:cubicBezTo>
                  <a:cubicBezTo>
                    <a:pt x="371" y="965"/>
                    <a:pt x="336" y="956"/>
                    <a:pt x="336" y="963"/>
                  </a:cubicBezTo>
                  <a:cubicBezTo>
                    <a:pt x="336" y="970"/>
                    <a:pt x="343" y="983"/>
                    <a:pt x="343" y="983"/>
                  </a:cubicBezTo>
                  <a:cubicBezTo>
                    <a:pt x="343" y="983"/>
                    <a:pt x="346" y="1002"/>
                    <a:pt x="360" y="1003"/>
                  </a:cubicBezTo>
                  <a:cubicBezTo>
                    <a:pt x="374" y="1004"/>
                    <a:pt x="382" y="963"/>
                    <a:pt x="391" y="969"/>
                  </a:cubicBezTo>
                  <a:cubicBezTo>
                    <a:pt x="400" y="975"/>
                    <a:pt x="388" y="986"/>
                    <a:pt x="388" y="986"/>
                  </a:cubicBezTo>
                  <a:cubicBezTo>
                    <a:pt x="387" y="1004"/>
                    <a:pt x="387" y="1004"/>
                    <a:pt x="387" y="1004"/>
                  </a:cubicBezTo>
                  <a:cubicBezTo>
                    <a:pt x="377" y="997"/>
                    <a:pt x="377" y="997"/>
                    <a:pt x="377" y="997"/>
                  </a:cubicBezTo>
                  <a:cubicBezTo>
                    <a:pt x="377" y="997"/>
                    <a:pt x="370" y="1004"/>
                    <a:pt x="370" y="1009"/>
                  </a:cubicBezTo>
                  <a:cubicBezTo>
                    <a:pt x="370" y="1014"/>
                    <a:pt x="374" y="1025"/>
                    <a:pt x="374" y="1025"/>
                  </a:cubicBezTo>
                  <a:cubicBezTo>
                    <a:pt x="374" y="1025"/>
                    <a:pt x="384" y="1031"/>
                    <a:pt x="384" y="1046"/>
                  </a:cubicBezTo>
                  <a:cubicBezTo>
                    <a:pt x="384" y="1061"/>
                    <a:pt x="393" y="1076"/>
                    <a:pt x="393" y="1076"/>
                  </a:cubicBezTo>
                  <a:cubicBezTo>
                    <a:pt x="373" y="1077"/>
                    <a:pt x="373" y="1077"/>
                    <a:pt x="373" y="1077"/>
                  </a:cubicBezTo>
                  <a:cubicBezTo>
                    <a:pt x="362" y="1093"/>
                    <a:pt x="362" y="1093"/>
                    <a:pt x="362" y="1093"/>
                  </a:cubicBezTo>
                  <a:cubicBezTo>
                    <a:pt x="364" y="1071"/>
                    <a:pt x="364" y="1071"/>
                    <a:pt x="364" y="1071"/>
                  </a:cubicBezTo>
                  <a:cubicBezTo>
                    <a:pt x="364" y="1071"/>
                    <a:pt x="354" y="1063"/>
                    <a:pt x="354" y="1059"/>
                  </a:cubicBezTo>
                  <a:cubicBezTo>
                    <a:pt x="354" y="1055"/>
                    <a:pt x="371" y="1063"/>
                    <a:pt x="371" y="1063"/>
                  </a:cubicBezTo>
                  <a:cubicBezTo>
                    <a:pt x="371" y="1063"/>
                    <a:pt x="379" y="1051"/>
                    <a:pt x="379" y="1044"/>
                  </a:cubicBezTo>
                  <a:cubicBezTo>
                    <a:pt x="379" y="1037"/>
                    <a:pt x="367" y="1046"/>
                    <a:pt x="367" y="1046"/>
                  </a:cubicBezTo>
                  <a:cubicBezTo>
                    <a:pt x="342" y="1022"/>
                    <a:pt x="342" y="1022"/>
                    <a:pt x="342" y="1022"/>
                  </a:cubicBezTo>
                  <a:cubicBezTo>
                    <a:pt x="342" y="1022"/>
                    <a:pt x="328" y="1037"/>
                    <a:pt x="323" y="1034"/>
                  </a:cubicBezTo>
                  <a:cubicBezTo>
                    <a:pt x="291" y="1030"/>
                    <a:pt x="308" y="1022"/>
                    <a:pt x="300" y="1022"/>
                  </a:cubicBezTo>
                  <a:cubicBezTo>
                    <a:pt x="292" y="1022"/>
                    <a:pt x="286" y="1038"/>
                    <a:pt x="274" y="1038"/>
                  </a:cubicBezTo>
                  <a:cubicBezTo>
                    <a:pt x="262" y="1038"/>
                    <a:pt x="262" y="1033"/>
                    <a:pt x="262" y="1033"/>
                  </a:cubicBezTo>
                  <a:cubicBezTo>
                    <a:pt x="240" y="1033"/>
                    <a:pt x="240" y="1033"/>
                    <a:pt x="240" y="1033"/>
                  </a:cubicBezTo>
                  <a:cubicBezTo>
                    <a:pt x="237" y="1053"/>
                    <a:pt x="237" y="1053"/>
                    <a:pt x="237" y="1053"/>
                  </a:cubicBezTo>
                  <a:cubicBezTo>
                    <a:pt x="237" y="1053"/>
                    <a:pt x="211" y="1063"/>
                    <a:pt x="216" y="1066"/>
                  </a:cubicBezTo>
                  <a:cubicBezTo>
                    <a:pt x="221" y="1069"/>
                    <a:pt x="239" y="1077"/>
                    <a:pt x="239" y="1077"/>
                  </a:cubicBezTo>
                  <a:cubicBezTo>
                    <a:pt x="257" y="1073"/>
                    <a:pt x="257" y="1073"/>
                    <a:pt x="257" y="1073"/>
                  </a:cubicBezTo>
                  <a:cubicBezTo>
                    <a:pt x="265" y="1065"/>
                    <a:pt x="265" y="1065"/>
                    <a:pt x="265" y="1065"/>
                  </a:cubicBezTo>
                  <a:cubicBezTo>
                    <a:pt x="278" y="1072"/>
                    <a:pt x="278" y="1072"/>
                    <a:pt x="278" y="1072"/>
                  </a:cubicBezTo>
                  <a:cubicBezTo>
                    <a:pt x="292" y="1066"/>
                    <a:pt x="292" y="1066"/>
                    <a:pt x="292" y="1066"/>
                  </a:cubicBezTo>
                  <a:cubicBezTo>
                    <a:pt x="292" y="1066"/>
                    <a:pt x="295" y="1069"/>
                    <a:pt x="305" y="1086"/>
                  </a:cubicBezTo>
                  <a:cubicBezTo>
                    <a:pt x="286" y="1102"/>
                    <a:pt x="305" y="1113"/>
                    <a:pt x="305" y="1113"/>
                  </a:cubicBezTo>
                  <a:cubicBezTo>
                    <a:pt x="315" y="1109"/>
                    <a:pt x="315" y="1109"/>
                    <a:pt x="315" y="1109"/>
                  </a:cubicBezTo>
                  <a:cubicBezTo>
                    <a:pt x="346" y="1155"/>
                    <a:pt x="346" y="1155"/>
                    <a:pt x="346" y="1155"/>
                  </a:cubicBezTo>
                  <a:cubicBezTo>
                    <a:pt x="346" y="1155"/>
                    <a:pt x="345" y="1152"/>
                    <a:pt x="375" y="1152"/>
                  </a:cubicBezTo>
                  <a:cubicBezTo>
                    <a:pt x="405" y="1152"/>
                    <a:pt x="427" y="1127"/>
                    <a:pt x="427" y="1127"/>
                  </a:cubicBezTo>
                  <a:cubicBezTo>
                    <a:pt x="427" y="1127"/>
                    <a:pt x="429" y="1133"/>
                    <a:pt x="438" y="1133"/>
                  </a:cubicBezTo>
                  <a:cubicBezTo>
                    <a:pt x="447" y="1133"/>
                    <a:pt x="479" y="1138"/>
                    <a:pt x="487" y="1138"/>
                  </a:cubicBezTo>
                  <a:cubicBezTo>
                    <a:pt x="495" y="1138"/>
                    <a:pt x="514" y="1150"/>
                    <a:pt x="514" y="1150"/>
                  </a:cubicBezTo>
                  <a:cubicBezTo>
                    <a:pt x="514" y="1150"/>
                    <a:pt x="491" y="1170"/>
                    <a:pt x="487" y="1174"/>
                  </a:cubicBezTo>
                  <a:cubicBezTo>
                    <a:pt x="483" y="1178"/>
                    <a:pt x="479" y="1165"/>
                    <a:pt x="479" y="1165"/>
                  </a:cubicBezTo>
                  <a:cubicBezTo>
                    <a:pt x="471" y="1168"/>
                    <a:pt x="471" y="1168"/>
                    <a:pt x="471" y="1168"/>
                  </a:cubicBezTo>
                  <a:cubicBezTo>
                    <a:pt x="471" y="1182"/>
                    <a:pt x="471" y="1182"/>
                    <a:pt x="471" y="1182"/>
                  </a:cubicBezTo>
                  <a:cubicBezTo>
                    <a:pt x="471" y="1182"/>
                    <a:pt x="473" y="1178"/>
                    <a:pt x="476" y="1175"/>
                  </a:cubicBezTo>
                  <a:cubicBezTo>
                    <a:pt x="479" y="1172"/>
                    <a:pt x="484" y="1176"/>
                    <a:pt x="484" y="1176"/>
                  </a:cubicBezTo>
                  <a:cubicBezTo>
                    <a:pt x="489" y="1195"/>
                    <a:pt x="489" y="1195"/>
                    <a:pt x="489" y="1195"/>
                  </a:cubicBezTo>
                  <a:cubicBezTo>
                    <a:pt x="489" y="1195"/>
                    <a:pt x="518" y="1195"/>
                    <a:pt x="519" y="1205"/>
                  </a:cubicBezTo>
                  <a:cubicBezTo>
                    <a:pt x="520" y="1215"/>
                    <a:pt x="506" y="1218"/>
                    <a:pt x="506" y="1218"/>
                  </a:cubicBezTo>
                  <a:cubicBezTo>
                    <a:pt x="506" y="1218"/>
                    <a:pt x="489" y="1210"/>
                    <a:pt x="475" y="1210"/>
                  </a:cubicBezTo>
                  <a:cubicBezTo>
                    <a:pt x="461" y="1210"/>
                    <a:pt x="434" y="1218"/>
                    <a:pt x="434" y="1218"/>
                  </a:cubicBezTo>
                  <a:cubicBezTo>
                    <a:pt x="426" y="1214"/>
                    <a:pt x="426" y="1214"/>
                    <a:pt x="426" y="1214"/>
                  </a:cubicBezTo>
                  <a:cubicBezTo>
                    <a:pt x="366" y="1233"/>
                    <a:pt x="366" y="1233"/>
                    <a:pt x="366" y="1233"/>
                  </a:cubicBezTo>
                  <a:cubicBezTo>
                    <a:pt x="366" y="1233"/>
                    <a:pt x="368" y="1240"/>
                    <a:pt x="368" y="1248"/>
                  </a:cubicBezTo>
                  <a:cubicBezTo>
                    <a:pt x="368" y="1256"/>
                    <a:pt x="361" y="1265"/>
                    <a:pt x="359" y="1278"/>
                  </a:cubicBezTo>
                  <a:cubicBezTo>
                    <a:pt x="357" y="1291"/>
                    <a:pt x="362" y="1293"/>
                    <a:pt x="362" y="1293"/>
                  </a:cubicBezTo>
                  <a:cubicBezTo>
                    <a:pt x="356" y="1309"/>
                    <a:pt x="356" y="1309"/>
                    <a:pt x="356" y="1309"/>
                  </a:cubicBezTo>
                  <a:cubicBezTo>
                    <a:pt x="356" y="1309"/>
                    <a:pt x="359" y="1310"/>
                    <a:pt x="372" y="1321"/>
                  </a:cubicBezTo>
                  <a:cubicBezTo>
                    <a:pt x="385" y="1332"/>
                    <a:pt x="376" y="1334"/>
                    <a:pt x="361" y="1349"/>
                  </a:cubicBezTo>
                  <a:cubicBezTo>
                    <a:pt x="346" y="1364"/>
                    <a:pt x="331" y="1342"/>
                    <a:pt x="331" y="1342"/>
                  </a:cubicBezTo>
                  <a:cubicBezTo>
                    <a:pt x="297" y="1343"/>
                    <a:pt x="297" y="1343"/>
                    <a:pt x="297" y="1343"/>
                  </a:cubicBezTo>
                  <a:cubicBezTo>
                    <a:pt x="297" y="1343"/>
                    <a:pt x="293" y="1349"/>
                    <a:pt x="301" y="1362"/>
                  </a:cubicBezTo>
                  <a:cubicBezTo>
                    <a:pt x="309" y="1375"/>
                    <a:pt x="314" y="1372"/>
                    <a:pt x="314" y="1372"/>
                  </a:cubicBezTo>
                  <a:cubicBezTo>
                    <a:pt x="321" y="1377"/>
                    <a:pt x="321" y="1377"/>
                    <a:pt x="321" y="1377"/>
                  </a:cubicBezTo>
                  <a:cubicBezTo>
                    <a:pt x="321" y="1377"/>
                    <a:pt x="322" y="1391"/>
                    <a:pt x="311" y="1391"/>
                  </a:cubicBezTo>
                  <a:cubicBezTo>
                    <a:pt x="300" y="1391"/>
                    <a:pt x="309" y="1373"/>
                    <a:pt x="309" y="1373"/>
                  </a:cubicBezTo>
                  <a:cubicBezTo>
                    <a:pt x="258" y="1370"/>
                    <a:pt x="258" y="1370"/>
                    <a:pt x="258" y="1370"/>
                  </a:cubicBezTo>
                  <a:cubicBezTo>
                    <a:pt x="258" y="1370"/>
                    <a:pt x="263" y="1376"/>
                    <a:pt x="259" y="1382"/>
                  </a:cubicBezTo>
                  <a:cubicBezTo>
                    <a:pt x="240" y="1363"/>
                    <a:pt x="224" y="1393"/>
                    <a:pt x="224" y="1393"/>
                  </a:cubicBezTo>
                  <a:cubicBezTo>
                    <a:pt x="233" y="1393"/>
                    <a:pt x="233" y="1393"/>
                    <a:pt x="233" y="1393"/>
                  </a:cubicBezTo>
                  <a:cubicBezTo>
                    <a:pt x="248" y="1426"/>
                    <a:pt x="248" y="1426"/>
                    <a:pt x="248" y="1426"/>
                  </a:cubicBezTo>
                  <a:cubicBezTo>
                    <a:pt x="260" y="1422"/>
                    <a:pt x="260" y="1422"/>
                    <a:pt x="260" y="1422"/>
                  </a:cubicBezTo>
                  <a:cubicBezTo>
                    <a:pt x="281" y="1434"/>
                    <a:pt x="281" y="1434"/>
                    <a:pt x="281" y="1434"/>
                  </a:cubicBezTo>
                  <a:cubicBezTo>
                    <a:pt x="281" y="1434"/>
                    <a:pt x="271" y="1436"/>
                    <a:pt x="271" y="1443"/>
                  </a:cubicBezTo>
                  <a:cubicBezTo>
                    <a:pt x="271" y="1450"/>
                    <a:pt x="281" y="1456"/>
                    <a:pt x="281" y="1456"/>
                  </a:cubicBezTo>
                  <a:cubicBezTo>
                    <a:pt x="281" y="1456"/>
                    <a:pt x="291" y="1464"/>
                    <a:pt x="287" y="1471"/>
                  </a:cubicBezTo>
                  <a:cubicBezTo>
                    <a:pt x="283" y="1478"/>
                    <a:pt x="263" y="1457"/>
                    <a:pt x="260" y="1457"/>
                  </a:cubicBezTo>
                  <a:cubicBezTo>
                    <a:pt x="257" y="1457"/>
                    <a:pt x="250" y="1462"/>
                    <a:pt x="246" y="1463"/>
                  </a:cubicBezTo>
                  <a:cubicBezTo>
                    <a:pt x="242" y="1464"/>
                    <a:pt x="243" y="1466"/>
                    <a:pt x="243" y="1475"/>
                  </a:cubicBezTo>
                  <a:cubicBezTo>
                    <a:pt x="243" y="1484"/>
                    <a:pt x="225" y="1490"/>
                    <a:pt x="225" y="1493"/>
                  </a:cubicBezTo>
                  <a:cubicBezTo>
                    <a:pt x="225" y="1496"/>
                    <a:pt x="232" y="1497"/>
                    <a:pt x="232" y="1497"/>
                  </a:cubicBezTo>
                  <a:cubicBezTo>
                    <a:pt x="246" y="1488"/>
                    <a:pt x="246" y="1488"/>
                    <a:pt x="246" y="1488"/>
                  </a:cubicBezTo>
                  <a:cubicBezTo>
                    <a:pt x="246" y="1488"/>
                    <a:pt x="251" y="1498"/>
                    <a:pt x="264" y="1499"/>
                  </a:cubicBezTo>
                  <a:cubicBezTo>
                    <a:pt x="277" y="1500"/>
                    <a:pt x="286" y="1492"/>
                    <a:pt x="286" y="1492"/>
                  </a:cubicBezTo>
                  <a:cubicBezTo>
                    <a:pt x="301" y="1498"/>
                    <a:pt x="301" y="1498"/>
                    <a:pt x="301" y="1498"/>
                  </a:cubicBezTo>
                  <a:cubicBezTo>
                    <a:pt x="301" y="1498"/>
                    <a:pt x="293" y="1502"/>
                    <a:pt x="293" y="1512"/>
                  </a:cubicBezTo>
                  <a:cubicBezTo>
                    <a:pt x="293" y="1522"/>
                    <a:pt x="321" y="1522"/>
                    <a:pt x="321" y="1522"/>
                  </a:cubicBezTo>
                  <a:cubicBezTo>
                    <a:pt x="321" y="1522"/>
                    <a:pt x="335" y="1541"/>
                    <a:pt x="336" y="1530"/>
                  </a:cubicBezTo>
                  <a:cubicBezTo>
                    <a:pt x="336" y="1513"/>
                    <a:pt x="353" y="1513"/>
                    <a:pt x="353" y="1513"/>
                  </a:cubicBezTo>
                  <a:cubicBezTo>
                    <a:pt x="360" y="1527"/>
                    <a:pt x="360" y="1527"/>
                    <a:pt x="360" y="1527"/>
                  </a:cubicBezTo>
                  <a:cubicBezTo>
                    <a:pt x="372" y="1515"/>
                    <a:pt x="372" y="1515"/>
                    <a:pt x="372" y="1515"/>
                  </a:cubicBezTo>
                  <a:cubicBezTo>
                    <a:pt x="386" y="1515"/>
                    <a:pt x="386" y="1515"/>
                    <a:pt x="386" y="1515"/>
                  </a:cubicBezTo>
                  <a:cubicBezTo>
                    <a:pt x="393" y="1502"/>
                    <a:pt x="393" y="1502"/>
                    <a:pt x="393" y="1502"/>
                  </a:cubicBezTo>
                  <a:cubicBezTo>
                    <a:pt x="404" y="1512"/>
                    <a:pt x="404" y="1512"/>
                    <a:pt x="404" y="1512"/>
                  </a:cubicBezTo>
                  <a:cubicBezTo>
                    <a:pt x="404" y="1512"/>
                    <a:pt x="415" y="1515"/>
                    <a:pt x="398" y="1526"/>
                  </a:cubicBezTo>
                  <a:cubicBezTo>
                    <a:pt x="376" y="1526"/>
                    <a:pt x="366" y="1534"/>
                    <a:pt x="366" y="1534"/>
                  </a:cubicBezTo>
                  <a:cubicBezTo>
                    <a:pt x="355" y="1570"/>
                    <a:pt x="355" y="1570"/>
                    <a:pt x="355" y="1570"/>
                  </a:cubicBezTo>
                  <a:cubicBezTo>
                    <a:pt x="364" y="1567"/>
                    <a:pt x="364" y="1567"/>
                    <a:pt x="364" y="1567"/>
                  </a:cubicBezTo>
                  <a:cubicBezTo>
                    <a:pt x="385" y="1597"/>
                    <a:pt x="385" y="1597"/>
                    <a:pt x="385" y="1597"/>
                  </a:cubicBezTo>
                  <a:cubicBezTo>
                    <a:pt x="387" y="1578"/>
                    <a:pt x="387" y="1578"/>
                    <a:pt x="387" y="1578"/>
                  </a:cubicBezTo>
                  <a:cubicBezTo>
                    <a:pt x="397" y="1576"/>
                    <a:pt x="397" y="1576"/>
                    <a:pt x="397" y="1576"/>
                  </a:cubicBezTo>
                  <a:cubicBezTo>
                    <a:pt x="393" y="1585"/>
                    <a:pt x="393" y="1585"/>
                    <a:pt x="393" y="1585"/>
                  </a:cubicBezTo>
                  <a:cubicBezTo>
                    <a:pt x="394" y="1597"/>
                    <a:pt x="394" y="1597"/>
                    <a:pt x="394" y="1597"/>
                  </a:cubicBezTo>
                  <a:cubicBezTo>
                    <a:pt x="394" y="1597"/>
                    <a:pt x="399" y="1595"/>
                    <a:pt x="403" y="1585"/>
                  </a:cubicBezTo>
                  <a:cubicBezTo>
                    <a:pt x="413" y="1596"/>
                    <a:pt x="423" y="1590"/>
                    <a:pt x="435" y="1574"/>
                  </a:cubicBezTo>
                  <a:cubicBezTo>
                    <a:pt x="435" y="1556"/>
                    <a:pt x="475" y="1523"/>
                    <a:pt x="475" y="1523"/>
                  </a:cubicBezTo>
                  <a:cubicBezTo>
                    <a:pt x="475" y="1523"/>
                    <a:pt x="475" y="1523"/>
                    <a:pt x="478" y="1537"/>
                  </a:cubicBezTo>
                  <a:cubicBezTo>
                    <a:pt x="481" y="1551"/>
                    <a:pt x="466" y="1555"/>
                    <a:pt x="466" y="1558"/>
                  </a:cubicBezTo>
                  <a:cubicBezTo>
                    <a:pt x="466" y="1561"/>
                    <a:pt x="472" y="1558"/>
                    <a:pt x="479" y="1567"/>
                  </a:cubicBezTo>
                  <a:cubicBezTo>
                    <a:pt x="486" y="1576"/>
                    <a:pt x="467" y="1580"/>
                    <a:pt x="462" y="1580"/>
                  </a:cubicBezTo>
                  <a:cubicBezTo>
                    <a:pt x="457" y="1580"/>
                    <a:pt x="460" y="1572"/>
                    <a:pt x="460" y="1567"/>
                  </a:cubicBezTo>
                  <a:cubicBezTo>
                    <a:pt x="460" y="1562"/>
                    <a:pt x="460" y="1567"/>
                    <a:pt x="456" y="1579"/>
                  </a:cubicBezTo>
                  <a:cubicBezTo>
                    <a:pt x="428" y="1588"/>
                    <a:pt x="448" y="1621"/>
                    <a:pt x="448" y="1624"/>
                  </a:cubicBezTo>
                  <a:cubicBezTo>
                    <a:pt x="448" y="1627"/>
                    <a:pt x="429" y="1612"/>
                    <a:pt x="429" y="1612"/>
                  </a:cubicBezTo>
                  <a:cubicBezTo>
                    <a:pt x="429" y="1612"/>
                    <a:pt x="421" y="1647"/>
                    <a:pt x="428" y="1641"/>
                  </a:cubicBezTo>
                  <a:cubicBezTo>
                    <a:pt x="435" y="1635"/>
                    <a:pt x="452" y="1646"/>
                    <a:pt x="465" y="1647"/>
                  </a:cubicBezTo>
                  <a:cubicBezTo>
                    <a:pt x="478" y="1648"/>
                    <a:pt x="476" y="1635"/>
                    <a:pt x="476" y="1635"/>
                  </a:cubicBezTo>
                  <a:cubicBezTo>
                    <a:pt x="482" y="1642"/>
                    <a:pt x="482" y="1642"/>
                    <a:pt x="482" y="1642"/>
                  </a:cubicBezTo>
                  <a:cubicBezTo>
                    <a:pt x="513" y="1621"/>
                    <a:pt x="513" y="1621"/>
                    <a:pt x="513" y="1621"/>
                  </a:cubicBezTo>
                  <a:cubicBezTo>
                    <a:pt x="513" y="1621"/>
                    <a:pt x="526" y="1644"/>
                    <a:pt x="536" y="1650"/>
                  </a:cubicBezTo>
                  <a:cubicBezTo>
                    <a:pt x="546" y="1656"/>
                    <a:pt x="598" y="1636"/>
                    <a:pt x="598" y="1636"/>
                  </a:cubicBezTo>
                  <a:cubicBezTo>
                    <a:pt x="598" y="1636"/>
                    <a:pt x="700" y="1634"/>
                    <a:pt x="714" y="1626"/>
                  </a:cubicBezTo>
                  <a:cubicBezTo>
                    <a:pt x="728" y="1618"/>
                    <a:pt x="779" y="1624"/>
                    <a:pt x="779" y="1624"/>
                  </a:cubicBezTo>
                  <a:cubicBezTo>
                    <a:pt x="746" y="1657"/>
                    <a:pt x="746" y="1657"/>
                    <a:pt x="746" y="1657"/>
                  </a:cubicBezTo>
                  <a:cubicBezTo>
                    <a:pt x="746" y="1657"/>
                    <a:pt x="765" y="1663"/>
                    <a:pt x="780" y="1665"/>
                  </a:cubicBezTo>
                  <a:cubicBezTo>
                    <a:pt x="795" y="1667"/>
                    <a:pt x="792" y="1659"/>
                    <a:pt x="792" y="1659"/>
                  </a:cubicBezTo>
                  <a:cubicBezTo>
                    <a:pt x="798" y="1666"/>
                    <a:pt x="798" y="1666"/>
                    <a:pt x="798" y="1666"/>
                  </a:cubicBezTo>
                  <a:cubicBezTo>
                    <a:pt x="788" y="1670"/>
                    <a:pt x="788" y="1670"/>
                    <a:pt x="788" y="1670"/>
                  </a:cubicBezTo>
                  <a:cubicBezTo>
                    <a:pt x="788" y="1690"/>
                    <a:pt x="788" y="1690"/>
                    <a:pt x="788" y="1690"/>
                  </a:cubicBezTo>
                  <a:cubicBezTo>
                    <a:pt x="788" y="1690"/>
                    <a:pt x="797" y="1708"/>
                    <a:pt x="796" y="1715"/>
                  </a:cubicBezTo>
                  <a:cubicBezTo>
                    <a:pt x="795" y="1722"/>
                    <a:pt x="776" y="1691"/>
                    <a:pt x="776" y="1691"/>
                  </a:cubicBezTo>
                  <a:cubicBezTo>
                    <a:pt x="776" y="1691"/>
                    <a:pt x="756" y="1694"/>
                    <a:pt x="748" y="1694"/>
                  </a:cubicBezTo>
                  <a:cubicBezTo>
                    <a:pt x="740" y="1694"/>
                    <a:pt x="749" y="1703"/>
                    <a:pt x="749" y="1703"/>
                  </a:cubicBezTo>
                  <a:cubicBezTo>
                    <a:pt x="733" y="1693"/>
                    <a:pt x="733" y="1693"/>
                    <a:pt x="733" y="1693"/>
                  </a:cubicBezTo>
                  <a:cubicBezTo>
                    <a:pt x="706" y="1709"/>
                    <a:pt x="706" y="1709"/>
                    <a:pt x="706" y="1709"/>
                  </a:cubicBezTo>
                  <a:cubicBezTo>
                    <a:pt x="714" y="1717"/>
                    <a:pt x="714" y="1717"/>
                    <a:pt x="714" y="1717"/>
                  </a:cubicBezTo>
                  <a:cubicBezTo>
                    <a:pt x="693" y="1731"/>
                    <a:pt x="693" y="1731"/>
                    <a:pt x="693" y="1731"/>
                  </a:cubicBezTo>
                  <a:cubicBezTo>
                    <a:pt x="690" y="1720"/>
                    <a:pt x="690" y="1720"/>
                    <a:pt x="690" y="1720"/>
                  </a:cubicBezTo>
                  <a:cubicBezTo>
                    <a:pt x="650" y="1703"/>
                    <a:pt x="650" y="1703"/>
                    <a:pt x="650" y="1703"/>
                  </a:cubicBezTo>
                  <a:cubicBezTo>
                    <a:pt x="632" y="1712"/>
                    <a:pt x="632" y="1712"/>
                    <a:pt x="632" y="1712"/>
                  </a:cubicBezTo>
                  <a:cubicBezTo>
                    <a:pt x="632" y="1712"/>
                    <a:pt x="632" y="1727"/>
                    <a:pt x="633" y="1735"/>
                  </a:cubicBezTo>
                  <a:cubicBezTo>
                    <a:pt x="634" y="1743"/>
                    <a:pt x="601" y="1763"/>
                    <a:pt x="601" y="1763"/>
                  </a:cubicBezTo>
                  <a:cubicBezTo>
                    <a:pt x="598" y="1783"/>
                    <a:pt x="598" y="1783"/>
                    <a:pt x="598" y="1783"/>
                  </a:cubicBezTo>
                  <a:cubicBezTo>
                    <a:pt x="598" y="1783"/>
                    <a:pt x="573" y="1806"/>
                    <a:pt x="579" y="1808"/>
                  </a:cubicBezTo>
                  <a:cubicBezTo>
                    <a:pt x="585" y="1810"/>
                    <a:pt x="571" y="1822"/>
                    <a:pt x="566" y="1830"/>
                  </a:cubicBezTo>
                  <a:cubicBezTo>
                    <a:pt x="566" y="1844"/>
                    <a:pt x="549" y="1860"/>
                    <a:pt x="549" y="1860"/>
                  </a:cubicBezTo>
                  <a:cubicBezTo>
                    <a:pt x="548" y="1875"/>
                    <a:pt x="548" y="1875"/>
                    <a:pt x="548" y="1875"/>
                  </a:cubicBezTo>
                  <a:cubicBezTo>
                    <a:pt x="557" y="1870"/>
                    <a:pt x="557" y="1870"/>
                    <a:pt x="557" y="1870"/>
                  </a:cubicBezTo>
                  <a:cubicBezTo>
                    <a:pt x="572" y="1877"/>
                    <a:pt x="572" y="1877"/>
                    <a:pt x="572" y="1877"/>
                  </a:cubicBezTo>
                  <a:cubicBezTo>
                    <a:pt x="595" y="1863"/>
                    <a:pt x="595" y="1863"/>
                    <a:pt x="595" y="1863"/>
                  </a:cubicBezTo>
                  <a:cubicBezTo>
                    <a:pt x="603" y="1873"/>
                    <a:pt x="603" y="1873"/>
                    <a:pt x="603" y="1873"/>
                  </a:cubicBezTo>
                  <a:cubicBezTo>
                    <a:pt x="603" y="1873"/>
                    <a:pt x="602" y="1887"/>
                    <a:pt x="585" y="1893"/>
                  </a:cubicBezTo>
                  <a:cubicBezTo>
                    <a:pt x="568" y="1899"/>
                    <a:pt x="557" y="1931"/>
                    <a:pt x="554" y="1937"/>
                  </a:cubicBezTo>
                  <a:cubicBezTo>
                    <a:pt x="551" y="1943"/>
                    <a:pt x="561" y="1936"/>
                    <a:pt x="560" y="1948"/>
                  </a:cubicBezTo>
                  <a:cubicBezTo>
                    <a:pt x="559" y="1960"/>
                    <a:pt x="534" y="1961"/>
                    <a:pt x="534" y="1961"/>
                  </a:cubicBezTo>
                  <a:cubicBezTo>
                    <a:pt x="534" y="1961"/>
                    <a:pt x="534" y="1961"/>
                    <a:pt x="538" y="1978"/>
                  </a:cubicBezTo>
                  <a:cubicBezTo>
                    <a:pt x="542" y="1995"/>
                    <a:pt x="511" y="2020"/>
                    <a:pt x="511" y="2020"/>
                  </a:cubicBezTo>
                  <a:cubicBezTo>
                    <a:pt x="511" y="2020"/>
                    <a:pt x="507" y="2011"/>
                    <a:pt x="494" y="2010"/>
                  </a:cubicBezTo>
                  <a:cubicBezTo>
                    <a:pt x="481" y="2009"/>
                    <a:pt x="456" y="2055"/>
                    <a:pt x="456" y="2055"/>
                  </a:cubicBezTo>
                  <a:cubicBezTo>
                    <a:pt x="456" y="2055"/>
                    <a:pt x="468" y="2060"/>
                    <a:pt x="453" y="2065"/>
                  </a:cubicBezTo>
                  <a:cubicBezTo>
                    <a:pt x="433" y="2066"/>
                    <a:pt x="399" y="2102"/>
                    <a:pt x="381" y="2123"/>
                  </a:cubicBezTo>
                  <a:cubicBezTo>
                    <a:pt x="351" y="2122"/>
                    <a:pt x="328" y="2157"/>
                    <a:pt x="325" y="2158"/>
                  </a:cubicBezTo>
                  <a:cubicBezTo>
                    <a:pt x="322" y="2159"/>
                    <a:pt x="344" y="2167"/>
                    <a:pt x="344" y="2167"/>
                  </a:cubicBezTo>
                  <a:cubicBezTo>
                    <a:pt x="358" y="2150"/>
                    <a:pt x="358" y="2150"/>
                    <a:pt x="358" y="2150"/>
                  </a:cubicBezTo>
                  <a:cubicBezTo>
                    <a:pt x="397" y="2154"/>
                    <a:pt x="397" y="2154"/>
                    <a:pt x="397" y="2154"/>
                  </a:cubicBezTo>
                  <a:cubicBezTo>
                    <a:pt x="420" y="2142"/>
                    <a:pt x="420" y="2142"/>
                    <a:pt x="420" y="2142"/>
                  </a:cubicBezTo>
                  <a:cubicBezTo>
                    <a:pt x="420" y="2142"/>
                    <a:pt x="426" y="2147"/>
                    <a:pt x="431" y="2147"/>
                  </a:cubicBezTo>
                  <a:cubicBezTo>
                    <a:pt x="436" y="2147"/>
                    <a:pt x="439" y="2120"/>
                    <a:pt x="439" y="2120"/>
                  </a:cubicBezTo>
                  <a:cubicBezTo>
                    <a:pt x="474" y="2117"/>
                    <a:pt x="474" y="2117"/>
                    <a:pt x="474" y="2117"/>
                  </a:cubicBezTo>
                  <a:cubicBezTo>
                    <a:pt x="506" y="2095"/>
                    <a:pt x="506" y="2095"/>
                    <a:pt x="506" y="2095"/>
                  </a:cubicBezTo>
                  <a:cubicBezTo>
                    <a:pt x="506" y="2095"/>
                    <a:pt x="498" y="2074"/>
                    <a:pt x="505" y="2074"/>
                  </a:cubicBezTo>
                  <a:cubicBezTo>
                    <a:pt x="512" y="2074"/>
                    <a:pt x="509" y="2091"/>
                    <a:pt x="509" y="2091"/>
                  </a:cubicBezTo>
                  <a:cubicBezTo>
                    <a:pt x="516" y="2105"/>
                    <a:pt x="516" y="2105"/>
                    <a:pt x="516" y="2105"/>
                  </a:cubicBezTo>
                  <a:cubicBezTo>
                    <a:pt x="516" y="2126"/>
                    <a:pt x="516" y="2126"/>
                    <a:pt x="516" y="2126"/>
                  </a:cubicBezTo>
                  <a:cubicBezTo>
                    <a:pt x="534" y="2107"/>
                    <a:pt x="534" y="2107"/>
                    <a:pt x="534" y="2107"/>
                  </a:cubicBezTo>
                  <a:cubicBezTo>
                    <a:pt x="534" y="2107"/>
                    <a:pt x="551" y="2123"/>
                    <a:pt x="572" y="2124"/>
                  </a:cubicBezTo>
                  <a:cubicBezTo>
                    <a:pt x="593" y="2125"/>
                    <a:pt x="625" y="2100"/>
                    <a:pt x="628" y="2105"/>
                  </a:cubicBezTo>
                  <a:cubicBezTo>
                    <a:pt x="631" y="2110"/>
                    <a:pt x="597" y="2124"/>
                    <a:pt x="603" y="2137"/>
                  </a:cubicBezTo>
                  <a:cubicBezTo>
                    <a:pt x="609" y="2150"/>
                    <a:pt x="644" y="2114"/>
                    <a:pt x="644" y="2114"/>
                  </a:cubicBezTo>
                  <a:cubicBezTo>
                    <a:pt x="644" y="2114"/>
                    <a:pt x="661" y="2114"/>
                    <a:pt x="685" y="2115"/>
                  </a:cubicBezTo>
                  <a:cubicBezTo>
                    <a:pt x="709" y="2116"/>
                    <a:pt x="722" y="2081"/>
                    <a:pt x="722" y="2081"/>
                  </a:cubicBezTo>
                  <a:cubicBezTo>
                    <a:pt x="741" y="2051"/>
                    <a:pt x="741" y="2051"/>
                    <a:pt x="741" y="2051"/>
                  </a:cubicBezTo>
                  <a:cubicBezTo>
                    <a:pt x="754" y="2053"/>
                    <a:pt x="754" y="2053"/>
                    <a:pt x="754" y="2053"/>
                  </a:cubicBezTo>
                  <a:cubicBezTo>
                    <a:pt x="757" y="2044"/>
                    <a:pt x="757" y="2044"/>
                    <a:pt x="757" y="2044"/>
                  </a:cubicBezTo>
                  <a:cubicBezTo>
                    <a:pt x="757" y="2044"/>
                    <a:pt x="743" y="2038"/>
                    <a:pt x="743" y="2029"/>
                  </a:cubicBezTo>
                  <a:cubicBezTo>
                    <a:pt x="743" y="2020"/>
                    <a:pt x="752" y="2007"/>
                    <a:pt x="757" y="2007"/>
                  </a:cubicBezTo>
                  <a:cubicBezTo>
                    <a:pt x="762" y="2007"/>
                    <a:pt x="781" y="2026"/>
                    <a:pt x="787" y="2026"/>
                  </a:cubicBezTo>
                  <a:cubicBezTo>
                    <a:pt x="793" y="2026"/>
                    <a:pt x="775" y="2048"/>
                    <a:pt x="775" y="2048"/>
                  </a:cubicBezTo>
                  <a:cubicBezTo>
                    <a:pt x="767" y="2045"/>
                    <a:pt x="767" y="2045"/>
                    <a:pt x="767" y="2045"/>
                  </a:cubicBezTo>
                  <a:cubicBezTo>
                    <a:pt x="767" y="2045"/>
                    <a:pt x="772" y="2068"/>
                    <a:pt x="784" y="2073"/>
                  </a:cubicBezTo>
                  <a:cubicBezTo>
                    <a:pt x="796" y="2078"/>
                    <a:pt x="818" y="2057"/>
                    <a:pt x="818" y="2057"/>
                  </a:cubicBezTo>
                  <a:cubicBezTo>
                    <a:pt x="850" y="2086"/>
                    <a:pt x="850" y="2086"/>
                    <a:pt x="850" y="2086"/>
                  </a:cubicBezTo>
                  <a:cubicBezTo>
                    <a:pt x="775" y="2087"/>
                    <a:pt x="775" y="2087"/>
                    <a:pt x="775" y="2087"/>
                  </a:cubicBezTo>
                  <a:cubicBezTo>
                    <a:pt x="775" y="2087"/>
                    <a:pt x="761" y="2112"/>
                    <a:pt x="746" y="2112"/>
                  </a:cubicBezTo>
                  <a:cubicBezTo>
                    <a:pt x="731" y="2112"/>
                    <a:pt x="718" y="2108"/>
                    <a:pt x="718" y="2108"/>
                  </a:cubicBezTo>
                  <a:cubicBezTo>
                    <a:pt x="720" y="2119"/>
                    <a:pt x="720" y="2119"/>
                    <a:pt x="720" y="2119"/>
                  </a:cubicBezTo>
                  <a:cubicBezTo>
                    <a:pt x="705" y="2118"/>
                    <a:pt x="705" y="2118"/>
                    <a:pt x="705" y="2118"/>
                  </a:cubicBezTo>
                  <a:cubicBezTo>
                    <a:pt x="708" y="2118"/>
                    <a:pt x="720" y="2120"/>
                    <a:pt x="688" y="2126"/>
                  </a:cubicBezTo>
                  <a:cubicBezTo>
                    <a:pt x="652" y="2127"/>
                    <a:pt x="631" y="2156"/>
                    <a:pt x="608" y="2155"/>
                  </a:cubicBezTo>
                  <a:cubicBezTo>
                    <a:pt x="585" y="2154"/>
                    <a:pt x="583" y="2139"/>
                    <a:pt x="583" y="2139"/>
                  </a:cubicBezTo>
                  <a:cubicBezTo>
                    <a:pt x="559" y="2139"/>
                    <a:pt x="559" y="2139"/>
                    <a:pt x="559" y="2139"/>
                  </a:cubicBezTo>
                  <a:cubicBezTo>
                    <a:pt x="538" y="2150"/>
                    <a:pt x="538" y="2150"/>
                    <a:pt x="538" y="2150"/>
                  </a:cubicBezTo>
                  <a:cubicBezTo>
                    <a:pt x="524" y="2143"/>
                    <a:pt x="524" y="2143"/>
                    <a:pt x="524" y="2143"/>
                  </a:cubicBezTo>
                  <a:cubicBezTo>
                    <a:pt x="524" y="2143"/>
                    <a:pt x="524" y="2150"/>
                    <a:pt x="489" y="2150"/>
                  </a:cubicBezTo>
                  <a:cubicBezTo>
                    <a:pt x="455" y="2105"/>
                    <a:pt x="438" y="2213"/>
                    <a:pt x="438" y="2213"/>
                  </a:cubicBezTo>
                  <a:cubicBezTo>
                    <a:pt x="438" y="2213"/>
                    <a:pt x="419" y="2227"/>
                    <a:pt x="391" y="2248"/>
                  </a:cubicBezTo>
                  <a:cubicBezTo>
                    <a:pt x="363" y="2269"/>
                    <a:pt x="320" y="2249"/>
                    <a:pt x="320" y="2267"/>
                  </a:cubicBezTo>
                  <a:cubicBezTo>
                    <a:pt x="320" y="2285"/>
                    <a:pt x="327" y="2283"/>
                    <a:pt x="369" y="2295"/>
                  </a:cubicBezTo>
                  <a:cubicBezTo>
                    <a:pt x="370" y="2369"/>
                    <a:pt x="346" y="2354"/>
                    <a:pt x="346" y="2354"/>
                  </a:cubicBezTo>
                  <a:cubicBezTo>
                    <a:pt x="351" y="2378"/>
                    <a:pt x="351" y="2378"/>
                    <a:pt x="351" y="2378"/>
                  </a:cubicBezTo>
                  <a:cubicBezTo>
                    <a:pt x="358" y="2371"/>
                    <a:pt x="358" y="2371"/>
                    <a:pt x="358" y="2371"/>
                  </a:cubicBezTo>
                  <a:cubicBezTo>
                    <a:pt x="358" y="2371"/>
                    <a:pt x="357" y="2376"/>
                    <a:pt x="370" y="2379"/>
                  </a:cubicBezTo>
                  <a:cubicBezTo>
                    <a:pt x="388" y="2377"/>
                    <a:pt x="411" y="2397"/>
                    <a:pt x="400" y="2398"/>
                  </a:cubicBezTo>
                  <a:cubicBezTo>
                    <a:pt x="389" y="2399"/>
                    <a:pt x="376" y="2391"/>
                    <a:pt x="367" y="2391"/>
                  </a:cubicBezTo>
                  <a:cubicBezTo>
                    <a:pt x="358" y="2391"/>
                    <a:pt x="360" y="2411"/>
                    <a:pt x="331" y="2411"/>
                  </a:cubicBezTo>
                  <a:cubicBezTo>
                    <a:pt x="302" y="2411"/>
                    <a:pt x="276" y="2380"/>
                    <a:pt x="282" y="2376"/>
                  </a:cubicBezTo>
                  <a:cubicBezTo>
                    <a:pt x="288" y="2372"/>
                    <a:pt x="291" y="2346"/>
                    <a:pt x="291" y="2346"/>
                  </a:cubicBezTo>
                  <a:cubicBezTo>
                    <a:pt x="285" y="2351"/>
                    <a:pt x="285" y="2351"/>
                    <a:pt x="285" y="2351"/>
                  </a:cubicBezTo>
                  <a:cubicBezTo>
                    <a:pt x="275" y="2347"/>
                    <a:pt x="275" y="2347"/>
                    <a:pt x="275" y="2347"/>
                  </a:cubicBezTo>
                  <a:cubicBezTo>
                    <a:pt x="265" y="2348"/>
                    <a:pt x="265" y="2348"/>
                    <a:pt x="265" y="2348"/>
                  </a:cubicBezTo>
                  <a:cubicBezTo>
                    <a:pt x="277" y="2367"/>
                    <a:pt x="277" y="2367"/>
                    <a:pt x="277" y="2367"/>
                  </a:cubicBezTo>
                  <a:cubicBezTo>
                    <a:pt x="257" y="2392"/>
                    <a:pt x="257" y="2392"/>
                    <a:pt x="257" y="2392"/>
                  </a:cubicBezTo>
                  <a:cubicBezTo>
                    <a:pt x="235" y="2395"/>
                    <a:pt x="235" y="2395"/>
                    <a:pt x="235" y="2395"/>
                  </a:cubicBezTo>
                  <a:cubicBezTo>
                    <a:pt x="235" y="2395"/>
                    <a:pt x="215" y="2401"/>
                    <a:pt x="218" y="2396"/>
                  </a:cubicBezTo>
                  <a:cubicBezTo>
                    <a:pt x="221" y="2391"/>
                    <a:pt x="217" y="2374"/>
                    <a:pt x="217" y="2360"/>
                  </a:cubicBezTo>
                  <a:cubicBezTo>
                    <a:pt x="217" y="2346"/>
                    <a:pt x="196" y="2373"/>
                    <a:pt x="196" y="2373"/>
                  </a:cubicBezTo>
                  <a:cubicBezTo>
                    <a:pt x="179" y="2372"/>
                    <a:pt x="179" y="2372"/>
                    <a:pt x="179" y="2372"/>
                  </a:cubicBezTo>
                  <a:cubicBezTo>
                    <a:pt x="179" y="2372"/>
                    <a:pt x="166" y="2389"/>
                    <a:pt x="151" y="2398"/>
                  </a:cubicBezTo>
                  <a:cubicBezTo>
                    <a:pt x="136" y="2407"/>
                    <a:pt x="124" y="2400"/>
                    <a:pt x="124" y="2400"/>
                  </a:cubicBezTo>
                  <a:cubicBezTo>
                    <a:pt x="113" y="2419"/>
                    <a:pt x="113" y="2419"/>
                    <a:pt x="113" y="2419"/>
                  </a:cubicBezTo>
                  <a:cubicBezTo>
                    <a:pt x="125" y="2421"/>
                    <a:pt x="125" y="2421"/>
                    <a:pt x="125" y="2421"/>
                  </a:cubicBezTo>
                  <a:cubicBezTo>
                    <a:pt x="125" y="2421"/>
                    <a:pt x="117" y="2430"/>
                    <a:pt x="118" y="2435"/>
                  </a:cubicBezTo>
                  <a:cubicBezTo>
                    <a:pt x="119" y="2440"/>
                    <a:pt x="119" y="2445"/>
                    <a:pt x="120" y="2450"/>
                  </a:cubicBezTo>
                  <a:cubicBezTo>
                    <a:pt x="121" y="2455"/>
                    <a:pt x="104" y="2451"/>
                    <a:pt x="104" y="2451"/>
                  </a:cubicBezTo>
                  <a:cubicBezTo>
                    <a:pt x="101" y="2426"/>
                    <a:pt x="101" y="2426"/>
                    <a:pt x="101" y="2426"/>
                  </a:cubicBezTo>
                  <a:cubicBezTo>
                    <a:pt x="74" y="2445"/>
                    <a:pt x="74" y="2445"/>
                    <a:pt x="74" y="2445"/>
                  </a:cubicBezTo>
                  <a:cubicBezTo>
                    <a:pt x="82" y="2457"/>
                    <a:pt x="82" y="2457"/>
                    <a:pt x="82" y="2457"/>
                  </a:cubicBezTo>
                  <a:cubicBezTo>
                    <a:pt x="73" y="2470"/>
                    <a:pt x="73" y="2470"/>
                    <a:pt x="73" y="2470"/>
                  </a:cubicBezTo>
                  <a:cubicBezTo>
                    <a:pt x="76" y="2492"/>
                    <a:pt x="76" y="2492"/>
                    <a:pt x="76" y="2492"/>
                  </a:cubicBezTo>
                  <a:cubicBezTo>
                    <a:pt x="76" y="2492"/>
                    <a:pt x="68" y="2495"/>
                    <a:pt x="68" y="2501"/>
                  </a:cubicBezTo>
                  <a:cubicBezTo>
                    <a:pt x="68" y="2507"/>
                    <a:pt x="73" y="2510"/>
                    <a:pt x="86" y="2520"/>
                  </a:cubicBezTo>
                  <a:cubicBezTo>
                    <a:pt x="98" y="2502"/>
                    <a:pt x="131" y="2507"/>
                    <a:pt x="131" y="2507"/>
                  </a:cubicBezTo>
                  <a:cubicBezTo>
                    <a:pt x="130" y="2498"/>
                    <a:pt x="130" y="2498"/>
                    <a:pt x="130" y="2498"/>
                  </a:cubicBezTo>
                  <a:cubicBezTo>
                    <a:pt x="119" y="2497"/>
                    <a:pt x="119" y="2497"/>
                    <a:pt x="119" y="2497"/>
                  </a:cubicBezTo>
                  <a:cubicBezTo>
                    <a:pt x="119" y="2488"/>
                    <a:pt x="119" y="2488"/>
                    <a:pt x="119" y="2488"/>
                  </a:cubicBezTo>
                  <a:cubicBezTo>
                    <a:pt x="131" y="2488"/>
                    <a:pt x="131" y="2488"/>
                    <a:pt x="131" y="2488"/>
                  </a:cubicBezTo>
                  <a:cubicBezTo>
                    <a:pt x="145" y="2507"/>
                    <a:pt x="145" y="2507"/>
                    <a:pt x="145" y="2507"/>
                  </a:cubicBezTo>
                  <a:cubicBezTo>
                    <a:pt x="168" y="2505"/>
                    <a:pt x="168" y="2505"/>
                    <a:pt x="168" y="2505"/>
                  </a:cubicBezTo>
                  <a:cubicBezTo>
                    <a:pt x="168" y="2492"/>
                    <a:pt x="168" y="2492"/>
                    <a:pt x="168" y="2492"/>
                  </a:cubicBezTo>
                  <a:cubicBezTo>
                    <a:pt x="156" y="2490"/>
                    <a:pt x="156" y="2490"/>
                    <a:pt x="156" y="2490"/>
                  </a:cubicBezTo>
                  <a:cubicBezTo>
                    <a:pt x="152" y="2483"/>
                    <a:pt x="152" y="2483"/>
                    <a:pt x="152" y="2483"/>
                  </a:cubicBezTo>
                  <a:cubicBezTo>
                    <a:pt x="162" y="2483"/>
                    <a:pt x="162" y="2483"/>
                    <a:pt x="162" y="2483"/>
                  </a:cubicBezTo>
                  <a:cubicBezTo>
                    <a:pt x="162" y="2483"/>
                    <a:pt x="174" y="2496"/>
                    <a:pt x="186" y="2496"/>
                  </a:cubicBezTo>
                  <a:cubicBezTo>
                    <a:pt x="198" y="2496"/>
                    <a:pt x="199" y="2508"/>
                    <a:pt x="199" y="2508"/>
                  </a:cubicBezTo>
                  <a:cubicBezTo>
                    <a:pt x="217" y="2498"/>
                    <a:pt x="217" y="2498"/>
                    <a:pt x="217" y="2498"/>
                  </a:cubicBezTo>
                  <a:cubicBezTo>
                    <a:pt x="217" y="2498"/>
                    <a:pt x="218" y="2506"/>
                    <a:pt x="226" y="2506"/>
                  </a:cubicBezTo>
                  <a:cubicBezTo>
                    <a:pt x="234" y="2506"/>
                    <a:pt x="264" y="2485"/>
                    <a:pt x="264" y="2485"/>
                  </a:cubicBezTo>
                  <a:cubicBezTo>
                    <a:pt x="264" y="2485"/>
                    <a:pt x="272" y="2481"/>
                    <a:pt x="298" y="2490"/>
                  </a:cubicBezTo>
                  <a:cubicBezTo>
                    <a:pt x="298" y="2504"/>
                    <a:pt x="316" y="2513"/>
                    <a:pt x="317" y="2507"/>
                  </a:cubicBezTo>
                  <a:cubicBezTo>
                    <a:pt x="318" y="2501"/>
                    <a:pt x="307" y="2481"/>
                    <a:pt x="303" y="2481"/>
                  </a:cubicBezTo>
                  <a:cubicBezTo>
                    <a:pt x="306" y="2481"/>
                    <a:pt x="326" y="2481"/>
                    <a:pt x="326" y="2481"/>
                  </a:cubicBezTo>
                  <a:cubicBezTo>
                    <a:pt x="325" y="2505"/>
                    <a:pt x="325" y="2505"/>
                    <a:pt x="325" y="2505"/>
                  </a:cubicBezTo>
                  <a:cubicBezTo>
                    <a:pt x="325" y="2505"/>
                    <a:pt x="307" y="2542"/>
                    <a:pt x="303" y="2543"/>
                  </a:cubicBezTo>
                  <a:cubicBezTo>
                    <a:pt x="299" y="2544"/>
                    <a:pt x="309" y="2523"/>
                    <a:pt x="303" y="2523"/>
                  </a:cubicBezTo>
                  <a:cubicBezTo>
                    <a:pt x="297" y="2523"/>
                    <a:pt x="289" y="2548"/>
                    <a:pt x="289" y="2548"/>
                  </a:cubicBezTo>
                  <a:cubicBezTo>
                    <a:pt x="289" y="2548"/>
                    <a:pt x="298" y="2548"/>
                    <a:pt x="283" y="2558"/>
                  </a:cubicBezTo>
                  <a:cubicBezTo>
                    <a:pt x="257" y="2558"/>
                    <a:pt x="229" y="2572"/>
                    <a:pt x="229" y="2572"/>
                  </a:cubicBezTo>
                  <a:cubicBezTo>
                    <a:pt x="225" y="2562"/>
                    <a:pt x="225" y="2562"/>
                    <a:pt x="225" y="2562"/>
                  </a:cubicBezTo>
                  <a:cubicBezTo>
                    <a:pt x="182" y="2597"/>
                    <a:pt x="182" y="2597"/>
                    <a:pt x="182" y="2597"/>
                  </a:cubicBezTo>
                  <a:cubicBezTo>
                    <a:pt x="170" y="2591"/>
                    <a:pt x="170" y="2591"/>
                    <a:pt x="170" y="2591"/>
                  </a:cubicBezTo>
                  <a:cubicBezTo>
                    <a:pt x="170" y="2591"/>
                    <a:pt x="161" y="2603"/>
                    <a:pt x="149" y="2616"/>
                  </a:cubicBezTo>
                  <a:cubicBezTo>
                    <a:pt x="137" y="2616"/>
                    <a:pt x="137" y="2627"/>
                    <a:pt x="137" y="2627"/>
                  </a:cubicBezTo>
                  <a:cubicBezTo>
                    <a:pt x="145" y="2637"/>
                    <a:pt x="145" y="2637"/>
                    <a:pt x="145" y="2637"/>
                  </a:cubicBezTo>
                  <a:cubicBezTo>
                    <a:pt x="122" y="2637"/>
                    <a:pt x="122" y="2637"/>
                    <a:pt x="122" y="2637"/>
                  </a:cubicBezTo>
                  <a:cubicBezTo>
                    <a:pt x="120" y="2649"/>
                    <a:pt x="120" y="2649"/>
                    <a:pt x="120" y="2649"/>
                  </a:cubicBezTo>
                  <a:cubicBezTo>
                    <a:pt x="96" y="2652"/>
                    <a:pt x="96" y="2652"/>
                    <a:pt x="96" y="2652"/>
                  </a:cubicBezTo>
                  <a:cubicBezTo>
                    <a:pt x="86" y="2682"/>
                    <a:pt x="86" y="2682"/>
                    <a:pt x="86" y="2682"/>
                  </a:cubicBezTo>
                  <a:cubicBezTo>
                    <a:pt x="93" y="2677"/>
                    <a:pt x="93" y="2677"/>
                    <a:pt x="93" y="2677"/>
                  </a:cubicBezTo>
                  <a:cubicBezTo>
                    <a:pt x="93" y="2677"/>
                    <a:pt x="103" y="2683"/>
                    <a:pt x="103" y="2695"/>
                  </a:cubicBezTo>
                  <a:cubicBezTo>
                    <a:pt x="103" y="2707"/>
                    <a:pt x="94" y="2718"/>
                    <a:pt x="94" y="2718"/>
                  </a:cubicBezTo>
                  <a:cubicBezTo>
                    <a:pt x="101" y="2713"/>
                    <a:pt x="101" y="2713"/>
                    <a:pt x="101" y="2713"/>
                  </a:cubicBezTo>
                  <a:cubicBezTo>
                    <a:pt x="123" y="2713"/>
                    <a:pt x="123" y="2713"/>
                    <a:pt x="123" y="2713"/>
                  </a:cubicBezTo>
                  <a:cubicBezTo>
                    <a:pt x="130" y="2737"/>
                    <a:pt x="130" y="2737"/>
                    <a:pt x="130" y="2737"/>
                  </a:cubicBezTo>
                  <a:cubicBezTo>
                    <a:pt x="116" y="2742"/>
                    <a:pt x="116" y="2742"/>
                    <a:pt x="116" y="2742"/>
                  </a:cubicBezTo>
                  <a:cubicBezTo>
                    <a:pt x="125" y="2761"/>
                    <a:pt x="125" y="2761"/>
                    <a:pt x="125" y="2761"/>
                  </a:cubicBezTo>
                  <a:cubicBezTo>
                    <a:pt x="125" y="2761"/>
                    <a:pt x="136" y="2758"/>
                    <a:pt x="141" y="2758"/>
                  </a:cubicBezTo>
                  <a:cubicBezTo>
                    <a:pt x="146" y="2758"/>
                    <a:pt x="149" y="2743"/>
                    <a:pt x="149" y="2743"/>
                  </a:cubicBezTo>
                  <a:cubicBezTo>
                    <a:pt x="158" y="2742"/>
                    <a:pt x="158" y="2742"/>
                    <a:pt x="158" y="2742"/>
                  </a:cubicBezTo>
                  <a:cubicBezTo>
                    <a:pt x="158" y="2742"/>
                    <a:pt x="166" y="2713"/>
                    <a:pt x="177" y="2713"/>
                  </a:cubicBezTo>
                  <a:cubicBezTo>
                    <a:pt x="188" y="2713"/>
                    <a:pt x="200" y="2725"/>
                    <a:pt x="200" y="2744"/>
                  </a:cubicBezTo>
                  <a:cubicBezTo>
                    <a:pt x="200" y="2756"/>
                    <a:pt x="192" y="2761"/>
                    <a:pt x="185" y="2764"/>
                  </a:cubicBezTo>
                  <a:cubicBezTo>
                    <a:pt x="186" y="2764"/>
                    <a:pt x="186" y="2764"/>
                    <a:pt x="187" y="2764"/>
                  </a:cubicBezTo>
                  <a:cubicBezTo>
                    <a:pt x="188" y="2786"/>
                    <a:pt x="216" y="2779"/>
                    <a:pt x="216" y="2779"/>
                  </a:cubicBezTo>
                  <a:cubicBezTo>
                    <a:pt x="214" y="2792"/>
                    <a:pt x="214" y="2792"/>
                    <a:pt x="214" y="2792"/>
                  </a:cubicBezTo>
                  <a:cubicBezTo>
                    <a:pt x="217" y="2798"/>
                    <a:pt x="217" y="2798"/>
                    <a:pt x="217" y="2798"/>
                  </a:cubicBezTo>
                  <a:cubicBezTo>
                    <a:pt x="254" y="2770"/>
                    <a:pt x="254" y="2770"/>
                    <a:pt x="254" y="2770"/>
                  </a:cubicBezTo>
                  <a:cubicBezTo>
                    <a:pt x="254" y="2770"/>
                    <a:pt x="256" y="2773"/>
                    <a:pt x="277" y="2771"/>
                  </a:cubicBezTo>
                  <a:cubicBezTo>
                    <a:pt x="289" y="2761"/>
                    <a:pt x="337" y="2737"/>
                    <a:pt x="337" y="2737"/>
                  </a:cubicBezTo>
                  <a:cubicBezTo>
                    <a:pt x="339" y="2751"/>
                    <a:pt x="339" y="2751"/>
                    <a:pt x="339" y="2751"/>
                  </a:cubicBezTo>
                  <a:cubicBezTo>
                    <a:pt x="360" y="2733"/>
                    <a:pt x="360" y="2733"/>
                    <a:pt x="360" y="2733"/>
                  </a:cubicBezTo>
                  <a:cubicBezTo>
                    <a:pt x="360" y="2733"/>
                    <a:pt x="360" y="2736"/>
                    <a:pt x="365" y="2736"/>
                  </a:cubicBezTo>
                  <a:cubicBezTo>
                    <a:pt x="374" y="2717"/>
                    <a:pt x="412" y="2714"/>
                    <a:pt x="415" y="2707"/>
                  </a:cubicBezTo>
                  <a:cubicBezTo>
                    <a:pt x="418" y="2700"/>
                    <a:pt x="453" y="2703"/>
                    <a:pt x="453" y="2703"/>
                  </a:cubicBezTo>
                  <a:cubicBezTo>
                    <a:pt x="453" y="2703"/>
                    <a:pt x="454" y="2710"/>
                    <a:pt x="453" y="2717"/>
                  </a:cubicBezTo>
                  <a:cubicBezTo>
                    <a:pt x="453" y="2717"/>
                    <a:pt x="453" y="2717"/>
                    <a:pt x="437" y="2717"/>
                  </a:cubicBezTo>
                  <a:cubicBezTo>
                    <a:pt x="421" y="2717"/>
                    <a:pt x="397" y="2724"/>
                    <a:pt x="390" y="2733"/>
                  </a:cubicBezTo>
                  <a:cubicBezTo>
                    <a:pt x="383" y="2742"/>
                    <a:pt x="359" y="2760"/>
                    <a:pt x="359" y="2760"/>
                  </a:cubicBezTo>
                  <a:cubicBezTo>
                    <a:pt x="361" y="2777"/>
                    <a:pt x="361" y="2777"/>
                    <a:pt x="361" y="2777"/>
                  </a:cubicBezTo>
                  <a:cubicBezTo>
                    <a:pt x="354" y="2765"/>
                    <a:pt x="354" y="2765"/>
                    <a:pt x="354" y="2765"/>
                  </a:cubicBezTo>
                  <a:cubicBezTo>
                    <a:pt x="338" y="2785"/>
                    <a:pt x="338" y="2785"/>
                    <a:pt x="338" y="2785"/>
                  </a:cubicBezTo>
                  <a:cubicBezTo>
                    <a:pt x="330" y="2778"/>
                    <a:pt x="330" y="2778"/>
                    <a:pt x="330" y="2778"/>
                  </a:cubicBezTo>
                  <a:cubicBezTo>
                    <a:pt x="316" y="2786"/>
                    <a:pt x="316" y="2786"/>
                    <a:pt x="316" y="2786"/>
                  </a:cubicBezTo>
                  <a:cubicBezTo>
                    <a:pt x="269" y="2814"/>
                    <a:pt x="269" y="2814"/>
                    <a:pt x="269" y="2814"/>
                  </a:cubicBezTo>
                  <a:cubicBezTo>
                    <a:pt x="295" y="2822"/>
                    <a:pt x="295" y="2822"/>
                    <a:pt x="295" y="2822"/>
                  </a:cubicBezTo>
                  <a:cubicBezTo>
                    <a:pt x="295" y="2822"/>
                    <a:pt x="286" y="2839"/>
                    <a:pt x="276" y="2842"/>
                  </a:cubicBezTo>
                  <a:cubicBezTo>
                    <a:pt x="266" y="2845"/>
                    <a:pt x="231" y="2841"/>
                    <a:pt x="231" y="2849"/>
                  </a:cubicBezTo>
                  <a:cubicBezTo>
                    <a:pt x="231" y="2857"/>
                    <a:pt x="252" y="2867"/>
                    <a:pt x="252" y="2867"/>
                  </a:cubicBezTo>
                  <a:cubicBezTo>
                    <a:pt x="243" y="2885"/>
                    <a:pt x="243" y="2885"/>
                    <a:pt x="243" y="2885"/>
                  </a:cubicBezTo>
                  <a:cubicBezTo>
                    <a:pt x="185" y="2893"/>
                    <a:pt x="185" y="2893"/>
                    <a:pt x="185" y="2893"/>
                  </a:cubicBezTo>
                  <a:cubicBezTo>
                    <a:pt x="185" y="2893"/>
                    <a:pt x="163" y="2916"/>
                    <a:pt x="168" y="2920"/>
                  </a:cubicBezTo>
                  <a:cubicBezTo>
                    <a:pt x="173" y="2924"/>
                    <a:pt x="211" y="2898"/>
                    <a:pt x="211" y="2898"/>
                  </a:cubicBezTo>
                  <a:cubicBezTo>
                    <a:pt x="199" y="2919"/>
                    <a:pt x="199" y="2919"/>
                    <a:pt x="199" y="2919"/>
                  </a:cubicBezTo>
                  <a:cubicBezTo>
                    <a:pt x="219" y="2906"/>
                    <a:pt x="219" y="2906"/>
                    <a:pt x="219" y="2906"/>
                  </a:cubicBezTo>
                  <a:cubicBezTo>
                    <a:pt x="219" y="2906"/>
                    <a:pt x="246" y="2916"/>
                    <a:pt x="258" y="2916"/>
                  </a:cubicBezTo>
                  <a:cubicBezTo>
                    <a:pt x="270" y="2916"/>
                    <a:pt x="283" y="2894"/>
                    <a:pt x="283" y="2894"/>
                  </a:cubicBezTo>
                  <a:cubicBezTo>
                    <a:pt x="283" y="2894"/>
                    <a:pt x="298" y="2898"/>
                    <a:pt x="333" y="2896"/>
                  </a:cubicBezTo>
                  <a:cubicBezTo>
                    <a:pt x="368" y="2894"/>
                    <a:pt x="374" y="2869"/>
                    <a:pt x="374" y="2869"/>
                  </a:cubicBezTo>
                  <a:cubicBezTo>
                    <a:pt x="374" y="2869"/>
                    <a:pt x="355" y="2858"/>
                    <a:pt x="375" y="2858"/>
                  </a:cubicBezTo>
                  <a:cubicBezTo>
                    <a:pt x="395" y="2858"/>
                    <a:pt x="414" y="2843"/>
                    <a:pt x="414" y="2843"/>
                  </a:cubicBezTo>
                  <a:cubicBezTo>
                    <a:pt x="437" y="2851"/>
                    <a:pt x="437" y="2851"/>
                    <a:pt x="437" y="2851"/>
                  </a:cubicBezTo>
                  <a:cubicBezTo>
                    <a:pt x="487" y="2817"/>
                    <a:pt x="487" y="2817"/>
                    <a:pt x="487" y="2817"/>
                  </a:cubicBezTo>
                  <a:cubicBezTo>
                    <a:pt x="487" y="2794"/>
                    <a:pt x="487" y="2794"/>
                    <a:pt x="487" y="2794"/>
                  </a:cubicBezTo>
                  <a:cubicBezTo>
                    <a:pt x="487" y="2794"/>
                    <a:pt x="490" y="2795"/>
                    <a:pt x="495" y="2795"/>
                  </a:cubicBezTo>
                  <a:cubicBezTo>
                    <a:pt x="497" y="2816"/>
                    <a:pt x="514" y="2823"/>
                    <a:pt x="514" y="2823"/>
                  </a:cubicBezTo>
                  <a:cubicBezTo>
                    <a:pt x="486" y="2846"/>
                    <a:pt x="486" y="2846"/>
                    <a:pt x="486" y="2846"/>
                  </a:cubicBezTo>
                  <a:cubicBezTo>
                    <a:pt x="504" y="2852"/>
                    <a:pt x="504" y="2852"/>
                    <a:pt x="504" y="2852"/>
                  </a:cubicBezTo>
                  <a:cubicBezTo>
                    <a:pt x="504" y="2852"/>
                    <a:pt x="494" y="2860"/>
                    <a:pt x="445" y="2883"/>
                  </a:cubicBezTo>
                  <a:cubicBezTo>
                    <a:pt x="395" y="2894"/>
                    <a:pt x="341" y="2955"/>
                    <a:pt x="341" y="2955"/>
                  </a:cubicBezTo>
                  <a:cubicBezTo>
                    <a:pt x="359" y="2954"/>
                    <a:pt x="359" y="2954"/>
                    <a:pt x="359" y="2954"/>
                  </a:cubicBezTo>
                  <a:cubicBezTo>
                    <a:pt x="359" y="2954"/>
                    <a:pt x="383" y="2941"/>
                    <a:pt x="393" y="2943"/>
                  </a:cubicBezTo>
                  <a:cubicBezTo>
                    <a:pt x="402" y="2928"/>
                    <a:pt x="417" y="2924"/>
                    <a:pt x="417" y="2924"/>
                  </a:cubicBezTo>
                  <a:cubicBezTo>
                    <a:pt x="432" y="2920"/>
                    <a:pt x="432" y="2920"/>
                    <a:pt x="432" y="2920"/>
                  </a:cubicBezTo>
                  <a:cubicBezTo>
                    <a:pt x="432" y="2920"/>
                    <a:pt x="466" y="2901"/>
                    <a:pt x="466" y="2910"/>
                  </a:cubicBezTo>
                  <a:cubicBezTo>
                    <a:pt x="459" y="2918"/>
                    <a:pt x="416" y="2958"/>
                    <a:pt x="416" y="2958"/>
                  </a:cubicBezTo>
                  <a:cubicBezTo>
                    <a:pt x="396" y="2964"/>
                    <a:pt x="396" y="2964"/>
                    <a:pt x="396" y="2964"/>
                  </a:cubicBezTo>
                  <a:cubicBezTo>
                    <a:pt x="346" y="2997"/>
                    <a:pt x="346" y="2997"/>
                    <a:pt x="346" y="2997"/>
                  </a:cubicBezTo>
                  <a:cubicBezTo>
                    <a:pt x="351" y="3006"/>
                    <a:pt x="351" y="3006"/>
                    <a:pt x="351" y="3006"/>
                  </a:cubicBezTo>
                  <a:cubicBezTo>
                    <a:pt x="357" y="3029"/>
                    <a:pt x="357" y="3029"/>
                    <a:pt x="357" y="3029"/>
                  </a:cubicBezTo>
                  <a:cubicBezTo>
                    <a:pt x="373" y="3017"/>
                    <a:pt x="373" y="3017"/>
                    <a:pt x="373" y="3017"/>
                  </a:cubicBezTo>
                  <a:cubicBezTo>
                    <a:pt x="373" y="3017"/>
                    <a:pt x="376" y="3029"/>
                    <a:pt x="384" y="3029"/>
                  </a:cubicBezTo>
                  <a:cubicBezTo>
                    <a:pt x="392" y="3029"/>
                    <a:pt x="401" y="3023"/>
                    <a:pt x="408" y="3014"/>
                  </a:cubicBezTo>
                  <a:cubicBezTo>
                    <a:pt x="408" y="2993"/>
                    <a:pt x="420" y="2989"/>
                    <a:pt x="429" y="2995"/>
                  </a:cubicBezTo>
                  <a:cubicBezTo>
                    <a:pt x="429" y="2990"/>
                    <a:pt x="437" y="2977"/>
                    <a:pt x="441" y="2978"/>
                  </a:cubicBezTo>
                  <a:cubicBezTo>
                    <a:pt x="441" y="2999"/>
                    <a:pt x="474" y="3000"/>
                    <a:pt x="474" y="3000"/>
                  </a:cubicBezTo>
                  <a:cubicBezTo>
                    <a:pt x="487" y="2987"/>
                    <a:pt x="487" y="2987"/>
                    <a:pt x="487" y="2987"/>
                  </a:cubicBezTo>
                  <a:cubicBezTo>
                    <a:pt x="483" y="2972"/>
                    <a:pt x="483" y="2972"/>
                    <a:pt x="483" y="2972"/>
                  </a:cubicBezTo>
                  <a:cubicBezTo>
                    <a:pt x="489" y="2968"/>
                    <a:pt x="489" y="2968"/>
                    <a:pt x="489" y="2968"/>
                  </a:cubicBezTo>
                  <a:cubicBezTo>
                    <a:pt x="501" y="2986"/>
                    <a:pt x="501" y="2986"/>
                    <a:pt x="501" y="2986"/>
                  </a:cubicBezTo>
                  <a:cubicBezTo>
                    <a:pt x="508" y="2976"/>
                    <a:pt x="508" y="2976"/>
                    <a:pt x="508" y="2976"/>
                  </a:cubicBezTo>
                  <a:cubicBezTo>
                    <a:pt x="515" y="2981"/>
                    <a:pt x="515" y="2981"/>
                    <a:pt x="515" y="2981"/>
                  </a:cubicBezTo>
                  <a:cubicBezTo>
                    <a:pt x="515" y="2981"/>
                    <a:pt x="550" y="2953"/>
                    <a:pt x="551" y="2961"/>
                  </a:cubicBezTo>
                  <a:cubicBezTo>
                    <a:pt x="552" y="2969"/>
                    <a:pt x="531" y="2980"/>
                    <a:pt x="520" y="2993"/>
                  </a:cubicBezTo>
                  <a:cubicBezTo>
                    <a:pt x="509" y="3006"/>
                    <a:pt x="539" y="2988"/>
                    <a:pt x="539" y="2988"/>
                  </a:cubicBezTo>
                  <a:cubicBezTo>
                    <a:pt x="543" y="2995"/>
                    <a:pt x="543" y="2995"/>
                    <a:pt x="543" y="2995"/>
                  </a:cubicBezTo>
                  <a:cubicBezTo>
                    <a:pt x="543" y="2995"/>
                    <a:pt x="529" y="3009"/>
                    <a:pt x="528" y="3024"/>
                  </a:cubicBezTo>
                  <a:cubicBezTo>
                    <a:pt x="527" y="3039"/>
                    <a:pt x="555" y="3012"/>
                    <a:pt x="555" y="3012"/>
                  </a:cubicBezTo>
                  <a:cubicBezTo>
                    <a:pt x="555" y="3012"/>
                    <a:pt x="567" y="3020"/>
                    <a:pt x="570" y="3019"/>
                  </a:cubicBezTo>
                  <a:cubicBezTo>
                    <a:pt x="573" y="3018"/>
                    <a:pt x="604" y="2990"/>
                    <a:pt x="604" y="2990"/>
                  </a:cubicBezTo>
                  <a:cubicBezTo>
                    <a:pt x="611" y="3006"/>
                    <a:pt x="611" y="3006"/>
                    <a:pt x="611" y="3006"/>
                  </a:cubicBezTo>
                  <a:cubicBezTo>
                    <a:pt x="618" y="3002"/>
                    <a:pt x="618" y="3002"/>
                    <a:pt x="618" y="3002"/>
                  </a:cubicBezTo>
                  <a:cubicBezTo>
                    <a:pt x="618" y="3002"/>
                    <a:pt x="627" y="3008"/>
                    <a:pt x="635" y="3003"/>
                  </a:cubicBezTo>
                  <a:cubicBezTo>
                    <a:pt x="635" y="2996"/>
                    <a:pt x="643" y="2978"/>
                    <a:pt x="654" y="2978"/>
                  </a:cubicBezTo>
                  <a:cubicBezTo>
                    <a:pt x="665" y="2978"/>
                    <a:pt x="684" y="2962"/>
                    <a:pt x="684" y="2962"/>
                  </a:cubicBezTo>
                  <a:cubicBezTo>
                    <a:pt x="686" y="2950"/>
                    <a:pt x="686" y="2950"/>
                    <a:pt x="686" y="2950"/>
                  </a:cubicBezTo>
                  <a:cubicBezTo>
                    <a:pt x="706" y="2957"/>
                    <a:pt x="706" y="2957"/>
                    <a:pt x="706" y="2957"/>
                  </a:cubicBezTo>
                  <a:cubicBezTo>
                    <a:pt x="706" y="2957"/>
                    <a:pt x="737" y="2942"/>
                    <a:pt x="748" y="2950"/>
                  </a:cubicBezTo>
                  <a:cubicBezTo>
                    <a:pt x="759" y="2958"/>
                    <a:pt x="754" y="2973"/>
                    <a:pt x="754" y="2973"/>
                  </a:cubicBezTo>
                  <a:cubicBezTo>
                    <a:pt x="754" y="2973"/>
                    <a:pt x="775" y="2963"/>
                    <a:pt x="786" y="2958"/>
                  </a:cubicBezTo>
                  <a:cubicBezTo>
                    <a:pt x="797" y="2953"/>
                    <a:pt x="778" y="2939"/>
                    <a:pt x="785" y="2940"/>
                  </a:cubicBezTo>
                  <a:cubicBezTo>
                    <a:pt x="792" y="2941"/>
                    <a:pt x="803" y="2920"/>
                    <a:pt x="803" y="2920"/>
                  </a:cubicBezTo>
                  <a:cubicBezTo>
                    <a:pt x="803" y="2920"/>
                    <a:pt x="804" y="2923"/>
                    <a:pt x="810" y="2923"/>
                  </a:cubicBezTo>
                  <a:cubicBezTo>
                    <a:pt x="816" y="2923"/>
                    <a:pt x="838" y="2931"/>
                    <a:pt x="838" y="2931"/>
                  </a:cubicBezTo>
                  <a:cubicBezTo>
                    <a:pt x="846" y="2932"/>
                    <a:pt x="846" y="2932"/>
                    <a:pt x="846" y="2932"/>
                  </a:cubicBezTo>
                  <a:cubicBezTo>
                    <a:pt x="841" y="2941"/>
                    <a:pt x="841" y="2941"/>
                    <a:pt x="841" y="2941"/>
                  </a:cubicBezTo>
                  <a:cubicBezTo>
                    <a:pt x="869" y="2942"/>
                    <a:pt x="869" y="2942"/>
                    <a:pt x="869" y="2942"/>
                  </a:cubicBezTo>
                  <a:cubicBezTo>
                    <a:pt x="876" y="2934"/>
                    <a:pt x="876" y="2934"/>
                    <a:pt x="876" y="2934"/>
                  </a:cubicBezTo>
                  <a:cubicBezTo>
                    <a:pt x="872" y="2923"/>
                    <a:pt x="872" y="2923"/>
                    <a:pt x="872" y="2923"/>
                  </a:cubicBezTo>
                  <a:cubicBezTo>
                    <a:pt x="872" y="2923"/>
                    <a:pt x="883" y="2911"/>
                    <a:pt x="884" y="2907"/>
                  </a:cubicBezTo>
                  <a:cubicBezTo>
                    <a:pt x="878" y="2907"/>
                    <a:pt x="888" y="2876"/>
                    <a:pt x="888" y="2876"/>
                  </a:cubicBezTo>
                  <a:cubicBezTo>
                    <a:pt x="888" y="2876"/>
                    <a:pt x="897" y="2893"/>
                    <a:pt x="905" y="2895"/>
                  </a:cubicBezTo>
                  <a:cubicBezTo>
                    <a:pt x="913" y="2897"/>
                    <a:pt x="922" y="2879"/>
                    <a:pt x="931" y="2886"/>
                  </a:cubicBezTo>
                  <a:cubicBezTo>
                    <a:pt x="940" y="2893"/>
                    <a:pt x="945" y="2918"/>
                    <a:pt x="945" y="2918"/>
                  </a:cubicBezTo>
                  <a:cubicBezTo>
                    <a:pt x="945" y="2918"/>
                    <a:pt x="951" y="2918"/>
                    <a:pt x="952" y="2912"/>
                  </a:cubicBezTo>
                  <a:cubicBezTo>
                    <a:pt x="947" y="2911"/>
                    <a:pt x="953" y="2895"/>
                    <a:pt x="953" y="2895"/>
                  </a:cubicBezTo>
                  <a:cubicBezTo>
                    <a:pt x="948" y="2883"/>
                    <a:pt x="948" y="2883"/>
                    <a:pt x="948" y="2883"/>
                  </a:cubicBezTo>
                  <a:cubicBezTo>
                    <a:pt x="971" y="2854"/>
                    <a:pt x="971" y="2854"/>
                    <a:pt x="971" y="2854"/>
                  </a:cubicBezTo>
                  <a:cubicBezTo>
                    <a:pt x="971" y="2859"/>
                    <a:pt x="971" y="2859"/>
                    <a:pt x="971" y="2859"/>
                  </a:cubicBezTo>
                  <a:cubicBezTo>
                    <a:pt x="1010" y="2838"/>
                    <a:pt x="1010" y="2838"/>
                    <a:pt x="1010" y="2838"/>
                  </a:cubicBezTo>
                  <a:cubicBezTo>
                    <a:pt x="1017" y="2844"/>
                    <a:pt x="1017" y="2844"/>
                    <a:pt x="1017" y="2844"/>
                  </a:cubicBezTo>
                  <a:cubicBezTo>
                    <a:pt x="1020" y="2830"/>
                    <a:pt x="1020" y="2830"/>
                    <a:pt x="1020" y="2830"/>
                  </a:cubicBezTo>
                  <a:cubicBezTo>
                    <a:pt x="1039" y="2829"/>
                    <a:pt x="1039" y="2829"/>
                    <a:pt x="1039" y="2829"/>
                  </a:cubicBezTo>
                  <a:cubicBezTo>
                    <a:pt x="1039" y="2829"/>
                    <a:pt x="1039" y="2816"/>
                    <a:pt x="1046" y="2816"/>
                  </a:cubicBezTo>
                  <a:cubicBezTo>
                    <a:pt x="1053" y="2816"/>
                    <a:pt x="1057" y="2804"/>
                    <a:pt x="1058" y="2783"/>
                  </a:cubicBezTo>
                  <a:cubicBezTo>
                    <a:pt x="1068" y="2768"/>
                    <a:pt x="1076" y="2759"/>
                    <a:pt x="1066" y="2759"/>
                  </a:cubicBezTo>
                  <a:cubicBezTo>
                    <a:pt x="1056" y="2759"/>
                    <a:pt x="1058" y="2743"/>
                    <a:pt x="1061" y="2730"/>
                  </a:cubicBezTo>
                  <a:cubicBezTo>
                    <a:pt x="1078" y="2710"/>
                    <a:pt x="1103" y="2729"/>
                    <a:pt x="1103" y="2729"/>
                  </a:cubicBezTo>
                  <a:cubicBezTo>
                    <a:pt x="1073" y="2745"/>
                    <a:pt x="1073" y="2745"/>
                    <a:pt x="1073" y="2745"/>
                  </a:cubicBezTo>
                  <a:cubicBezTo>
                    <a:pt x="1085" y="2773"/>
                    <a:pt x="1085" y="2773"/>
                    <a:pt x="1085" y="2773"/>
                  </a:cubicBezTo>
                  <a:cubicBezTo>
                    <a:pt x="1111" y="2768"/>
                    <a:pt x="1111" y="2768"/>
                    <a:pt x="1111" y="2768"/>
                  </a:cubicBezTo>
                  <a:cubicBezTo>
                    <a:pt x="1116" y="2784"/>
                    <a:pt x="1116" y="2784"/>
                    <a:pt x="1116" y="2784"/>
                  </a:cubicBezTo>
                  <a:cubicBezTo>
                    <a:pt x="1116" y="2784"/>
                    <a:pt x="1126" y="2781"/>
                    <a:pt x="1141" y="2765"/>
                  </a:cubicBezTo>
                  <a:cubicBezTo>
                    <a:pt x="1163" y="2767"/>
                    <a:pt x="1195" y="2749"/>
                    <a:pt x="1195" y="2749"/>
                  </a:cubicBezTo>
                  <a:cubicBezTo>
                    <a:pt x="1187" y="2736"/>
                    <a:pt x="1187" y="2736"/>
                    <a:pt x="1187" y="2736"/>
                  </a:cubicBezTo>
                  <a:cubicBezTo>
                    <a:pt x="1187" y="2736"/>
                    <a:pt x="1185" y="2733"/>
                    <a:pt x="1210" y="2718"/>
                  </a:cubicBezTo>
                  <a:cubicBezTo>
                    <a:pt x="1241" y="2720"/>
                    <a:pt x="1257" y="2708"/>
                    <a:pt x="1257" y="2708"/>
                  </a:cubicBezTo>
                  <a:cubicBezTo>
                    <a:pt x="1257" y="2708"/>
                    <a:pt x="1257" y="2695"/>
                    <a:pt x="1252" y="2690"/>
                  </a:cubicBezTo>
                  <a:cubicBezTo>
                    <a:pt x="1247" y="2686"/>
                    <a:pt x="1269" y="2661"/>
                    <a:pt x="1272" y="2657"/>
                  </a:cubicBezTo>
                  <a:cubicBezTo>
                    <a:pt x="1273" y="2658"/>
                    <a:pt x="1275" y="2660"/>
                    <a:pt x="1287" y="2666"/>
                  </a:cubicBezTo>
                  <a:cubicBezTo>
                    <a:pt x="1298" y="2656"/>
                    <a:pt x="1305" y="2659"/>
                    <a:pt x="1305" y="2659"/>
                  </a:cubicBezTo>
                  <a:cubicBezTo>
                    <a:pt x="1333" y="2659"/>
                    <a:pt x="1333" y="2659"/>
                    <a:pt x="1333" y="2659"/>
                  </a:cubicBezTo>
                  <a:cubicBezTo>
                    <a:pt x="1330" y="2654"/>
                    <a:pt x="1330" y="2654"/>
                    <a:pt x="1330" y="2654"/>
                  </a:cubicBezTo>
                  <a:cubicBezTo>
                    <a:pt x="1331" y="2654"/>
                    <a:pt x="1335" y="2651"/>
                    <a:pt x="1345" y="2631"/>
                  </a:cubicBezTo>
                  <a:cubicBezTo>
                    <a:pt x="1399" y="2643"/>
                    <a:pt x="1395" y="2614"/>
                    <a:pt x="1395" y="2614"/>
                  </a:cubicBezTo>
                  <a:cubicBezTo>
                    <a:pt x="1397" y="2588"/>
                    <a:pt x="1397" y="2588"/>
                    <a:pt x="1397" y="2588"/>
                  </a:cubicBezTo>
                  <a:cubicBezTo>
                    <a:pt x="1397" y="2588"/>
                    <a:pt x="1408" y="2591"/>
                    <a:pt x="1412" y="2575"/>
                  </a:cubicBezTo>
                  <a:cubicBezTo>
                    <a:pt x="1374" y="2575"/>
                    <a:pt x="1391" y="2548"/>
                    <a:pt x="1391" y="2548"/>
                  </a:cubicBezTo>
                  <a:cubicBezTo>
                    <a:pt x="1391" y="2548"/>
                    <a:pt x="1391" y="2548"/>
                    <a:pt x="1407" y="2558"/>
                  </a:cubicBezTo>
                  <a:cubicBezTo>
                    <a:pt x="1433" y="2512"/>
                    <a:pt x="1541" y="2513"/>
                    <a:pt x="1541" y="2513"/>
                  </a:cubicBezTo>
                  <a:cubicBezTo>
                    <a:pt x="1583" y="2522"/>
                    <a:pt x="1583" y="2522"/>
                    <a:pt x="1583" y="2522"/>
                  </a:cubicBezTo>
                  <a:cubicBezTo>
                    <a:pt x="1604" y="2499"/>
                    <a:pt x="1604" y="2499"/>
                    <a:pt x="1604" y="2499"/>
                  </a:cubicBezTo>
                  <a:cubicBezTo>
                    <a:pt x="1604" y="2499"/>
                    <a:pt x="1612" y="2491"/>
                    <a:pt x="1624" y="2492"/>
                  </a:cubicBezTo>
                  <a:cubicBezTo>
                    <a:pt x="1636" y="2493"/>
                    <a:pt x="1616" y="2504"/>
                    <a:pt x="1616" y="2507"/>
                  </a:cubicBezTo>
                  <a:cubicBezTo>
                    <a:pt x="1616" y="2510"/>
                    <a:pt x="1617" y="2531"/>
                    <a:pt x="1617" y="2531"/>
                  </a:cubicBezTo>
                  <a:cubicBezTo>
                    <a:pt x="1617" y="2531"/>
                    <a:pt x="1643" y="2520"/>
                    <a:pt x="1649" y="2520"/>
                  </a:cubicBezTo>
                  <a:cubicBezTo>
                    <a:pt x="1655" y="2520"/>
                    <a:pt x="1686" y="2484"/>
                    <a:pt x="1686" y="2484"/>
                  </a:cubicBezTo>
                  <a:cubicBezTo>
                    <a:pt x="1677" y="2479"/>
                    <a:pt x="1677" y="2479"/>
                    <a:pt x="1677" y="2479"/>
                  </a:cubicBezTo>
                  <a:cubicBezTo>
                    <a:pt x="1687" y="2439"/>
                    <a:pt x="1687" y="2439"/>
                    <a:pt x="1687" y="2439"/>
                  </a:cubicBezTo>
                  <a:cubicBezTo>
                    <a:pt x="1704" y="2458"/>
                    <a:pt x="1704" y="2458"/>
                    <a:pt x="1704" y="2458"/>
                  </a:cubicBezTo>
                  <a:cubicBezTo>
                    <a:pt x="1704" y="2458"/>
                    <a:pt x="1706" y="2487"/>
                    <a:pt x="1706" y="2501"/>
                  </a:cubicBezTo>
                  <a:cubicBezTo>
                    <a:pt x="1706" y="2515"/>
                    <a:pt x="1689" y="2521"/>
                    <a:pt x="1694" y="2530"/>
                  </a:cubicBezTo>
                  <a:cubicBezTo>
                    <a:pt x="1699" y="2539"/>
                    <a:pt x="1708" y="2510"/>
                    <a:pt x="1708" y="2510"/>
                  </a:cubicBezTo>
                  <a:cubicBezTo>
                    <a:pt x="1736" y="2489"/>
                    <a:pt x="1736" y="2489"/>
                    <a:pt x="1736" y="2489"/>
                  </a:cubicBezTo>
                  <a:cubicBezTo>
                    <a:pt x="1742" y="2495"/>
                    <a:pt x="1742" y="2495"/>
                    <a:pt x="1742" y="2495"/>
                  </a:cubicBezTo>
                  <a:cubicBezTo>
                    <a:pt x="1751" y="2458"/>
                    <a:pt x="1751" y="2458"/>
                    <a:pt x="1751" y="2458"/>
                  </a:cubicBezTo>
                  <a:cubicBezTo>
                    <a:pt x="1751" y="2458"/>
                    <a:pt x="1758" y="2465"/>
                    <a:pt x="1762" y="2466"/>
                  </a:cubicBezTo>
                  <a:cubicBezTo>
                    <a:pt x="1766" y="2467"/>
                    <a:pt x="1768" y="2462"/>
                    <a:pt x="1768" y="2462"/>
                  </a:cubicBezTo>
                  <a:cubicBezTo>
                    <a:pt x="1768" y="2462"/>
                    <a:pt x="1773" y="2468"/>
                    <a:pt x="1816" y="2466"/>
                  </a:cubicBezTo>
                  <a:cubicBezTo>
                    <a:pt x="1855" y="2487"/>
                    <a:pt x="1848" y="2501"/>
                    <a:pt x="1848" y="2501"/>
                  </a:cubicBezTo>
                  <a:cubicBezTo>
                    <a:pt x="1873" y="2482"/>
                    <a:pt x="1873" y="2482"/>
                    <a:pt x="1873" y="2482"/>
                  </a:cubicBezTo>
                  <a:cubicBezTo>
                    <a:pt x="1937" y="2486"/>
                    <a:pt x="1937" y="2486"/>
                    <a:pt x="1937" y="2486"/>
                  </a:cubicBezTo>
                  <a:cubicBezTo>
                    <a:pt x="1937" y="2486"/>
                    <a:pt x="1948" y="2502"/>
                    <a:pt x="1954" y="2499"/>
                  </a:cubicBezTo>
                  <a:cubicBezTo>
                    <a:pt x="1960" y="2496"/>
                    <a:pt x="1964" y="2463"/>
                    <a:pt x="1964" y="2463"/>
                  </a:cubicBezTo>
                  <a:cubicBezTo>
                    <a:pt x="1964" y="2463"/>
                    <a:pt x="1978" y="2439"/>
                    <a:pt x="1968" y="2431"/>
                  </a:cubicBezTo>
                  <a:cubicBezTo>
                    <a:pt x="1930" y="2430"/>
                    <a:pt x="1946" y="2384"/>
                    <a:pt x="1944" y="2381"/>
                  </a:cubicBezTo>
                  <a:cubicBezTo>
                    <a:pt x="1942" y="2378"/>
                    <a:pt x="1947" y="2382"/>
                    <a:pt x="1932" y="2396"/>
                  </a:cubicBezTo>
                  <a:cubicBezTo>
                    <a:pt x="1911" y="2396"/>
                    <a:pt x="1915" y="2367"/>
                    <a:pt x="1917" y="2357"/>
                  </a:cubicBezTo>
                  <a:cubicBezTo>
                    <a:pt x="1919" y="2347"/>
                    <a:pt x="1947" y="2353"/>
                    <a:pt x="1947" y="2353"/>
                  </a:cubicBezTo>
                  <a:cubicBezTo>
                    <a:pt x="1947" y="2353"/>
                    <a:pt x="1951" y="2367"/>
                    <a:pt x="1959" y="2357"/>
                  </a:cubicBezTo>
                  <a:cubicBezTo>
                    <a:pt x="1949" y="2344"/>
                    <a:pt x="1959" y="2309"/>
                    <a:pt x="1959" y="2309"/>
                  </a:cubicBezTo>
                  <a:cubicBezTo>
                    <a:pt x="2026" y="2215"/>
                    <a:pt x="2026" y="2215"/>
                    <a:pt x="2026" y="2215"/>
                  </a:cubicBezTo>
                  <a:cubicBezTo>
                    <a:pt x="2036" y="2191"/>
                    <a:pt x="2036" y="2191"/>
                    <a:pt x="2036" y="2191"/>
                  </a:cubicBezTo>
                  <a:cubicBezTo>
                    <a:pt x="2036" y="2191"/>
                    <a:pt x="2029" y="2195"/>
                    <a:pt x="2026" y="2155"/>
                  </a:cubicBezTo>
                  <a:cubicBezTo>
                    <a:pt x="2008" y="2137"/>
                    <a:pt x="2030" y="2109"/>
                    <a:pt x="2030" y="2109"/>
                  </a:cubicBezTo>
                  <a:cubicBezTo>
                    <a:pt x="2032" y="2088"/>
                    <a:pt x="2032" y="2088"/>
                    <a:pt x="2032" y="2088"/>
                  </a:cubicBezTo>
                  <a:cubicBezTo>
                    <a:pt x="2032" y="2088"/>
                    <a:pt x="2032" y="2102"/>
                    <a:pt x="2060" y="2043"/>
                  </a:cubicBezTo>
                  <a:cubicBezTo>
                    <a:pt x="2064" y="1980"/>
                    <a:pt x="2099" y="1971"/>
                    <a:pt x="2099" y="1971"/>
                  </a:cubicBezTo>
                  <a:cubicBezTo>
                    <a:pt x="2102" y="1938"/>
                    <a:pt x="2102" y="1938"/>
                    <a:pt x="2102" y="1938"/>
                  </a:cubicBezTo>
                  <a:cubicBezTo>
                    <a:pt x="2102" y="1938"/>
                    <a:pt x="2127" y="1888"/>
                    <a:pt x="2127" y="1881"/>
                  </a:cubicBezTo>
                  <a:cubicBezTo>
                    <a:pt x="2127" y="1874"/>
                    <a:pt x="2103" y="1863"/>
                    <a:pt x="2103" y="1863"/>
                  </a:cubicBezTo>
                  <a:close/>
                  <a:moveTo>
                    <a:pt x="935" y="733"/>
                  </a:moveTo>
                  <a:cubicBezTo>
                    <a:pt x="947" y="734"/>
                    <a:pt x="947" y="734"/>
                    <a:pt x="947" y="734"/>
                  </a:cubicBezTo>
                  <a:cubicBezTo>
                    <a:pt x="937" y="725"/>
                    <a:pt x="937" y="725"/>
                    <a:pt x="937" y="725"/>
                  </a:cubicBezTo>
                  <a:lnTo>
                    <a:pt x="935" y="733"/>
                  </a:lnTo>
                  <a:close/>
                </a:path>
              </a:pathLst>
            </a:custGeom>
            <a:solidFill>
              <a:srgbClr val="C0C0C0"/>
            </a:solidFill>
            <a:ln w="12700" cap="flat" cmpd="sng">
              <a:solidFill>
                <a:schemeClr val="bg1"/>
              </a:solidFill>
              <a:prstDash val="solid"/>
              <a:round/>
              <a:headEnd type="none" w="med" len="med"/>
              <a:tailEnd type="none" w="med" len="med"/>
            </a:ln>
            <a:effectLst/>
          </p:spPr>
          <p:txBody>
            <a:bodyPr/>
            <a:lstStyle/>
            <a:p>
              <a:endParaRPr lang="en-US"/>
            </a:p>
          </p:txBody>
        </p:sp>
        <p:sp>
          <p:nvSpPr>
            <p:cNvPr id="156" name="Freeform 148" descr="Großbritannien"/>
            <p:cNvSpPr>
              <a:spLocks noEditPoints="1"/>
            </p:cNvSpPr>
            <p:nvPr/>
          </p:nvSpPr>
          <p:spPr bwMode="auto">
            <a:xfrm>
              <a:off x="1849" y="592"/>
              <a:ext cx="1805" cy="3229"/>
            </a:xfrm>
            <a:custGeom>
              <a:avLst/>
              <a:gdLst/>
              <a:ahLst/>
              <a:cxnLst>
                <a:cxn ang="0">
                  <a:pos x="3312" y="165"/>
                </a:cxn>
                <a:cxn ang="0">
                  <a:pos x="2924" y="337"/>
                </a:cxn>
                <a:cxn ang="0">
                  <a:pos x="3097" y="645"/>
                </a:cxn>
                <a:cxn ang="0">
                  <a:pos x="3061" y="209"/>
                </a:cxn>
                <a:cxn ang="0">
                  <a:pos x="3135" y="576"/>
                </a:cxn>
                <a:cxn ang="0">
                  <a:pos x="2520" y="1305"/>
                </a:cxn>
                <a:cxn ang="0">
                  <a:pos x="2411" y="1583"/>
                </a:cxn>
                <a:cxn ang="0">
                  <a:pos x="2493" y="1626"/>
                </a:cxn>
                <a:cxn ang="0">
                  <a:pos x="2299" y="1594"/>
                </a:cxn>
                <a:cxn ang="0">
                  <a:pos x="789" y="2333"/>
                </a:cxn>
                <a:cxn ang="0">
                  <a:pos x="1095" y="1843"/>
                </a:cxn>
                <a:cxn ang="0">
                  <a:pos x="672" y="2109"/>
                </a:cxn>
                <a:cxn ang="0">
                  <a:pos x="449" y="3019"/>
                </a:cxn>
                <a:cxn ang="0">
                  <a:pos x="533" y="2476"/>
                </a:cxn>
                <a:cxn ang="0">
                  <a:pos x="671" y="2404"/>
                </a:cxn>
                <a:cxn ang="0">
                  <a:pos x="1354" y="4903"/>
                </a:cxn>
                <a:cxn ang="0">
                  <a:pos x="1150" y="4393"/>
                </a:cxn>
                <a:cxn ang="0">
                  <a:pos x="302" y="4959"/>
                </a:cxn>
                <a:cxn ang="0">
                  <a:pos x="1219" y="4945"/>
                </a:cxn>
                <a:cxn ang="0">
                  <a:pos x="1741" y="8021"/>
                </a:cxn>
                <a:cxn ang="0">
                  <a:pos x="3913" y="5582"/>
                </a:cxn>
                <a:cxn ang="0">
                  <a:pos x="3543" y="4818"/>
                </a:cxn>
                <a:cxn ang="0">
                  <a:pos x="2914" y="3819"/>
                </a:cxn>
                <a:cxn ang="0">
                  <a:pos x="2339" y="3653"/>
                </a:cxn>
                <a:cxn ang="0">
                  <a:pos x="2761" y="3117"/>
                </a:cxn>
                <a:cxn ang="0">
                  <a:pos x="2223" y="2474"/>
                </a:cxn>
                <a:cxn ang="0">
                  <a:pos x="2478" y="1754"/>
                </a:cxn>
                <a:cxn ang="0">
                  <a:pos x="1765" y="1816"/>
                </a:cxn>
                <a:cxn ang="0">
                  <a:pos x="1429" y="2174"/>
                </a:cxn>
                <a:cxn ang="0">
                  <a:pos x="1297" y="2493"/>
                </a:cxn>
                <a:cxn ang="0">
                  <a:pos x="1007" y="2490"/>
                </a:cxn>
                <a:cxn ang="0">
                  <a:pos x="1079" y="2783"/>
                </a:cxn>
                <a:cxn ang="0">
                  <a:pos x="1171" y="3201"/>
                </a:cxn>
                <a:cxn ang="0">
                  <a:pos x="1355" y="3533"/>
                </a:cxn>
                <a:cxn ang="0">
                  <a:pos x="1399" y="3628"/>
                </a:cxn>
                <a:cxn ang="0">
                  <a:pos x="1638" y="3616"/>
                </a:cxn>
                <a:cxn ang="0">
                  <a:pos x="1588" y="4557"/>
                </a:cxn>
                <a:cxn ang="0">
                  <a:pos x="2264" y="4437"/>
                </a:cxn>
                <a:cxn ang="0">
                  <a:pos x="2535" y="5179"/>
                </a:cxn>
                <a:cxn ang="0">
                  <a:pos x="1936" y="5645"/>
                </a:cxn>
                <a:cxn ang="0">
                  <a:pos x="1890" y="5992"/>
                </a:cxn>
                <a:cxn ang="0">
                  <a:pos x="1465" y="6906"/>
                </a:cxn>
                <a:cxn ang="0">
                  <a:pos x="1987" y="7037"/>
                </a:cxn>
                <a:cxn ang="0">
                  <a:pos x="2481" y="7227"/>
                </a:cxn>
                <a:cxn ang="0">
                  <a:pos x="1550" y="7835"/>
                </a:cxn>
                <a:cxn ang="0">
                  <a:pos x="1675" y="8014"/>
                </a:cxn>
                <a:cxn ang="0">
                  <a:pos x="2770" y="7792"/>
                </a:cxn>
                <a:cxn ang="0">
                  <a:pos x="3963" y="7717"/>
                </a:cxn>
                <a:cxn ang="0">
                  <a:pos x="4170" y="7107"/>
                </a:cxn>
                <a:cxn ang="0">
                  <a:pos x="2037" y="2252"/>
                </a:cxn>
                <a:cxn ang="0">
                  <a:pos x="1331" y="2712"/>
                </a:cxn>
                <a:cxn ang="0">
                  <a:pos x="1538" y="2268"/>
                </a:cxn>
                <a:cxn ang="0">
                  <a:pos x="1983" y="2307"/>
                </a:cxn>
                <a:cxn ang="0">
                  <a:pos x="2038" y="6124"/>
                </a:cxn>
                <a:cxn ang="0">
                  <a:pos x="4194" y="7203"/>
                </a:cxn>
                <a:cxn ang="0">
                  <a:pos x="722" y="3259"/>
                </a:cxn>
                <a:cxn ang="0">
                  <a:pos x="1113" y="2970"/>
                </a:cxn>
                <a:cxn ang="0">
                  <a:pos x="1905" y="4925"/>
                </a:cxn>
                <a:cxn ang="0">
                  <a:pos x="1181" y="3607"/>
                </a:cxn>
                <a:cxn ang="0">
                  <a:pos x="1257" y="3630"/>
                </a:cxn>
                <a:cxn ang="0">
                  <a:pos x="1147" y="2667"/>
                </a:cxn>
                <a:cxn ang="0">
                  <a:pos x="958" y="3401"/>
                </a:cxn>
                <a:cxn ang="0">
                  <a:pos x="1268" y="3357"/>
                </a:cxn>
              </a:cxnLst>
              <a:rect l="0" t="0" r="r" b="b"/>
              <a:pathLst>
                <a:path w="4672" h="8351">
                  <a:moveTo>
                    <a:pt x="3131" y="247"/>
                  </a:moveTo>
                  <a:cubicBezTo>
                    <a:pt x="3131" y="237"/>
                    <a:pt x="3131" y="237"/>
                    <a:pt x="3131" y="237"/>
                  </a:cubicBezTo>
                  <a:cubicBezTo>
                    <a:pt x="3125" y="238"/>
                    <a:pt x="3125" y="238"/>
                    <a:pt x="3125" y="238"/>
                  </a:cubicBezTo>
                  <a:lnTo>
                    <a:pt x="3131" y="247"/>
                  </a:lnTo>
                  <a:close/>
                  <a:moveTo>
                    <a:pt x="3133" y="193"/>
                  </a:moveTo>
                  <a:cubicBezTo>
                    <a:pt x="3140" y="196"/>
                    <a:pt x="3129" y="203"/>
                    <a:pt x="3129" y="203"/>
                  </a:cubicBezTo>
                  <a:cubicBezTo>
                    <a:pt x="3129" y="203"/>
                    <a:pt x="3135" y="211"/>
                    <a:pt x="3136" y="216"/>
                  </a:cubicBezTo>
                  <a:cubicBezTo>
                    <a:pt x="3137" y="221"/>
                    <a:pt x="3128" y="220"/>
                    <a:pt x="3128" y="220"/>
                  </a:cubicBezTo>
                  <a:cubicBezTo>
                    <a:pt x="3147" y="247"/>
                    <a:pt x="3147" y="247"/>
                    <a:pt x="3147" y="247"/>
                  </a:cubicBezTo>
                  <a:cubicBezTo>
                    <a:pt x="3171" y="249"/>
                    <a:pt x="3171" y="249"/>
                    <a:pt x="3171" y="249"/>
                  </a:cubicBezTo>
                  <a:cubicBezTo>
                    <a:pt x="3171" y="249"/>
                    <a:pt x="3169" y="245"/>
                    <a:pt x="3165" y="245"/>
                  </a:cubicBezTo>
                  <a:cubicBezTo>
                    <a:pt x="3162" y="245"/>
                    <a:pt x="3163" y="235"/>
                    <a:pt x="3167" y="235"/>
                  </a:cubicBezTo>
                  <a:cubicBezTo>
                    <a:pt x="3171" y="235"/>
                    <a:pt x="3183" y="251"/>
                    <a:pt x="3183" y="251"/>
                  </a:cubicBezTo>
                  <a:cubicBezTo>
                    <a:pt x="3183" y="251"/>
                    <a:pt x="3193" y="241"/>
                    <a:pt x="3200" y="237"/>
                  </a:cubicBezTo>
                  <a:cubicBezTo>
                    <a:pt x="3207" y="233"/>
                    <a:pt x="3199" y="209"/>
                    <a:pt x="3199" y="209"/>
                  </a:cubicBezTo>
                  <a:cubicBezTo>
                    <a:pt x="3211" y="189"/>
                    <a:pt x="3211" y="189"/>
                    <a:pt x="3211" y="189"/>
                  </a:cubicBezTo>
                  <a:cubicBezTo>
                    <a:pt x="3201" y="172"/>
                    <a:pt x="3201" y="172"/>
                    <a:pt x="3201" y="172"/>
                  </a:cubicBezTo>
                  <a:cubicBezTo>
                    <a:pt x="3211" y="175"/>
                    <a:pt x="3211" y="175"/>
                    <a:pt x="3211" y="175"/>
                  </a:cubicBezTo>
                  <a:cubicBezTo>
                    <a:pt x="3226" y="161"/>
                    <a:pt x="3226" y="161"/>
                    <a:pt x="3226" y="161"/>
                  </a:cubicBezTo>
                  <a:cubicBezTo>
                    <a:pt x="3217" y="149"/>
                    <a:pt x="3217" y="149"/>
                    <a:pt x="3217" y="149"/>
                  </a:cubicBezTo>
                  <a:cubicBezTo>
                    <a:pt x="3223" y="143"/>
                    <a:pt x="3223" y="143"/>
                    <a:pt x="3223" y="143"/>
                  </a:cubicBezTo>
                  <a:cubicBezTo>
                    <a:pt x="3211" y="128"/>
                    <a:pt x="3211" y="128"/>
                    <a:pt x="3211" y="128"/>
                  </a:cubicBezTo>
                  <a:cubicBezTo>
                    <a:pt x="3217" y="120"/>
                    <a:pt x="3217" y="120"/>
                    <a:pt x="3217" y="120"/>
                  </a:cubicBezTo>
                  <a:cubicBezTo>
                    <a:pt x="3206" y="105"/>
                    <a:pt x="3206" y="105"/>
                    <a:pt x="3206" y="105"/>
                  </a:cubicBezTo>
                  <a:cubicBezTo>
                    <a:pt x="3206" y="105"/>
                    <a:pt x="3211" y="103"/>
                    <a:pt x="3210" y="95"/>
                  </a:cubicBezTo>
                  <a:cubicBezTo>
                    <a:pt x="3209" y="87"/>
                    <a:pt x="3192" y="77"/>
                    <a:pt x="3165" y="79"/>
                  </a:cubicBezTo>
                  <a:cubicBezTo>
                    <a:pt x="3139" y="81"/>
                    <a:pt x="3155" y="132"/>
                    <a:pt x="3155" y="132"/>
                  </a:cubicBezTo>
                  <a:cubicBezTo>
                    <a:pt x="3130" y="131"/>
                    <a:pt x="3122" y="166"/>
                    <a:pt x="3121" y="169"/>
                  </a:cubicBezTo>
                  <a:cubicBezTo>
                    <a:pt x="3121" y="173"/>
                    <a:pt x="3125" y="174"/>
                    <a:pt x="3125" y="180"/>
                  </a:cubicBezTo>
                  <a:cubicBezTo>
                    <a:pt x="3126" y="186"/>
                    <a:pt x="3121" y="191"/>
                    <a:pt x="3121" y="191"/>
                  </a:cubicBezTo>
                  <a:cubicBezTo>
                    <a:pt x="3123" y="196"/>
                    <a:pt x="3123" y="196"/>
                    <a:pt x="3123" y="196"/>
                  </a:cubicBezTo>
                  <a:cubicBezTo>
                    <a:pt x="3123" y="196"/>
                    <a:pt x="3127" y="189"/>
                    <a:pt x="3133" y="193"/>
                  </a:cubicBezTo>
                  <a:close/>
                  <a:moveTo>
                    <a:pt x="3202" y="145"/>
                  </a:moveTo>
                  <a:cubicBezTo>
                    <a:pt x="3210" y="142"/>
                    <a:pt x="3211" y="146"/>
                    <a:pt x="3213" y="154"/>
                  </a:cubicBezTo>
                  <a:cubicBezTo>
                    <a:pt x="3215" y="162"/>
                    <a:pt x="3209" y="163"/>
                    <a:pt x="3209" y="163"/>
                  </a:cubicBezTo>
                  <a:cubicBezTo>
                    <a:pt x="3201" y="160"/>
                    <a:pt x="3201" y="160"/>
                    <a:pt x="3201" y="160"/>
                  </a:cubicBezTo>
                  <a:cubicBezTo>
                    <a:pt x="3204" y="154"/>
                    <a:pt x="3204" y="154"/>
                    <a:pt x="3204" y="154"/>
                  </a:cubicBezTo>
                  <a:lnTo>
                    <a:pt x="3202" y="145"/>
                  </a:lnTo>
                  <a:close/>
                  <a:moveTo>
                    <a:pt x="3151" y="268"/>
                  </a:moveTo>
                  <a:cubicBezTo>
                    <a:pt x="3157" y="266"/>
                    <a:pt x="3157" y="266"/>
                    <a:pt x="3157" y="266"/>
                  </a:cubicBezTo>
                  <a:cubicBezTo>
                    <a:pt x="3150" y="259"/>
                    <a:pt x="3150" y="259"/>
                    <a:pt x="3150" y="259"/>
                  </a:cubicBezTo>
                  <a:cubicBezTo>
                    <a:pt x="3145" y="261"/>
                    <a:pt x="3145" y="261"/>
                    <a:pt x="3145" y="261"/>
                  </a:cubicBezTo>
                  <a:lnTo>
                    <a:pt x="3151" y="268"/>
                  </a:lnTo>
                  <a:close/>
                  <a:moveTo>
                    <a:pt x="3317" y="285"/>
                  </a:moveTo>
                  <a:cubicBezTo>
                    <a:pt x="3317" y="285"/>
                    <a:pt x="3313" y="299"/>
                    <a:pt x="3306" y="301"/>
                  </a:cubicBezTo>
                  <a:cubicBezTo>
                    <a:pt x="3316" y="301"/>
                    <a:pt x="3316" y="301"/>
                    <a:pt x="3316" y="301"/>
                  </a:cubicBezTo>
                  <a:lnTo>
                    <a:pt x="3317" y="285"/>
                  </a:lnTo>
                  <a:close/>
                  <a:moveTo>
                    <a:pt x="3220" y="125"/>
                  </a:moveTo>
                  <a:cubicBezTo>
                    <a:pt x="3223" y="130"/>
                    <a:pt x="3223" y="130"/>
                    <a:pt x="3223" y="130"/>
                  </a:cubicBezTo>
                  <a:cubicBezTo>
                    <a:pt x="3227" y="125"/>
                    <a:pt x="3227" y="125"/>
                    <a:pt x="3227" y="125"/>
                  </a:cubicBezTo>
                  <a:cubicBezTo>
                    <a:pt x="3223" y="121"/>
                    <a:pt x="3223" y="121"/>
                    <a:pt x="3223" y="121"/>
                  </a:cubicBezTo>
                  <a:lnTo>
                    <a:pt x="3220" y="125"/>
                  </a:lnTo>
                  <a:close/>
                  <a:moveTo>
                    <a:pt x="3272" y="195"/>
                  </a:moveTo>
                  <a:cubicBezTo>
                    <a:pt x="3273" y="180"/>
                    <a:pt x="3273" y="180"/>
                    <a:pt x="3273" y="180"/>
                  </a:cubicBezTo>
                  <a:cubicBezTo>
                    <a:pt x="3304" y="196"/>
                    <a:pt x="3304" y="196"/>
                    <a:pt x="3304" y="196"/>
                  </a:cubicBezTo>
                  <a:cubicBezTo>
                    <a:pt x="3299" y="184"/>
                    <a:pt x="3299" y="184"/>
                    <a:pt x="3299" y="184"/>
                  </a:cubicBezTo>
                  <a:cubicBezTo>
                    <a:pt x="3299" y="184"/>
                    <a:pt x="3313" y="173"/>
                    <a:pt x="3312" y="165"/>
                  </a:cubicBezTo>
                  <a:cubicBezTo>
                    <a:pt x="3311" y="157"/>
                    <a:pt x="3299" y="168"/>
                    <a:pt x="3299" y="168"/>
                  </a:cubicBezTo>
                  <a:cubicBezTo>
                    <a:pt x="3284" y="161"/>
                    <a:pt x="3284" y="161"/>
                    <a:pt x="3284" y="161"/>
                  </a:cubicBezTo>
                  <a:cubicBezTo>
                    <a:pt x="3289" y="157"/>
                    <a:pt x="3289" y="157"/>
                    <a:pt x="3289" y="157"/>
                  </a:cubicBezTo>
                  <a:cubicBezTo>
                    <a:pt x="3289" y="157"/>
                    <a:pt x="3285" y="145"/>
                    <a:pt x="3273" y="145"/>
                  </a:cubicBezTo>
                  <a:cubicBezTo>
                    <a:pt x="3261" y="145"/>
                    <a:pt x="3259" y="153"/>
                    <a:pt x="3259" y="153"/>
                  </a:cubicBezTo>
                  <a:cubicBezTo>
                    <a:pt x="3259" y="153"/>
                    <a:pt x="3247" y="148"/>
                    <a:pt x="3237" y="148"/>
                  </a:cubicBezTo>
                  <a:cubicBezTo>
                    <a:pt x="3223" y="148"/>
                    <a:pt x="3241" y="171"/>
                    <a:pt x="3243" y="175"/>
                  </a:cubicBezTo>
                  <a:cubicBezTo>
                    <a:pt x="3231" y="179"/>
                    <a:pt x="3257" y="200"/>
                    <a:pt x="3257" y="200"/>
                  </a:cubicBezTo>
                  <a:lnTo>
                    <a:pt x="3272" y="195"/>
                  </a:lnTo>
                  <a:close/>
                  <a:moveTo>
                    <a:pt x="3189" y="332"/>
                  </a:moveTo>
                  <a:cubicBezTo>
                    <a:pt x="3191" y="337"/>
                    <a:pt x="3191" y="337"/>
                    <a:pt x="3191" y="337"/>
                  </a:cubicBezTo>
                  <a:cubicBezTo>
                    <a:pt x="3212" y="361"/>
                    <a:pt x="3212" y="361"/>
                    <a:pt x="3212" y="361"/>
                  </a:cubicBezTo>
                  <a:cubicBezTo>
                    <a:pt x="3237" y="339"/>
                    <a:pt x="3237" y="339"/>
                    <a:pt x="3237" y="339"/>
                  </a:cubicBezTo>
                  <a:cubicBezTo>
                    <a:pt x="3252" y="323"/>
                    <a:pt x="3252" y="323"/>
                    <a:pt x="3252" y="323"/>
                  </a:cubicBezTo>
                  <a:cubicBezTo>
                    <a:pt x="3227" y="323"/>
                    <a:pt x="3227" y="323"/>
                    <a:pt x="3227" y="323"/>
                  </a:cubicBezTo>
                  <a:cubicBezTo>
                    <a:pt x="3221" y="321"/>
                    <a:pt x="3201" y="336"/>
                    <a:pt x="3201" y="336"/>
                  </a:cubicBezTo>
                  <a:cubicBezTo>
                    <a:pt x="3201" y="331"/>
                    <a:pt x="3201" y="331"/>
                    <a:pt x="3201" y="331"/>
                  </a:cubicBezTo>
                  <a:lnTo>
                    <a:pt x="3189" y="332"/>
                  </a:lnTo>
                  <a:close/>
                  <a:moveTo>
                    <a:pt x="3306" y="301"/>
                  </a:moveTo>
                  <a:cubicBezTo>
                    <a:pt x="3303" y="301"/>
                    <a:pt x="3303" y="301"/>
                    <a:pt x="3303" y="301"/>
                  </a:cubicBezTo>
                  <a:cubicBezTo>
                    <a:pt x="3304" y="302"/>
                    <a:pt x="3305" y="302"/>
                    <a:pt x="3306" y="301"/>
                  </a:cubicBezTo>
                  <a:close/>
                  <a:moveTo>
                    <a:pt x="3231" y="120"/>
                  </a:moveTo>
                  <a:cubicBezTo>
                    <a:pt x="3239" y="129"/>
                    <a:pt x="3241" y="120"/>
                    <a:pt x="3241" y="120"/>
                  </a:cubicBezTo>
                  <a:cubicBezTo>
                    <a:pt x="3259" y="136"/>
                    <a:pt x="3259" y="136"/>
                    <a:pt x="3259" y="136"/>
                  </a:cubicBezTo>
                  <a:cubicBezTo>
                    <a:pt x="3261" y="125"/>
                    <a:pt x="3261" y="125"/>
                    <a:pt x="3261" y="125"/>
                  </a:cubicBezTo>
                  <a:cubicBezTo>
                    <a:pt x="3276" y="124"/>
                    <a:pt x="3276" y="124"/>
                    <a:pt x="3276" y="124"/>
                  </a:cubicBezTo>
                  <a:cubicBezTo>
                    <a:pt x="3283" y="109"/>
                    <a:pt x="3283" y="109"/>
                    <a:pt x="3283" y="109"/>
                  </a:cubicBezTo>
                  <a:cubicBezTo>
                    <a:pt x="3268" y="97"/>
                    <a:pt x="3268" y="97"/>
                    <a:pt x="3268" y="97"/>
                  </a:cubicBezTo>
                  <a:cubicBezTo>
                    <a:pt x="3268" y="97"/>
                    <a:pt x="3281" y="83"/>
                    <a:pt x="3287" y="83"/>
                  </a:cubicBezTo>
                  <a:cubicBezTo>
                    <a:pt x="3292" y="83"/>
                    <a:pt x="3305" y="69"/>
                    <a:pt x="3305" y="69"/>
                  </a:cubicBezTo>
                  <a:cubicBezTo>
                    <a:pt x="3305" y="69"/>
                    <a:pt x="3289" y="56"/>
                    <a:pt x="3291" y="51"/>
                  </a:cubicBezTo>
                  <a:cubicBezTo>
                    <a:pt x="3307" y="52"/>
                    <a:pt x="3307" y="45"/>
                    <a:pt x="3309" y="31"/>
                  </a:cubicBezTo>
                  <a:cubicBezTo>
                    <a:pt x="3323" y="17"/>
                    <a:pt x="3300" y="13"/>
                    <a:pt x="3285" y="13"/>
                  </a:cubicBezTo>
                  <a:cubicBezTo>
                    <a:pt x="3271" y="13"/>
                    <a:pt x="3276" y="1"/>
                    <a:pt x="3276" y="1"/>
                  </a:cubicBezTo>
                  <a:cubicBezTo>
                    <a:pt x="3264" y="28"/>
                    <a:pt x="3264" y="28"/>
                    <a:pt x="3264" y="28"/>
                  </a:cubicBezTo>
                  <a:cubicBezTo>
                    <a:pt x="3260" y="0"/>
                    <a:pt x="3260" y="0"/>
                    <a:pt x="3260" y="0"/>
                  </a:cubicBezTo>
                  <a:cubicBezTo>
                    <a:pt x="3229" y="37"/>
                    <a:pt x="3229" y="37"/>
                    <a:pt x="3229" y="37"/>
                  </a:cubicBezTo>
                  <a:cubicBezTo>
                    <a:pt x="3228" y="39"/>
                    <a:pt x="3228" y="39"/>
                    <a:pt x="3228" y="39"/>
                  </a:cubicBezTo>
                  <a:cubicBezTo>
                    <a:pt x="3228" y="39"/>
                    <a:pt x="3232" y="47"/>
                    <a:pt x="3240" y="52"/>
                  </a:cubicBezTo>
                  <a:cubicBezTo>
                    <a:pt x="3248" y="57"/>
                    <a:pt x="3221" y="76"/>
                    <a:pt x="3221" y="76"/>
                  </a:cubicBezTo>
                  <a:cubicBezTo>
                    <a:pt x="3231" y="89"/>
                    <a:pt x="3231" y="89"/>
                    <a:pt x="3231" y="89"/>
                  </a:cubicBezTo>
                  <a:cubicBezTo>
                    <a:pt x="3217" y="89"/>
                    <a:pt x="3217" y="89"/>
                    <a:pt x="3217" y="89"/>
                  </a:cubicBezTo>
                  <a:cubicBezTo>
                    <a:pt x="3217" y="89"/>
                    <a:pt x="3223" y="111"/>
                    <a:pt x="3231" y="120"/>
                  </a:cubicBezTo>
                  <a:close/>
                  <a:moveTo>
                    <a:pt x="3067" y="1155"/>
                  </a:moveTo>
                  <a:cubicBezTo>
                    <a:pt x="3069" y="1169"/>
                    <a:pt x="3069" y="1169"/>
                    <a:pt x="3069" y="1169"/>
                  </a:cubicBezTo>
                  <a:cubicBezTo>
                    <a:pt x="3073" y="1165"/>
                    <a:pt x="3077" y="1157"/>
                    <a:pt x="3091" y="1155"/>
                  </a:cubicBezTo>
                  <a:cubicBezTo>
                    <a:pt x="3095" y="1141"/>
                    <a:pt x="3088" y="1134"/>
                    <a:pt x="3088" y="1134"/>
                  </a:cubicBezTo>
                  <a:cubicBezTo>
                    <a:pt x="3076" y="1133"/>
                    <a:pt x="3076" y="1133"/>
                    <a:pt x="3076" y="1133"/>
                  </a:cubicBezTo>
                  <a:cubicBezTo>
                    <a:pt x="3076" y="1133"/>
                    <a:pt x="3077" y="1142"/>
                    <a:pt x="3076" y="1145"/>
                  </a:cubicBezTo>
                  <a:cubicBezTo>
                    <a:pt x="3075" y="1149"/>
                    <a:pt x="3067" y="1155"/>
                    <a:pt x="3067" y="1155"/>
                  </a:cubicBezTo>
                  <a:close/>
                  <a:moveTo>
                    <a:pt x="2763" y="480"/>
                  </a:moveTo>
                  <a:cubicBezTo>
                    <a:pt x="2767" y="461"/>
                    <a:pt x="2736" y="464"/>
                    <a:pt x="2736" y="464"/>
                  </a:cubicBezTo>
                  <a:cubicBezTo>
                    <a:pt x="2728" y="477"/>
                    <a:pt x="2728" y="477"/>
                    <a:pt x="2728" y="477"/>
                  </a:cubicBezTo>
                  <a:cubicBezTo>
                    <a:pt x="2745" y="492"/>
                    <a:pt x="2745" y="492"/>
                    <a:pt x="2745" y="492"/>
                  </a:cubicBezTo>
                  <a:cubicBezTo>
                    <a:pt x="2745" y="492"/>
                    <a:pt x="2759" y="499"/>
                    <a:pt x="2763" y="480"/>
                  </a:cubicBezTo>
                  <a:close/>
                  <a:moveTo>
                    <a:pt x="2913" y="357"/>
                  </a:moveTo>
                  <a:cubicBezTo>
                    <a:pt x="2927" y="357"/>
                    <a:pt x="2924" y="337"/>
                    <a:pt x="2924" y="337"/>
                  </a:cubicBezTo>
                  <a:cubicBezTo>
                    <a:pt x="2899" y="337"/>
                    <a:pt x="2899" y="337"/>
                    <a:pt x="2899" y="337"/>
                  </a:cubicBezTo>
                  <a:cubicBezTo>
                    <a:pt x="2879" y="343"/>
                    <a:pt x="2900" y="357"/>
                    <a:pt x="2913" y="357"/>
                  </a:cubicBezTo>
                  <a:close/>
                  <a:moveTo>
                    <a:pt x="3067" y="560"/>
                  </a:moveTo>
                  <a:cubicBezTo>
                    <a:pt x="3053" y="560"/>
                    <a:pt x="3053" y="560"/>
                    <a:pt x="3053" y="560"/>
                  </a:cubicBezTo>
                  <a:cubicBezTo>
                    <a:pt x="3057" y="567"/>
                    <a:pt x="3057" y="567"/>
                    <a:pt x="3057" y="567"/>
                  </a:cubicBezTo>
                  <a:lnTo>
                    <a:pt x="3067" y="560"/>
                  </a:lnTo>
                  <a:close/>
                  <a:moveTo>
                    <a:pt x="3033" y="357"/>
                  </a:moveTo>
                  <a:cubicBezTo>
                    <a:pt x="3033" y="357"/>
                    <a:pt x="3031" y="353"/>
                    <a:pt x="3020" y="352"/>
                  </a:cubicBezTo>
                  <a:cubicBezTo>
                    <a:pt x="3009" y="351"/>
                    <a:pt x="3004" y="340"/>
                    <a:pt x="3004" y="340"/>
                  </a:cubicBezTo>
                  <a:cubicBezTo>
                    <a:pt x="3003" y="344"/>
                    <a:pt x="3003" y="344"/>
                    <a:pt x="3003" y="344"/>
                  </a:cubicBezTo>
                  <a:cubicBezTo>
                    <a:pt x="3001" y="360"/>
                    <a:pt x="3001" y="360"/>
                    <a:pt x="3001" y="360"/>
                  </a:cubicBezTo>
                  <a:cubicBezTo>
                    <a:pt x="2987" y="356"/>
                    <a:pt x="2987" y="356"/>
                    <a:pt x="2987" y="356"/>
                  </a:cubicBezTo>
                  <a:cubicBezTo>
                    <a:pt x="2955" y="368"/>
                    <a:pt x="2955" y="368"/>
                    <a:pt x="2955" y="368"/>
                  </a:cubicBezTo>
                  <a:cubicBezTo>
                    <a:pt x="2955" y="368"/>
                    <a:pt x="2921" y="363"/>
                    <a:pt x="2913" y="368"/>
                  </a:cubicBezTo>
                  <a:cubicBezTo>
                    <a:pt x="2905" y="373"/>
                    <a:pt x="2911" y="415"/>
                    <a:pt x="2911" y="415"/>
                  </a:cubicBezTo>
                  <a:cubicBezTo>
                    <a:pt x="2927" y="415"/>
                    <a:pt x="2927" y="415"/>
                    <a:pt x="2927" y="415"/>
                  </a:cubicBezTo>
                  <a:cubicBezTo>
                    <a:pt x="2960" y="445"/>
                    <a:pt x="2960" y="445"/>
                    <a:pt x="2960" y="445"/>
                  </a:cubicBezTo>
                  <a:cubicBezTo>
                    <a:pt x="2967" y="437"/>
                    <a:pt x="2967" y="437"/>
                    <a:pt x="2967" y="437"/>
                  </a:cubicBezTo>
                  <a:cubicBezTo>
                    <a:pt x="2972" y="421"/>
                    <a:pt x="2972" y="421"/>
                    <a:pt x="2972" y="421"/>
                  </a:cubicBezTo>
                  <a:cubicBezTo>
                    <a:pt x="2973" y="435"/>
                    <a:pt x="2973" y="435"/>
                    <a:pt x="2973" y="435"/>
                  </a:cubicBezTo>
                  <a:cubicBezTo>
                    <a:pt x="2984" y="424"/>
                    <a:pt x="2984" y="424"/>
                    <a:pt x="2984" y="424"/>
                  </a:cubicBezTo>
                  <a:cubicBezTo>
                    <a:pt x="2992" y="428"/>
                    <a:pt x="2992" y="428"/>
                    <a:pt x="2992" y="428"/>
                  </a:cubicBezTo>
                  <a:cubicBezTo>
                    <a:pt x="2977" y="451"/>
                    <a:pt x="2977" y="451"/>
                    <a:pt x="2977" y="451"/>
                  </a:cubicBezTo>
                  <a:cubicBezTo>
                    <a:pt x="2993" y="452"/>
                    <a:pt x="2993" y="452"/>
                    <a:pt x="2993" y="452"/>
                  </a:cubicBezTo>
                  <a:cubicBezTo>
                    <a:pt x="2997" y="471"/>
                    <a:pt x="2997" y="471"/>
                    <a:pt x="2997" y="471"/>
                  </a:cubicBezTo>
                  <a:cubicBezTo>
                    <a:pt x="3005" y="467"/>
                    <a:pt x="3005" y="467"/>
                    <a:pt x="3005" y="467"/>
                  </a:cubicBezTo>
                  <a:cubicBezTo>
                    <a:pt x="3009" y="477"/>
                    <a:pt x="3009" y="477"/>
                    <a:pt x="3009" y="477"/>
                  </a:cubicBezTo>
                  <a:cubicBezTo>
                    <a:pt x="3019" y="452"/>
                    <a:pt x="3019" y="452"/>
                    <a:pt x="3019" y="452"/>
                  </a:cubicBezTo>
                  <a:cubicBezTo>
                    <a:pt x="3019" y="452"/>
                    <a:pt x="3024" y="463"/>
                    <a:pt x="3029" y="463"/>
                  </a:cubicBezTo>
                  <a:cubicBezTo>
                    <a:pt x="3035" y="463"/>
                    <a:pt x="3040" y="456"/>
                    <a:pt x="3040" y="456"/>
                  </a:cubicBezTo>
                  <a:cubicBezTo>
                    <a:pt x="3040" y="445"/>
                    <a:pt x="3040" y="445"/>
                    <a:pt x="3040" y="445"/>
                  </a:cubicBezTo>
                  <a:cubicBezTo>
                    <a:pt x="3051" y="438"/>
                    <a:pt x="3051" y="438"/>
                    <a:pt x="3051" y="438"/>
                  </a:cubicBezTo>
                  <a:cubicBezTo>
                    <a:pt x="3052" y="438"/>
                    <a:pt x="3055" y="439"/>
                    <a:pt x="3064" y="439"/>
                  </a:cubicBezTo>
                  <a:cubicBezTo>
                    <a:pt x="3084" y="424"/>
                    <a:pt x="3080" y="433"/>
                    <a:pt x="3080" y="433"/>
                  </a:cubicBezTo>
                  <a:cubicBezTo>
                    <a:pt x="3069" y="452"/>
                    <a:pt x="3072" y="467"/>
                    <a:pt x="3077" y="469"/>
                  </a:cubicBezTo>
                  <a:cubicBezTo>
                    <a:pt x="3079" y="448"/>
                    <a:pt x="3087" y="456"/>
                    <a:pt x="3087" y="456"/>
                  </a:cubicBezTo>
                  <a:cubicBezTo>
                    <a:pt x="3087" y="456"/>
                    <a:pt x="3077" y="469"/>
                    <a:pt x="3083" y="483"/>
                  </a:cubicBezTo>
                  <a:cubicBezTo>
                    <a:pt x="3088" y="496"/>
                    <a:pt x="3071" y="499"/>
                    <a:pt x="3071" y="499"/>
                  </a:cubicBezTo>
                  <a:cubicBezTo>
                    <a:pt x="3056" y="477"/>
                    <a:pt x="3056" y="477"/>
                    <a:pt x="3056" y="477"/>
                  </a:cubicBezTo>
                  <a:cubicBezTo>
                    <a:pt x="3048" y="499"/>
                    <a:pt x="3048" y="499"/>
                    <a:pt x="3048" y="499"/>
                  </a:cubicBezTo>
                  <a:cubicBezTo>
                    <a:pt x="3052" y="511"/>
                    <a:pt x="3052" y="511"/>
                    <a:pt x="3052" y="511"/>
                  </a:cubicBezTo>
                  <a:cubicBezTo>
                    <a:pt x="3055" y="497"/>
                    <a:pt x="3055" y="497"/>
                    <a:pt x="3055" y="497"/>
                  </a:cubicBezTo>
                  <a:cubicBezTo>
                    <a:pt x="3055" y="497"/>
                    <a:pt x="3065" y="512"/>
                    <a:pt x="3069" y="513"/>
                  </a:cubicBezTo>
                  <a:cubicBezTo>
                    <a:pt x="3073" y="515"/>
                    <a:pt x="3055" y="549"/>
                    <a:pt x="3055" y="549"/>
                  </a:cubicBezTo>
                  <a:cubicBezTo>
                    <a:pt x="3069" y="549"/>
                    <a:pt x="3069" y="549"/>
                    <a:pt x="3069" y="549"/>
                  </a:cubicBezTo>
                  <a:cubicBezTo>
                    <a:pt x="3084" y="515"/>
                    <a:pt x="3084" y="515"/>
                    <a:pt x="3084" y="515"/>
                  </a:cubicBezTo>
                  <a:cubicBezTo>
                    <a:pt x="3077" y="508"/>
                    <a:pt x="3077" y="508"/>
                    <a:pt x="3077" y="508"/>
                  </a:cubicBezTo>
                  <a:cubicBezTo>
                    <a:pt x="3093" y="509"/>
                    <a:pt x="3093" y="509"/>
                    <a:pt x="3093" y="509"/>
                  </a:cubicBezTo>
                  <a:cubicBezTo>
                    <a:pt x="3093" y="509"/>
                    <a:pt x="3099" y="521"/>
                    <a:pt x="3077" y="569"/>
                  </a:cubicBezTo>
                  <a:cubicBezTo>
                    <a:pt x="3049" y="581"/>
                    <a:pt x="3069" y="599"/>
                    <a:pt x="3069" y="599"/>
                  </a:cubicBezTo>
                  <a:cubicBezTo>
                    <a:pt x="3069" y="599"/>
                    <a:pt x="3073" y="600"/>
                    <a:pt x="3065" y="613"/>
                  </a:cubicBezTo>
                  <a:cubicBezTo>
                    <a:pt x="3040" y="619"/>
                    <a:pt x="3049" y="656"/>
                    <a:pt x="3049" y="656"/>
                  </a:cubicBezTo>
                  <a:cubicBezTo>
                    <a:pt x="3055" y="653"/>
                    <a:pt x="3055" y="653"/>
                    <a:pt x="3055" y="653"/>
                  </a:cubicBezTo>
                  <a:cubicBezTo>
                    <a:pt x="3063" y="661"/>
                    <a:pt x="3063" y="661"/>
                    <a:pt x="3063" y="661"/>
                  </a:cubicBezTo>
                  <a:cubicBezTo>
                    <a:pt x="3069" y="652"/>
                    <a:pt x="3069" y="652"/>
                    <a:pt x="3069" y="652"/>
                  </a:cubicBezTo>
                  <a:cubicBezTo>
                    <a:pt x="3092" y="684"/>
                    <a:pt x="3092" y="684"/>
                    <a:pt x="3092" y="684"/>
                  </a:cubicBezTo>
                  <a:cubicBezTo>
                    <a:pt x="3097" y="645"/>
                    <a:pt x="3097" y="645"/>
                    <a:pt x="3097" y="645"/>
                  </a:cubicBezTo>
                  <a:cubicBezTo>
                    <a:pt x="3093" y="643"/>
                    <a:pt x="3093" y="643"/>
                    <a:pt x="3093" y="643"/>
                  </a:cubicBezTo>
                  <a:cubicBezTo>
                    <a:pt x="3093" y="643"/>
                    <a:pt x="3101" y="616"/>
                    <a:pt x="3103" y="603"/>
                  </a:cubicBezTo>
                  <a:cubicBezTo>
                    <a:pt x="3104" y="594"/>
                    <a:pt x="3101" y="594"/>
                    <a:pt x="3098" y="596"/>
                  </a:cubicBezTo>
                  <a:cubicBezTo>
                    <a:pt x="3101" y="593"/>
                    <a:pt x="3101" y="593"/>
                    <a:pt x="3101" y="593"/>
                  </a:cubicBezTo>
                  <a:cubicBezTo>
                    <a:pt x="3121" y="600"/>
                    <a:pt x="3121" y="600"/>
                    <a:pt x="3121" y="600"/>
                  </a:cubicBezTo>
                  <a:cubicBezTo>
                    <a:pt x="3127" y="591"/>
                    <a:pt x="3127" y="591"/>
                    <a:pt x="3127" y="591"/>
                  </a:cubicBezTo>
                  <a:cubicBezTo>
                    <a:pt x="3127" y="591"/>
                    <a:pt x="3113" y="560"/>
                    <a:pt x="3120" y="560"/>
                  </a:cubicBezTo>
                  <a:cubicBezTo>
                    <a:pt x="3127" y="560"/>
                    <a:pt x="3137" y="551"/>
                    <a:pt x="3137" y="551"/>
                  </a:cubicBezTo>
                  <a:cubicBezTo>
                    <a:pt x="3123" y="512"/>
                    <a:pt x="3123" y="512"/>
                    <a:pt x="3123" y="512"/>
                  </a:cubicBezTo>
                  <a:cubicBezTo>
                    <a:pt x="3147" y="489"/>
                    <a:pt x="3147" y="489"/>
                    <a:pt x="3147" y="489"/>
                  </a:cubicBezTo>
                  <a:cubicBezTo>
                    <a:pt x="3148" y="477"/>
                    <a:pt x="3148" y="477"/>
                    <a:pt x="3148" y="477"/>
                  </a:cubicBezTo>
                  <a:cubicBezTo>
                    <a:pt x="3145" y="463"/>
                    <a:pt x="3145" y="463"/>
                    <a:pt x="3145" y="463"/>
                  </a:cubicBezTo>
                  <a:cubicBezTo>
                    <a:pt x="3145" y="463"/>
                    <a:pt x="3164" y="468"/>
                    <a:pt x="3163" y="483"/>
                  </a:cubicBezTo>
                  <a:cubicBezTo>
                    <a:pt x="3151" y="515"/>
                    <a:pt x="3180" y="507"/>
                    <a:pt x="3180" y="507"/>
                  </a:cubicBezTo>
                  <a:cubicBezTo>
                    <a:pt x="3180" y="488"/>
                    <a:pt x="3193" y="489"/>
                    <a:pt x="3193" y="489"/>
                  </a:cubicBezTo>
                  <a:cubicBezTo>
                    <a:pt x="3201" y="495"/>
                    <a:pt x="3201" y="495"/>
                    <a:pt x="3201" y="495"/>
                  </a:cubicBezTo>
                  <a:cubicBezTo>
                    <a:pt x="3203" y="492"/>
                    <a:pt x="3203" y="492"/>
                    <a:pt x="3203" y="492"/>
                  </a:cubicBezTo>
                  <a:cubicBezTo>
                    <a:pt x="3229" y="484"/>
                    <a:pt x="3181" y="467"/>
                    <a:pt x="3181" y="467"/>
                  </a:cubicBezTo>
                  <a:cubicBezTo>
                    <a:pt x="3172" y="453"/>
                    <a:pt x="3172" y="453"/>
                    <a:pt x="3172" y="453"/>
                  </a:cubicBezTo>
                  <a:cubicBezTo>
                    <a:pt x="3169" y="459"/>
                    <a:pt x="3169" y="459"/>
                    <a:pt x="3169" y="459"/>
                  </a:cubicBezTo>
                  <a:cubicBezTo>
                    <a:pt x="3151" y="452"/>
                    <a:pt x="3151" y="452"/>
                    <a:pt x="3151" y="452"/>
                  </a:cubicBezTo>
                  <a:cubicBezTo>
                    <a:pt x="3139" y="424"/>
                    <a:pt x="3139" y="424"/>
                    <a:pt x="3139" y="424"/>
                  </a:cubicBezTo>
                  <a:cubicBezTo>
                    <a:pt x="3123" y="425"/>
                    <a:pt x="3123" y="425"/>
                    <a:pt x="3123" y="425"/>
                  </a:cubicBezTo>
                  <a:cubicBezTo>
                    <a:pt x="3125" y="397"/>
                    <a:pt x="3125" y="397"/>
                    <a:pt x="3125" y="397"/>
                  </a:cubicBezTo>
                  <a:cubicBezTo>
                    <a:pt x="3132" y="416"/>
                    <a:pt x="3132" y="416"/>
                    <a:pt x="3132" y="416"/>
                  </a:cubicBezTo>
                  <a:cubicBezTo>
                    <a:pt x="3143" y="416"/>
                    <a:pt x="3143" y="416"/>
                    <a:pt x="3143" y="416"/>
                  </a:cubicBezTo>
                  <a:cubicBezTo>
                    <a:pt x="3151" y="407"/>
                    <a:pt x="3151" y="407"/>
                    <a:pt x="3151" y="407"/>
                  </a:cubicBezTo>
                  <a:cubicBezTo>
                    <a:pt x="3169" y="407"/>
                    <a:pt x="3169" y="407"/>
                    <a:pt x="3169" y="407"/>
                  </a:cubicBezTo>
                  <a:cubicBezTo>
                    <a:pt x="3169" y="393"/>
                    <a:pt x="3169" y="393"/>
                    <a:pt x="3169" y="393"/>
                  </a:cubicBezTo>
                  <a:cubicBezTo>
                    <a:pt x="3153" y="395"/>
                    <a:pt x="3153" y="395"/>
                    <a:pt x="3153" y="395"/>
                  </a:cubicBezTo>
                  <a:cubicBezTo>
                    <a:pt x="3155" y="379"/>
                    <a:pt x="3155" y="379"/>
                    <a:pt x="3155" y="379"/>
                  </a:cubicBezTo>
                  <a:cubicBezTo>
                    <a:pt x="3177" y="379"/>
                    <a:pt x="3177" y="379"/>
                    <a:pt x="3177" y="379"/>
                  </a:cubicBezTo>
                  <a:cubicBezTo>
                    <a:pt x="3175" y="359"/>
                    <a:pt x="3175" y="359"/>
                    <a:pt x="3175" y="359"/>
                  </a:cubicBezTo>
                  <a:cubicBezTo>
                    <a:pt x="3175" y="359"/>
                    <a:pt x="3168" y="363"/>
                    <a:pt x="3160" y="363"/>
                  </a:cubicBezTo>
                  <a:cubicBezTo>
                    <a:pt x="3152" y="363"/>
                    <a:pt x="3147" y="351"/>
                    <a:pt x="3147" y="351"/>
                  </a:cubicBezTo>
                  <a:cubicBezTo>
                    <a:pt x="3137" y="352"/>
                    <a:pt x="3137" y="352"/>
                    <a:pt x="3137" y="352"/>
                  </a:cubicBezTo>
                  <a:cubicBezTo>
                    <a:pt x="3141" y="344"/>
                    <a:pt x="3141" y="344"/>
                    <a:pt x="3141" y="344"/>
                  </a:cubicBezTo>
                  <a:cubicBezTo>
                    <a:pt x="3141" y="344"/>
                    <a:pt x="3161" y="343"/>
                    <a:pt x="3177" y="343"/>
                  </a:cubicBezTo>
                  <a:cubicBezTo>
                    <a:pt x="3193" y="343"/>
                    <a:pt x="3180" y="312"/>
                    <a:pt x="3180" y="312"/>
                  </a:cubicBezTo>
                  <a:cubicBezTo>
                    <a:pt x="3159" y="315"/>
                    <a:pt x="3159" y="315"/>
                    <a:pt x="3159" y="315"/>
                  </a:cubicBezTo>
                  <a:cubicBezTo>
                    <a:pt x="3188" y="287"/>
                    <a:pt x="3188" y="287"/>
                    <a:pt x="3188" y="287"/>
                  </a:cubicBezTo>
                  <a:cubicBezTo>
                    <a:pt x="3188" y="271"/>
                    <a:pt x="3188" y="271"/>
                    <a:pt x="3188" y="271"/>
                  </a:cubicBezTo>
                  <a:cubicBezTo>
                    <a:pt x="3184" y="276"/>
                    <a:pt x="3184" y="276"/>
                    <a:pt x="3184" y="276"/>
                  </a:cubicBezTo>
                  <a:cubicBezTo>
                    <a:pt x="3164" y="293"/>
                    <a:pt x="3164" y="293"/>
                    <a:pt x="3164" y="293"/>
                  </a:cubicBezTo>
                  <a:cubicBezTo>
                    <a:pt x="3164" y="285"/>
                    <a:pt x="3164" y="285"/>
                    <a:pt x="3164" y="285"/>
                  </a:cubicBezTo>
                  <a:cubicBezTo>
                    <a:pt x="3136" y="319"/>
                    <a:pt x="3136" y="319"/>
                    <a:pt x="3136" y="319"/>
                  </a:cubicBezTo>
                  <a:cubicBezTo>
                    <a:pt x="3136" y="319"/>
                    <a:pt x="3137" y="312"/>
                    <a:pt x="3136" y="303"/>
                  </a:cubicBezTo>
                  <a:cubicBezTo>
                    <a:pt x="3124" y="303"/>
                    <a:pt x="3127" y="281"/>
                    <a:pt x="3127" y="281"/>
                  </a:cubicBezTo>
                  <a:cubicBezTo>
                    <a:pt x="3135" y="291"/>
                    <a:pt x="3135" y="291"/>
                    <a:pt x="3135" y="291"/>
                  </a:cubicBezTo>
                  <a:cubicBezTo>
                    <a:pt x="3143" y="272"/>
                    <a:pt x="3143" y="272"/>
                    <a:pt x="3143" y="272"/>
                  </a:cubicBezTo>
                  <a:cubicBezTo>
                    <a:pt x="3137" y="263"/>
                    <a:pt x="3137" y="263"/>
                    <a:pt x="3137" y="263"/>
                  </a:cubicBezTo>
                  <a:cubicBezTo>
                    <a:pt x="3127" y="263"/>
                    <a:pt x="3127" y="263"/>
                    <a:pt x="3127" y="263"/>
                  </a:cubicBezTo>
                  <a:cubicBezTo>
                    <a:pt x="3117" y="241"/>
                    <a:pt x="3117" y="241"/>
                    <a:pt x="3117" y="241"/>
                  </a:cubicBezTo>
                  <a:cubicBezTo>
                    <a:pt x="3117" y="241"/>
                    <a:pt x="3117" y="241"/>
                    <a:pt x="3096" y="247"/>
                  </a:cubicBezTo>
                  <a:cubicBezTo>
                    <a:pt x="3059" y="236"/>
                    <a:pt x="3076" y="216"/>
                    <a:pt x="3076" y="216"/>
                  </a:cubicBezTo>
                  <a:cubicBezTo>
                    <a:pt x="3059" y="217"/>
                    <a:pt x="3059" y="217"/>
                    <a:pt x="3059" y="217"/>
                  </a:cubicBezTo>
                  <a:cubicBezTo>
                    <a:pt x="3059" y="217"/>
                    <a:pt x="3059" y="217"/>
                    <a:pt x="3061" y="209"/>
                  </a:cubicBezTo>
                  <a:cubicBezTo>
                    <a:pt x="3089" y="209"/>
                    <a:pt x="3073" y="183"/>
                    <a:pt x="3073" y="183"/>
                  </a:cubicBezTo>
                  <a:cubicBezTo>
                    <a:pt x="3080" y="173"/>
                    <a:pt x="3080" y="173"/>
                    <a:pt x="3080" y="173"/>
                  </a:cubicBezTo>
                  <a:cubicBezTo>
                    <a:pt x="3077" y="144"/>
                    <a:pt x="3077" y="144"/>
                    <a:pt x="3077" y="144"/>
                  </a:cubicBezTo>
                  <a:cubicBezTo>
                    <a:pt x="3077" y="144"/>
                    <a:pt x="3075" y="149"/>
                    <a:pt x="3049" y="160"/>
                  </a:cubicBezTo>
                  <a:cubicBezTo>
                    <a:pt x="3023" y="143"/>
                    <a:pt x="3024" y="184"/>
                    <a:pt x="3024" y="184"/>
                  </a:cubicBezTo>
                  <a:cubicBezTo>
                    <a:pt x="2997" y="204"/>
                    <a:pt x="2997" y="204"/>
                    <a:pt x="2997" y="204"/>
                  </a:cubicBezTo>
                  <a:cubicBezTo>
                    <a:pt x="3007" y="219"/>
                    <a:pt x="3007" y="219"/>
                    <a:pt x="3007" y="219"/>
                  </a:cubicBezTo>
                  <a:cubicBezTo>
                    <a:pt x="3004" y="225"/>
                    <a:pt x="3004" y="225"/>
                    <a:pt x="3004" y="225"/>
                  </a:cubicBezTo>
                  <a:cubicBezTo>
                    <a:pt x="2988" y="212"/>
                    <a:pt x="2988" y="212"/>
                    <a:pt x="2988" y="212"/>
                  </a:cubicBezTo>
                  <a:cubicBezTo>
                    <a:pt x="2988" y="212"/>
                    <a:pt x="2984" y="196"/>
                    <a:pt x="2973" y="196"/>
                  </a:cubicBezTo>
                  <a:cubicBezTo>
                    <a:pt x="2963" y="196"/>
                    <a:pt x="2971" y="212"/>
                    <a:pt x="2957" y="228"/>
                  </a:cubicBezTo>
                  <a:cubicBezTo>
                    <a:pt x="2932" y="228"/>
                    <a:pt x="2933" y="247"/>
                    <a:pt x="2945" y="249"/>
                  </a:cubicBezTo>
                  <a:cubicBezTo>
                    <a:pt x="2957" y="252"/>
                    <a:pt x="2971" y="244"/>
                    <a:pt x="2971" y="244"/>
                  </a:cubicBezTo>
                  <a:cubicBezTo>
                    <a:pt x="2993" y="259"/>
                    <a:pt x="2993" y="259"/>
                    <a:pt x="2993" y="259"/>
                  </a:cubicBezTo>
                  <a:cubicBezTo>
                    <a:pt x="3011" y="252"/>
                    <a:pt x="3011" y="252"/>
                    <a:pt x="3011" y="252"/>
                  </a:cubicBezTo>
                  <a:cubicBezTo>
                    <a:pt x="3016" y="273"/>
                    <a:pt x="3016" y="273"/>
                    <a:pt x="3016" y="273"/>
                  </a:cubicBezTo>
                  <a:cubicBezTo>
                    <a:pt x="3016" y="295"/>
                    <a:pt x="3016" y="295"/>
                    <a:pt x="3016" y="295"/>
                  </a:cubicBezTo>
                  <a:cubicBezTo>
                    <a:pt x="3033" y="296"/>
                    <a:pt x="3033" y="296"/>
                    <a:pt x="3033" y="296"/>
                  </a:cubicBezTo>
                  <a:cubicBezTo>
                    <a:pt x="3031" y="309"/>
                    <a:pt x="3031" y="309"/>
                    <a:pt x="3031" y="309"/>
                  </a:cubicBezTo>
                  <a:cubicBezTo>
                    <a:pt x="3028" y="311"/>
                    <a:pt x="3028" y="311"/>
                    <a:pt x="3028" y="311"/>
                  </a:cubicBezTo>
                  <a:cubicBezTo>
                    <a:pt x="3004" y="309"/>
                    <a:pt x="3012" y="335"/>
                    <a:pt x="3012" y="335"/>
                  </a:cubicBezTo>
                  <a:cubicBezTo>
                    <a:pt x="3024" y="343"/>
                    <a:pt x="3024" y="343"/>
                    <a:pt x="3024" y="343"/>
                  </a:cubicBezTo>
                  <a:cubicBezTo>
                    <a:pt x="3039" y="340"/>
                    <a:pt x="3039" y="340"/>
                    <a:pt x="3039" y="340"/>
                  </a:cubicBezTo>
                  <a:cubicBezTo>
                    <a:pt x="3039" y="340"/>
                    <a:pt x="3043" y="347"/>
                    <a:pt x="3043" y="351"/>
                  </a:cubicBezTo>
                  <a:cubicBezTo>
                    <a:pt x="3043" y="355"/>
                    <a:pt x="3033" y="357"/>
                    <a:pt x="3033" y="357"/>
                  </a:cubicBezTo>
                  <a:close/>
                  <a:moveTo>
                    <a:pt x="2961" y="431"/>
                  </a:moveTo>
                  <a:cubicBezTo>
                    <a:pt x="2956" y="437"/>
                    <a:pt x="2954" y="423"/>
                    <a:pt x="2957" y="423"/>
                  </a:cubicBezTo>
                  <a:cubicBezTo>
                    <a:pt x="2961" y="423"/>
                    <a:pt x="2965" y="424"/>
                    <a:pt x="2961" y="431"/>
                  </a:cubicBezTo>
                  <a:close/>
                  <a:moveTo>
                    <a:pt x="3058" y="432"/>
                  </a:moveTo>
                  <a:cubicBezTo>
                    <a:pt x="3051" y="431"/>
                    <a:pt x="3039" y="407"/>
                    <a:pt x="3045" y="407"/>
                  </a:cubicBezTo>
                  <a:cubicBezTo>
                    <a:pt x="3051" y="407"/>
                    <a:pt x="3062" y="429"/>
                    <a:pt x="3062" y="429"/>
                  </a:cubicBezTo>
                  <a:cubicBezTo>
                    <a:pt x="3062" y="429"/>
                    <a:pt x="3065" y="433"/>
                    <a:pt x="3058" y="432"/>
                  </a:cubicBezTo>
                  <a:close/>
                  <a:moveTo>
                    <a:pt x="3075" y="269"/>
                  </a:moveTo>
                  <a:cubicBezTo>
                    <a:pt x="3084" y="269"/>
                    <a:pt x="3055" y="246"/>
                    <a:pt x="3079" y="246"/>
                  </a:cubicBezTo>
                  <a:cubicBezTo>
                    <a:pt x="3082" y="246"/>
                    <a:pt x="3085" y="252"/>
                    <a:pt x="3085" y="252"/>
                  </a:cubicBezTo>
                  <a:cubicBezTo>
                    <a:pt x="3085" y="252"/>
                    <a:pt x="3073" y="257"/>
                    <a:pt x="3080" y="262"/>
                  </a:cubicBezTo>
                  <a:cubicBezTo>
                    <a:pt x="3087" y="267"/>
                    <a:pt x="3091" y="268"/>
                    <a:pt x="3091" y="268"/>
                  </a:cubicBezTo>
                  <a:cubicBezTo>
                    <a:pt x="3091" y="268"/>
                    <a:pt x="3063" y="281"/>
                    <a:pt x="3061" y="287"/>
                  </a:cubicBezTo>
                  <a:cubicBezTo>
                    <a:pt x="3059" y="294"/>
                    <a:pt x="3053" y="288"/>
                    <a:pt x="3053" y="288"/>
                  </a:cubicBezTo>
                  <a:cubicBezTo>
                    <a:pt x="3053" y="288"/>
                    <a:pt x="3065" y="269"/>
                    <a:pt x="3075" y="269"/>
                  </a:cubicBezTo>
                  <a:close/>
                  <a:moveTo>
                    <a:pt x="3051" y="295"/>
                  </a:moveTo>
                  <a:cubicBezTo>
                    <a:pt x="3051" y="295"/>
                    <a:pt x="3070" y="299"/>
                    <a:pt x="3059" y="304"/>
                  </a:cubicBezTo>
                  <a:cubicBezTo>
                    <a:pt x="3047" y="309"/>
                    <a:pt x="3044" y="299"/>
                    <a:pt x="3051" y="295"/>
                  </a:cubicBezTo>
                  <a:close/>
                  <a:moveTo>
                    <a:pt x="3049" y="316"/>
                  </a:moveTo>
                  <a:cubicBezTo>
                    <a:pt x="3049" y="311"/>
                    <a:pt x="3059" y="315"/>
                    <a:pt x="3059" y="315"/>
                  </a:cubicBezTo>
                  <a:cubicBezTo>
                    <a:pt x="3055" y="326"/>
                    <a:pt x="3055" y="326"/>
                    <a:pt x="3055" y="326"/>
                  </a:cubicBezTo>
                  <a:cubicBezTo>
                    <a:pt x="3062" y="328"/>
                    <a:pt x="3062" y="328"/>
                    <a:pt x="3062" y="328"/>
                  </a:cubicBezTo>
                  <a:cubicBezTo>
                    <a:pt x="3064" y="344"/>
                    <a:pt x="3064" y="344"/>
                    <a:pt x="3064" y="344"/>
                  </a:cubicBezTo>
                  <a:cubicBezTo>
                    <a:pt x="3053" y="344"/>
                    <a:pt x="3053" y="344"/>
                    <a:pt x="3053" y="344"/>
                  </a:cubicBezTo>
                  <a:cubicBezTo>
                    <a:pt x="3045" y="336"/>
                    <a:pt x="3045" y="336"/>
                    <a:pt x="3045" y="336"/>
                  </a:cubicBezTo>
                  <a:cubicBezTo>
                    <a:pt x="3045" y="336"/>
                    <a:pt x="3049" y="321"/>
                    <a:pt x="3049" y="316"/>
                  </a:cubicBezTo>
                  <a:close/>
                  <a:moveTo>
                    <a:pt x="3045" y="361"/>
                  </a:moveTo>
                  <a:cubicBezTo>
                    <a:pt x="3045" y="361"/>
                    <a:pt x="3056" y="372"/>
                    <a:pt x="3053" y="375"/>
                  </a:cubicBezTo>
                  <a:cubicBezTo>
                    <a:pt x="3049" y="377"/>
                    <a:pt x="3039" y="365"/>
                    <a:pt x="3045" y="361"/>
                  </a:cubicBezTo>
                  <a:close/>
                  <a:moveTo>
                    <a:pt x="3131" y="588"/>
                  </a:moveTo>
                  <a:cubicBezTo>
                    <a:pt x="3141" y="591"/>
                    <a:pt x="3141" y="591"/>
                    <a:pt x="3141" y="591"/>
                  </a:cubicBezTo>
                  <a:cubicBezTo>
                    <a:pt x="3135" y="576"/>
                    <a:pt x="3135" y="576"/>
                    <a:pt x="3135" y="576"/>
                  </a:cubicBezTo>
                  <a:lnTo>
                    <a:pt x="3131" y="588"/>
                  </a:lnTo>
                  <a:close/>
                  <a:moveTo>
                    <a:pt x="2679" y="1491"/>
                  </a:moveTo>
                  <a:cubicBezTo>
                    <a:pt x="2671" y="1483"/>
                    <a:pt x="2671" y="1483"/>
                    <a:pt x="2671" y="1483"/>
                  </a:cubicBezTo>
                  <a:cubicBezTo>
                    <a:pt x="2671" y="1497"/>
                    <a:pt x="2671" y="1497"/>
                    <a:pt x="2671" y="1497"/>
                  </a:cubicBezTo>
                  <a:lnTo>
                    <a:pt x="2679" y="1491"/>
                  </a:lnTo>
                  <a:close/>
                  <a:moveTo>
                    <a:pt x="2623" y="1584"/>
                  </a:moveTo>
                  <a:cubicBezTo>
                    <a:pt x="2623" y="1584"/>
                    <a:pt x="2638" y="1596"/>
                    <a:pt x="2637" y="1585"/>
                  </a:cubicBezTo>
                  <a:cubicBezTo>
                    <a:pt x="2635" y="1575"/>
                    <a:pt x="2623" y="1577"/>
                    <a:pt x="2623" y="1584"/>
                  </a:cubicBezTo>
                  <a:close/>
                  <a:moveTo>
                    <a:pt x="2565" y="1389"/>
                  </a:moveTo>
                  <a:cubicBezTo>
                    <a:pt x="2571" y="1393"/>
                    <a:pt x="2578" y="1413"/>
                    <a:pt x="2578" y="1413"/>
                  </a:cubicBezTo>
                  <a:cubicBezTo>
                    <a:pt x="2583" y="1409"/>
                    <a:pt x="2583" y="1409"/>
                    <a:pt x="2583" y="1409"/>
                  </a:cubicBezTo>
                  <a:cubicBezTo>
                    <a:pt x="2583" y="1409"/>
                    <a:pt x="2593" y="1406"/>
                    <a:pt x="2601" y="1401"/>
                  </a:cubicBezTo>
                  <a:cubicBezTo>
                    <a:pt x="2589" y="1399"/>
                    <a:pt x="2596" y="1370"/>
                    <a:pt x="2596" y="1370"/>
                  </a:cubicBezTo>
                  <a:cubicBezTo>
                    <a:pt x="2596" y="1370"/>
                    <a:pt x="2608" y="1352"/>
                    <a:pt x="2610" y="1346"/>
                  </a:cubicBezTo>
                  <a:cubicBezTo>
                    <a:pt x="2612" y="1340"/>
                    <a:pt x="2603" y="1335"/>
                    <a:pt x="2603" y="1335"/>
                  </a:cubicBezTo>
                  <a:cubicBezTo>
                    <a:pt x="2603" y="1335"/>
                    <a:pt x="2583" y="1334"/>
                    <a:pt x="2581" y="1334"/>
                  </a:cubicBezTo>
                  <a:cubicBezTo>
                    <a:pt x="2581" y="1334"/>
                    <a:pt x="2575" y="1338"/>
                    <a:pt x="2575" y="1347"/>
                  </a:cubicBezTo>
                  <a:cubicBezTo>
                    <a:pt x="2574" y="1357"/>
                    <a:pt x="2583" y="1358"/>
                    <a:pt x="2585" y="1368"/>
                  </a:cubicBezTo>
                  <a:cubicBezTo>
                    <a:pt x="2588" y="1378"/>
                    <a:pt x="2575" y="1377"/>
                    <a:pt x="2575" y="1377"/>
                  </a:cubicBezTo>
                  <a:cubicBezTo>
                    <a:pt x="2575" y="1377"/>
                    <a:pt x="2564" y="1371"/>
                    <a:pt x="2561" y="1371"/>
                  </a:cubicBezTo>
                  <a:cubicBezTo>
                    <a:pt x="2557" y="1372"/>
                    <a:pt x="2559" y="1386"/>
                    <a:pt x="2565" y="1389"/>
                  </a:cubicBezTo>
                  <a:close/>
                  <a:moveTo>
                    <a:pt x="2594" y="1339"/>
                  </a:moveTo>
                  <a:cubicBezTo>
                    <a:pt x="2598" y="1339"/>
                    <a:pt x="2599" y="1348"/>
                    <a:pt x="2593" y="1348"/>
                  </a:cubicBezTo>
                  <a:cubicBezTo>
                    <a:pt x="2587" y="1348"/>
                    <a:pt x="2594" y="1339"/>
                    <a:pt x="2594" y="1339"/>
                  </a:cubicBezTo>
                  <a:close/>
                  <a:moveTo>
                    <a:pt x="2569" y="1361"/>
                  </a:moveTo>
                  <a:cubicBezTo>
                    <a:pt x="2561" y="1348"/>
                    <a:pt x="2561" y="1348"/>
                    <a:pt x="2561" y="1348"/>
                  </a:cubicBezTo>
                  <a:cubicBezTo>
                    <a:pt x="2563" y="1361"/>
                    <a:pt x="2563" y="1361"/>
                    <a:pt x="2563" y="1361"/>
                  </a:cubicBezTo>
                  <a:lnTo>
                    <a:pt x="2569" y="1361"/>
                  </a:lnTo>
                  <a:close/>
                  <a:moveTo>
                    <a:pt x="2684" y="1461"/>
                  </a:moveTo>
                  <a:cubicBezTo>
                    <a:pt x="2687" y="1460"/>
                    <a:pt x="2693" y="1447"/>
                    <a:pt x="2693" y="1447"/>
                  </a:cubicBezTo>
                  <a:cubicBezTo>
                    <a:pt x="2693" y="1447"/>
                    <a:pt x="2679" y="1433"/>
                    <a:pt x="2687" y="1429"/>
                  </a:cubicBezTo>
                  <a:cubicBezTo>
                    <a:pt x="2695" y="1426"/>
                    <a:pt x="2672" y="1427"/>
                    <a:pt x="2672" y="1427"/>
                  </a:cubicBezTo>
                  <a:cubicBezTo>
                    <a:pt x="2664" y="1431"/>
                    <a:pt x="2664" y="1431"/>
                    <a:pt x="2664" y="1431"/>
                  </a:cubicBezTo>
                  <a:cubicBezTo>
                    <a:pt x="2657" y="1419"/>
                    <a:pt x="2657" y="1419"/>
                    <a:pt x="2657" y="1419"/>
                  </a:cubicBezTo>
                  <a:cubicBezTo>
                    <a:pt x="2657" y="1419"/>
                    <a:pt x="2680" y="1417"/>
                    <a:pt x="2677" y="1413"/>
                  </a:cubicBezTo>
                  <a:cubicBezTo>
                    <a:pt x="2673" y="1409"/>
                    <a:pt x="2669" y="1397"/>
                    <a:pt x="2664" y="1397"/>
                  </a:cubicBezTo>
                  <a:cubicBezTo>
                    <a:pt x="2659" y="1398"/>
                    <a:pt x="2659" y="1409"/>
                    <a:pt x="2659" y="1409"/>
                  </a:cubicBezTo>
                  <a:cubicBezTo>
                    <a:pt x="2659" y="1409"/>
                    <a:pt x="2653" y="1397"/>
                    <a:pt x="2651" y="1397"/>
                  </a:cubicBezTo>
                  <a:cubicBezTo>
                    <a:pt x="2648" y="1397"/>
                    <a:pt x="2640" y="1397"/>
                    <a:pt x="2640" y="1397"/>
                  </a:cubicBezTo>
                  <a:cubicBezTo>
                    <a:pt x="2640" y="1397"/>
                    <a:pt x="2621" y="1423"/>
                    <a:pt x="2629" y="1423"/>
                  </a:cubicBezTo>
                  <a:cubicBezTo>
                    <a:pt x="2637" y="1423"/>
                    <a:pt x="2635" y="1413"/>
                    <a:pt x="2639" y="1413"/>
                  </a:cubicBezTo>
                  <a:cubicBezTo>
                    <a:pt x="2642" y="1414"/>
                    <a:pt x="2655" y="1422"/>
                    <a:pt x="2650" y="1426"/>
                  </a:cubicBezTo>
                  <a:cubicBezTo>
                    <a:pt x="2645" y="1430"/>
                    <a:pt x="2635" y="1430"/>
                    <a:pt x="2635" y="1430"/>
                  </a:cubicBezTo>
                  <a:cubicBezTo>
                    <a:pt x="2635" y="1430"/>
                    <a:pt x="2613" y="1441"/>
                    <a:pt x="2620" y="1450"/>
                  </a:cubicBezTo>
                  <a:cubicBezTo>
                    <a:pt x="2627" y="1459"/>
                    <a:pt x="2639" y="1468"/>
                    <a:pt x="2641" y="1457"/>
                  </a:cubicBezTo>
                  <a:cubicBezTo>
                    <a:pt x="2645" y="1435"/>
                    <a:pt x="2645" y="1435"/>
                    <a:pt x="2645" y="1435"/>
                  </a:cubicBezTo>
                  <a:cubicBezTo>
                    <a:pt x="2645" y="1435"/>
                    <a:pt x="2649" y="1441"/>
                    <a:pt x="2655" y="1441"/>
                  </a:cubicBezTo>
                  <a:cubicBezTo>
                    <a:pt x="2662" y="1441"/>
                    <a:pt x="2660" y="1454"/>
                    <a:pt x="2656" y="1456"/>
                  </a:cubicBezTo>
                  <a:cubicBezTo>
                    <a:pt x="2652" y="1458"/>
                    <a:pt x="2657" y="1469"/>
                    <a:pt x="2659" y="1468"/>
                  </a:cubicBezTo>
                  <a:cubicBezTo>
                    <a:pt x="2661" y="1467"/>
                    <a:pt x="2676" y="1455"/>
                    <a:pt x="2679" y="1455"/>
                  </a:cubicBezTo>
                  <a:cubicBezTo>
                    <a:pt x="2683" y="1455"/>
                    <a:pt x="2681" y="1463"/>
                    <a:pt x="2684" y="1461"/>
                  </a:cubicBezTo>
                  <a:close/>
                  <a:moveTo>
                    <a:pt x="2479" y="1293"/>
                  </a:moveTo>
                  <a:cubicBezTo>
                    <a:pt x="2479" y="1293"/>
                    <a:pt x="2478" y="1312"/>
                    <a:pt x="2481" y="1317"/>
                  </a:cubicBezTo>
                  <a:cubicBezTo>
                    <a:pt x="2483" y="1323"/>
                    <a:pt x="2497" y="1319"/>
                    <a:pt x="2497" y="1319"/>
                  </a:cubicBezTo>
                  <a:cubicBezTo>
                    <a:pt x="2511" y="1313"/>
                    <a:pt x="2511" y="1313"/>
                    <a:pt x="2511" y="1313"/>
                  </a:cubicBezTo>
                  <a:cubicBezTo>
                    <a:pt x="2508" y="1304"/>
                    <a:pt x="2508" y="1304"/>
                    <a:pt x="2508" y="1304"/>
                  </a:cubicBezTo>
                  <a:cubicBezTo>
                    <a:pt x="2520" y="1305"/>
                    <a:pt x="2520" y="1305"/>
                    <a:pt x="2520" y="1305"/>
                  </a:cubicBezTo>
                  <a:cubicBezTo>
                    <a:pt x="2531" y="1323"/>
                    <a:pt x="2531" y="1323"/>
                    <a:pt x="2531" y="1323"/>
                  </a:cubicBezTo>
                  <a:cubicBezTo>
                    <a:pt x="2531" y="1323"/>
                    <a:pt x="2539" y="1325"/>
                    <a:pt x="2541" y="1334"/>
                  </a:cubicBezTo>
                  <a:cubicBezTo>
                    <a:pt x="2542" y="1343"/>
                    <a:pt x="2534" y="1343"/>
                    <a:pt x="2534" y="1343"/>
                  </a:cubicBezTo>
                  <a:cubicBezTo>
                    <a:pt x="2534" y="1343"/>
                    <a:pt x="2535" y="1351"/>
                    <a:pt x="2537" y="1350"/>
                  </a:cubicBezTo>
                  <a:cubicBezTo>
                    <a:pt x="2540" y="1349"/>
                    <a:pt x="2561" y="1333"/>
                    <a:pt x="2561" y="1333"/>
                  </a:cubicBezTo>
                  <a:cubicBezTo>
                    <a:pt x="2551" y="1313"/>
                    <a:pt x="2551" y="1313"/>
                    <a:pt x="2551" y="1313"/>
                  </a:cubicBezTo>
                  <a:cubicBezTo>
                    <a:pt x="2551" y="1313"/>
                    <a:pt x="2546" y="1315"/>
                    <a:pt x="2544" y="1315"/>
                  </a:cubicBezTo>
                  <a:cubicBezTo>
                    <a:pt x="2542" y="1315"/>
                    <a:pt x="2530" y="1294"/>
                    <a:pt x="2530" y="1294"/>
                  </a:cubicBezTo>
                  <a:cubicBezTo>
                    <a:pt x="2530" y="1294"/>
                    <a:pt x="2507" y="1284"/>
                    <a:pt x="2503" y="1283"/>
                  </a:cubicBezTo>
                  <a:cubicBezTo>
                    <a:pt x="2500" y="1283"/>
                    <a:pt x="2514" y="1260"/>
                    <a:pt x="2514" y="1258"/>
                  </a:cubicBezTo>
                  <a:cubicBezTo>
                    <a:pt x="2514" y="1256"/>
                    <a:pt x="2507" y="1251"/>
                    <a:pt x="2505" y="1251"/>
                  </a:cubicBezTo>
                  <a:cubicBezTo>
                    <a:pt x="2503" y="1251"/>
                    <a:pt x="2499" y="1258"/>
                    <a:pt x="2493" y="1274"/>
                  </a:cubicBezTo>
                  <a:cubicBezTo>
                    <a:pt x="2486" y="1290"/>
                    <a:pt x="2461" y="1269"/>
                    <a:pt x="2461" y="1269"/>
                  </a:cubicBezTo>
                  <a:cubicBezTo>
                    <a:pt x="2442" y="1267"/>
                    <a:pt x="2479" y="1293"/>
                    <a:pt x="2479" y="1293"/>
                  </a:cubicBezTo>
                  <a:close/>
                  <a:moveTo>
                    <a:pt x="2545" y="1271"/>
                  </a:moveTo>
                  <a:cubicBezTo>
                    <a:pt x="2546" y="1259"/>
                    <a:pt x="2539" y="1255"/>
                    <a:pt x="2539" y="1255"/>
                  </a:cubicBezTo>
                  <a:cubicBezTo>
                    <a:pt x="2539" y="1255"/>
                    <a:pt x="2557" y="1252"/>
                    <a:pt x="2551" y="1244"/>
                  </a:cubicBezTo>
                  <a:cubicBezTo>
                    <a:pt x="2546" y="1236"/>
                    <a:pt x="2537" y="1231"/>
                    <a:pt x="2537" y="1231"/>
                  </a:cubicBezTo>
                  <a:cubicBezTo>
                    <a:pt x="2527" y="1254"/>
                    <a:pt x="2527" y="1254"/>
                    <a:pt x="2527" y="1254"/>
                  </a:cubicBezTo>
                  <a:cubicBezTo>
                    <a:pt x="2527" y="1277"/>
                    <a:pt x="2527" y="1277"/>
                    <a:pt x="2527" y="1277"/>
                  </a:cubicBezTo>
                  <a:cubicBezTo>
                    <a:pt x="2527" y="1277"/>
                    <a:pt x="2545" y="1283"/>
                    <a:pt x="2545" y="1271"/>
                  </a:cubicBezTo>
                  <a:close/>
                  <a:moveTo>
                    <a:pt x="2575" y="1464"/>
                  </a:moveTo>
                  <a:cubicBezTo>
                    <a:pt x="2579" y="1451"/>
                    <a:pt x="2573" y="1446"/>
                    <a:pt x="2573" y="1446"/>
                  </a:cubicBezTo>
                  <a:cubicBezTo>
                    <a:pt x="2573" y="1446"/>
                    <a:pt x="2557" y="1453"/>
                    <a:pt x="2557" y="1464"/>
                  </a:cubicBezTo>
                  <a:cubicBezTo>
                    <a:pt x="2540" y="1467"/>
                    <a:pt x="2533" y="1463"/>
                    <a:pt x="2533" y="1463"/>
                  </a:cubicBezTo>
                  <a:cubicBezTo>
                    <a:pt x="2533" y="1459"/>
                    <a:pt x="2533" y="1459"/>
                    <a:pt x="2533" y="1459"/>
                  </a:cubicBezTo>
                  <a:cubicBezTo>
                    <a:pt x="2533" y="1459"/>
                    <a:pt x="2519" y="1462"/>
                    <a:pt x="2521" y="1487"/>
                  </a:cubicBezTo>
                  <a:cubicBezTo>
                    <a:pt x="2556" y="1490"/>
                    <a:pt x="2556" y="1490"/>
                    <a:pt x="2556" y="1490"/>
                  </a:cubicBezTo>
                  <a:cubicBezTo>
                    <a:pt x="2556" y="1490"/>
                    <a:pt x="2553" y="1495"/>
                    <a:pt x="2555" y="1495"/>
                  </a:cubicBezTo>
                  <a:cubicBezTo>
                    <a:pt x="2557" y="1495"/>
                    <a:pt x="2569" y="1495"/>
                    <a:pt x="2569" y="1495"/>
                  </a:cubicBezTo>
                  <a:cubicBezTo>
                    <a:pt x="2571" y="1482"/>
                    <a:pt x="2571" y="1482"/>
                    <a:pt x="2571" y="1482"/>
                  </a:cubicBezTo>
                  <a:cubicBezTo>
                    <a:pt x="2571" y="1482"/>
                    <a:pt x="2561" y="1464"/>
                    <a:pt x="2575" y="1464"/>
                  </a:cubicBezTo>
                  <a:close/>
                  <a:moveTo>
                    <a:pt x="2489" y="1445"/>
                  </a:moveTo>
                  <a:cubicBezTo>
                    <a:pt x="2495" y="1457"/>
                    <a:pt x="2495" y="1457"/>
                    <a:pt x="2495" y="1457"/>
                  </a:cubicBezTo>
                  <a:cubicBezTo>
                    <a:pt x="2515" y="1457"/>
                    <a:pt x="2515" y="1457"/>
                    <a:pt x="2515" y="1457"/>
                  </a:cubicBezTo>
                  <a:cubicBezTo>
                    <a:pt x="2501" y="1439"/>
                    <a:pt x="2501" y="1439"/>
                    <a:pt x="2501" y="1439"/>
                  </a:cubicBezTo>
                  <a:lnTo>
                    <a:pt x="2489" y="1445"/>
                  </a:lnTo>
                  <a:close/>
                  <a:moveTo>
                    <a:pt x="2521" y="1419"/>
                  </a:moveTo>
                  <a:cubicBezTo>
                    <a:pt x="2530" y="1417"/>
                    <a:pt x="2534" y="1405"/>
                    <a:pt x="2531" y="1397"/>
                  </a:cubicBezTo>
                  <a:cubicBezTo>
                    <a:pt x="2529" y="1390"/>
                    <a:pt x="2520" y="1381"/>
                    <a:pt x="2520" y="1381"/>
                  </a:cubicBezTo>
                  <a:cubicBezTo>
                    <a:pt x="2513" y="1390"/>
                    <a:pt x="2513" y="1390"/>
                    <a:pt x="2513" y="1390"/>
                  </a:cubicBezTo>
                  <a:cubicBezTo>
                    <a:pt x="2513" y="1390"/>
                    <a:pt x="2511" y="1421"/>
                    <a:pt x="2521" y="1419"/>
                  </a:cubicBezTo>
                  <a:close/>
                  <a:moveTo>
                    <a:pt x="2490" y="1419"/>
                  </a:moveTo>
                  <a:cubicBezTo>
                    <a:pt x="2482" y="1429"/>
                    <a:pt x="2482" y="1429"/>
                    <a:pt x="2482" y="1429"/>
                  </a:cubicBezTo>
                  <a:cubicBezTo>
                    <a:pt x="2482" y="1429"/>
                    <a:pt x="2493" y="1430"/>
                    <a:pt x="2503" y="1430"/>
                  </a:cubicBezTo>
                  <a:cubicBezTo>
                    <a:pt x="2513" y="1430"/>
                    <a:pt x="2511" y="1420"/>
                    <a:pt x="2511" y="1420"/>
                  </a:cubicBezTo>
                  <a:cubicBezTo>
                    <a:pt x="2511" y="1420"/>
                    <a:pt x="2499" y="1403"/>
                    <a:pt x="2500" y="1391"/>
                  </a:cubicBezTo>
                  <a:cubicBezTo>
                    <a:pt x="2501" y="1379"/>
                    <a:pt x="2506" y="1385"/>
                    <a:pt x="2506" y="1385"/>
                  </a:cubicBezTo>
                  <a:cubicBezTo>
                    <a:pt x="2506" y="1375"/>
                    <a:pt x="2506" y="1375"/>
                    <a:pt x="2506" y="1375"/>
                  </a:cubicBezTo>
                  <a:cubicBezTo>
                    <a:pt x="2506" y="1375"/>
                    <a:pt x="2493" y="1381"/>
                    <a:pt x="2482" y="1381"/>
                  </a:cubicBezTo>
                  <a:cubicBezTo>
                    <a:pt x="2471" y="1381"/>
                    <a:pt x="2453" y="1363"/>
                    <a:pt x="2453" y="1363"/>
                  </a:cubicBezTo>
                  <a:cubicBezTo>
                    <a:pt x="2439" y="1380"/>
                    <a:pt x="2439" y="1380"/>
                    <a:pt x="2439" y="1380"/>
                  </a:cubicBezTo>
                  <a:cubicBezTo>
                    <a:pt x="2434" y="1419"/>
                    <a:pt x="2490" y="1419"/>
                    <a:pt x="2490" y="1419"/>
                  </a:cubicBezTo>
                  <a:close/>
                  <a:moveTo>
                    <a:pt x="2411" y="1583"/>
                  </a:moveTo>
                  <a:cubicBezTo>
                    <a:pt x="2412" y="1589"/>
                    <a:pt x="2414" y="1600"/>
                    <a:pt x="2417" y="1599"/>
                  </a:cubicBezTo>
                  <a:cubicBezTo>
                    <a:pt x="2421" y="1597"/>
                    <a:pt x="2423" y="1589"/>
                    <a:pt x="2423" y="1589"/>
                  </a:cubicBezTo>
                  <a:cubicBezTo>
                    <a:pt x="2423" y="1589"/>
                    <a:pt x="2413" y="1589"/>
                    <a:pt x="2411" y="1583"/>
                  </a:cubicBezTo>
                  <a:close/>
                  <a:moveTo>
                    <a:pt x="2457" y="1696"/>
                  </a:moveTo>
                  <a:cubicBezTo>
                    <a:pt x="2466" y="1697"/>
                    <a:pt x="2470" y="1687"/>
                    <a:pt x="2470" y="1687"/>
                  </a:cubicBezTo>
                  <a:cubicBezTo>
                    <a:pt x="2463" y="1679"/>
                    <a:pt x="2463" y="1679"/>
                    <a:pt x="2463" y="1679"/>
                  </a:cubicBezTo>
                  <a:cubicBezTo>
                    <a:pt x="2463" y="1679"/>
                    <a:pt x="2449" y="1695"/>
                    <a:pt x="2457" y="1696"/>
                  </a:cubicBezTo>
                  <a:close/>
                  <a:moveTo>
                    <a:pt x="2411" y="1583"/>
                  </a:moveTo>
                  <a:cubicBezTo>
                    <a:pt x="2411" y="1582"/>
                    <a:pt x="2411" y="1581"/>
                    <a:pt x="2411" y="1581"/>
                  </a:cubicBezTo>
                  <a:cubicBezTo>
                    <a:pt x="2411" y="1582"/>
                    <a:pt x="2411" y="1583"/>
                    <a:pt x="2411" y="1583"/>
                  </a:cubicBezTo>
                  <a:close/>
                  <a:moveTo>
                    <a:pt x="2447" y="1732"/>
                  </a:moveTo>
                  <a:cubicBezTo>
                    <a:pt x="2447" y="1732"/>
                    <a:pt x="2437" y="1717"/>
                    <a:pt x="2437" y="1719"/>
                  </a:cubicBezTo>
                  <a:cubicBezTo>
                    <a:pt x="2439" y="1731"/>
                    <a:pt x="2429" y="1746"/>
                    <a:pt x="2429" y="1746"/>
                  </a:cubicBezTo>
                  <a:lnTo>
                    <a:pt x="2447" y="1732"/>
                  </a:lnTo>
                  <a:close/>
                  <a:moveTo>
                    <a:pt x="2335" y="1623"/>
                  </a:moveTo>
                  <a:cubicBezTo>
                    <a:pt x="2347" y="1636"/>
                    <a:pt x="2339" y="1661"/>
                    <a:pt x="2381" y="1661"/>
                  </a:cubicBezTo>
                  <a:cubicBezTo>
                    <a:pt x="2389" y="1669"/>
                    <a:pt x="2385" y="1671"/>
                    <a:pt x="2387" y="1670"/>
                  </a:cubicBezTo>
                  <a:cubicBezTo>
                    <a:pt x="2389" y="1669"/>
                    <a:pt x="2394" y="1663"/>
                    <a:pt x="2394" y="1663"/>
                  </a:cubicBezTo>
                  <a:cubicBezTo>
                    <a:pt x="2425" y="1665"/>
                    <a:pt x="2425" y="1665"/>
                    <a:pt x="2425" y="1665"/>
                  </a:cubicBezTo>
                  <a:cubicBezTo>
                    <a:pt x="2433" y="1653"/>
                    <a:pt x="2433" y="1653"/>
                    <a:pt x="2433" y="1653"/>
                  </a:cubicBezTo>
                  <a:cubicBezTo>
                    <a:pt x="2422" y="1641"/>
                    <a:pt x="2422" y="1641"/>
                    <a:pt x="2422" y="1641"/>
                  </a:cubicBezTo>
                  <a:cubicBezTo>
                    <a:pt x="2413" y="1647"/>
                    <a:pt x="2413" y="1647"/>
                    <a:pt x="2413" y="1647"/>
                  </a:cubicBezTo>
                  <a:cubicBezTo>
                    <a:pt x="2403" y="1645"/>
                    <a:pt x="2403" y="1645"/>
                    <a:pt x="2403" y="1645"/>
                  </a:cubicBezTo>
                  <a:cubicBezTo>
                    <a:pt x="2417" y="1625"/>
                    <a:pt x="2417" y="1625"/>
                    <a:pt x="2417" y="1625"/>
                  </a:cubicBezTo>
                  <a:cubicBezTo>
                    <a:pt x="2417" y="1625"/>
                    <a:pt x="2426" y="1637"/>
                    <a:pt x="2428" y="1637"/>
                  </a:cubicBezTo>
                  <a:cubicBezTo>
                    <a:pt x="2430" y="1637"/>
                    <a:pt x="2455" y="1639"/>
                    <a:pt x="2455" y="1639"/>
                  </a:cubicBezTo>
                  <a:cubicBezTo>
                    <a:pt x="2455" y="1639"/>
                    <a:pt x="2438" y="1627"/>
                    <a:pt x="2447" y="1624"/>
                  </a:cubicBezTo>
                  <a:cubicBezTo>
                    <a:pt x="2455" y="1621"/>
                    <a:pt x="2463" y="1619"/>
                    <a:pt x="2463" y="1619"/>
                  </a:cubicBezTo>
                  <a:cubicBezTo>
                    <a:pt x="2463" y="1619"/>
                    <a:pt x="2460" y="1609"/>
                    <a:pt x="2458" y="1609"/>
                  </a:cubicBezTo>
                  <a:cubicBezTo>
                    <a:pt x="2456" y="1609"/>
                    <a:pt x="2438" y="1620"/>
                    <a:pt x="2431" y="1619"/>
                  </a:cubicBezTo>
                  <a:cubicBezTo>
                    <a:pt x="2425" y="1619"/>
                    <a:pt x="2413" y="1607"/>
                    <a:pt x="2413" y="1607"/>
                  </a:cubicBezTo>
                  <a:cubicBezTo>
                    <a:pt x="2410" y="1622"/>
                    <a:pt x="2410" y="1622"/>
                    <a:pt x="2410" y="1622"/>
                  </a:cubicBezTo>
                  <a:cubicBezTo>
                    <a:pt x="2395" y="1597"/>
                    <a:pt x="2395" y="1597"/>
                    <a:pt x="2395" y="1597"/>
                  </a:cubicBezTo>
                  <a:cubicBezTo>
                    <a:pt x="2398" y="1590"/>
                    <a:pt x="2398" y="1590"/>
                    <a:pt x="2398" y="1590"/>
                  </a:cubicBezTo>
                  <a:cubicBezTo>
                    <a:pt x="2398" y="1590"/>
                    <a:pt x="2357" y="1571"/>
                    <a:pt x="2357" y="1566"/>
                  </a:cubicBezTo>
                  <a:cubicBezTo>
                    <a:pt x="2357" y="1561"/>
                    <a:pt x="2361" y="1559"/>
                    <a:pt x="2361" y="1559"/>
                  </a:cubicBezTo>
                  <a:cubicBezTo>
                    <a:pt x="2361" y="1559"/>
                    <a:pt x="2373" y="1565"/>
                    <a:pt x="2373" y="1561"/>
                  </a:cubicBezTo>
                  <a:cubicBezTo>
                    <a:pt x="2372" y="1556"/>
                    <a:pt x="2372" y="1551"/>
                    <a:pt x="2372" y="1551"/>
                  </a:cubicBezTo>
                  <a:cubicBezTo>
                    <a:pt x="2361" y="1547"/>
                    <a:pt x="2361" y="1547"/>
                    <a:pt x="2361" y="1547"/>
                  </a:cubicBezTo>
                  <a:cubicBezTo>
                    <a:pt x="2361" y="1531"/>
                    <a:pt x="2361" y="1531"/>
                    <a:pt x="2361" y="1531"/>
                  </a:cubicBezTo>
                  <a:cubicBezTo>
                    <a:pt x="2371" y="1535"/>
                    <a:pt x="2371" y="1535"/>
                    <a:pt x="2371" y="1535"/>
                  </a:cubicBezTo>
                  <a:cubicBezTo>
                    <a:pt x="2380" y="1522"/>
                    <a:pt x="2380" y="1522"/>
                    <a:pt x="2380" y="1522"/>
                  </a:cubicBezTo>
                  <a:cubicBezTo>
                    <a:pt x="2387" y="1532"/>
                    <a:pt x="2387" y="1532"/>
                    <a:pt x="2387" y="1532"/>
                  </a:cubicBezTo>
                  <a:cubicBezTo>
                    <a:pt x="2387" y="1532"/>
                    <a:pt x="2385" y="1571"/>
                    <a:pt x="2411" y="1570"/>
                  </a:cubicBezTo>
                  <a:cubicBezTo>
                    <a:pt x="2421" y="1559"/>
                    <a:pt x="2423" y="1563"/>
                    <a:pt x="2423" y="1563"/>
                  </a:cubicBezTo>
                  <a:cubicBezTo>
                    <a:pt x="2431" y="1568"/>
                    <a:pt x="2431" y="1568"/>
                    <a:pt x="2431" y="1568"/>
                  </a:cubicBezTo>
                  <a:cubicBezTo>
                    <a:pt x="2441" y="1557"/>
                    <a:pt x="2441" y="1557"/>
                    <a:pt x="2441" y="1557"/>
                  </a:cubicBezTo>
                  <a:cubicBezTo>
                    <a:pt x="2441" y="1557"/>
                    <a:pt x="2467" y="1547"/>
                    <a:pt x="2485" y="1551"/>
                  </a:cubicBezTo>
                  <a:cubicBezTo>
                    <a:pt x="2495" y="1537"/>
                    <a:pt x="2495" y="1536"/>
                    <a:pt x="2499" y="1536"/>
                  </a:cubicBezTo>
                  <a:cubicBezTo>
                    <a:pt x="2503" y="1536"/>
                    <a:pt x="2499" y="1549"/>
                    <a:pt x="2499" y="1549"/>
                  </a:cubicBezTo>
                  <a:cubicBezTo>
                    <a:pt x="2499" y="1549"/>
                    <a:pt x="2521" y="1578"/>
                    <a:pt x="2519" y="1591"/>
                  </a:cubicBezTo>
                  <a:cubicBezTo>
                    <a:pt x="2526" y="1585"/>
                    <a:pt x="2531" y="1582"/>
                    <a:pt x="2531" y="1582"/>
                  </a:cubicBezTo>
                  <a:cubicBezTo>
                    <a:pt x="2535" y="1589"/>
                    <a:pt x="2535" y="1589"/>
                    <a:pt x="2535" y="1589"/>
                  </a:cubicBezTo>
                  <a:cubicBezTo>
                    <a:pt x="2526" y="1612"/>
                    <a:pt x="2526" y="1612"/>
                    <a:pt x="2526" y="1612"/>
                  </a:cubicBezTo>
                  <a:cubicBezTo>
                    <a:pt x="2517" y="1601"/>
                    <a:pt x="2517" y="1601"/>
                    <a:pt x="2517" y="1601"/>
                  </a:cubicBezTo>
                  <a:cubicBezTo>
                    <a:pt x="2506" y="1609"/>
                    <a:pt x="2506" y="1609"/>
                    <a:pt x="2506" y="1609"/>
                  </a:cubicBezTo>
                  <a:cubicBezTo>
                    <a:pt x="2503" y="1603"/>
                    <a:pt x="2503" y="1603"/>
                    <a:pt x="2503" y="1603"/>
                  </a:cubicBezTo>
                  <a:cubicBezTo>
                    <a:pt x="2503" y="1603"/>
                    <a:pt x="2492" y="1612"/>
                    <a:pt x="2494" y="1612"/>
                  </a:cubicBezTo>
                  <a:cubicBezTo>
                    <a:pt x="2496" y="1612"/>
                    <a:pt x="2509" y="1615"/>
                    <a:pt x="2509" y="1615"/>
                  </a:cubicBezTo>
                  <a:cubicBezTo>
                    <a:pt x="2493" y="1626"/>
                    <a:pt x="2493" y="1626"/>
                    <a:pt x="2493" y="1626"/>
                  </a:cubicBezTo>
                  <a:cubicBezTo>
                    <a:pt x="2485" y="1623"/>
                    <a:pt x="2485" y="1623"/>
                    <a:pt x="2485" y="1623"/>
                  </a:cubicBezTo>
                  <a:cubicBezTo>
                    <a:pt x="2471" y="1631"/>
                    <a:pt x="2471" y="1631"/>
                    <a:pt x="2471" y="1631"/>
                  </a:cubicBezTo>
                  <a:cubicBezTo>
                    <a:pt x="2489" y="1654"/>
                    <a:pt x="2489" y="1654"/>
                    <a:pt x="2489" y="1654"/>
                  </a:cubicBezTo>
                  <a:cubicBezTo>
                    <a:pt x="2489" y="1654"/>
                    <a:pt x="2499" y="1662"/>
                    <a:pt x="2492" y="1681"/>
                  </a:cubicBezTo>
                  <a:cubicBezTo>
                    <a:pt x="2506" y="1691"/>
                    <a:pt x="2501" y="1704"/>
                    <a:pt x="2505" y="1703"/>
                  </a:cubicBezTo>
                  <a:cubicBezTo>
                    <a:pt x="2510" y="1703"/>
                    <a:pt x="2534" y="1694"/>
                    <a:pt x="2530" y="1686"/>
                  </a:cubicBezTo>
                  <a:cubicBezTo>
                    <a:pt x="2526" y="1678"/>
                    <a:pt x="2521" y="1676"/>
                    <a:pt x="2521" y="1674"/>
                  </a:cubicBezTo>
                  <a:cubicBezTo>
                    <a:pt x="2521" y="1672"/>
                    <a:pt x="2521" y="1642"/>
                    <a:pt x="2541" y="1641"/>
                  </a:cubicBezTo>
                  <a:cubicBezTo>
                    <a:pt x="2537" y="1629"/>
                    <a:pt x="2533" y="1629"/>
                    <a:pt x="2537" y="1625"/>
                  </a:cubicBezTo>
                  <a:cubicBezTo>
                    <a:pt x="2541" y="1621"/>
                    <a:pt x="2556" y="1616"/>
                    <a:pt x="2556" y="1616"/>
                  </a:cubicBezTo>
                  <a:cubicBezTo>
                    <a:pt x="2535" y="1611"/>
                    <a:pt x="2535" y="1611"/>
                    <a:pt x="2535" y="1611"/>
                  </a:cubicBezTo>
                  <a:cubicBezTo>
                    <a:pt x="2538" y="1601"/>
                    <a:pt x="2538" y="1601"/>
                    <a:pt x="2538" y="1601"/>
                  </a:cubicBezTo>
                  <a:cubicBezTo>
                    <a:pt x="2538" y="1593"/>
                    <a:pt x="2538" y="1593"/>
                    <a:pt x="2538" y="1593"/>
                  </a:cubicBezTo>
                  <a:cubicBezTo>
                    <a:pt x="2545" y="1581"/>
                    <a:pt x="2545" y="1581"/>
                    <a:pt x="2545" y="1581"/>
                  </a:cubicBezTo>
                  <a:cubicBezTo>
                    <a:pt x="2545" y="1581"/>
                    <a:pt x="2559" y="1604"/>
                    <a:pt x="2561" y="1602"/>
                  </a:cubicBezTo>
                  <a:cubicBezTo>
                    <a:pt x="2563" y="1600"/>
                    <a:pt x="2581" y="1571"/>
                    <a:pt x="2581" y="1571"/>
                  </a:cubicBezTo>
                  <a:cubicBezTo>
                    <a:pt x="2581" y="1571"/>
                    <a:pt x="2608" y="1563"/>
                    <a:pt x="2609" y="1569"/>
                  </a:cubicBezTo>
                  <a:cubicBezTo>
                    <a:pt x="2609" y="1574"/>
                    <a:pt x="2619" y="1539"/>
                    <a:pt x="2619" y="1539"/>
                  </a:cubicBezTo>
                  <a:cubicBezTo>
                    <a:pt x="2611" y="1530"/>
                    <a:pt x="2611" y="1530"/>
                    <a:pt x="2611" y="1530"/>
                  </a:cubicBezTo>
                  <a:cubicBezTo>
                    <a:pt x="2573" y="1543"/>
                    <a:pt x="2573" y="1543"/>
                    <a:pt x="2573" y="1543"/>
                  </a:cubicBezTo>
                  <a:cubicBezTo>
                    <a:pt x="2573" y="1543"/>
                    <a:pt x="2590" y="1568"/>
                    <a:pt x="2581" y="1566"/>
                  </a:cubicBezTo>
                  <a:cubicBezTo>
                    <a:pt x="2573" y="1564"/>
                    <a:pt x="2553" y="1555"/>
                    <a:pt x="2558" y="1546"/>
                  </a:cubicBezTo>
                  <a:cubicBezTo>
                    <a:pt x="2563" y="1537"/>
                    <a:pt x="2578" y="1531"/>
                    <a:pt x="2578" y="1531"/>
                  </a:cubicBezTo>
                  <a:cubicBezTo>
                    <a:pt x="2578" y="1531"/>
                    <a:pt x="2581" y="1513"/>
                    <a:pt x="2576" y="1512"/>
                  </a:cubicBezTo>
                  <a:cubicBezTo>
                    <a:pt x="2571" y="1511"/>
                    <a:pt x="2571" y="1522"/>
                    <a:pt x="2563" y="1523"/>
                  </a:cubicBezTo>
                  <a:cubicBezTo>
                    <a:pt x="2554" y="1523"/>
                    <a:pt x="2553" y="1516"/>
                    <a:pt x="2553" y="1516"/>
                  </a:cubicBezTo>
                  <a:cubicBezTo>
                    <a:pt x="2553" y="1516"/>
                    <a:pt x="2545" y="1540"/>
                    <a:pt x="2533" y="1536"/>
                  </a:cubicBezTo>
                  <a:cubicBezTo>
                    <a:pt x="2521" y="1532"/>
                    <a:pt x="2517" y="1523"/>
                    <a:pt x="2523" y="1523"/>
                  </a:cubicBezTo>
                  <a:cubicBezTo>
                    <a:pt x="2529" y="1523"/>
                    <a:pt x="2538" y="1519"/>
                    <a:pt x="2538" y="1519"/>
                  </a:cubicBezTo>
                  <a:cubicBezTo>
                    <a:pt x="2528" y="1511"/>
                    <a:pt x="2528" y="1511"/>
                    <a:pt x="2528" y="1511"/>
                  </a:cubicBezTo>
                  <a:cubicBezTo>
                    <a:pt x="2528" y="1511"/>
                    <a:pt x="2535" y="1503"/>
                    <a:pt x="2529" y="1499"/>
                  </a:cubicBezTo>
                  <a:cubicBezTo>
                    <a:pt x="2523" y="1496"/>
                    <a:pt x="2519" y="1501"/>
                    <a:pt x="2519" y="1501"/>
                  </a:cubicBezTo>
                  <a:cubicBezTo>
                    <a:pt x="2515" y="1495"/>
                    <a:pt x="2515" y="1495"/>
                    <a:pt x="2515" y="1495"/>
                  </a:cubicBezTo>
                  <a:cubicBezTo>
                    <a:pt x="2515" y="1495"/>
                    <a:pt x="2518" y="1512"/>
                    <a:pt x="2509" y="1511"/>
                  </a:cubicBezTo>
                  <a:cubicBezTo>
                    <a:pt x="2499" y="1511"/>
                    <a:pt x="2487" y="1497"/>
                    <a:pt x="2487" y="1497"/>
                  </a:cubicBezTo>
                  <a:cubicBezTo>
                    <a:pt x="2479" y="1501"/>
                    <a:pt x="2479" y="1501"/>
                    <a:pt x="2479" y="1501"/>
                  </a:cubicBezTo>
                  <a:cubicBezTo>
                    <a:pt x="2475" y="1496"/>
                    <a:pt x="2475" y="1496"/>
                    <a:pt x="2475" y="1496"/>
                  </a:cubicBezTo>
                  <a:cubicBezTo>
                    <a:pt x="2475" y="1496"/>
                    <a:pt x="2467" y="1509"/>
                    <a:pt x="2465" y="1509"/>
                  </a:cubicBezTo>
                  <a:cubicBezTo>
                    <a:pt x="2463" y="1509"/>
                    <a:pt x="2439" y="1500"/>
                    <a:pt x="2449" y="1495"/>
                  </a:cubicBezTo>
                  <a:cubicBezTo>
                    <a:pt x="2458" y="1491"/>
                    <a:pt x="2461" y="1493"/>
                    <a:pt x="2461" y="1493"/>
                  </a:cubicBezTo>
                  <a:cubicBezTo>
                    <a:pt x="2461" y="1493"/>
                    <a:pt x="2460" y="1475"/>
                    <a:pt x="2469" y="1475"/>
                  </a:cubicBezTo>
                  <a:cubicBezTo>
                    <a:pt x="2477" y="1475"/>
                    <a:pt x="2474" y="1486"/>
                    <a:pt x="2478" y="1483"/>
                  </a:cubicBezTo>
                  <a:cubicBezTo>
                    <a:pt x="2482" y="1479"/>
                    <a:pt x="2491" y="1468"/>
                    <a:pt x="2491" y="1468"/>
                  </a:cubicBezTo>
                  <a:cubicBezTo>
                    <a:pt x="2491" y="1468"/>
                    <a:pt x="2481" y="1445"/>
                    <a:pt x="2471" y="1445"/>
                  </a:cubicBezTo>
                  <a:cubicBezTo>
                    <a:pt x="2462" y="1445"/>
                    <a:pt x="2469" y="1429"/>
                    <a:pt x="2469" y="1429"/>
                  </a:cubicBezTo>
                  <a:cubicBezTo>
                    <a:pt x="2469" y="1429"/>
                    <a:pt x="2452" y="1419"/>
                    <a:pt x="2443" y="1419"/>
                  </a:cubicBezTo>
                  <a:cubicBezTo>
                    <a:pt x="2435" y="1420"/>
                    <a:pt x="2402" y="1395"/>
                    <a:pt x="2402" y="1395"/>
                  </a:cubicBezTo>
                  <a:cubicBezTo>
                    <a:pt x="2402" y="1395"/>
                    <a:pt x="2369" y="1398"/>
                    <a:pt x="2368" y="1403"/>
                  </a:cubicBezTo>
                  <a:cubicBezTo>
                    <a:pt x="2354" y="1404"/>
                    <a:pt x="2349" y="1403"/>
                    <a:pt x="2349" y="1403"/>
                  </a:cubicBezTo>
                  <a:cubicBezTo>
                    <a:pt x="2349" y="1403"/>
                    <a:pt x="2351" y="1422"/>
                    <a:pt x="2333" y="1427"/>
                  </a:cubicBezTo>
                  <a:cubicBezTo>
                    <a:pt x="2335" y="1442"/>
                    <a:pt x="2338" y="1461"/>
                    <a:pt x="2338" y="1461"/>
                  </a:cubicBezTo>
                  <a:cubicBezTo>
                    <a:pt x="2332" y="1464"/>
                    <a:pt x="2332" y="1464"/>
                    <a:pt x="2332" y="1464"/>
                  </a:cubicBezTo>
                  <a:cubicBezTo>
                    <a:pt x="2333" y="1478"/>
                    <a:pt x="2333" y="1478"/>
                    <a:pt x="2333" y="1478"/>
                  </a:cubicBezTo>
                  <a:cubicBezTo>
                    <a:pt x="2333" y="1478"/>
                    <a:pt x="2313" y="1533"/>
                    <a:pt x="2351" y="1540"/>
                  </a:cubicBezTo>
                  <a:cubicBezTo>
                    <a:pt x="2352" y="1550"/>
                    <a:pt x="2352" y="1560"/>
                    <a:pt x="2352" y="1560"/>
                  </a:cubicBezTo>
                  <a:cubicBezTo>
                    <a:pt x="2341" y="1545"/>
                    <a:pt x="2341" y="1545"/>
                    <a:pt x="2341" y="1545"/>
                  </a:cubicBezTo>
                  <a:cubicBezTo>
                    <a:pt x="2341" y="1545"/>
                    <a:pt x="2305" y="1553"/>
                    <a:pt x="2299" y="1594"/>
                  </a:cubicBezTo>
                  <a:cubicBezTo>
                    <a:pt x="2321" y="1597"/>
                    <a:pt x="2321" y="1597"/>
                    <a:pt x="2321" y="1597"/>
                  </a:cubicBezTo>
                  <a:cubicBezTo>
                    <a:pt x="2321" y="1597"/>
                    <a:pt x="2324" y="1621"/>
                    <a:pt x="2335" y="1623"/>
                  </a:cubicBezTo>
                  <a:close/>
                  <a:moveTo>
                    <a:pt x="2397" y="1645"/>
                  </a:moveTo>
                  <a:cubicBezTo>
                    <a:pt x="2403" y="1649"/>
                    <a:pt x="2384" y="1655"/>
                    <a:pt x="2384" y="1655"/>
                  </a:cubicBezTo>
                  <a:cubicBezTo>
                    <a:pt x="2382" y="1653"/>
                    <a:pt x="2392" y="1641"/>
                    <a:pt x="2397" y="1645"/>
                  </a:cubicBezTo>
                  <a:close/>
                  <a:moveTo>
                    <a:pt x="2490" y="1641"/>
                  </a:moveTo>
                  <a:cubicBezTo>
                    <a:pt x="2487" y="1645"/>
                    <a:pt x="2484" y="1633"/>
                    <a:pt x="2484" y="1633"/>
                  </a:cubicBezTo>
                  <a:cubicBezTo>
                    <a:pt x="2485" y="1628"/>
                    <a:pt x="2493" y="1638"/>
                    <a:pt x="2490" y="1641"/>
                  </a:cubicBezTo>
                  <a:close/>
                  <a:moveTo>
                    <a:pt x="2727" y="1266"/>
                  </a:moveTo>
                  <a:cubicBezTo>
                    <a:pt x="2732" y="1267"/>
                    <a:pt x="2735" y="1273"/>
                    <a:pt x="2735" y="1273"/>
                  </a:cubicBezTo>
                  <a:cubicBezTo>
                    <a:pt x="2735" y="1273"/>
                    <a:pt x="2745" y="1271"/>
                    <a:pt x="2752" y="1264"/>
                  </a:cubicBezTo>
                  <a:cubicBezTo>
                    <a:pt x="2733" y="1263"/>
                    <a:pt x="2746" y="1248"/>
                    <a:pt x="2746" y="1248"/>
                  </a:cubicBezTo>
                  <a:cubicBezTo>
                    <a:pt x="2759" y="1247"/>
                    <a:pt x="2759" y="1247"/>
                    <a:pt x="2759" y="1247"/>
                  </a:cubicBezTo>
                  <a:cubicBezTo>
                    <a:pt x="2761" y="1237"/>
                    <a:pt x="2761" y="1237"/>
                    <a:pt x="2761" y="1237"/>
                  </a:cubicBezTo>
                  <a:cubicBezTo>
                    <a:pt x="2736" y="1238"/>
                    <a:pt x="2736" y="1238"/>
                    <a:pt x="2736" y="1238"/>
                  </a:cubicBezTo>
                  <a:cubicBezTo>
                    <a:pt x="2736" y="1249"/>
                    <a:pt x="2721" y="1265"/>
                    <a:pt x="2727" y="1266"/>
                  </a:cubicBezTo>
                  <a:close/>
                  <a:moveTo>
                    <a:pt x="2623" y="1369"/>
                  </a:moveTo>
                  <a:cubicBezTo>
                    <a:pt x="2629" y="1376"/>
                    <a:pt x="2629" y="1376"/>
                    <a:pt x="2629" y="1376"/>
                  </a:cubicBezTo>
                  <a:cubicBezTo>
                    <a:pt x="2649" y="1345"/>
                    <a:pt x="2649" y="1345"/>
                    <a:pt x="2649" y="1345"/>
                  </a:cubicBezTo>
                  <a:cubicBezTo>
                    <a:pt x="2659" y="1349"/>
                    <a:pt x="2659" y="1349"/>
                    <a:pt x="2659" y="1349"/>
                  </a:cubicBezTo>
                  <a:cubicBezTo>
                    <a:pt x="2665" y="1347"/>
                    <a:pt x="2665" y="1347"/>
                    <a:pt x="2665" y="1347"/>
                  </a:cubicBezTo>
                  <a:cubicBezTo>
                    <a:pt x="2671" y="1360"/>
                    <a:pt x="2671" y="1360"/>
                    <a:pt x="2671" y="1360"/>
                  </a:cubicBezTo>
                  <a:cubicBezTo>
                    <a:pt x="2671" y="1360"/>
                    <a:pt x="2675" y="1348"/>
                    <a:pt x="2677" y="1348"/>
                  </a:cubicBezTo>
                  <a:cubicBezTo>
                    <a:pt x="2679" y="1348"/>
                    <a:pt x="2691" y="1345"/>
                    <a:pt x="2691" y="1345"/>
                  </a:cubicBezTo>
                  <a:cubicBezTo>
                    <a:pt x="2691" y="1345"/>
                    <a:pt x="2699" y="1359"/>
                    <a:pt x="2701" y="1359"/>
                  </a:cubicBezTo>
                  <a:cubicBezTo>
                    <a:pt x="2703" y="1359"/>
                    <a:pt x="2705" y="1351"/>
                    <a:pt x="2705" y="1351"/>
                  </a:cubicBezTo>
                  <a:cubicBezTo>
                    <a:pt x="2694" y="1343"/>
                    <a:pt x="2694" y="1343"/>
                    <a:pt x="2694" y="1343"/>
                  </a:cubicBezTo>
                  <a:cubicBezTo>
                    <a:pt x="2711" y="1327"/>
                    <a:pt x="2711" y="1327"/>
                    <a:pt x="2711" y="1327"/>
                  </a:cubicBezTo>
                  <a:cubicBezTo>
                    <a:pt x="2711" y="1327"/>
                    <a:pt x="2712" y="1319"/>
                    <a:pt x="2722" y="1318"/>
                  </a:cubicBezTo>
                  <a:cubicBezTo>
                    <a:pt x="2732" y="1317"/>
                    <a:pt x="2735" y="1323"/>
                    <a:pt x="2735" y="1323"/>
                  </a:cubicBezTo>
                  <a:cubicBezTo>
                    <a:pt x="2751" y="1319"/>
                    <a:pt x="2751" y="1319"/>
                    <a:pt x="2751" y="1319"/>
                  </a:cubicBezTo>
                  <a:cubicBezTo>
                    <a:pt x="2740" y="1304"/>
                    <a:pt x="2740" y="1304"/>
                    <a:pt x="2740" y="1304"/>
                  </a:cubicBezTo>
                  <a:cubicBezTo>
                    <a:pt x="2740" y="1304"/>
                    <a:pt x="2739" y="1295"/>
                    <a:pt x="2736" y="1292"/>
                  </a:cubicBezTo>
                  <a:cubicBezTo>
                    <a:pt x="2733" y="1289"/>
                    <a:pt x="2737" y="1297"/>
                    <a:pt x="2725" y="1305"/>
                  </a:cubicBezTo>
                  <a:cubicBezTo>
                    <a:pt x="2707" y="1305"/>
                    <a:pt x="2687" y="1323"/>
                    <a:pt x="2687" y="1323"/>
                  </a:cubicBezTo>
                  <a:cubicBezTo>
                    <a:pt x="2687" y="1323"/>
                    <a:pt x="2687" y="1323"/>
                    <a:pt x="2680" y="1319"/>
                  </a:cubicBezTo>
                  <a:cubicBezTo>
                    <a:pt x="2673" y="1314"/>
                    <a:pt x="2692" y="1297"/>
                    <a:pt x="2692" y="1297"/>
                  </a:cubicBezTo>
                  <a:cubicBezTo>
                    <a:pt x="2655" y="1307"/>
                    <a:pt x="2655" y="1307"/>
                    <a:pt x="2655" y="1307"/>
                  </a:cubicBezTo>
                  <a:cubicBezTo>
                    <a:pt x="2659" y="1319"/>
                    <a:pt x="2659" y="1319"/>
                    <a:pt x="2659" y="1319"/>
                  </a:cubicBezTo>
                  <a:cubicBezTo>
                    <a:pt x="2659" y="1319"/>
                    <a:pt x="2615" y="1353"/>
                    <a:pt x="2613" y="1364"/>
                  </a:cubicBezTo>
                  <a:cubicBezTo>
                    <a:pt x="2612" y="1375"/>
                    <a:pt x="2622" y="1385"/>
                    <a:pt x="2622" y="1385"/>
                  </a:cubicBezTo>
                  <a:lnTo>
                    <a:pt x="2623" y="1369"/>
                  </a:lnTo>
                  <a:close/>
                  <a:moveTo>
                    <a:pt x="680" y="2164"/>
                  </a:moveTo>
                  <a:cubicBezTo>
                    <a:pt x="680" y="2167"/>
                    <a:pt x="685" y="2183"/>
                    <a:pt x="720" y="2202"/>
                  </a:cubicBezTo>
                  <a:cubicBezTo>
                    <a:pt x="769" y="2203"/>
                    <a:pt x="797" y="2236"/>
                    <a:pt x="795" y="2243"/>
                  </a:cubicBezTo>
                  <a:cubicBezTo>
                    <a:pt x="794" y="2251"/>
                    <a:pt x="784" y="2234"/>
                    <a:pt x="773" y="2231"/>
                  </a:cubicBezTo>
                  <a:cubicBezTo>
                    <a:pt x="763" y="2229"/>
                    <a:pt x="751" y="2244"/>
                    <a:pt x="749" y="2251"/>
                  </a:cubicBezTo>
                  <a:cubicBezTo>
                    <a:pt x="746" y="2257"/>
                    <a:pt x="760" y="2257"/>
                    <a:pt x="760" y="2257"/>
                  </a:cubicBezTo>
                  <a:cubicBezTo>
                    <a:pt x="757" y="2266"/>
                    <a:pt x="757" y="2266"/>
                    <a:pt x="757" y="2266"/>
                  </a:cubicBezTo>
                  <a:cubicBezTo>
                    <a:pt x="734" y="2264"/>
                    <a:pt x="734" y="2264"/>
                    <a:pt x="734" y="2264"/>
                  </a:cubicBezTo>
                  <a:cubicBezTo>
                    <a:pt x="734" y="2264"/>
                    <a:pt x="717" y="2296"/>
                    <a:pt x="705" y="2296"/>
                  </a:cubicBezTo>
                  <a:cubicBezTo>
                    <a:pt x="693" y="2296"/>
                    <a:pt x="697" y="2285"/>
                    <a:pt x="690" y="2281"/>
                  </a:cubicBezTo>
                  <a:cubicBezTo>
                    <a:pt x="683" y="2277"/>
                    <a:pt x="672" y="2289"/>
                    <a:pt x="672" y="2289"/>
                  </a:cubicBezTo>
                  <a:cubicBezTo>
                    <a:pt x="742" y="2365"/>
                    <a:pt x="742" y="2365"/>
                    <a:pt x="742" y="2365"/>
                  </a:cubicBezTo>
                  <a:cubicBezTo>
                    <a:pt x="775" y="2337"/>
                    <a:pt x="775" y="2337"/>
                    <a:pt x="775" y="2337"/>
                  </a:cubicBezTo>
                  <a:cubicBezTo>
                    <a:pt x="775" y="2337"/>
                    <a:pt x="777" y="2341"/>
                    <a:pt x="780" y="2343"/>
                  </a:cubicBezTo>
                  <a:cubicBezTo>
                    <a:pt x="783" y="2345"/>
                    <a:pt x="789" y="2333"/>
                    <a:pt x="789" y="2333"/>
                  </a:cubicBezTo>
                  <a:cubicBezTo>
                    <a:pt x="780" y="2324"/>
                    <a:pt x="780" y="2324"/>
                    <a:pt x="780" y="2324"/>
                  </a:cubicBezTo>
                  <a:cubicBezTo>
                    <a:pt x="800" y="2309"/>
                    <a:pt x="800" y="2309"/>
                    <a:pt x="800" y="2309"/>
                  </a:cubicBezTo>
                  <a:cubicBezTo>
                    <a:pt x="800" y="2309"/>
                    <a:pt x="813" y="2313"/>
                    <a:pt x="822" y="2313"/>
                  </a:cubicBezTo>
                  <a:cubicBezTo>
                    <a:pt x="831" y="2313"/>
                    <a:pt x="821" y="2299"/>
                    <a:pt x="821" y="2299"/>
                  </a:cubicBezTo>
                  <a:cubicBezTo>
                    <a:pt x="821" y="2299"/>
                    <a:pt x="835" y="2303"/>
                    <a:pt x="843" y="2302"/>
                  </a:cubicBezTo>
                  <a:cubicBezTo>
                    <a:pt x="850" y="2301"/>
                    <a:pt x="845" y="2288"/>
                    <a:pt x="845" y="2288"/>
                  </a:cubicBezTo>
                  <a:cubicBezTo>
                    <a:pt x="821" y="2261"/>
                    <a:pt x="821" y="2261"/>
                    <a:pt x="821" y="2261"/>
                  </a:cubicBezTo>
                  <a:cubicBezTo>
                    <a:pt x="829" y="2245"/>
                    <a:pt x="829" y="2245"/>
                    <a:pt x="829" y="2245"/>
                  </a:cubicBezTo>
                  <a:cubicBezTo>
                    <a:pt x="845" y="2256"/>
                    <a:pt x="845" y="2256"/>
                    <a:pt x="845" y="2256"/>
                  </a:cubicBezTo>
                  <a:cubicBezTo>
                    <a:pt x="861" y="2256"/>
                    <a:pt x="861" y="2256"/>
                    <a:pt x="861" y="2256"/>
                  </a:cubicBezTo>
                  <a:cubicBezTo>
                    <a:pt x="861" y="2256"/>
                    <a:pt x="864" y="2265"/>
                    <a:pt x="865" y="2277"/>
                  </a:cubicBezTo>
                  <a:cubicBezTo>
                    <a:pt x="867" y="2289"/>
                    <a:pt x="877" y="2285"/>
                    <a:pt x="887" y="2273"/>
                  </a:cubicBezTo>
                  <a:cubicBezTo>
                    <a:pt x="883" y="2259"/>
                    <a:pt x="865" y="2239"/>
                    <a:pt x="865" y="2239"/>
                  </a:cubicBezTo>
                  <a:cubicBezTo>
                    <a:pt x="877" y="2227"/>
                    <a:pt x="877" y="2227"/>
                    <a:pt x="877" y="2227"/>
                  </a:cubicBezTo>
                  <a:cubicBezTo>
                    <a:pt x="879" y="2233"/>
                    <a:pt x="879" y="2233"/>
                    <a:pt x="879" y="2233"/>
                  </a:cubicBezTo>
                  <a:cubicBezTo>
                    <a:pt x="899" y="2231"/>
                    <a:pt x="899" y="2231"/>
                    <a:pt x="899" y="2231"/>
                  </a:cubicBezTo>
                  <a:cubicBezTo>
                    <a:pt x="899" y="2213"/>
                    <a:pt x="899" y="2213"/>
                    <a:pt x="899" y="2213"/>
                  </a:cubicBezTo>
                  <a:cubicBezTo>
                    <a:pt x="915" y="2241"/>
                    <a:pt x="915" y="2241"/>
                    <a:pt x="915" y="2241"/>
                  </a:cubicBezTo>
                  <a:cubicBezTo>
                    <a:pt x="935" y="2222"/>
                    <a:pt x="935" y="2222"/>
                    <a:pt x="935" y="2222"/>
                  </a:cubicBezTo>
                  <a:cubicBezTo>
                    <a:pt x="942" y="2233"/>
                    <a:pt x="942" y="2233"/>
                    <a:pt x="942" y="2233"/>
                  </a:cubicBezTo>
                  <a:cubicBezTo>
                    <a:pt x="942" y="2233"/>
                    <a:pt x="958" y="2223"/>
                    <a:pt x="963" y="2223"/>
                  </a:cubicBezTo>
                  <a:cubicBezTo>
                    <a:pt x="967" y="2223"/>
                    <a:pt x="973" y="2181"/>
                    <a:pt x="973" y="2181"/>
                  </a:cubicBezTo>
                  <a:cubicBezTo>
                    <a:pt x="962" y="2177"/>
                    <a:pt x="962" y="2177"/>
                    <a:pt x="962" y="2177"/>
                  </a:cubicBezTo>
                  <a:cubicBezTo>
                    <a:pt x="962" y="2177"/>
                    <a:pt x="965" y="2164"/>
                    <a:pt x="969" y="2165"/>
                  </a:cubicBezTo>
                  <a:cubicBezTo>
                    <a:pt x="972" y="2167"/>
                    <a:pt x="973" y="2178"/>
                    <a:pt x="973" y="2178"/>
                  </a:cubicBezTo>
                  <a:cubicBezTo>
                    <a:pt x="989" y="2187"/>
                    <a:pt x="989" y="2187"/>
                    <a:pt x="989" y="2187"/>
                  </a:cubicBezTo>
                  <a:cubicBezTo>
                    <a:pt x="989" y="2173"/>
                    <a:pt x="989" y="2173"/>
                    <a:pt x="989" y="2173"/>
                  </a:cubicBezTo>
                  <a:cubicBezTo>
                    <a:pt x="989" y="2173"/>
                    <a:pt x="990" y="2178"/>
                    <a:pt x="998" y="2178"/>
                  </a:cubicBezTo>
                  <a:cubicBezTo>
                    <a:pt x="1006" y="2178"/>
                    <a:pt x="1015" y="2151"/>
                    <a:pt x="1016" y="2150"/>
                  </a:cubicBezTo>
                  <a:cubicBezTo>
                    <a:pt x="1016" y="2149"/>
                    <a:pt x="1015" y="2148"/>
                    <a:pt x="1009" y="2140"/>
                  </a:cubicBezTo>
                  <a:cubicBezTo>
                    <a:pt x="1009" y="2121"/>
                    <a:pt x="993" y="2099"/>
                    <a:pt x="990" y="2097"/>
                  </a:cubicBezTo>
                  <a:cubicBezTo>
                    <a:pt x="987" y="2095"/>
                    <a:pt x="973" y="2113"/>
                    <a:pt x="967" y="2107"/>
                  </a:cubicBezTo>
                  <a:cubicBezTo>
                    <a:pt x="962" y="2101"/>
                    <a:pt x="996" y="2084"/>
                    <a:pt x="996" y="2084"/>
                  </a:cubicBezTo>
                  <a:cubicBezTo>
                    <a:pt x="1006" y="2090"/>
                    <a:pt x="1006" y="2090"/>
                    <a:pt x="1006" y="2090"/>
                  </a:cubicBezTo>
                  <a:cubicBezTo>
                    <a:pt x="1006" y="2090"/>
                    <a:pt x="1019" y="2082"/>
                    <a:pt x="1011" y="2077"/>
                  </a:cubicBezTo>
                  <a:cubicBezTo>
                    <a:pt x="1003" y="2073"/>
                    <a:pt x="1008" y="2043"/>
                    <a:pt x="1008" y="2043"/>
                  </a:cubicBezTo>
                  <a:cubicBezTo>
                    <a:pt x="997" y="2030"/>
                    <a:pt x="997" y="2030"/>
                    <a:pt x="997" y="2030"/>
                  </a:cubicBezTo>
                  <a:cubicBezTo>
                    <a:pt x="1006" y="2030"/>
                    <a:pt x="1006" y="2030"/>
                    <a:pt x="1006" y="2030"/>
                  </a:cubicBezTo>
                  <a:cubicBezTo>
                    <a:pt x="1006" y="2030"/>
                    <a:pt x="1018" y="2049"/>
                    <a:pt x="1025" y="2045"/>
                  </a:cubicBezTo>
                  <a:cubicBezTo>
                    <a:pt x="1031" y="2041"/>
                    <a:pt x="1038" y="2029"/>
                    <a:pt x="1044" y="2037"/>
                  </a:cubicBezTo>
                  <a:cubicBezTo>
                    <a:pt x="1050" y="2046"/>
                    <a:pt x="1071" y="2052"/>
                    <a:pt x="1071" y="2052"/>
                  </a:cubicBezTo>
                  <a:cubicBezTo>
                    <a:pt x="1103" y="2027"/>
                    <a:pt x="1103" y="2027"/>
                    <a:pt x="1103" y="2027"/>
                  </a:cubicBezTo>
                  <a:cubicBezTo>
                    <a:pt x="1103" y="2027"/>
                    <a:pt x="1103" y="2011"/>
                    <a:pt x="1105" y="2009"/>
                  </a:cubicBezTo>
                  <a:cubicBezTo>
                    <a:pt x="1107" y="2006"/>
                    <a:pt x="1113" y="2008"/>
                    <a:pt x="1111" y="1993"/>
                  </a:cubicBezTo>
                  <a:cubicBezTo>
                    <a:pt x="1093" y="1993"/>
                    <a:pt x="1067" y="2024"/>
                    <a:pt x="1045" y="2029"/>
                  </a:cubicBezTo>
                  <a:cubicBezTo>
                    <a:pt x="1024" y="2035"/>
                    <a:pt x="1025" y="2010"/>
                    <a:pt x="1025" y="2010"/>
                  </a:cubicBezTo>
                  <a:cubicBezTo>
                    <a:pt x="1025" y="2010"/>
                    <a:pt x="1033" y="2007"/>
                    <a:pt x="1034" y="2003"/>
                  </a:cubicBezTo>
                  <a:cubicBezTo>
                    <a:pt x="1035" y="1999"/>
                    <a:pt x="1028" y="1989"/>
                    <a:pt x="1028" y="1987"/>
                  </a:cubicBezTo>
                  <a:cubicBezTo>
                    <a:pt x="1028" y="1985"/>
                    <a:pt x="1049" y="1986"/>
                    <a:pt x="1049" y="1986"/>
                  </a:cubicBezTo>
                  <a:cubicBezTo>
                    <a:pt x="1049" y="1986"/>
                    <a:pt x="1051" y="1972"/>
                    <a:pt x="1050" y="1969"/>
                  </a:cubicBezTo>
                  <a:cubicBezTo>
                    <a:pt x="1049" y="1967"/>
                    <a:pt x="1051" y="1972"/>
                    <a:pt x="1069" y="1967"/>
                  </a:cubicBezTo>
                  <a:cubicBezTo>
                    <a:pt x="1069" y="1947"/>
                    <a:pt x="1096" y="1939"/>
                    <a:pt x="1096" y="1939"/>
                  </a:cubicBezTo>
                  <a:cubicBezTo>
                    <a:pt x="1096" y="1939"/>
                    <a:pt x="1107" y="1934"/>
                    <a:pt x="1101" y="1926"/>
                  </a:cubicBezTo>
                  <a:cubicBezTo>
                    <a:pt x="1077" y="1927"/>
                    <a:pt x="1081" y="1908"/>
                    <a:pt x="1081" y="1908"/>
                  </a:cubicBezTo>
                  <a:cubicBezTo>
                    <a:pt x="1103" y="1869"/>
                    <a:pt x="1103" y="1869"/>
                    <a:pt x="1103" y="1869"/>
                  </a:cubicBezTo>
                  <a:cubicBezTo>
                    <a:pt x="1103" y="1869"/>
                    <a:pt x="1091" y="1862"/>
                    <a:pt x="1091" y="1855"/>
                  </a:cubicBezTo>
                  <a:cubicBezTo>
                    <a:pt x="1091" y="1849"/>
                    <a:pt x="1095" y="1843"/>
                    <a:pt x="1095" y="1843"/>
                  </a:cubicBezTo>
                  <a:cubicBezTo>
                    <a:pt x="1089" y="1835"/>
                    <a:pt x="1089" y="1835"/>
                    <a:pt x="1089" y="1835"/>
                  </a:cubicBezTo>
                  <a:cubicBezTo>
                    <a:pt x="1089" y="1835"/>
                    <a:pt x="1089" y="1835"/>
                    <a:pt x="1085" y="1835"/>
                  </a:cubicBezTo>
                  <a:cubicBezTo>
                    <a:pt x="1068" y="1807"/>
                    <a:pt x="1050" y="1811"/>
                    <a:pt x="1050" y="1811"/>
                  </a:cubicBezTo>
                  <a:cubicBezTo>
                    <a:pt x="1061" y="1823"/>
                    <a:pt x="1042" y="1833"/>
                    <a:pt x="1042" y="1833"/>
                  </a:cubicBezTo>
                  <a:cubicBezTo>
                    <a:pt x="1042" y="1833"/>
                    <a:pt x="1029" y="1835"/>
                    <a:pt x="1026" y="1835"/>
                  </a:cubicBezTo>
                  <a:cubicBezTo>
                    <a:pt x="1023" y="1835"/>
                    <a:pt x="1020" y="1844"/>
                    <a:pt x="1017" y="1848"/>
                  </a:cubicBezTo>
                  <a:cubicBezTo>
                    <a:pt x="1015" y="1852"/>
                    <a:pt x="969" y="1872"/>
                    <a:pt x="953" y="1887"/>
                  </a:cubicBezTo>
                  <a:cubicBezTo>
                    <a:pt x="939" y="1887"/>
                    <a:pt x="949" y="1895"/>
                    <a:pt x="936" y="1908"/>
                  </a:cubicBezTo>
                  <a:cubicBezTo>
                    <a:pt x="911" y="1909"/>
                    <a:pt x="921" y="1913"/>
                    <a:pt x="907" y="1921"/>
                  </a:cubicBezTo>
                  <a:cubicBezTo>
                    <a:pt x="888" y="1920"/>
                    <a:pt x="883" y="1922"/>
                    <a:pt x="871" y="1931"/>
                  </a:cubicBezTo>
                  <a:cubicBezTo>
                    <a:pt x="852" y="1935"/>
                    <a:pt x="845" y="1951"/>
                    <a:pt x="843" y="1953"/>
                  </a:cubicBezTo>
                  <a:cubicBezTo>
                    <a:pt x="841" y="1955"/>
                    <a:pt x="822" y="1955"/>
                    <a:pt x="822" y="1955"/>
                  </a:cubicBezTo>
                  <a:cubicBezTo>
                    <a:pt x="811" y="1970"/>
                    <a:pt x="811" y="1970"/>
                    <a:pt x="811" y="1970"/>
                  </a:cubicBezTo>
                  <a:cubicBezTo>
                    <a:pt x="811" y="1970"/>
                    <a:pt x="814" y="1973"/>
                    <a:pt x="818" y="1992"/>
                  </a:cubicBezTo>
                  <a:cubicBezTo>
                    <a:pt x="837" y="1999"/>
                    <a:pt x="839" y="2034"/>
                    <a:pt x="839" y="2034"/>
                  </a:cubicBezTo>
                  <a:cubicBezTo>
                    <a:pt x="839" y="2034"/>
                    <a:pt x="837" y="2041"/>
                    <a:pt x="829" y="2032"/>
                  </a:cubicBezTo>
                  <a:cubicBezTo>
                    <a:pt x="829" y="2021"/>
                    <a:pt x="823" y="2011"/>
                    <a:pt x="807" y="2003"/>
                  </a:cubicBezTo>
                  <a:cubicBezTo>
                    <a:pt x="806" y="1988"/>
                    <a:pt x="787" y="1975"/>
                    <a:pt x="787" y="1975"/>
                  </a:cubicBezTo>
                  <a:cubicBezTo>
                    <a:pt x="787" y="1975"/>
                    <a:pt x="779" y="1989"/>
                    <a:pt x="779" y="1991"/>
                  </a:cubicBezTo>
                  <a:cubicBezTo>
                    <a:pt x="779" y="1993"/>
                    <a:pt x="790" y="2010"/>
                    <a:pt x="790" y="2010"/>
                  </a:cubicBezTo>
                  <a:cubicBezTo>
                    <a:pt x="790" y="2010"/>
                    <a:pt x="781" y="2015"/>
                    <a:pt x="781" y="2019"/>
                  </a:cubicBezTo>
                  <a:cubicBezTo>
                    <a:pt x="782" y="2022"/>
                    <a:pt x="794" y="2024"/>
                    <a:pt x="796" y="2031"/>
                  </a:cubicBezTo>
                  <a:cubicBezTo>
                    <a:pt x="798" y="2037"/>
                    <a:pt x="797" y="2045"/>
                    <a:pt x="787" y="2045"/>
                  </a:cubicBezTo>
                  <a:cubicBezTo>
                    <a:pt x="776" y="2045"/>
                    <a:pt x="768" y="2025"/>
                    <a:pt x="768" y="2025"/>
                  </a:cubicBezTo>
                  <a:cubicBezTo>
                    <a:pt x="758" y="2031"/>
                    <a:pt x="758" y="2031"/>
                    <a:pt x="758" y="2031"/>
                  </a:cubicBezTo>
                  <a:cubicBezTo>
                    <a:pt x="758" y="2031"/>
                    <a:pt x="751" y="2023"/>
                    <a:pt x="761" y="2023"/>
                  </a:cubicBezTo>
                  <a:cubicBezTo>
                    <a:pt x="770" y="2023"/>
                    <a:pt x="773" y="2008"/>
                    <a:pt x="773" y="2008"/>
                  </a:cubicBezTo>
                  <a:cubicBezTo>
                    <a:pt x="761" y="2011"/>
                    <a:pt x="761" y="2011"/>
                    <a:pt x="761" y="2011"/>
                  </a:cubicBezTo>
                  <a:cubicBezTo>
                    <a:pt x="764" y="2003"/>
                    <a:pt x="764" y="2003"/>
                    <a:pt x="764" y="2003"/>
                  </a:cubicBezTo>
                  <a:cubicBezTo>
                    <a:pt x="759" y="1994"/>
                    <a:pt x="759" y="1994"/>
                    <a:pt x="759" y="1994"/>
                  </a:cubicBezTo>
                  <a:cubicBezTo>
                    <a:pt x="741" y="2006"/>
                    <a:pt x="741" y="2006"/>
                    <a:pt x="741" y="2006"/>
                  </a:cubicBezTo>
                  <a:cubicBezTo>
                    <a:pt x="719" y="1989"/>
                    <a:pt x="719" y="1989"/>
                    <a:pt x="719" y="1989"/>
                  </a:cubicBezTo>
                  <a:cubicBezTo>
                    <a:pt x="703" y="2026"/>
                    <a:pt x="703" y="2026"/>
                    <a:pt x="703" y="2026"/>
                  </a:cubicBezTo>
                  <a:cubicBezTo>
                    <a:pt x="703" y="2026"/>
                    <a:pt x="721" y="2032"/>
                    <a:pt x="713" y="2039"/>
                  </a:cubicBezTo>
                  <a:cubicBezTo>
                    <a:pt x="705" y="2045"/>
                    <a:pt x="696" y="2031"/>
                    <a:pt x="696" y="2031"/>
                  </a:cubicBezTo>
                  <a:cubicBezTo>
                    <a:pt x="685" y="2042"/>
                    <a:pt x="685" y="2042"/>
                    <a:pt x="685" y="2042"/>
                  </a:cubicBezTo>
                  <a:cubicBezTo>
                    <a:pt x="692" y="2055"/>
                    <a:pt x="692" y="2055"/>
                    <a:pt x="692" y="2055"/>
                  </a:cubicBezTo>
                  <a:cubicBezTo>
                    <a:pt x="692" y="2055"/>
                    <a:pt x="674" y="2083"/>
                    <a:pt x="676" y="2084"/>
                  </a:cubicBezTo>
                  <a:cubicBezTo>
                    <a:pt x="678" y="2085"/>
                    <a:pt x="693" y="2125"/>
                    <a:pt x="699" y="2125"/>
                  </a:cubicBezTo>
                  <a:cubicBezTo>
                    <a:pt x="706" y="2125"/>
                    <a:pt x="713" y="2147"/>
                    <a:pt x="713" y="2147"/>
                  </a:cubicBezTo>
                  <a:cubicBezTo>
                    <a:pt x="706" y="2160"/>
                    <a:pt x="706" y="2160"/>
                    <a:pt x="706" y="2160"/>
                  </a:cubicBezTo>
                  <a:cubicBezTo>
                    <a:pt x="706" y="2160"/>
                    <a:pt x="699" y="2152"/>
                    <a:pt x="697" y="2151"/>
                  </a:cubicBezTo>
                  <a:cubicBezTo>
                    <a:pt x="695" y="2151"/>
                    <a:pt x="697" y="2159"/>
                    <a:pt x="689" y="2159"/>
                  </a:cubicBezTo>
                  <a:cubicBezTo>
                    <a:pt x="681" y="2159"/>
                    <a:pt x="689" y="2152"/>
                    <a:pt x="672" y="2141"/>
                  </a:cubicBezTo>
                  <a:cubicBezTo>
                    <a:pt x="649" y="2142"/>
                    <a:pt x="663" y="2161"/>
                    <a:pt x="663" y="2161"/>
                  </a:cubicBezTo>
                  <a:cubicBezTo>
                    <a:pt x="663" y="2161"/>
                    <a:pt x="680" y="2161"/>
                    <a:pt x="680" y="2164"/>
                  </a:cubicBezTo>
                  <a:close/>
                  <a:moveTo>
                    <a:pt x="1013" y="2013"/>
                  </a:moveTo>
                  <a:cubicBezTo>
                    <a:pt x="1019" y="2013"/>
                    <a:pt x="1029" y="2016"/>
                    <a:pt x="1019" y="2020"/>
                  </a:cubicBezTo>
                  <a:cubicBezTo>
                    <a:pt x="1009" y="2024"/>
                    <a:pt x="1013" y="2013"/>
                    <a:pt x="1013" y="2013"/>
                  </a:cubicBezTo>
                  <a:close/>
                  <a:moveTo>
                    <a:pt x="865" y="2214"/>
                  </a:moveTo>
                  <a:cubicBezTo>
                    <a:pt x="859" y="2215"/>
                    <a:pt x="854" y="2197"/>
                    <a:pt x="854" y="2197"/>
                  </a:cubicBezTo>
                  <a:cubicBezTo>
                    <a:pt x="859" y="2196"/>
                    <a:pt x="872" y="2213"/>
                    <a:pt x="865" y="2214"/>
                  </a:cubicBezTo>
                  <a:close/>
                  <a:moveTo>
                    <a:pt x="847" y="2034"/>
                  </a:moveTo>
                  <a:cubicBezTo>
                    <a:pt x="853" y="2035"/>
                    <a:pt x="853" y="2035"/>
                    <a:pt x="853" y="2035"/>
                  </a:cubicBezTo>
                  <a:cubicBezTo>
                    <a:pt x="852" y="2048"/>
                    <a:pt x="852" y="2048"/>
                    <a:pt x="852" y="2048"/>
                  </a:cubicBezTo>
                  <a:cubicBezTo>
                    <a:pt x="852" y="2048"/>
                    <a:pt x="846" y="2039"/>
                    <a:pt x="847" y="2034"/>
                  </a:cubicBezTo>
                  <a:close/>
                  <a:moveTo>
                    <a:pt x="672" y="2109"/>
                  </a:moveTo>
                  <a:cubicBezTo>
                    <a:pt x="677" y="2117"/>
                    <a:pt x="677" y="2117"/>
                    <a:pt x="677" y="2117"/>
                  </a:cubicBezTo>
                  <a:cubicBezTo>
                    <a:pt x="681" y="2108"/>
                    <a:pt x="681" y="2108"/>
                    <a:pt x="681" y="2108"/>
                  </a:cubicBezTo>
                  <a:lnTo>
                    <a:pt x="672" y="2109"/>
                  </a:lnTo>
                  <a:close/>
                  <a:moveTo>
                    <a:pt x="1016" y="2149"/>
                  </a:moveTo>
                  <a:cubicBezTo>
                    <a:pt x="1016" y="2149"/>
                    <a:pt x="1016" y="2150"/>
                    <a:pt x="1016" y="2150"/>
                  </a:cubicBezTo>
                  <a:cubicBezTo>
                    <a:pt x="1016" y="2150"/>
                    <a:pt x="1016" y="2149"/>
                    <a:pt x="1016" y="2149"/>
                  </a:cubicBezTo>
                  <a:close/>
                  <a:moveTo>
                    <a:pt x="1257" y="1379"/>
                  </a:moveTo>
                  <a:cubicBezTo>
                    <a:pt x="1254" y="1386"/>
                    <a:pt x="1254" y="1386"/>
                    <a:pt x="1254" y="1386"/>
                  </a:cubicBezTo>
                  <a:cubicBezTo>
                    <a:pt x="1265" y="1387"/>
                    <a:pt x="1265" y="1387"/>
                    <a:pt x="1265" y="1387"/>
                  </a:cubicBezTo>
                  <a:lnTo>
                    <a:pt x="1257" y="1379"/>
                  </a:lnTo>
                  <a:close/>
                  <a:moveTo>
                    <a:pt x="1113" y="1394"/>
                  </a:moveTo>
                  <a:cubicBezTo>
                    <a:pt x="1109" y="1402"/>
                    <a:pt x="1109" y="1402"/>
                    <a:pt x="1109" y="1402"/>
                  </a:cubicBezTo>
                  <a:cubicBezTo>
                    <a:pt x="1119" y="1403"/>
                    <a:pt x="1119" y="1403"/>
                    <a:pt x="1119" y="1403"/>
                  </a:cubicBezTo>
                  <a:lnTo>
                    <a:pt x="1113" y="1394"/>
                  </a:lnTo>
                  <a:close/>
                  <a:moveTo>
                    <a:pt x="1013" y="2245"/>
                  </a:moveTo>
                  <a:cubicBezTo>
                    <a:pt x="1005" y="2244"/>
                    <a:pt x="1005" y="2244"/>
                    <a:pt x="1005" y="2244"/>
                  </a:cubicBezTo>
                  <a:cubicBezTo>
                    <a:pt x="997" y="2247"/>
                    <a:pt x="997" y="2247"/>
                    <a:pt x="997" y="2247"/>
                  </a:cubicBezTo>
                  <a:cubicBezTo>
                    <a:pt x="1014" y="2265"/>
                    <a:pt x="1014" y="2265"/>
                    <a:pt x="1014" y="2265"/>
                  </a:cubicBezTo>
                  <a:cubicBezTo>
                    <a:pt x="1018" y="2253"/>
                    <a:pt x="1018" y="2253"/>
                    <a:pt x="1018" y="2253"/>
                  </a:cubicBezTo>
                  <a:cubicBezTo>
                    <a:pt x="1027" y="2251"/>
                    <a:pt x="1027" y="2251"/>
                    <a:pt x="1027" y="2251"/>
                  </a:cubicBezTo>
                  <a:cubicBezTo>
                    <a:pt x="1021" y="2239"/>
                    <a:pt x="1021" y="2239"/>
                    <a:pt x="1021" y="2239"/>
                  </a:cubicBezTo>
                  <a:cubicBezTo>
                    <a:pt x="1021" y="2239"/>
                    <a:pt x="1022" y="2245"/>
                    <a:pt x="1013" y="2245"/>
                  </a:cubicBezTo>
                  <a:close/>
                  <a:moveTo>
                    <a:pt x="70" y="2250"/>
                  </a:moveTo>
                  <a:cubicBezTo>
                    <a:pt x="80" y="2250"/>
                    <a:pt x="80" y="2250"/>
                    <a:pt x="80" y="2250"/>
                  </a:cubicBezTo>
                  <a:cubicBezTo>
                    <a:pt x="75" y="2238"/>
                    <a:pt x="75" y="2238"/>
                    <a:pt x="75" y="2238"/>
                  </a:cubicBezTo>
                  <a:lnTo>
                    <a:pt x="70" y="2250"/>
                  </a:lnTo>
                  <a:close/>
                  <a:moveTo>
                    <a:pt x="455" y="2516"/>
                  </a:moveTo>
                  <a:cubicBezTo>
                    <a:pt x="467" y="2517"/>
                    <a:pt x="469" y="2508"/>
                    <a:pt x="469" y="2508"/>
                  </a:cubicBezTo>
                  <a:cubicBezTo>
                    <a:pt x="465" y="2496"/>
                    <a:pt x="465" y="2496"/>
                    <a:pt x="465" y="2496"/>
                  </a:cubicBezTo>
                  <a:cubicBezTo>
                    <a:pt x="465" y="2496"/>
                    <a:pt x="461" y="2503"/>
                    <a:pt x="457" y="2506"/>
                  </a:cubicBezTo>
                  <a:cubicBezTo>
                    <a:pt x="453" y="2509"/>
                    <a:pt x="451" y="2501"/>
                    <a:pt x="440" y="2497"/>
                  </a:cubicBezTo>
                  <a:cubicBezTo>
                    <a:pt x="429" y="2492"/>
                    <a:pt x="429" y="2511"/>
                    <a:pt x="429" y="2511"/>
                  </a:cubicBezTo>
                  <a:cubicBezTo>
                    <a:pt x="429" y="2511"/>
                    <a:pt x="436" y="2505"/>
                    <a:pt x="441" y="2506"/>
                  </a:cubicBezTo>
                  <a:cubicBezTo>
                    <a:pt x="447" y="2507"/>
                    <a:pt x="444" y="2515"/>
                    <a:pt x="455" y="2516"/>
                  </a:cubicBezTo>
                  <a:close/>
                  <a:moveTo>
                    <a:pt x="483" y="1957"/>
                  </a:moveTo>
                  <a:cubicBezTo>
                    <a:pt x="483" y="1949"/>
                    <a:pt x="472" y="1954"/>
                    <a:pt x="473" y="1958"/>
                  </a:cubicBezTo>
                  <a:cubicBezTo>
                    <a:pt x="473" y="1958"/>
                    <a:pt x="483" y="1966"/>
                    <a:pt x="483" y="1957"/>
                  </a:cubicBezTo>
                  <a:close/>
                  <a:moveTo>
                    <a:pt x="454" y="2993"/>
                  </a:moveTo>
                  <a:cubicBezTo>
                    <a:pt x="454" y="2993"/>
                    <a:pt x="467" y="2993"/>
                    <a:pt x="467" y="3000"/>
                  </a:cubicBezTo>
                  <a:cubicBezTo>
                    <a:pt x="467" y="3007"/>
                    <a:pt x="473" y="2985"/>
                    <a:pt x="473" y="2985"/>
                  </a:cubicBezTo>
                  <a:cubicBezTo>
                    <a:pt x="473" y="2985"/>
                    <a:pt x="455" y="2987"/>
                    <a:pt x="454" y="2993"/>
                  </a:cubicBezTo>
                  <a:close/>
                  <a:moveTo>
                    <a:pt x="9" y="2279"/>
                  </a:moveTo>
                  <a:cubicBezTo>
                    <a:pt x="18" y="2277"/>
                    <a:pt x="18" y="2277"/>
                    <a:pt x="18" y="2277"/>
                  </a:cubicBezTo>
                  <a:cubicBezTo>
                    <a:pt x="18" y="2277"/>
                    <a:pt x="21" y="2292"/>
                    <a:pt x="28" y="2292"/>
                  </a:cubicBezTo>
                  <a:cubicBezTo>
                    <a:pt x="35" y="2292"/>
                    <a:pt x="36" y="2286"/>
                    <a:pt x="36" y="2286"/>
                  </a:cubicBezTo>
                  <a:cubicBezTo>
                    <a:pt x="42" y="2291"/>
                    <a:pt x="42" y="2291"/>
                    <a:pt x="42" y="2291"/>
                  </a:cubicBezTo>
                  <a:cubicBezTo>
                    <a:pt x="46" y="2287"/>
                    <a:pt x="46" y="2287"/>
                    <a:pt x="46" y="2287"/>
                  </a:cubicBezTo>
                  <a:cubicBezTo>
                    <a:pt x="46" y="2287"/>
                    <a:pt x="16" y="2269"/>
                    <a:pt x="10" y="2269"/>
                  </a:cubicBezTo>
                  <a:cubicBezTo>
                    <a:pt x="4" y="2269"/>
                    <a:pt x="0" y="2281"/>
                    <a:pt x="9" y="2279"/>
                  </a:cubicBezTo>
                  <a:close/>
                  <a:moveTo>
                    <a:pt x="528" y="2951"/>
                  </a:moveTo>
                  <a:cubicBezTo>
                    <a:pt x="528" y="2941"/>
                    <a:pt x="528" y="2941"/>
                    <a:pt x="528" y="2941"/>
                  </a:cubicBezTo>
                  <a:cubicBezTo>
                    <a:pt x="521" y="2950"/>
                    <a:pt x="521" y="2950"/>
                    <a:pt x="521" y="2950"/>
                  </a:cubicBezTo>
                  <a:lnTo>
                    <a:pt x="528" y="2951"/>
                  </a:lnTo>
                  <a:close/>
                  <a:moveTo>
                    <a:pt x="429" y="3046"/>
                  </a:moveTo>
                  <a:cubicBezTo>
                    <a:pt x="429" y="3046"/>
                    <a:pt x="436" y="3047"/>
                    <a:pt x="446" y="3045"/>
                  </a:cubicBezTo>
                  <a:cubicBezTo>
                    <a:pt x="456" y="3044"/>
                    <a:pt x="444" y="3036"/>
                    <a:pt x="443" y="3029"/>
                  </a:cubicBezTo>
                  <a:cubicBezTo>
                    <a:pt x="443" y="3021"/>
                    <a:pt x="448" y="3023"/>
                    <a:pt x="449" y="3019"/>
                  </a:cubicBezTo>
                  <a:cubicBezTo>
                    <a:pt x="451" y="3016"/>
                    <a:pt x="453" y="3013"/>
                    <a:pt x="437" y="3011"/>
                  </a:cubicBezTo>
                  <a:cubicBezTo>
                    <a:pt x="437" y="3011"/>
                    <a:pt x="437" y="3011"/>
                    <a:pt x="431" y="3011"/>
                  </a:cubicBezTo>
                  <a:cubicBezTo>
                    <a:pt x="424" y="3012"/>
                    <a:pt x="421" y="3031"/>
                    <a:pt x="421" y="3031"/>
                  </a:cubicBezTo>
                  <a:cubicBezTo>
                    <a:pt x="429" y="3036"/>
                    <a:pt x="429" y="3036"/>
                    <a:pt x="429" y="3036"/>
                  </a:cubicBezTo>
                  <a:lnTo>
                    <a:pt x="429" y="3046"/>
                  </a:lnTo>
                  <a:close/>
                  <a:moveTo>
                    <a:pt x="686" y="2353"/>
                  </a:moveTo>
                  <a:cubicBezTo>
                    <a:pt x="686" y="2361"/>
                    <a:pt x="695" y="2364"/>
                    <a:pt x="701" y="2359"/>
                  </a:cubicBezTo>
                  <a:cubicBezTo>
                    <a:pt x="701" y="2359"/>
                    <a:pt x="703" y="2353"/>
                    <a:pt x="699" y="2353"/>
                  </a:cubicBezTo>
                  <a:cubicBezTo>
                    <a:pt x="694" y="2353"/>
                    <a:pt x="697" y="2335"/>
                    <a:pt x="697" y="2335"/>
                  </a:cubicBezTo>
                  <a:cubicBezTo>
                    <a:pt x="697" y="2335"/>
                    <a:pt x="691" y="2332"/>
                    <a:pt x="686" y="2335"/>
                  </a:cubicBezTo>
                  <a:cubicBezTo>
                    <a:pt x="681" y="2339"/>
                    <a:pt x="691" y="2342"/>
                    <a:pt x="691" y="2342"/>
                  </a:cubicBezTo>
                  <a:cubicBezTo>
                    <a:pt x="691" y="2342"/>
                    <a:pt x="686" y="2346"/>
                    <a:pt x="686" y="2353"/>
                  </a:cubicBezTo>
                  <a:close/>
                  <a:moveTo>
                    <a:pt x="469" y="2922"/>
                  </a:moveTo>
                  <a:cubicBezTo>
                    <a:pt x="476" y="2929"/>
                    <a:pt x="476" y="2929"/>
                    <a:pt x="476" y="2929"/>
                  </a:cubicBezTo>
                  <a:cubicBezTo>
                    <a:pt x="467" y="2935"/>
                    <a:pt x="467" y="2935"/>
                    <a:pt x="467" y="2935"/>
                  </a:cubicBezTo>
                  <a:cubicBezTo>
                    <a:pt x="467" y="2935"/>
                    <a:pt x="480" y="2976"/>
                    <a:pt x="495" y="2980"/>
                  </a:cubicBezTo>
                  <a:cubicBezTo>
                    <a:pt x="505" y="2967"/>
                    <a:pt x="505" y="2967"/>
                    <a:pt x="505" y="2967"/>
                  </a:cubicBezTo>
                  <a:cubicBezTo>
                    <a:pt x="492" y="2951"/>
                    <a:pt x="492" y="2951"/>
                    <a:pt x="492" y="2951"/>
                  </a:cubicBezTo>
                  <a:cubicBezTo>
                    <a:pt x="505" y="2936"/>
                    <a:pt x="505" y="2936"/>
                    <a:pt x="505" y="2936"/>
                  </a:cubicBezTo>
                  <a:cubicBezTo>
                    <a:pt x="505" y="2936"/>
                    <a:pt x="495" y="2929"/>
                    <a:pt x="499" y="2927"/>
                  </a:cubicBezTo>
                  <a:cubicBezTo>
                    <a:pt x="502" y="2925"/>
                    <a:pt x="504" y="2935"/>
                    <a:pt x="513" y="2933"/>
                  </a:cubicBezTo>
                  <a:cubicBezTo>
                    <a:pt x="523" y="2931"/>
                    <a:pt x="545" y="2900"/>
                    <a:pt x="545" y="2900"/>
                  </a:cubicBezTo>
                  <a:cubicBezTo>
                    <a:pt x="549" y="2909"/>
                    <a:pt x="549" y="2909"/>
                    <a:pt x="549" y="2909"/>
                  </a:cubicBezTo>
                  <a:cubicBezTo>
                    <a:pt x="563" y="2891"/>
                    <a:pt x="563" y="2891"/>
                    <a:pt x="563" y="2891"/>
                  </a:cubicBezTo>
                  <a:cubicBezTo>
                    <a:pt x="563" y="2891"/>
                    <a:pt x="559" y="2887"/>
                    <a:pt x="562" y="2884"/>
                  </a:cubicBezTo>
                  <a:cubicBezTo>
                    <a:pt x="565" y="2881"/>
                    <a:pt x="573" y="2879"/>
                    <a:pt x="573" y="2881"/>
                  </a:cubicBezTo>
                  <a:cubicBezTo>
                    <a:pt x="573" y="2883"/>
                    <a:pt x="572" y="2887"/>
                    <a:pt x="574" y="2887"/>
                  </a:cubicBezTo>
                  <a:cubicBezTo>
                    <a:pt x="576" y="2887"/>
                    <a:pt x="583" y="2878"/>
                    <a:pt x="583" y="2878"/>
                  </a:cubicBezTo>
                  <a:cubicBezTo>
                    <a:pt x="568" y="2867"/>
                    <a:pt x="568" y="2867"/>
                    <a:pt x="568" y="2867"/>
                  </a:cubicBezTo>
                  <a:cubicBezTo>
                    <a:pt x="551" y="2885"/>
                    <a:pt x="551" y="2885"/>
                    <a:pt x="551" y="2885"/>
                  </a:cubicBezTo>
                  <a:cubicBezTo>
                    <a:pt x="551" y="2885"/>
                    <a:pt x="541" y="2874"/>
                    <a:pt x="531" y="2875"/>
                  </a:cubicBezTo>
                  <a:cubicBezTo>
                    <a:pt x="521" y="2875"/>
                    <a:pt x="539" y="2864"/>
                    <a:pt x="535" y="2857"/>
                  </a:cubicBezTo>
                  <a:cubicBezTo>
                    <a:pt x="532" y="2849"/>
                    <a:pt x="521" y="2840"/>
                    <a:pt x="521" y="2840"/>
                  </a:cubicBezTo>
                  <a:cubicBezTo>
                    <a:pt x="521" y="2840"/>
                    <a:pt x="534" y="2886"/>
                    <a:pt x="491" y="2874"/>
                  </a:cubicBezTo>
                  <a:cubicBezTo>
                    <a:pt x="497" y="2887"/>
                    <a:pt x="496" y="2903"/>
                    <a:pt x="485" y="2904"/>
                  </a:cubicBezTo>
                  <a:cubicBezTo>
                    <a:pt x="473" y="2905"/>
                    <a:pt x="469" y="2922"/>
                    <a:pt x="469" y="2922"/>
                  </a:cubicBezTo>
                  <a:close/>
                  <a:moveTo>
                    <a:pt x="495" y="2931"/>
                  </a:moveTo>
                  <a:cubicBezTo>
                    <a:pt x="496" y="2938"/>
                    <a:pt x="488" y="2929"/>
                    <a:pt x="488" y="2929"/>
                  </a:cubicBezTo>
                  <a:cubicBezTo>
                    <a:pt x="487" y="2924"/>
                    <a:pt x="495" y="2925"/>
                    <a:pt x="495" y="2931"/>
                  </a:cubicBezTo>
                  <a:close/>
                  <a:moveTo>
                    <a:pt x="626" y="2344"/>
                  </a:moveTo>
                  <a:cubicBezTo>
                    <a:pt x="631" y="2341"/>
                    <a:pt x="649" y="2336"/>
                    <a:pt x="643" y="2329"/>
                  </a:cubicBezTo>
                  <a:cubicBezTo>
                    <a:pt x="637" y="2323"/>
                    <a:pt x="627" y="2321"/>
                    <a:pt x="627" y="2321"/>
                  </a:cubicBezTo>
                  <a:cubicBezTo>
                    <a:pt x="613" y="2329"/>
                    <a:pt x="613" y="2329"/>
                    <a:pt x="613" y="2329"/>
                  </a:cubicBezTo>
                  <a:cubicBezTo>
                    <a:pt x="613" y="2337"/>
                    <a:pt x="621" y="2347"/>
                    <a:pt x="626" y="2344"/>
                  </a:cubicBezTo>
                  <a:close/>
                  <a:moveTo>
                    <a:pt x="703" y="2261"/>
                  </a:moveTo>
                  <a:cubicBezTo>
                    <a:pt x="711" y="2248"/>
                    <a:pt x="711" y="2248"/>
                    <a:pt x="711" y="2248"/>
                  </a:cubicBezTo>
                  <a:cubicBezTo>
                    <a:pt x="711" y="2248"/>
                    <a:pt x="713" y="2260"/>
                    <a:pt x="723" y="2257"/>
                  </a:cubicBezTo>
                  <a:cubicBezTo>
                    <a:pt x="733" y="2255"/>
                    <a:pt x="741" y="2242"/>
                    <a:pt x="741" y="2242"/>
                  </a:cubicBezTo>
                  <a:cubicBezTo>
                    <a:pt x="741" y="2242"/>
                    <a:pt x="734" y="2225"/>
                    <a:pt x="729" y="2225"/>
                  </a:cubicBezTo>
                  <a:cubicBezTo>
                    <a:pt x="725" y="2224"/>
                    <a:pt x="699" y="2245"/>
                    <a:pt x="693" y="2245"/>
                  </a:cubicBezTo>
                  <a:cubicBezTo>
                    <a:pt x="685" y="2245"/>
                    <a:pt x="703" y="2261"/>
                    <a:pt x="703" y="2261"/>
                  </a:cubicBezTo>
                  <a:close/>
                  <a:moveTo>
                    <a:pt x="541" y="2857"/>
                  </a:moveTo>
                  <a:cubicBezTo>
                    <a:pt x="550" y="2860"/>
                    <a:pt x="550" y="2860"/>
                    <a:pt x="550" y="2860"/>
                  </a:cubicBezTo>
                  <a:cubicBezTo>
                    <a:pt x="550" y="2860"/>
                    <a:pt x="566" y="2847"/>
                    <a:pt x="556" y="2846"/>
                  </a:cubicBezTo>
                  <a:cubicBezTo>
                    <a:pt x="546" y="2845"/>
                    <a:pt x="541" y="2857"/>
                    <a:pt x="541" y="2857"/>
                  </a:cubicBezTo>
                  <a:close/>
                  <a:moveTo>
                    <a:pt x="517" y="2477"/>
                  </a:moveTo>
                  <a:cubicBezTo>
                    <a:pt x="533" y="2476"/>
                    <a:pt x="533" y="2476"/>
                    <a:pt x="533" y="2476"/>
                  </a:cubicBezTo>
                  <a:cubicBezTo>
                    <a:pt x="533" y="2476"/>
                    <a:pt x="539" y="2488"/>
                    <a:pt x="547" y="2488"/>
                  </a:cubicBezTo>
                  <a:cubicBezTo>
                    <a:pt x="541" y="2473"/>
                    <a:pt x="542" y="2470"/>
                    <a:pt x="544" y="2470"/>
                  </a:cubicBezTo>
                  <a:cubicBezTo>
                    <a:pt x="546" y="2470"/>
                    <a:pt x="561" y="2491"/>
                    <a:pt x="561" y="2491"/>
                  </a:cubicBezTo>
                  <a:cubicBezTo>
                    <a:pt x="551" y="2492"/>
                    <a:pt x="551" y="2492"/>
                    <a:pt x="551" y="2492"/>
                  </a:cubicBezTo>
                  <a:cubicBezTo>
                    <a:pt x="551" y="2492"/>
                    <a:pt x="569" y="2513"/>
                    <a:pt x="565" y="2527"/>
                  </a:cubicBezTo>
                  <a:cubicBezTo>
                    <a:pt x="562" y="2542"/>
                    <a:pt x="547" y="2545"/>
                    <a:pt x="547" y="2545"/>
                  </a:cubicBezTo>
                  <a:cubicBezTo>
                    <a:pt x="547" y="2545"/>
                    <a:pt x="545" y="2581"/>
                    <a:pt x="563" y="2581"/>
                  </a:cubicBezTo>
                  <a:cubicBezTo>
                    <a:pt x="564" y="2584"/>
                    <a:pt x="581" y="2595"/>
                    <a:pt x="577" y="2595"/>
                  </a:cubicBezTo>
                  <a:cubicBezTo>
                    <a:pt x="574" y="2595"/>
                    <a:pt x="565" y="2588"/>
                    <a:pt x="565" y="2588"/>
                  </a:cubicBezTo>
                  <a:cubicBezTo>
                    <a:pt x="537" y="2604"/>
                    <a:pt x="537" y="2604"/>
                    <a:pt x="537" y="2604"/>
                  </a:cubicBezTo>
                  <a:cubicBezTo>
                    <a:pt x="537" y="2604"/>
                    <a:pt x="555" y="2636"/>
                    <a:pt x="552" y="2645"/>
                  </a:cubicBezTo>
                  <a:cubicBezTo>
                    <a:pt x="549" y="2655"/>
                    <a:pt x="537" y="2688"/>
                    <a:pt x="537" y="2688"/>
                  </a:cubicBezTo>
                  <a:cubicBezTo>
                    <a:pt x="537" y="2688"/>
                    <a:pt x="542" y="2703"/>
                    <a:pt x="523" y="2714"/>
                  </a:cubicBezTo>
                  <a:cubicBezTo>
                    <a:pt x="531" y="2723"/>
                    <a:pt x="538" y="2734"/>
                    <a:pt x="538" y="2734"/>
                  </a:cubicBezTo>
                  <a:cubicBezTo>
                    <a:pt x="533" y="2751"/>
                    <a:pt x="533" y="2751"/>
                    <a:pt x="533" y="2751"/>
                  </a:cubicBezTo>
                  <a:cubicBezTo>
                    <a:pt x="541" y="2767"/>
                    <a:pt x="541" y="2767"/>
                    <a:pt x="541" y="2767"/>
                  </a:cubicBezTo>
                  <a:cubicBezTo>
                    <a:pt x="541" y="2767"/>
                    <a:pt x="541" y="2803"/>
                    <a:pt x="556" y="2812"/>
                  </a:cubicBezTo>
                  <a:cubicBezTo>
                    <a:pt x="571" y="2821"/>
                    <a:pt x="589" y="2809"/>
                    <a:pt x="596" y="2810"/>
                  </a:cubicBezTo>
                  <a:cubicBezTo>
                    <a:pt x="603" y="2811"/>
                    <a:pt x="586" y="2833"/>
                    <a:pt x="586" y="2833"/>
                  </a:cubicBezTo>
                  <a:cubicBezTo>
                    <a:pt x="587" y="2853"/>
                    <a:pt x="594" y="2859"/>
                    <a:pt x="594" y="2857"/>
                  </a:cubicBezTo>
                  <a:cubicBezTo>
                    <a:pt x="594" y="2855"/>
                    <a:pt x="607" y="2836"/>
                    <a:pt x="607" y="2836"/>
                  </a:cubicBezTo>
                  <a:cubicBezTo>
                    <a:pt x="607" y="2836"/>
                    <a:pt x="599" y="2821"/>
                    <a:pt x="605" y="2819"/>
                  </a:cubicBezTo>
                  <a:cubicBezTo>
                    <a:pt x="611" y="2818"/>
                    <a:pt x="607" y="2824"/>
                    <a:pt x="615" y="2824"/>
                  </a:cubicBezTo>
                  <a:cubicBezTo>
                    <a:pt x="622" y="2824"/>
                    <a:pt x="629" y="2807"/>
                    <a:pt x="629" y="2807"/>
                  </a:cubicBezTo>
                  <a:cubicBezTo>
                    <a:pt x="608" y="2779"/>
                    <a:pt x="608" y="2779"/>
                    <a:pt x="608" y="2779"/>
                  </a:cubicBezTo>
                  <a:cubicBezTo>
                    <a:pt x="608" y="2779"/>
                    <a:pt x="621" y="2775"/>
                    <a:pt x="617" y="2767"/>
                  </a:cubicBezTo>
                  <a:cubicBezTo>
                    <a:pt x="614" y="2758"/>
                    <a:pt x="605" y="2738"/>
                    <a:pt x="605" y="2729"/>
                  </a:cubicBezTo>
                  <a:cubicBezTo>
                    <a:pt x="605" y="2721"/>
                    <a:pt x="625" y="2687"/>
                    <a:pt x="625" y="2687"/>
                  </a:cubicBezTo>
                  <a:cubicBezTo>
                    <a:pt x="625" y="2687"/>
                    <a:pt x="642" y="2685"/>
                    <a:pt x="642" y="2674"/>
                  </a:cubicBezTo>
                  <a:cubicBezTo>
                    <a:pt x="642" y="2663"/>
                    <a:pt x="616" y="2663"/>
                    <a:pt x="629" y="2641"/>
                  </a:cubicBezTo>
                  <a:cubicBezTo>
                    <a:pt x="615" y="2628"/>
                    <a:pt x="610" y="2625"/>
                    <a:pt x="610" y="2625"/>
                  </a:cubicBezTo>
                  <a:cubicBezTo>
                    <a:pt x="610" y="2625"/>
                    <a:pt x="611" y="2614"/>
                    <a:pt x="602" y="2611"/>
                  </a:cubicBezTo>
                  <a:cubicBezTo>
                    <a:pt x="593" y="2607"/>
                    <a:pt x="586" y="2592"/>
                    <a:pt x="593" y="2592"/>
                  </a:cubicBezTo>
                  <a:cubicBezTo>
                    <a:pt x="601" y="2592"/>
                    <a:pt x="601" y="2601"/>
                    <a:pt x="612" y="2601"/>
                  </a:cubicBezTo>
                  <a:cubicBezTo>
                    <a:pt x="623" y="2601"/>
                    <a:pt x="617" y="2584"/>
                    <a:pt x="624" y="2588"/>
                  </a:cubicBezTo>
                  <a:cubicBezTo>
                    <a:pt x="631" y="2592"/>
                    <a:pt x="622" y="2605"/>
                    <a:pt x="622" y="2605"/>
                  </a:cubicBezTo>
                  <a:cubicBezTo>
                    <a:pt x="622" y="2605"/>
                    <a:pt x="647" y="2609"/>
                    <a:pt x="646" y="2599"/>
                  </a:cubicBezTo>
                  <a:cubicBezTo>
                    <a:pt x="645" y="2588"/>
                    <a:pt x="631" y="2577"/>
                    <a:pt x="631" y="2566"/>
                  </a:cubicBezTo>
                  <a:cubicBezTo>
                    <a:pt x="631" y="2555"/>
                    <a:pt x="637" y="2553"/>
                    <a:pt x="637" y="2553"/>
                  </a:cubicBezTo>
                  <a:cubicBezTo>
                    <a:pt x="633" y="2547"/>
                    <a:pt x="633" y="2547"/>
                    <a:pt x="633" y="2547"/>
                  </a:cubicBezTo>
                  <a:cubicBezTo>
                    <a:pt x="644" y="2539"/>
                    <a:pt x="644" y="2539"/>
                    <a:pt x="644" y="2539"/>
                  </a:cubicBezTo>
                  <a:cubicBezTo>
                    <a:pt x="644" y="2539"/>
                    <a:pt x="647" y="2557"/>
                    <a:pt x="647" y="2555"/>
                  </a:cubicBezTo>
                  <a:cubicBezTo>
                    <a:pt x="647" y="2553"/>
                    <a:pt x="665" y="2519"/>
                    <a:pt x="664" y="2515"/>
                  </a:cubicBezTo>
                  <a:cubicBezTo>
                    <a:pt x="663" y="2510"/>
                    <a:pt x="673" y="2507"/>
                    <a:pt x="673" y="2507"/>
                  </a:cubicBezTo>
                  <a:cubicBezTo>
                    <a:pt x="673" y="2507"/>
                    <a:pt x="670" y="2495"/>
                    <a:pt x="670" y="2493"/>
                  </a:cubicBezTo>
                  <a:cubicBezTo>
                    <a:pt x="670" y="2491"/>
                    <a:pt x="695" y="2462"/>
                    <a:pt x="685" y="2459"/>
                  </a:cubicBezTo>
                  <a:cubicBezTo>
                    <a:pt x="674" y="2457"/>
                    <a:pt x="661" y="2461"/>
                    <a:pt x="661" y="2461"/>
                  </a:cubicBezTo>
                  <a:cubicBezTo>
                    <a:pt x="658" y="2445"/>
                    <a:pt x="658" y="2445"/>
                    <a:pt x="658" y="2445"/>
                  </a:cubicBezTo>
                  <a:cubicBezTo>
                    <a:pt x="641" y="2443"/>
                    <a:pt x="641" y="2443"/>
                    <a:pt x="641" y="2443"/>
                  </a:cubicBezTo>
                  <a:cubicBezTo>
                    <a:pt x="641" y="2443"/>
                    <a:pt x="636" y="2433"/>
                    <a:pt x="641" y="2433"/>
                  </a:cubicBezTo>
                  <a:cubicBezTo>
                    <a:pt x="647" y="2433"/>
                    <a:pt x="667" y="2437"/>
                    <a:pt x="667" y="2437"/>
                  </a:cubicBezTo>
                  <a:cubicBezTo>
                    <a:pt x="667" y="2437"/>
                    <a:pt x="671" y="2454"/>
                    <a:pt x="681" y="2451"/>
                  </a:cubicBezTo>
                  <a:cubicBezTo>
                    <a:pt x="691" y="2449"/>
                    <a:pt x="700" y="2428"/>
                    <a:pt x="700" y="2428"/>
                  </a:cubicBezTo>
                  <a:cubicBezTo>
                    <a:pt x="700" y="2428"/>
                    <a:pt x="703" y="2419"/>
                    <a:pt x="707" y="2419"/>
                  </a:cubicBezTo>
                  <a:cubicBezTo>
                    <a:pt x="710" y="2419"/>
                    <a:pt x="711" y="2410"/>
                    <a:pt x="707" y="2410"/>
                  </a:cubicBezTo>
                  <a:cubicBezTo>
                    <a:pt x="704" y="2410"/>
                    <a:pt x="701" y="2421"/>
                    <a:pt x="698" y="2422"/>
                  </a:cubicBezTo>
                  <a:cubicBezTo>
                    <a:pt x="695" y="2423"/>
                    <a:pt x="671" y="2404"/>
                    <a:pt x="671" y="2404"/>
                  </a:cubicBezTo>
                  <a:cubicBezTo>
                    <a:pt x="671" y="2404"/>
                    <a:pt x="662" y="2421"/>
                    <a:pt x="659" y="2416"/>
                  </a:cubicBezTo>
                  <a:cubicBezTo>
                    <a:pt x="655" y="2411"/>
                    <a:pt x="666" y="2403"/>
                    <a:pt x="661" y="2399"/>
                  </a:cubicBezTo>
                  <a:cubicBezTo>
                    <a:pt x="657" y="2396"/>
                    <a:pt x="644" y="2391"/>
                    <a:pt x="647" y="2387"/>
                  </a:cubicBezTo>
                  <a:cubicBezTo>
                    <a:pt x="649" y="2383"/>
                    <a:pt x="674" y="2373"/>
                    <a:pt x="666" y="2363"/>
                  </a:cubicBezTo>
                  <a:cubicBezTo>
                    <a:pt x="658" y="2353"/>
                    <a:pt x="661" y="2348"/>
                    <a:pt x="652" y="2348"/>
                  </a:cubicBezTo>
                  <a:cubicBezTo>
                    <a:pt x="643" y="2348"/>
                    <a:pt x="631" y="2381"/>
                    <a:pt x="631" y="2381"/>
                  </a:cubicBezTo>
                  <a:cubicBezTo>
                    <a:pt x="631" y="2381"/>
                    <a:pt x="641" y="2388"/>
                    <a:pt x="639" y="2388"/>
                  </a:cubicBezTo>
                  <a:cubicBezTo>
                    <a:pt x="636" y="2388"/>
                    <a:pt x="622" y="2401"/>
                    <a:pt x="622" y="2404"/>
                  </a:cubicBezTo>
                  <a:cubicBezTo>
                    <a:pt x="622" y="2407"/>
                    <a:pt x="597" y="2409"/>
                    <a:pt x="597" y="2409"/>
                  </a:cubicBezTo>
                  <a:cubicBezTo>
                    <a:pt x="587" y="2397"/>
                    <a:pt x="587" y="2397"/>
                    <a:pt x="587" y="2397"/>
                  </a:cubicBezTo>
                  <a:cubicBezTo>
                    <a:pt x="597" y="2383"/>
                    <a:pt x="597" y="2383"/>
                    <a:pt x="597" y="2383"/>
                  </a:cubicBezTo>
                  <a:cubicBezTo>
                    <a:pt x="611" y="2381"/>
                    <a:pt x="611" y="2381"/>
                    <a:pt x="611" y="2381"/>
                  </a:cubicBezTo>
                  <a:cubicBezTo>
                    <a:pt x="603" y="2363"/>
                    <a:pt x="603" y="2363"/>
                    <a:pt x="603" y="2363"/>
                  </a:cubicBezTo>
                  <a:cubicBezTo>
                    <a:pt x="575" y="2407"/>
                    <a:pt x="575" y="2407"/>
                    <a:pt x="575" y="2407"/>
                  </a:cubicBezTo>
                  <a:cubicBezTo>
                    <a:pt x="565" y="2409"/>
                    <a:pt x="565" y="2409"/>
                    <a:pt x="565" y="2409"/>
                  </a:cubicBezTo>
                  <a:cubicBezTo>
                    <a:pt x="561" y="2427"/>
                    <a:pt x="561" y="2427"/>
                    <a:pt x="561" y="2427"/>
                  </a:cubicBezTo>
                  <a:cubicBezTo>
                    <a:pt x="549" y="2415"/>
                    <a:pt x="549" y="2415"/>
                    <a:pt x="549" y="2415"/>
                  </a:cubicBezTo>
                  <a:cubicBezTo>
                    <a:pt x="562" y="2404"/>
                    <a:pt x="562" y="2404"/>
                    <a:pt x="562" y="2404"/>
                  </a:cubicBezTo>
                  <a:cubicBezTo>
                    <a:pt x="513" y="2409"/>
                    <a:pt x="513" y="2409"/>
                    <a:pt x="513" y="2409"/>
                  </a:cubicBezTo>
                  <a:cubicBezTo>
                    <a:pt x="513" y="2409"/>
                    <a:pt x="504" y="2433"/>
                    <a:pt x="498" y="2433"/>
                  </a:cubicBezTo>
                  <a:cubicBezTo>
                    <a:pt x="491" y="2439"/>
                    <a:pt x="487" y="2454"/>
                    <a:pt x="487" y="2454"/>
                  </a:cubicBezTo>
                  <a:cubicBezTo>
                    <a:pt x="487" y="2454"/>
                    <a:pt x="515" y="2461"/>
                    <a:pt x="517" y="2477"/>
                  </a:cubicBezTo>
                  <a:close/>
                  <a:moveTo>
                    <a:pt x="558" y="2617"/>
                  </a:moveTo>
                  <a:cubicBezTo>
                    <a:pt x="558" y="2617"/>
                    <a:pt x="567" y="2624"/>
                    <a:pt x="567" y="2629"/>
                  </a:cubicBezTo>
                  <a:cubicBezTo>
                    <a:pt x="567" y="2635"/>
                    <a:pt x="555" y="2621"/>
                    <a:pt x="558" y="2617"/>
                  </a:cubicBezTo>
                  <a:close/>
                  <a:moveTo>
                    <a:pt x="637" y="2523"/>
                  </a:moveTo>
                  <a:cubicBezTo>
                    <a:pt x="637" y="2523"/>
                    <a:pt x="644" y="2517"/>
                    <a:pt x="650" y="2521"/>
                  </a:cubicBezTo>
                  <a:cubicBezTo>
                    <a:pt x="656" y="2524"/>
                    <a:pt x="639" y="2525"/>
                    <a:pt x="641" y="2530"/>
                  </a:cubicBezTo>
                  <a:cubicBezTo>
                    <a:pt x="643" y="2535"/>
                    <a:pt x="630" y="2531"/>
                    <a:pt x="630" y="2531"/>
                  </a:cubicBezTo>
                  <a:cubicBezTo>
                    <a:pt x="630" y="2520"/>
                    <a:pt x="637" y="2523"/>
                    <a:pt x="637" y="2523"/>
                  </a:cubicBezTo>
                  <a:close/>
                  <a:moveTo>
                    <a:pt x="582" y="2787"/>
                  </a:moveTo>
                  <a:cubicBezTo>
                    <a:pt x="574" y="2787"/>
                    <a:pt x="575" y="2777"/>
                    <a:pt x="582" y="2777"/>
                  </a:cubicBezTo>
                  <a:cubicBezTo>
                    <a:pt x="589" y="2777"/>
                    <a:pt x="589" y="2786"/>
                    <a:pt x="582" y="2787"/>
                  </a:cubicBezTo>
                  <a:close/>
                  <a:moveTo>
                    <a:pt x="574" y="2504"/>
                  </a:moveTo>
                  <a:cubicBezTo>
                    <a:pt x="585" y="2504"/>
                    <a:pt x="585" y="2504"/>
                    <a:pt x="585" y="2504"/>
                  </a:cubicBezTo>
                  <a:cubicBezTo>
                    <a:pt x="581" y="2515"/>
                    <a:pt x="581" y="2515"/>
                    <a:pt x="581" y="2515"/>
                  </a:cubicBezTo>
                  <a:cubicBezTo>
                    <a:pt x="581" y="2515"/>
                    <a:pt x="587" y="2525"/>
                    <a:pt x="595" y="2524"/>
                  </a:cubicBezTo>
                  <a:cubicBezTo>
                    <a:pt x="602" y="2523"/>
                    <a:pt x="617" y="2512"/>
                    <a:pt x="615" y="2519"/>
                  </a:cubicBezTo>
                  <a:cubicBezTo>
                    <a:pt x="614" y="2525"/>
                    <a:pt x="608" y="2529"/>
                    <a:pt x="608" y="2529"/>
                  </a:cubicBezTo>
                  <a:cubicBezTo>
                    <a:pt x="608" y="2529"/>
                    <a:pt x="613" y="2537"/>
                    <a:pt x="607" y="2538"/>
                  </a:cubicBezTo>
                  <a:cubicBezTo>
                    <a:pt x="601" y="2539"/>
                    <a:pt x="597" y="2535"/>
                    <a:pt x="597" y="2535"/>
                  </a:cubicBezTo>
                  <a:cubicBezTo>
                    <a:pt x="597" y="2535"/>
                    <a:pt x="595" y="2539"/>
                    <a:pt x="585" y="2539"/>
                  </a:cubicBezTo>
                  <a:cubicBezTo>
                    <a:pt x="575" y="2538"/>
                    <a:pt x="574" y="2528"/>
                    <a:pt x="574" y="2528"/>
                  </a:cubicBezTo>
                  <a:cubicBezTo>
                    <a:pt x="573" y="2515"/>
                    <a:pt x="573" y="2515"/>
                    <a:pt x="573" y="2515"/>
                  </a:cubicBezTo>
                  <a:lnTo>
                    <a:pt x="574" y="2504"/>
                  </a:lnTo>
                  <a:close/>
                  <a:moveTo>
                    <a:pt x="1362" y="4632"/>
                  </a:moveTo>
                  <a:cubicBezTo>
                    <a:pt x="1352" y="4621"/>
                    <a:pt x="1352" y="4621"/>
                    <a:pt x="1352" y="4621"/>
                  </a:cubicBezTo>
                  <a:cubicBezTo>
                    <a:pt x="1350" y="4626"/>
                    <a:pt x="1354" y="4639"/>
                    <a:pt x="1354" y="4639"/>
                  </a:cubicBezTo>
                  <a:lnTo>
                    <a:pt x="1362" y="4632"/>
                  </a:lnTo>
                  <a:close/>
                  <a:moveTo>
                    <a:pt x="1216" y="4958"/>
                  </a:moveTo>
                  <a:cubicBezTo>
                    <a:pt x="1216" y="4958"/>
                    <a:pt x="1252" y="4946"/>
                    <a:pt x="1261" y="4946"/>
                  </a:cubicBezTo>
                  <a:cubicBezTo>
                    <a:pt x="1270" y="4946"/>
                    <a:pt x="1291" y="4967"/>
                    <a:pt x="1291" y="4967"/>
                  </a:cubicBezTo>
                  <a:cubicBezTo>
                    <a:pt x="1305" y="4949"/>
                    <a:pt x="1305" y="4949"/>
                    <a:pt x="1305" y="4949"/>
                  </a:cubicBezTo>
                  <a:cubicBezTo>
                    <a:pt x="1310" y="4958"/>
                    <a:pt x="1310" y="4958"/>
                    <a:pt x="1310" y="4958"/>
                  </a:cubicBezTo>
                  <a:cubicBezTo>
                    <a:pt x="1340" y="4923"/>
                    <a:pt x="1340" y="4923"/>
                    <a:pt x="1340" y="4923"/>
                  </a:cubicBezTo>
                  <a:cubicBezTo>
                    <a:pt x="1340" y="4912"/>
                    <a:pt x="1340" y="4912"/>
                    <a:pt x="1340" y="4912"/>
                  </a:cubicBezTo>
                  <a:cubicBezTo>
                    <a:pt x="1354" y="4903"/>
                    <a:pt x="1354" y="4903"/>
                    <a:pt x="1354" y="4903"/>
                  </a:cubicBezTo>
                  <a:cubicBezTo>
                    <a:pt x="1354" y="4903"/>
                    <a:pt x="1351" y="4891"/>
                    <a:pt x="1349" y="4881"/>
                  </a:cubicBezTo>
                  <a:cubicBezTo>
                    <a:pt x="1347" y="4876"/>
                    <a:pt x="1345" y="4872"/>
                    <a:pt x="1343" y="4871"/>
                  </a:cubicBezTo>
                  <a:cubicBezTo>
                    <a:pt x="1337" y="4866"/>
                    <a:pt x="1334" y="4854"/>
                    <a:pt x="1334" y="4854"/>
                  </a:cubicBezTo>
                  <a:cubicBezTo>
                    <a:pt x="1316" y="4854"/>
                    <a:pt x="1316" y="4854"/>
                    <a:pt x="1316" y="4854"/>
                  </a:cubicBezTo>
                  <a:cubicBezTo>
                    <a:pt x="1316" y="4854"/>
                    <a:pt x="1317" y="4872"/>
                    <a:pt x="1308" y="4872"/>
                  </a:cubicBezTo>
                  <a:cubicBezTo>
                    <a:pt x="1299" y="4872"/>
                    <a:pt x="1291" y="4868"/>
                    <a:pt x="1291" y="4868"/>
                  </a:cubicBezTo>
                  <a:cubicBezTo>
                    <a:pt x="1274" y="4876"/>
                    <a:pt x="1274" y="4876"/>
                    <a:pt x="1274" y="4876"/>
                  </a:cubicBezTo>
                  <a:cubicBezTo>
                    <a:pt x="1288" y="4849"/>
                    <a:pt x="1288" y="4849"/>
                    <a:pt x="1288" y="4849"/>
                  </a:cubicBezTo>
                  <a:cubicBezTo>
                    <a:pt x="1288" y="4849"/>
                    <a:pt x="1299" y="4854"/>
                    <a:pt x="1299" y="4849"/>
                  </a:cubicBezTo>
                  <a:cubicBezTo>
                    <a:pt x="1299" y="4845"/>
                    <a:pt x="1308" y="4806"/>
                    <a:pt x="1308" y="4806"/>
                  </a:cubicBezTo>
                  <a:cubicBezTo>
                    <a:pt x="1296" y="4791"/>
                    <a:pt x="1296" y="4791"/>
                    <a:pt x="1296" y="4791"/>
                  </a:cubicBezTo>
                  <a:cubicBezTo>
                    <a:pt x="1296" y="4791"/>
                    <a:pt x="1311" y="4788"/>
                    <a:pt x="1305" y="4783"/>
                  </a:cubicBezTo>
                  <a:cubicBezTo>
                    <a:pt x="1299" y="4779"/>
                    <a:pt x="1291" y="4768"/>
                    <a:pt x="1291" y="4768"/>
                  </a:cubicBezTo>
                  <a:cubicBezTo>
                    <a:pt x="1297" y="4762"/>
                    <a:pt x="1297" y="4762"/>
                    <a:pt x="1297" y="4762"/>
                  </a:cubicBezTo>
                  <a:cubicBezTo>
                    <a:pt x="1294" y="4751"/>
                    <a:pt x="1294" y="4751"/>
                    <a:pt x="1294" y="4751"/>
                  </a:cubicBezTo>
                  <a:cubicBezTo>
                    <a:pt x="1279" y="4736"/>
                    <a:pt x="1279" y="4736"/>
                    <a:pt x="1279" y="4736"/>
                  </a:cubicBezTo>
                  <a:cubicBezTo>
                    <a:pt x="1283" y="4719"/>
                    <a:pt x="1283" y="4719"/>
                    <a:pt x="1283" y="4719"/>
                  </a:cubicBezTo>
                  <a:cubicBezTo>
                    <a:pt x="1283" y="4719"/>
                    <a:pt x="1288" y="4688"/>
                    <a:pt x="1294" y="4697"/>
                  </a:cubicBezTo>
                  <a:cubicBezTo>
                    <a:pt x="1300" y="4707"/>
                    <a:pt x="1305" y="4717"/>
                    <a:pt x="1305" y="4717"/>
                  </a:cubicBezTo>
                  <a:cubicBezTo>
                    <a:pt x="1317" y="4717"/>
                    <a:pt x="1317" y="4717"/>
                    <a:pt x="1317" y="4717"/>
                  </a:cubicBezTo>
                  <a:cubicBezTo>
                    <a:pt x="1323" y="4726"/>
                    <a:pt x="1323" y="4726"/>
                    <a:pt x="1323" y="4726"/>
                  </a:cubicBezTo>
                  <a:cubicBezTo>
                    <a:pt x="1348" y="4737"/>
                    <a:pt x="1348" y="4737"/>
                    <a:pt x="1348" y="4737"/>
                  </a:cubicBezTo>
                  <a:cubicBezTo>
                    <a:pt x="1348" y="4737"/>
                    <a:pt x="1343" y="4737"/>
                    <a:pt x="1343" y="4750"/>
                  </a:cubicBezTo>
                  <a:cubicBezTo>
                    <a:pt x="1343" y="4762"/>
                    <a:pt x="1349" y="4773"/>
                    <a:pt x="1349" y="4773"/>
                  </a:cubicBezTo>
                  <a:cubicBezTo>
                    <a:pt x="1354" y="4791"/>
                    <a:pt x="1354" y="4791"/>
                    <a:pt x="1354" y="4791"/>
                  </a:cubicBezTo>
                  <a:cubicBezTo>
                    <a:pt x="1359" y="4791"/>
                    <a:pt x="1359" y="4791"/>
                    <a:pt x="1359" y="4791"/>
                  </a:cubicBezTo>
                  <a:cubicBezTo>
                    <a:pt x="1340" y="4840"/>
                    <a:pt x="1340" y="4840"/>
                    <a:pt x="1340" y="4840"/>
                  </a:cubicBezTo>
                  <a:cubicBezTo>
                    <a:pt x="1354" y="4843"/>
                    <a:pt x="1354" y="4843"/>
                    <a:pt x="1354" y="4843"/>
                  </a:cubicBezTo>
                  <a:cubicBezTo>
                    <a:pt x="1354" y="4843"/>
                    <a:pt x="1360" y="4864"/>
                    <a:pt x="1368" y="4880"/>
                  </a:cubicBezTo>
                  <a:cubicBezTo>
                    <a:pt x="1375" y="4868"/>
                    <a:pt x="1375" y="4868"/>
                    <a:pt x="1375" y="4868"/>
                  </a:cubicBezTo>
                  <a:cubicBezTo>
                    <a:pt x="1373" y="4851"/>
                    <a:pt x="1373" y="4851"/>
                    <a:pt x="1373" y="4851"/>
                  </a:cubicBezTo>
                  <a:cubicBezTo>
                    <a:pt x="1373" y="4851"/>
                    <a:pt x="1381" y="4856"/>
                    <a:pt x="1385" y="4852"/>
                  </a:cubicBezTo>
                  <a:cubicBezTo>
                    <a:pt x="1389" y="4848"/>
                    <a:pt x="1382" y="4839"/>
                    <a:pt x="1382" y="4839"/>
                  </a:cubicBezTo>
                  <a:cubicBezTo>
                    <a:pt x="1383" y="4811"/>
                    <a:pt x="1383" y="4811"/>
                    <a:pt x="1383" y="4811"/>
                  </a:cubicBezTo>
                  <a:cubicBezTo>
                    <a:pt x="1383" y="4811"/>
                    <a:pt x="1397" y="4805"/>
                    <a:pt x="1398" y="4784"/>
                  </a:cubicBezTo>
                  <a:cubicBezTo>
                    <a:pt x="1399" y="4763"/>
                    <a:pt x="1380" y="4764"/>
                    <a:pt x="1380" y="4764"/>
                  </a:cubicBezTo>
                  <a:cubicBezTo>
                    <a:pt x="1379" y="4743"/>
                    <a:pt x="1379" y="4743"/>
                    <a:pt x="1379" y="4743"/>
                  </a:cubicBezTo>
                  <a:cubicBezTo>
                    <a:pt x="1379" y="4743"/>
                    <a:pt x="1376" y="4735"/>
                    <a:pt x="1375" y="4729"/>
                  </a:cubicBezTo>
                  <a:cubicBezTo>
                    <a:pt x="1374" y="4723"/>
                    <a:pt x="1380" y="4711"/>
                    <a:pt x="1380" y="4711"/>
                  </a:cubicBezTo>
                  <a:cubicBezTo>
                    <a:pt x="1358" y="4681"/>
                    <a:pt x="1358" y="4681"/>
                    <a:pt x="1358" y="4681"/>
                  </a:cubicBezTo>
                  <a:cubicBezTo>
                    <a:pt x="1352" y="4653"/>
                    <a:pt x="1352" y="4653"/>
                    <a:pt x="1352" y="4653"/>
                  </a:cubicBezTo>
                  <a:cubicBezTo>
                    <a:pt x="1331" y="4633"/>
                    <a:pt x="1331" y="4633"/>
                    <a:pt x="1331" y="4633"/>
                  </a:cubicBezTo>
                  <a:cubicBezTo>
                    <a:pt x="1305" y="4625"/>
                    <a:pt x="1305" y="4625"/>
                    <a:pt x="1305" y="4625"/>
                  </a:cubicBezTo>
                  <a:cubicBezTo>
                    <a:pt x="1305" y="4625"/>
                    <a:pt x="1301" y="4634"/>
                    <a:pt x="1289" y="4634"/>
                  </a:cubicBezTo>
                  <a:cubicBezTo>
                    <a:pt x="1277" y="4634"/>
                    <a:pt x="1259" y="4626"/>
                    <a:pt x="1259" y="4626"/>
                  </a:cubicBezTo>
                  <a:cubicBezTo>
                    <a:pt x="1259" y="4626"/>
                    <a:pt x="1258" y="4633"/>
                    <a:pt x="1247" y="4633"/>
                  </a:cubicBezTo>
                  <a:cubicBezTo>
                    <a:pt x="1236" y="4633"/>
                    <a:pt x="1218" y="4654"/>
                    <a:pt x="1175" y="4677"/>
                  </a:cubicBezTo>
                  <a:cubicBezTo>
                    <a:pt x="1177" y="4635"/>
                    <a:pt x="1215" y="4604"/>
                    <a:pt x="1253" y="4591"/>
                  </a:cubicBezTo>
                  <a:cubicBezTo>
                    <a:pt x="1291" y="4578"/>
                    <a:pt x="1284" y="4551"/>
                    <a:pt x="1278" y="4514"/>
                  </a:cubicBezTo>
                  <a:cubicBezTo>
                    <a:pt x="1257" y="4476"/>
                    <a:pt x="1243" y="4489"/>
                    <a:pt x="1243" y="4496"/>
                  </a:cubicBezTo>
                  <a:cubicBezTo>
                    <a:pt x="1243" y="4503"/>
                    <a:pt x="1250" y="4519"/>
                    <a:pt x="1250" y="4519"/>
                  </a:cubicBezTo>
                  <a:cubicBezTo>
                    <a:pt x="1231" y="4515"/>
                    <a:pt x="1231" y="4515"/>
                    <a:pt x="1231" y="4515"/>
                  </a:cubicBezTo>
                  <a:cubicBezTo>
                    <a:pt x="1231" y="4515"/>
                    <a:pt x="1235" y="4504"/>
                    <a:pt x="1237" y="4498"/>
                  </a:cubicBezTo>
                  <a:cubicBezTo>
                    <a:pt x="1239" y="4492"/>
                    <a:pt x="1219" y="4474"/>
                    <a:pt x="1219" y="4474"/>
                  </a:cubicBezTo>
                  <a:cubicBezTo>
                    <a:pt x="1215" y="4456"/>
                    <a:pt x="1215" y="4456"/>
                    <a:pt x="1215" y="4456"/>
                  </a:cubicBezTo>
                  <a:cubicBezTo>
                    <a:pt x="1199" y="4456"/>
                    <a:pt x="1199" y="4456"/>
                    <a:pt x="1199" y="4456"/>
                  </a:cubicBezTo>
                  <a:cubicBezTo>
                    <a:pt x="1198" y="4410"/>
                    <a:pt x="1150" y="4393"/>
                    <a:pt x="1150" y="4393"/>
                  </a:cubicBezTo>
                  <a:cubicBezTo>
                    <a:pt x="1162" y="4346"/>
                    <a:pt x="1162" y="4346"/>
                    <a:pt x="1162" y="4346"/>
                  </a:cubicBezTo>
                  <a:cubicBezTo>
                    <a:pt x="1162" y="4346"/>
                    <a:pt x="1144" y="4331"/>
                    <a:pt x="1144" y="4336"/>
                  </a:cubicBezTo>
                  <a:cubicBezTo>
                    <a:pt x="1144" y="4341"/>
                    <a:pt x="1128" y="4340"/>
                    <a:pt x="1128" y="4340"/>
                  </a:cubicBezTo>
                  <a:cubicBezTo>
                    <a:pt x="1125" y="4319"/>
                    <a:pt x="1125" y="4319"/>
                    <a:pt x="1125" y="4319"/>
                  </a:cubicBezTo>
                  <a:cubicBezTo>
                    <a:pt x="1125" y="4319"/>
                    <a:pt x="1135" y="4300"/>
                    <a:pt x="1135" y="4297"/>
                  </a:cubicBezTo>
                  <a:cubicBezTo>
                    <a:pt x="1135" y="4294"/>
                    <a:pt x="1126" y="4289"/>
                    <a:pt x="1126" y="4289"/>
                  </a:cubicBezTo>
                  <a:cubicBezTo>
                    <a:pt x="1126" y="4289"/>
                    <a:pt x="1130" y="4280"/>
                    <a:pt x="1135" y="4269"/>
                  </a:cubicBezTo>
                  <a:cubicBezTo>
                    <a:pt x="1140" y="4258"/>
                    <a:pt x="1111" y="4227"/>
                    <a:pt x="1111" y="4227"/>
                  </a:cubicBezTo>
                  <a:cubicBezTo>
                    <a:pt x="1096" y="4228"/>
                    <a:pt x="1096" y="4228"/>
                    <a:pt x="1096" y="4228"/>
                  </a:cubicBezTo>
                  <a:cubicBezTo>
                    <a:pt x="1096" y="4228"/>
                    <a:pt x="1078" y="4202"/>
                    <a:pt x="1078" y="4207"/>
                  </a:cubicBezTo>
                  <a:cubicBezTo>
                    <a:pt x="1078" y="4212"/>
                    <a:pt x="1070" y="4218"/>
                    <a:pt x="1036" y="4222"/>
                  </a:cubicBezTo>
                  <a:cubicBezTo>
                    <a:pt x="1012" y="4203"/>
                    <a:pt x="988" y="4197"/>
                    <a:pt x="988" y="4197"/>
                  </a:cubicBezTo>
                  <a:cubicBezTo>
                    <a:pt x="988" y="4197"/>
                    <a:pt x="976" y="4199"/>
                    <a:pt x="955" y="4199"/>
                  </a:cubicBezTo>
                  <a:cubicBezTo>
                    <a:pt x="939" y="4186"/>
                    <a:pt x="921" y="4191"/>
                    <a:pt x="921" y="4191"/>
                  </a:cubicBezTo>
                  <a:cubicBezTo>
                    <a:pt x="921" y="4191"/>
                    <a:pt x="912" y="4202"/>
                    <a:pt x="881" y="4221"/>
                  </a:cubicBezTo>
                  <a:cubicBezTo>
                    <a:pt x="828" y="4212"/>
                    <a:pt x="821" y="4245"/>
                    <a:pt x="821" y="4245"/>
                  </a:cubicBezTo>
                  <a:cubicBezTo>
                    <a:pt x="747" y="4243"/>
                    <a:pt x="747" y="4243"/>
                    <a:pt x="747" y="4243"/>
                  </a:cubicBezTo>
                  <a:cubicBezTo>
                    <a:pt x="716" y="4224"/>
                    <a:pt x="716" y="4224"/>
                    <a:pt x="716" y="4224"/>
                  </a:cubicBezTo>
                  <a:cubicBezTo>
                    <a:pt x="716" y="4224"/>
                    <a:pt x="716" y="4253"/>
                    <a:pt x="716" y="4256"/>
                  </a:cubicBezTo>
                  <a:cubicBezTo>
                    <a:pt x="716" y="4259"/>
                    <a:pt x="704" y="4289"/>
                    <a:pt x="704" y="4289"/>
                  </a:cubicBezTo>
                  <a:cubicBezTo>
                    <a:pt x="704" y="4289"/>
                    <a:pt x="705" y="4284"/>
                    <a:pt x="692" y="4295"/>
                  </a:cubicBezTo>
                  <a:cubicBezTo>
                    <a:pt x="679" y="4306"/>
                    <a:pt x="693" y="4313"/>
                    <a:pt x="693" y="4313"/>
                  </a:cubicBezTo>
                  <a:cubicBezTo>
                    <a:pt x="693" y="4313"/>
                    <a:pt x="690" y="4315"/>
                    <a:pt x="672" y="4337"/>
                  </a:cubicBezTo>
                  <a:cubicBezTo>
                    <a:pt x="634" y="4339"/>
                    <a:pt x="637" y="4321"/>
                    <a:pt x="628" y="4321"/>
                  </a:cubicBezTo>
                  <a:cubicBezTo>
                    <a:pt x="619" y="4321"/>
                    <a:pt x="589" y="4333"/>
                    <a:pt x="589" y="4333"/>
                  </a:cubicBezTo>
                  <a:cubicBezTo>
                    <a:pt x="582" y="4329"/>
                    <a:pt x="582" y="4329"/>
                    <a:pt x="582" y="4329"/>
                  </a:cubicBezTo>
                  <a:cubicBezTo>
                    <a:pt x="582" y="4329"/>
                    <a:pt x="524" y="4403"/>
                    <a:pt x="521" y="4403"/>
                  </a:cubicBezTo>
                  <a:cubicBezTo>
                    <a:pt x="520" y="4403"/>
                    <a:pt x="520" y="4400"/>
                    <a:pt x="519" y="4395"/>
                  </a:cubicBezTo>
                  <a:cubicBezTo>
                    <a:pt x="511" y="4409"/>
                    <a:pt x="502" y="4429"/>
                    <a:pt x="502" y="4439"/>
                  </a:cubicBezTo>
                  <a:cubicBezTo>
                    <a:pt x="503" y="4458"/>
                    <a:pt x="497" y="4503"/>
                    <a:pt x="460" y="4523"/>
                  </a:cubicBezTo>
                  <a:cubicBezTo>
                    <a:pt x="449" y="4562"/>
                    <a:pt x="449" y="4562"/>
                    <a:pt x="449" y="4562"/>
                  </a:cubicBezTo>
                  <a:cubicBezTo>
                    <a:pt x="409" y="4560"/>
                    <a:pt x="409" y="4560"/>
                    <a:pt x="409" y="4560"/>
                  </a:cubicBezTo>
                  <a:cubicBezTo>
                    <a:pt x="355" y="4594"/>
                    <a:pt x="355" y="4594"/>
                    <a:pt x="355" y="4594"/>
                  </a:cubicBezTo>
                  <a:cubicBezTo>
                    <a:pt x="355" y="4594"/>
                    <a:pt x="325" y="4570"/>
                    <a:pt x="320" y="4570"/>
                  </a:cubicBezTo>
                  <a:cubicBezTo>
                    <a:pt x="315" y="4570"/>
                    <a:pt x="281" y="4596"/>
                    <a:pt x="281" y="4596"/>
                  </a:cubicBezTo>
                  <a:cubicBezTo>
                    <a:pt x="291" y="4606"/>
                    <a:pt x="291" y="4606"/>
                    <a:pt x="291" y="4606"/>
                  </a:cubicBezTo>
                  <a:cubicBezTo>
                    <a:pt x="283" y="4616"/>
                    <a:pt x="283" y="4616"/>
                    <a:pt x="283" y="4616"/>
                  </a:cubicBezTo>
                  <a:cubicBezTo>
                    <a:pt x="316" y="4651"/>
                    <a:pt x="316" y="4651"/>
                    <a:pt x="316" y="4651"/>
                  </a:cubicBezTo>
                  <a:cubicBezTo>
                    <a:pt x="325" y="4639"/>
                    <a:pt x="325" y="4639"/>
                    <a:pt x="325" y="4639"/>
                  </a:cubicBezTo>
                  <a:cubicBezTo>
                    <a:pt x="325" y="4639"/>
                    <a:pt x="345" y="4658"/>
                    <a:pt x="379" y="4653"/>
                  </a:cubicBezTo>
                  <a:cubicBezTo>
                    <a:pt x="387" y="4663"/>
                    <a:pt x="382" y="4662"/>
                    <a:pt x="382" y="4662"/>
                  </a:cubicBezTo>
                  <a:cubicBezTo>
                    <a:pt x="382" y="4662"/>
                    <a:pt x="329" y="4689"/>
                    <a:pt x="322" y="4709"/>
                  </a:cubicBezTo>
                  <a:cubicBezTo>
                    <a:pt x="309" y="4714"/>
                    <a:pt x="305" y="4715"/>
                    <a:pt x="305" y="4715"/>
                  </a:cubicBezTo>
                  <a:cubicBezTo>
                    <a:pt x="295" y="4721"/>
                    <a:pt x="295" y="4721"/>
                    <a:pt x="295" y="4721"/>
                  </a:cubicBezTo>
                  <a:cubicBezTo>
                    <a:pt x="295" y="4721"/>
                    <a:pt x="257" y="4720"/>
                    <a:pt x="253" y="4713"/>
                  </a:cubicBezTo>
                  <a:cubicBezTo>
                    <a:pt x="250" y="4705"/>
                    <a:pt x="241" y="4711"/>
                    <a:pt x="241" y="4711"/>
                  </a:cubicBezTo>
                  <a:cubicBezTo>
                    <a:pt x="215" y="4752"/>
                    <a:pt x="215" y="4752"/>
                    <a:pt x="215" y="4752"/>
                  </a:cubicBezTo>
                  <a:cubicBezTo>
                    <a:pt x="205" y="4750"/>
                    <a:pt x="205" y="4750"/>
                    <a:pt x="205" y="4750"/>
                  </a:cubicBezTo>
                  <a:cubicBezTo>
                    <a:pt x="193" y="4764"/>
                    <a:pt x="193" y="4764"/>
                    <a:pt x="193" y="4764"/>
                  </a:cubicBezTo>
                  <a:cubicBezTo>
                    <a:pt x="172" y="4765"/>
                    <a:pt x="172" y="4765"/>
                    <a:pt x="172" y="4765"/>
                  </a:cubicBezTo>
                  <a:cubicBezTo>
                    <a:pt x="175" y="4779"/>
                    <a:pt x="175" y="4779"/>
                    <a:pt x="175" y="4779"/>
                  </a:cubicBezTo>
                  <a:cubicBezTo>
                    <a:pt x="173" y="4786"/>
                    <a:pt x="173" y="4786"/>
                    <a:pt x="173" y="4786"/>
                  </a:cubicBezTo>
                  <a:cubicBezTo>
                    <a:pt x="173" y="4786"/>
                    <a:pt x="207" y="4842"/>
                    <a:pt x="228" y="4843"/>
                  </a:cubicBezTo>
                  <a:cubicBezTo>
                    <a:pt x="243" y="4868"/>
                    <a:pt x="250" y="4873"/>
                    <a:pt x="250" y="4879"/>
                  </a:cubicBezTo>
                  <a:cubicBezTo>
                    <a:pt x="250" y="4885"/>
                    <a:pt x="270" y="4895"/>
                    <a:pt x="270" y="4895"/>
                  </a:cubicBezTo>
                  <a:cubicBezTo>
                    <a:pt x="286" y="4897"/>
                    <a:pt x="286" y="4897"/>
                    <a:pt x="286" y="4897"/>
                  </a:cubicBezTo>
                  <a:cubicBezTo>
                    <a:pt x="286" y="4897"/>
                    <a:pt x="300" y="4936"/>
                    <a:pt x="302" y="4959"/>
                  </a:cubicBezTo>
                  <a:cubicBezTo>
                    <a:pt x="307" y="4966"/>
                    <a:pt x="309" y="4969"/>
                    <a:pt x="309" y="4970"/>
                  </a:cubicBezTo>
                  <a:cubicBezTo>
                    <a:pt x="316" y="4967"/>
                    <a:pt x="316" y="4967"/>
                    <a:pt x="316" y="4967"/>
                  </a:cubicBezTo>
                  <a:cubicBezTo>
                    <a:pt x="316" y="4967"/>
                    <a:pt x="370" y="4966"/>
                    <a:pt x="371" y="4968"/>
                  </a:cubicBezTo>
                  <a:cubicBezTo>
                    <a:pt x="371" y="4970"/>
                    <a:pt x="386" y="4989"/>
                    <a:pt x="386" y="4989"/>
                  </a:cubicBezTo>
                  <a:cubicBezTo>
                    <a:pt x="393" y="4989"/>
                    <a:pt x="393" y="4989"/>
                    <a:pt x="393" y="4989"/>
                  </a:cubicBezTo>
                  <a:cubicBezTo>
                    <a:pt x="421" y="5024"/>
                    <a:pt x="421" y="5024"/>
                    <a:pt x="421" y="5024"/>
                  </a:cubicBezTo>
                  <a:cubicBezTo>
                    <a:pt x="421" y="5024"/>
                    <a:pt x="460" y="5042"/>
                    <a:pt x="469" y="5039"/>
                  </a:cubicBezTo>
                  <a:cubicBezTo>
                    <a:pt x="479" y="5037"/>
                    <a:pt x="498" y="5010"/>
                    <a:pt x="498" y="5010"/>
                  </a:cubicBezTo>
                  <a:cubicBezTo>
                    <a:pt x="498" y="5010"/>
                    <a:pt x="497" y="5025"/>
                    <a:pt x="500" y="5025"/>
                  </a:cubicBezTo>
                  <a:cubicBezTo>
                    <a:pt x="503" y="5025"/>
                    <a:pt x="518" y="5021"/>
                    <a:pt x="518" y="5026"/>
                  </a:cubicBezTo>
                  <a:cubicBezTo>
                    <a:pt x="518" y="5031"/>
                    <a:pt x="519" y="5043"/>
                    <a:pt x="519" y="5043"/>
                  </a:cubicBezTo>
                  <a:cubicBezTo>
                    <a:pt x="519" y="5043"/>
                    <a:pt x="521" y="5031"/>
                    <a:pt x="528" y="5031"/>
                  </a:cubicBezTo>
                  <a:cubicBezTo>
                    <a:pt x="535" y="5031"/>
                    <a:pt x="543" y="5047"/>
                    <a:pt x="543" y="5040"/>
                  </a:cubicBezTo>
                  <a:cubicBezTo>
                    <a:pt x="543" y="5033"/>
                    <a:pt x="541" y="5024"/>
                    <a:pt x="541" y="5021"/>
                  </a:cubicBezTo>
                  <a:cubicBezTo>
                    <a:pt x="541" y="5017"/>
                    <a:pt x="549" y="5001"/>
                    <a:pt x="553" y="5002"/>
                  </a:cubicBezTo>
                  <a:cubicBezTo>
                    <a:pt x="558" y="5003"/>
                    <a:pt x="562" y="5039"/>
                    <a:pt x="562" y="5039"/>
                  </a:cubicBezTo>
                  <a:cubicBezTo>
                    <a:pt x="562" y="5039"/>
                    <a:pt x="565" y="4965"/>
                    <a:pt x="617" y="4960"/>
                  </a:cubicBezTo>
                  <a:cubicBezTo>
                    <a:pt x="630" y="4931"/>
                    <a:pt x="619" y="4925"/>
                    <a:pt x="619" y="4925"/>
                  </a:cubicBezTo>
                  <a:cubicBezTo>
                    <a:pt x="619" y="4925"/>
                    <a:pt x="603" y="4904"/>
                    <a:pt x="597" y="4904"/>
                  </a:cubicBezTo>
                  <a:cubicBezTo>
                    <a:pt x="591" y="4904"/>
                    <a:pt x="615" y="4879"/>
                    <a:pt x="615" y="4879"/>
                  </a:cubicBezTo>
                  <a:cubicBezTo>
                    <a:pt x="631" y="4878"/>
                    <a:pt x="631" y="4878"/>
                    <a:pt x="631" y="4878"/>
                  </a:cubicBezTo>
                  <a:cubicBezTo>
                    <a:pt x="680" y="4815"/>
                    <a:pt x="680" y="4815"/>
                    <a:pt x="680" y="4815"/>
                  </a:cubicBezTo>
                  <a:cubicBezTo>
                    <a:pt x="691" y="4827"/>
                    <a:pt x="691" y="4827"/>
                    <a:pt x="691" y="4827"/>
                  </a:cubicBezTo>
                  <a:cubicBezTo>
                    <a:pt x="705" y="4827"/>
                    <a:pt x="705" y="4827"/>
                    <a:pt x="705" y="4827"/>
                  </a:cubicBezTo>
                  <a:cubicBezTo>
                    <a:pt x="705" y="4827"/>
                    <a:pt x="753" y="4879"/>
                    <a:pt x="757" y="4901"/>
                  </a:cubicBezTo>
                  <a:cubicBezTo>
                    <a:pt x="747" y="4924"/>
                    <a:pt x="747" y="4927"/>
                    <a:pt x="747" y="4927"/>
                  </a:cubicBezTo>
                  <a:cubicBezTo>
                    <a:pt x="747" y="4927"/>
                    <a:pt x="770" y="4932"/>
                    <a:pt x="772" y="4961"/>
                  </a:cubicBezTo>
                  <a:cubicBezTo>
                    <a:pt x="807" y="4997"/>
                    <a:pt x="807" y="4997"/>
                    <a:pt x="807" y="4997"/>
                  </a:cubicBezTo>
                  <a:cubicBezTo>
                    <a:pt x="807" y="4997"/>
                    <a:pt x="822" y="4980"/>
                    <a:pt x="830" y="4982"/>
                  </a:cubicBezTo>
                  <a:cubicBezTo>
                    <a:pt x="838" y="4984"/>
                    <a:pt x="853" y="5021"/>
                    <a:pt x="853" y="5021"/>
                  </a:cubicBezTo>
                  <a:cubicBezTo>
                    <a:pt x="856" y="5028"/>
                    <a:pt x="856" y="5028"/>
                    <a:pt x="856" y="5028"/>
                  </a:cubicBezTo>
                  <a:cubicBezTo>
                    <a:pt x="856" y="5028"/>
                    <a:pt x="841" y="5052"/>
                    <a:pt x="842" y="5068"/>
                  </a:cubicBezTo>
                  <a:cubicBezTo>
                    <a:pt x="843" y="5084"/>
                    <a:pt x="865" y="5109"/>
                    <a:pt x="866" y="5107"/>
                  </a:cubicBezTo>
                  <a:cubicBezTo>
                    <a:pt x="867" y="5105"/>
                    <a:pt x="879" y="5093"/>
                    <a:pt x="879" y="5093"/>
                  </a:cubicBezTo>
                  <a:cubicBezTo>
                    <a:pt x="892" y="5103"/>
                    <a:pt x="892" y="5103"/>
                    <a:pt x="892" y="5103"/>
                  </a:cubicBezTo>
                  <a:cubicBezTo>
                    <a:pt x="892" y="5103"/>
                    <a:pt x="907" y="5095"/>
                    <a:pt x="919" y="5094"/>
                  </a:cubicBezTo>
                  <a:cubicBezTo>
                    <a:pt x="926" y="5083"/>
                    <a:pt x="929" y="5083"/>
                    <a:pt x="929" y="5083"/>
                  </a:cubicBezTo>
                  <a:cubicBezTo>
                    <a:pt x="929" y="5083"/>
                    <a:pt x="938" y="5101"/>
                    <a:pt x="949" y="5099"/>
                  </a:cubicBezTo>
                  <a:cubicBezTo>
                    <a:pt x="961" y="5097"/>
                    <a:pt x="982" y="5073"/>
                    <a:pt x="981" y="5059"/>
                  </a:cubicBezTo>
                  <a:cubicBezTo>
                    <a:pt x="985" y="5051"/>
                    <a:pt x="985" y="5051"/>
                    <a:pt x="985" y="5051"/>
                  </a:cubicBezTo>
                  <a:cubicBezTo>
                    <a:pt x="1001" y="5070"/>
                    <a:pt x="1001" y="5070"/>
                    <a:pt x="1001" y="5070"/>
                  </a:cubicBezTo>
                  <a:cubicBezTo>
                    <a:pt x="1001" y="5070"/>
                    <a:pt x="1010" y="5062"/>
                    <a:pt x="1016" y="5062"/>
                  </a:cubicBezTo>
                  <a:cubicBezTo>
                    <a:pt x="1018" y="5062"/>
                    <a:pt x="1022" y="5063"/>
                    <a:pt x="1026" y="5064"/>
                  </a:cubicBezTo>
                  <a:cubicBezTo>
                    <a:pt x="1025" y="5059"/>
                    <a:pt x="1026" y="5055"/>
                    <a:pt x="1026" y="5055"/>
                  </a:cubicBezTo>
                  <a:cubicBezTo>
                    <a:pt x="1048" y="5055"/>
                    <a:pt x="1048" y="5055"/>
                    <a:pt x="1048" y="5055"/>
                  </a:cubicBezTo>
                  <a:cubicBezTo>
                    <a:pt x="1048" y="5055"/>
                    <a:pt x="1046" y="5067"/>
                    <a:pt x="1056" y="5078"/>
                  </a:cubicBezTo>
                  <a:cubicBezTo>
                    <a:pt x="1066" y="5089"/>
                    <a:pt x="1091" y="5088"/>
                    <a:pt x="1091" y="5088"/>
                  </a:cubicBezTo>
                  <a:cubicBezTo>
                    <a:pt x="1090" y="5097"/>
                    <a:pt x="1090" y="5097"/>
                    <a:pt x="1090" y="5097"/>
                  </a:cubicBezTo>
                  <a:cubicBezTo>
                    <a:pt x="1108" y="5120"/>
                    <a:pt x="1108" y="5120"/>
                    <a:pt x="1108" y="5120"/>
                  </a:cubicBezTo>
                  <a:cubicBezTo>
                    <a:pt x="1136" y="5096"/>
                    <a:pt x="1136" y="5096"/>
                    <a:pt x="1136" y="5096"/>
                  </a:cubicBezTo>
                  <a:cubicBezTo>
                    <a:pt x="1147" y="5096"/>
                    <a:pt x="1147" y="5096"/>
                    <a:pt x="1147" y="5096"/>
                  </a:cubicBezTo>
                  <a:cubicBezTo>
                    <a:pt x="1190" y="5054"/>
                    <a:pt x="1190" y="5054"/>
                    <a:pt x="1190" y="5054"/>
                  </a:cubicBezTo>
                  <a:cubicBezTo>
                    <a:pt x="1190" y="5054"/>
                    <a:pt x="1198" y="5006"/>
                    <a:pt x="1198" y="5002"/>
                  </a:cubicBezTo>
                  <a:cubicBezTo>
                    <a:pt x="1198" y="4998"/>
                    <a:pt x="1190" y="4992"/>
                    <a:pt x="1190" y="4980"/>
                  </a:cubicBezTo>
                  <a:cubicBezTo>
                    <a:pt x="1190" y="4968"/>
                    <a:pt x="1216" y="4958"/>
                    <a:pt x="1216" y="4958"/>
                  </a:cubicBezTo>
                  <a:close/>
                  <a:moveTo>
                    <a:pt x="1212" y="4935"/>
                  </a:moveTo>
                  <a:cubicBezTo>
                    <a:pt x="1212" y="4935"/>
                    <a:pt x="1227" y="4939"/>
                    <a:pt x="1219" y="4945"/>
                  </a:cubicBezTo>
                  <a:cubicBezTo>
                    <a:pt x="1211" y="4952"/>
                    <a:pt x="1212" y="4935"/>
                    <a:pt x="1212" y="4935"/>
                  </a:cubicBezTo>
                  <a:close/>
                  <a:moveTo>
                    <a:pt x="1266" y="4538"/>
                  </a:moveTo>
                  <a:cubicBezTo>
                    <a:pt x="1263" y="4546"/>
                    <a:pt x="1261" y="4531"/>
                    <a:pt x="1261" y="4531"/>
                  </a:cubicBezTo>
                  <a:cubicBezTo>
                    <a:pt x="1269" y="4531"/>
                    <a:pt x="1269" y="4530"/>
                    <a:pt x="1266" y="4538"/>
                  </a:cubicBezTo>
                  <a:close/>
                  <a:moveTo>
                    <a:pt x="1031" y="4647"/>
                  </a:moveTo>
                  <a:cubicBezTo>
                    <a:pt x="1024" y="4653"/>
                    <a:pt x="1022" y="4670"/>
                    <a:pt x="1022" y="4670"/>
                  </a:cubicBezTo>
                  <a:cubicBezTo>
                    <a:pt x="1022" y="4670"/>
                    <a:pt x="1037" y="4662"/>
                    <a:pt x="1036" y="4670"/>
                  </a:cubicBezTo>
                  <a:cubicBezTo>
                    <a:pt x="1034" y="4677"/>
                    <a:pt x="1030" y="4699"/>
                    <a:pt x="1030" y="4699"/>
                  </a:cubicBezTo>
                  <a:cubicBezTo>
                    <a:pt x="1011" y="4711"/>
                    <a:pt x="1011" y="4711"/>
                    <a:pt x="1011" y="4711"/>
                  </a:cubicBezTo>
                  <a:cubicBezTo>
                    <a:pt x="1019" y="4720"/>
                    <a:pt x="1019" y="4720"/>
                    <a:pt x="1019" y="4720"/>
                  </a:cubicBezTo>
                  <a:cubicBezTo>
                    <a:pt x="1010" y="4731"/>
                    <a:pt x="1010" y="4731"/>
                    <a:pt x="1010" y="4731"/>
                  </a:cubicBezTo>
                  <a:cubicBezTo>
                    <a:pt x="1010" y="4761"/>
                    <a:pt x="1010" y="4761"/>
                    <a:pt x="1010" y="4761"/>
                  </a:cubicBezTo>
                  <a:cubicBezTo>
                    <a:pt x="979" y="4774"/>
                    <a:pt x="979" y="4774"/>
                    <a:pt x="979" y="4774"/>
                  </a:cubicBezTo>
                  <a:cubicBezTo>
                    <a:pt x="970" y="4753"/>
                    <a:pt x="970" y="4753"/>
                    <a:pt x="970" y="4753"/>
                  </a:cubicBezTo>
                  <a:cubicBezTo>
                    <a:pt x="961" y="4753"/>
                    <a:pt x="961" y="4753"/>
                    <a:pt x="961" y="4753"/>
                  </a:cubicBezTo>
                  <a:cubicBezTo>
                    <a:pt x="961" y="4753"/>
                    <a:pt x="933" y="4756"/>
                    <a:pt x="913" y="4756"/>
                  </a:cubicBezTo>
                  <a:cubicBezTo>
                    <a:pt x="906" y="4756"/>
                    <a:pt x="900" y="4753"/>
                    <a:pt x="896" y="4750"/>
                  </a:cubicBezTo>
                  <a:cubicBezTo>
                    <a:pt x="901" y="4746"/>
                    <a:pt x="901" y="4746"/>
                    <a:pt x="901" y="4746"/>
                  </a:cubicBezTo>
                  <a:cubicBezTo>
                    <a:pt x="899" y="4733"/>
                    <a:pt x="899" y="4733"/>
                    <a:pt x="899" y="4733"/>
                  </a:cubicBezTo>
                  <a:cubicBezTo>
                    <a:pt x="899" y="4733"/>
                    <a:pt x="895" y="4723"/>
                    <a:pt x="895" y="4711"/>
                  </a:cubicBezTo>
                  <a:cubicBezTo>
                    <a:pt x="895" y="4699"/>
                    <a:pt x="915" y="4687"/>
                    <a:pt x="922" y="4668"/>
                  </a:cubicBezTo>
                  <a:cubicBezTo>
                    <a:pt x="930" y="4650"/>
                    <a:pt x="922" y="4631"/>
                    <a:pt x="922" y="4631"/>
                  </a:cubicBezTo>
                  <a:cubicBezTo>
                    <a:pt x="921" y="4631"/>
                    <a:pt x="921" y="4631"/>
                    <a:pt x="921" y="4631"/>
                  </a:cubicBezTo>
                  <a:cubicBezTo>
                    <a:pt x="921" y="4608"/>
                    <a:pt x="921" y="4608"/>
                    <a:pt x="921" y="4608"/>
                  </a:cubicBezTo>
                  <a:cubicBezTo>
                    <a:pt x="921" y="4608"/>
                    <a:pt x="921" y="4597"/>
                    <a:pt x="924" y="4591"/>
                  </a:cubicBezTo>
                  <a:cubicBezTo>
                    <a:pt x="927" y="4585"/>
                    <a:pt x="927" y="4570"/>
                    <a:pt x="927" y="4570"/>
                  </a:cubicBezTo>
                  <a:cubicBezTo>
                    <a:pt x="927" y="4570"/>
                    <a:pt x="944" y="4569"/>
                    <a:pt x="951" y="4566"/>
                  </a:cubicBezTo>
                  <a:cubicBezTo>
                    <a:pt x="952" y="4571"/>
                    <a:pt x="953" y="4577"/>
                    <a:pt x="951" y="4579"/>
                  </a:cubicBezTo>
                  <a:cubicBezTo>
                    <a:pt x="948" y="4584"/>
                    <a:pt x="951" y="4597"/>
                    <a:pt x="951" y="4597"/>
                  </a:cubicBezTo>
                  <a:cubicBezTo>
                    <a:pt x="965" y="4585"/>
                    <a:pt x="965" y="4585"/>
                    <a:pt x="965" y="4585"/>
                  </a:cubicBezTo>
                  <a:cubicBezTo>
                    <a:pt x="965" y="4585"/>
                    <a:pt x="976" y="4604"/>
                    <a:pt x="985" y="4604"/>
                  </a:cubicBezTo>
                  <a:cubicBezTo>
                    <a:pt x="994" y="4604"/>
                    <a:pt x="1042" y="4574"/>
                    <a:pt x="1045" y="4591"/>
                  </a:cubicBezTo>
                  <a:cubicBezTo>
                    <a:pt x="1048" y="4608"/>
                    <a:pt x="1028" y="4624"/>
                    <a:pt x="1028" y="4624"/>
                  </a:cubicBezTo>
                  <a:cubicBezTo>
                    <a:pt x="1028" y="4624"/>
                    <a:pt x="1039" y="4640"/>
                    <a:pt x="1031" y="4647"/>
                  </a:cubicBezTo>
                  <a:close/>
                  <a:moveTo>
                    <a:pt x="1064" y="4187"/>
                  </a:moveTo>
                  <a:cubicBezTo>
                    <a:pt x="1069" y="4153"/>
                    <a:pt x="1069" y="4153"/>
                    <a:pt x="1069" y="4153"/>
                  </a:cubicBezTo>
                  <a:cubicBezTo>
                    <a:pt x="1049" y="4152"/>
                    <a:pt x="1049" y="4152"/>
                    <a:pt x="1049" y="4152"/>
                  </a:cubicBezTo>
                  <a:cubicBezTo>
                    <a:pt x="1049" y="4152"/>
                    <a:pt x="1044" y="4142"/>
                    <a:pt x="1037" y="4142"/>
                  </a:cubicBezTo>
                  <a:cubicBezTo>
                    <a:pt x="1030" y="4142"/>
                    <a:pt x="1020" y="4158"/>
                    <a:pt x="1020" y="4158"/>
                  </a:cubicBezTo>
                  <a:cubicBezTo>
                    <a:pt x="1019" y="4171"/>
                    <a:pt x="1056" y="4163"/>
                    <a:pt x="1056" y="4163"/>
                  </a:cubicBezTo>
                  <a:cubicBezTo>
                    <a:pt x="1056" y="4163"/>
                    <a:pt x="1056" y="4169"/>
                    <a:pt x="1056" y="4176"/>
                  </a:cubicBezTo>
                  <a:cubicBezTo>
                    <a:pt x="1056" y="4183"/>
                    <a:pt x="1064" y="4187"/>
                    <a:pt x="1064" y="4187"/>
                  </a:cubicBezTo>
                  <a:close/>
                  <a:moveTo>
                    <a:pt x="1405" y="2282"/>
                  </a:moveTo>
                  <a:cubicBezTo>
                    <a:pt x="1415" y="2276"/>
                    <a:pt x="1418" y="2263"/>
                    <a:pt x="1406" y="2262"/>
                  </a:cubicBezTo>
                  <a:cubicBezTo>
                    <a:pt x="1399" y="2261"/>
                    <a:pt x="1399" y="2271"/>
                    <a:pt x="1399" y="2271"/>
                  </a:cubicBezTo>
                  <a:cubicBezTo>
                    <a:pt x="1399" y="2271"/>
                    <a:pt x="1396" y="2288"/>
                    <a:pt x="1405" y="2282"/>
                  </a:cubicBezTo>
                  <a:close/>
                  <a:moveTo>
                    <a:pt x="1423" y="2213"/>
                  </a:moveTo>
                  <a:cubicBezTo>
                    <a:pt x="1419" y="2208"/>
                    <a:pt x="1403" y="2217"/>
                    <a:pt x="1407" y="2224"/>
                  </a:cubicBezTo>
                  <a:cubicBezTo>
                    <a:pt x="1407" y="2224"/>
                    <a:pt x="1426" y="2217"/>
                    <a:pt x="1423" y="2213"/>
                  </a:cubicBezTo>
                  <a:close/>
                  <a:moveTo>
                    <a:pt x="1871" y="1440"/>
                  </a:moveTo>
                  <a:cubicBezTo>
                    <a:pt x="1879" y="1439"/>
                    <a:pt x="1878" y="1428"/>
                    <a:pt x="1872" y="1428"/>
                  </a:cubicBezTo>
                  <a:cubicBezTo>
                    <a:pt x="1865" y="1428"/>
                    <a:pt x="1865" y="1440"/>
                    <a:pt x="1871" y="1440"/>
                  </a:cubicBezTo>
                  <a:close/>
                  <a:moveTo>
                    <a:pt x="933" y="8350"/>
                  </a:moveTo>
                  <a:cubicBezTo>
                    <a:pt x="944" y="8351"/>
                    <a:pt x="944" y="8351"/>
                    <a:pt x="944" y="8351"/>
                  </a:cubicBezTo>
                  <a:cubicBezTo>
                    <a:pt x="940" y="8341"/>
                    <a:pt x="940" y="8341"/>
                    <a:pt x="940" y="8341"/>
                  </a:cubicBezTo>
                  <a:lnTo>
                    <a:pt x="933" y="8350"/>
                  </a:lnTo>
                  <a:close/>
                  <a:moveTo>
                    <a:pt x="1741" y="8021"/>
                  </a:moveTo>
                  <a:cubicBezTo>
                    <a:pt x="1741" y="8021"/>
                    <a:pt x="1741" y="8021"/>
                    <a:pt x="1741" y="8020"/>
                  </a:cubicBezTo>
                  <a:cubicBezTo>
                    <a:pt x="1740" y="8021"/>
                    <a:pt x="1741" y="8021"/>
                    <a:pt x="1741" y="8021"/>
                  </a:cubicBezTo>
                  <a:close/>
                  <a:moveTo>
                    <a:pt x="1319" y="3409"/>
                  </a:moveTo>
                  <a:cubicBezTo>
                    <a:pt x="1319" y="3408"/>
                    <a:pt x="1319" y="3408"/>
                    <a:pt x="1319" y="3408"/>
                  </a:cubicBezTo>
                  <a:cubicBezTo>
                    <a:pt x="1319" y="3408"/>
                    <a:pt x="1319" y="3408"/>
                    <a:pt x="1319" y="3409"/>
                  </a:cubicBezTo>
                  <a:close/>
                  <a:moveTo>
                    <a:pt x="4657" y="6435"/>
                  </a:moveTo>
                  <a:cubicBezTo>
                    <a:pt x="4660" y="6397"/>
                    <a:pt x="4660" y="6397"/>
                    <a:pt x="4660" y="6397"/>
                  </a:cubicBezTo>
                  <a:cubicBezTo>
                    <a:pt x="4660" y="6397"/>
                    <a:pt x="4672" y="6384"/>
                    <a:pt x="4671" y="6374"/>
                  </a:cubicBezTo>
                  <a:cubicBezTo>
                    <a:pt x="4671" y="6364"/>
                    <a:pt x="4656" y="6334"/>
                    <a:pt x="4656" y="6334"/>
                  </a:cubicBezTo>
                  <a:cubicBezTo>
                    <a:pt x="4660" y="6255"/>
                    <a:pt x="4660" y="6255"/>
                    <a:pt x="4660" y="6255"/>
                  </a:cubicBezTo>
                  <a:cubicBezTo>
                    <a:pt x="4660" y="6255"/>
                    <a:pt x="4653" y="6223"/>
                    <a:pt x="4645" y="6219"/>
                  </a:cubicBezTo>
                  <a:cubicBezTo>
                    <a:pt x="4644" y="6215"/>
                    <a:pt x="4644" y="6201"/>
                    <a:pt x="4644" y="6201"/>
                  </a:cubicBezTo>
                  <a:cubicBezTo>
                    <a:pt x="4644" y="6201"/>
                    <a:pt x="4614" y="6151"/>
                    <a:pt x="4557" y="6111"/>
                  </a:cubicBezTo>
                  <a:cubicBezTo>
                    <a:pt x="4517" y="6070"/>
                    <a:pt x="4467" y="6029"/>
                    <a:pt x="4437" y="6022"/>
                  </a:cubicBezTo>
                  <a:cubicBezTo>
                    <a:pt x="4407" y="6015"/>
                    <a:pt x="4376" y="6016"/>
                    <a:pt x="4376" y="6016"/>
                  </a:cubicBezTo>
                  <a:cubicBezTo>
                    <a:pt x="4312" y="5986"/>
                    <a:pt x="4312" y="5986"/>
                    <a:pt x="4312" y="5986"/>
                  </a:cubicBezTo>
                  <a:cubicBezTo>
                    <a:pt x="4299" y="5986"/>
                    <a:pt x="4299" y="5986"/>
                    <a:pt x="4299" y="5986"/>
                  </a:cubicBezTo>
                  <a:cubicBezTo>
                    <a:pt x="4297" y="5999"/>
                    <a:pt x="4297" y="5999"/>
                    <a:pt x="4297" y="5999"/>
                  </a:cubicBezTo>
                  <a:cubicBezTo>
                    <a:pt x="4262" y="5997"/>
                    <a:pt x="4262" y="5997"/>
                    <a:pt x="4262" y="5997"/>
                  </a:cubicBezTo>
                  <a:cubicBezTo>
                    <a:pt x="4253" y="5983"/>
                    <a:pt x="4253" y="5983"/>
                    <a:pt x="4253" y="5983"/>
                  </a:cubicBezTo>
                  <a:cubicBezTo>
                    <a:pt x="4250" y="5989"/>
                    <a:pt x="4250" y="5989"/>
                    <a:pt x="4250" y="5989"/>
                  </a:cubicBezTo>
                  <a:cubicBezTo>
                    <a:pt x="4209" y="5988"/>
                    <a:pt x="4209" y="5988"/>
                    <a:pt x="4209" y="5988"/>
                  </a:cubicBezTo>
                  <a:cubicBezTo>
                    <a:pt x="4209" y="5981"/>
                    <a:pt x="4209" y="5981"/>
                    <a:pt x="4209" y="5981"/>
                  </a:cubicBezTo>
                  <a:cubicBezTo>
                    <a:pt x="4185" y="5980"/>
                    <a:pt x="4185" y="5980"/>
                    <a:pt x="4185" y="5980"/>
                  </a:cubicBezTo>
                  <a:cubicBezTo>
                    <a:pt x="4180" y="5975"/>
                    <a:pt x="4180" y="5975"/>
                    <a:pt x="4180" y="5975"/>
                  </a:cubicBezTo>
                  <a:cubicBezTo>
                    <a:pt x="4180" y="5975"/>
                    <a:pt x="4159" y="5969"/>
                    <a:pt x="4159" y="5990"/>
                  </a:cubicBezTo>
                  <a:cubicBezTo>
                    <a:pt x="4139" y="5988"/>
                    <a:pt x="4113" y="5987"/>
                    <a:pt x="4113" y="5987"/>
                  </a:cubicBezTo>
                  <a:cubicBezTo>
                    <a:pt x="4110" y="5979"/>
                    <a:pt x="4110" y="5979"/>
                    <a:pt x="4110" y="5979"/>
                  </a:cubicBezTo>
                  <a:cubicBezTo>
                    <a:pt x="4079" y="6012"/>
                    <a:pt x="4079" y="6012"/>
                    <a:pt x="4079" y="6012"/>
                  </a:cubicBezTo>
                  <a:cubicBezTo>
                    <a:pt x="4079" y="6032"/>
                    <a:pt x="4079" y="6032"/>
                    <a:pt x="4079" y="6032"/>
                  </a:cubicBezTo>
                  <a:cubicBezTo>
                    <a:pt x="4079" y="6032"/>
                    <a:pt x="4068" y="6061"/>
                    <a:pt x="4063" y="6061"/>
                  </a:cubicBezTo>
                  <a:cubicBezTo>
                    <a:pt x="4059" y="6061"/>
                    <a:pt x="4062" y="6089"/>
                    <a:pt x="4062" y="6089"/>
                  </a:cubicBezTo>
                  <a:cubicBezTo>
                    <a:pt x="4051" y="6091"/>
                    <a:pt x="4051" y="6091"/>
                    <a:pt x="4051" y="6091"/>
                  </a:cubicBezTo>
                  <a:cubicBezTo>
                    <a:pt x="4051" y="6091"/>
                    <a:pt x="4029" y="6098"/>
                    <a:pt x="4029" y="6123"/>
                  </a:cubicBezTo>
                  <a:cubicBezTo>
                    <a:pt x="4013" y="6116"/>
                    <a:pt x="4011" y="6107"/>
                    <a:pt x="4011" y="6107"/>
                  </a:cubicBezTo>
                  <a:cubicBezTo>
                    <a:pt x="3967" y="6109"/>
                    <a:pt x="3967" y="6109"/>
                    <a:pt x="3967" y="6109"/>
                  </a:cubicBezTo>
                  <a:cubicBezTo>
                    <a:pt x="3943" y="6067"/>
                    <a:pt x="3943" y="6067"/>
                    <a:pt x="3943" y="6067"/>
                  </a:cubicBezTo>
                  <a:cubicBezTo>
                    <a:pt x="3943" y="6059"/>
                    <a:pt x="3943" y="6059"/>
                    <a:pt x="3943" y="6059"/>
                  </a:cubicBezTo>
                  <a:cubicBezTo>
                    <a:pt x="3943" y="6059"/>
                    <a:pt x="3918" y="6044"/>
                    <a:pt x="3916" y="6044"/>
                  </a:cubicBezTo>
                  <a:cubicBezTo>
                    <a:pt x="3914" y="6044"/>
                    <a:pt x="3893" y="6043"/>
                    <a:pt x="3893" y="6043"/>
                  </a:cubicBezTo>
                  <a:cubicBezTo>
                    <a:pt x="3889" y="6038"/>
                    <a:pt x="3889" y="6038"/>
                    <a:pt x="3889" y="6038"/>
                  </a:cubicBezTo>
                  <a:cubicBezTo>
                    <a:pt x="3889" y="6038"/>
                    <a:pt x="3880" y="6043"/>
                    <a:pt x="3878" y="6043"/>
                  </a:cubicBezTo>
                  <a:cubicBezTo>
                    <a:pt x="3876" y="6043"/>
                    <a:pt x="3871" y="6037"/>
                    <a:pt x="3871" y="6037"/>
                  </a:cubicBezTo>
                  <a:cubicBezTo>
                    <a:pt x="3895" y="6020"/>
                    <a:pt x="3895" y="6020"/>
                    <a:pt x="3895" y="6020"/>
                  </a:cubicBezTo>
                  <a:cubicBezTo>
                    <a:pt x="3893" y="6009"/>
                    <a:pt x="3893" y="6009"/>
                    <a:pt x="3893" y="6009"/>
                  </a:cubicBezTo>
                  <a:cubicBezTo>
                    <a:pt x="3893" y="6009"/>
                    <a:pt x="3921" y="5955"/>
                    <a:pt x="3998" y="5895"/>
                  </a:cubicBezTo>
                  <a:cubicBezTo>
                    <a:pt x="4021" y="5897"/>
                    <a:pt x="4018" y="5893"/>
                    <a:pt x="4018" y="5893"/>
                  </a:cubicBezTo>
                  <a:cubicBezTo>
                    <a:pt x="4021" y="5834"/>
                    <a:pt x="4021" y="5834"/>
                    <a:pt x="4021" y="5834"/>
                  </a:cubicBezTo>
                  <a:cubicBezTo>
                    <a:pt x="4025" y="5827"/>
                    <a:pt x="4025" y="5827"/>
                    <a:pt x="4025" y="5827"/>
                  </a:cubicBezTo>
                  <a:cubicBezTo>
                    <a:pt x="4007" y="5759"/>
                    <a:pt x="4007" y="5759"/>
                    <a:pt x="4007" y="5759"/>
                  </a:cubicBezTo>
                  <a:cubicBezTo>
                    <a:pt x="3988" y="5733"/>
                    <a:pt x="3988" y="5733"/>
                    <a:pt x="3988" y="5733"/>
                  </a:cubicBezTo>
                  <a:cubicBezTo>
                    <a:pt x="3988" y="5733"/>
                    <a:pt x="3987" y="5702"/>
                    <a:pt x="3967" y="5685"/>
                  </a:cubicBezTo>
                  <a:cubicBezTo>
                    <a:pt x="3963" y="5653"/>
                    <a:pt x="3955" y="5649"/>
                    <a:pt x="3953" y="5646"/>
                  </a:cubicBezTo>
                  <a:cubicBezTo>
                    <a:pt x="3950" y="5643"/>
                    <a:pt x="3950" y="5630"/>
                    <a:pt x="3950" y="5630"/>
                  </a:cubicBezTo>
                  <a:cubicBezTo>
                    <a:pt x="3950" y="5630"/>
                    <a:pt x="3929" y="5604"/>
                    <a:pt x="3929" y="5602"/>
                  </a:cubicBezTo>
                  <a:cubicBezTo>
                    <a:pt x="3928" y="5600"/>
                    <a:pt x="3927" y="5589"/>
                    <a:pt x="3927" y="5589"/>
                  </a:cubicBezTo>
                  <a:cubicBezTo>
                    <a:pt x="3913" y="5582"/>
                    <a:pt x="3913" y="5582"/>
                    <a:pt x="3913" y="5582"/>
                  </a:cubicBezTo>
                  <a:cubicBezTo>
                    <a:pt x="3911" y="5577"/>
                    <a:pt x="3911" y="5577"/>
                    <a:pt x="3911" y="5577"/>
                  </a:cubicBezTo>
                  <a:cubicBezTo>
                    <a:pt x="3903" y="5585"/>
                    <a:pt x="3903" y="5585"/>
                    <a:pt x="3903" y="5585"/>
                  </a:cubicBezTo>
                  <a:cubicBezTo>
                    <a:pt x="3891" y="5586"/>
                    <a:pt x="3891" y="5586"/>
                    <a:pt x="3891" y="5586"/>
                  </a:cubicBezTo>
                  <a:cubicBezTo>
                    <a:pt x="3891" y="5586"/>
                    <a:pt x="3886" y="5567"/>
                    <a:pt x="3863" y="5565"/>
                  </a:cubicBezTo>
                  <a:cubicBezTo>
                    <a:pt x="3857" y="5559"/>
                    <a:pt x="3827" y="5518"/>
                    <a:pt x="3827" y="5518"/>
                  </a:cubicBezTo>
                  <a:cubicBezTo>
                    <a:pt x="3804" y="5515"/>
                    <a:pt x="3804" y="5515"/>
                    <a:pt x="3804" y="5515"/>
                  </a:cubicBezTo>
                  <a:cubicBezTo>
                    <a:pt x="3804" y="5515"/>
                    <a:pt x="3769" y="5471"/>
                    <a:pt x="3749" y="5467"/>
                  </a:cubicBezTo>
                  <a:cubicBezTo>
                    <a:pt x="3735" y="5444"/>
                    <a:pt x="3721" y="5412"/>
                    <a:pt x="3721" y="5412"/>
                  </a:cubicBezTo>
                  <a:cubicBezTo>
                    <a:pt x="3702" y="5412"/>
                    <a:pt x="3702" y="5412"/>
                    <a:pt x="3702" y="5412"/>
                  </a:cubicBezTo>
                  <a:cubicBezTo>
                    <a:pt x="3701" y="5419"/>
                    <a:pt x="3701" y="5419"/>
                    <a:pt x="3701" y="5419"/>
                  </a:cubicBezTo>
                  <a:cubicBezTo>
                    <a:pt x="3683" y="5419"/>
                    <a:pt x="3683" y="5419"/>
                    <a:pt x="3683" y="5419"/>
                  </a:cubicBezTo>
                  <a:cubicBezTo>
                    <a:pt x="3677" y="5425"/>
                    <a:pt x="3677" y="5425"/>
                    <a:pt x="3677" y="5425"/>
                  </a:cubicBezTo>
                  <a:cubicBezTo>
                    <a:pt x="3634" y="5425"/>
                    <a:pt x="3634" y="5425"/>
                    <a:pt x="3634" y="5425"/>
                  </a:cubicBezTo>
                  <a:cubicBezTo>
                    <a:pt x="3634" y="5425"/>
                    <a:pt x="3628" y="5435"/>
                    <a:pt x="3617" y="5435"/>
                  </a:cubicBezTo>
                  <a:cubicBezTo>
                    <a:pt x="3605" y="5435"/>
                    <a:pt x="3608" y="5429"/>
                    <a:pt x="3608" y="5429"/>
                  </a:cubicBezTo>
                  <a:cubicBezTo>
                    <a:pt x="3590" y="5426"/>
                    <a:pt x="3590" y="5426"/>
                    <a:pt x="3590" y="5426"/>
                  </a:cubicBezTo>
                  <a:cubicBezTo>
                    <a:pt x="3571" y="5405"/>
                    <a:pt x="3571" y="5405"/>
                    <a:pt x="3571" y="5405"/>
                  </a:cubicBezTo>
                  <a:cubicBezTo>
                    <a:pt x="3565" y="5414"/>
                    <a:pt x="3565" y="5414"/>
                    <a:pt x="3565" y="5414"/>
                  </a:cubicBezTo>
                  <a:cubicBezTo>
                    <a:pt x="3551" y="5414"/>
                    <a:pt x="3551" y="5414"/>
                    <a:pt x="3551" y="5414"/>
                  </a:cubicBezTo>
                  <a:cubicBezTo>
                    <a:pt x="3551" y="5414"/>
                    <a:pt x="3539" y="5427"/>
                    <a:pt x="3537" y="5419"/>
                  </a:cubicBezTo>
                  <a:cubicBezTo>
                    <a:pt x="3535" y="5412"/>
                    <a:pt x="3563" y="5403"/>
                    <a:pt x="3563" y="5403"/>
                  </a:cubicBezTo>
                  <a:cubicBezTo>
                    <a:pt x="3571" y="5396"/>
                    <a:pt x="3571" y="5396"/>
                    <a:pt x="3571" y="5396"/>
                  </a:cubicBezTo>
                  <a:cubicBezTo>
                    <a:pt x="3599" y="5418"/>
                    <a:pt x="3599" y="5418"/>
                    <a:pt x="3599" y="5418"/>
                  </a:cubicBezTo>
                  <a:cubicBezTo>
                    <a:pt x="3611" y="5420"/>
                    <a:pt x="3611" y="5420"/>
                    <a:pt x="3611" y="5420"/>
                  </a:cubicBezTo>
                  <a:cubicBezTo>
                    <a:pt x="3614" y="5412"/>
                    <a:pt x="3614" y="5412"/>
                    <a:pt x="3614" y="5412"/>
                  </a:cubicBezTo>
                  <a:cubicBezTo>
                    <a:pt x="3662" y="5413"/>
                    <a:pt x="3662" y="5413"/>
                    <a:pt x="3662" y="5413"/>
                  </a:cubicBezTo>
                  <a:cubicBezTo>
                    <a:pt x="3665" y="5406"/>
                    <a:pt x="3665" y="5406"/>
                    <a:pt x="3665" y="5406"/>
                  </a:cubicBezTo>
                  <a:cubicBezTo>
                    <a:pt x="3673" y="5413"/>
                    <a:pt x="3673" y="5413"/>
                    <a:pt x="3673" y="5413"/>
                  </a:cubicBezTo>
                  <a:cubicBezTo>
                    <a:pt x="3673" y="5413"/>
                    <a:pt x="3703" y="5394"/>
                    <a:pt x="3705" y="5394"/>
                  </a:cubicBezTo>
                  <a:cubicBezTo>
                    <a:pt x="3707" y="5394"/>
                    <a:pt x="3731" y="5395"/>
                    <a:pt x="3731" y="5395"/>
                  </a:cubicBezTo>
                  <a:cubicBezTo>
                    <a:pt x="3801" y="5478"/>
                    <a:pt x="3801" y="5478"/>
                    <a:pt x="3801" y="5478"/>
                  </a:cubicBezTo>
                  <a:cubicBezTo>
                    <a:pt x="3820" y="5479"/>
                    <a:pt x="3820" y="5479"/>
                    <a:pt x="3820" y="5479"/>
                  </a:cubicBezTo>
                  <a:cubicBezTo>
                    <a:pt x="3824" y="5487"/>
                    <a:pt x="3824" y="5487"/>
                    <a:pt x="3824" y="5487"/>
                  </a:cubicBezTo>
                  <a:cubicBezTo>
                    <a:pt x="3827" y="5478"/>
                    <a:pt x="3827" y="5478"/>
                    <a:pt x="3827" y="5478"/>
                  </a:cubicBezTo>
                  <a:cubicBezTo>
                    <a:pt x="3827" y="5478"/>
                    <a:pt x="3859" y="5470"/>
                    <a:pt x="3866" y="5469"/>
                  </a:cubicBezTo>
                  <a:cubicBezTo>
                    <a:pt x="3873" y="5469"/>
                    <a:pt x="3916" y="5481"/>
                    <a:pt x="3918" y="5503"/>
                  </a:cubicBezTo>
                  <a:cubicBezTo>
                    <a:pt x="3901" y="5523"/>
                    <a:pt x="3901" y="5528"/>
                    <a:pt x="3901" y="5528"/>
                  </a:cubicBezTo>
                  <a:cubicBezTo>
                    <a:pt x="3908" y="5530"/>
                    <a:pt x="3908" y="5530"/>
                    <a:pt x="3908" y="5530"/>
                  </a:cubicBezTo>
                  <a:cubicBezTo>
                    <a:pt x="3925" y="5505"/>
                    <a:pt x="3925" y="5505"/>
                    <a:pt x="3925" y="5505"/>
                  </a:cubicBezTo>
                  <a:cubicBezTo>
                    <a:pt x="3925" y="5505"/>
                    <a:pt x="3909" y="5450"/>
                    <a:pt x="3894" y="5441"/>
                  </a:cubicBezTo>
                  <a:cubicBezTo>
                    <a:pt x="3887" y="5430"/>
                    <a:pt x="3846" y="5375"/>
                    <a:pt x="3846" y="5375"/>
                  </a:cubicBezTo>
                  <a:cubicBezTo>
                    <a:pt x="3846" y="5375"/>
                    <a:pt x="3786" y="5295"/>
                    <a:pt x="3778" y="5266"/>
                  </a:cubicBezTo>
                  <a:cubicBezTo>
                    <a:pt x="3770" y="5237"/>
                    <a:pt x="3750" y="5190"/>
                    <a:pt x="3750" y="5173"/>
                  </a:cubicBezTo>
                  <a:cubicBezTo>
                    <a:pt x="3750" y="5155"/>
                    <a:pt x="3759" y="5119"/>
                    <a:pt x="3803" y="5125"/>
                  </a:cubicBezTo>
                  <a:cubicBezTo>
                    <a:pt x="3817" y="5114"/>
                    <a:pt x="3816" y="5106"/>
                    <a:pt x="3816" y="5106"/>
                  </a:cubicBezTo>
                  <a:cubicBezTo>
                    <a:pt x="3769" y="5080"/>
                    <a:pt x="3769" y="5080"/>
                    <a:pt x="3769" y="5080"/>
                  </a:cubicBezTo>
                  <a:cubicBezTo>
                    <a:pt x="3769" y="5080"/>
                    <a:pt x="3719" y="5084"/>
                    <a:pt x="3720" y="5040"/>
                  </a:cubicBezTo>
                  <a:cubicBezTo>
                    <a:pt x="3721" y="5037"/>
                    <a:pt x="3728" y="5033"/>
                    <a:pt x="3728" y="5033"/>
                  </a:cubicBezTo>
                  <a:cubicBezTo>
                    <a:pt x="3728" y="5033"/>
                    <a:pt x="3670" y="5016"/>
                    <a:pt x="3671" y="4979"/>
                  </a:cubicBezTo>
                  <a:cubicBezTo>
                    <a:pt x="3671" y="4975"/>
                    <a:pt x="3662" y="4976"/>
                    <a:pt x="3662" y="4976"/>
                  </a:cubicBezTo>
                  <a:cubicBezTo>
                    <a:pt x="3659" y="4941"/>
                    <a:pt x="3659" y="4941"/>
                    <a:pt x="3659" y="4941"/>
                  </a:cubicBezTo>
                  <a:cubicBezTo>
                    <a:pt x="3637" y="4909"/>
                    <a:pt x="3637" y="4909"/>
                    <a:pt x="3637" y="4909"/>
                  </a:cubicBezTo>
                  <a:cubicBezTo>
                    <a:pt x="3637" y="4909"/>
                    <a:pt x="3641" y="4887"/>
                    <a:pt x="3615" y="4885"/>
                  </a:cubicBezTo>
                  <a:cubicBezTo>
                    <a:pt x="3615" y="4883"/>
                    <a:pt x="3602" y="4870"/>
                    <a:pt x="3602" y="4870"/>
                  </a:cubicBezTo>
                  <a:cubicBezTo>
                    <a:pt x="3609" y="4855"/>
                    <a:pt x="3609" y="4855"/>
                    <a:pt x="3609" y="4855"/>
                  </a:cubicBezTo>
                  <a:cubicBezTo>
                    <a:pt x="3581" y="4827"/>
                    <a:pt x="3581" y="4827"/>
                    <a:pt x="3581" y="4827"/>
                  </a:cubicBezTo>
                  <a:cubicBezTo>
                    <a:pt x="3543" y="4818"/>
                    <a:pt x="3543" y="4818"/>
                    <a:pt x="3543" y="4818"/>
                  </a:cubicBezTo>
                  <a:cubicBezTo>
                    <a:pt x="3543" y="4818"/>
                    <a:pt x="3541" y="4795"/>
                    <a:pt x="3513" y="4793"/>
                  </a:cubicBezTo>
                  <a:cubicBezTo>
                    <a:pt x="3495" y="4773"/>
                    <a:pt x="3495" y="4768"/>
                    <a:pt x="3495" y="4768"/>
                  </a:cubicBezTo>
                  <a:cubicBezTo>
                    <a:pt x="3427" y="4746"/>
                    <a:pt x="3427" y="4746"/>
                    <a:pt x="3427" y="4746"/>
                  </a:cubicBezTo>
                  <a:cubicBezTo>
                    <a:pt x="3397" y="4746"/>
                    <a:pt x="3397" y="4746"/>
                    <a:pt x="3397" y="4746"/>
                  </a:cubicBezTo>
                  <a:cubicBezTo>
                    <a:pt x="3365" y="4717"/>
                    <a:pt x="3365" y="4717"/>
                    <a:pt x="3365" y="4717"/>
                  </a:cubicBezTo>
                  <a:cubicBezTo>
                    <a:pt x="3347" y="4715"/>
                    <a:pt x="3347" y="4715"/>
                    <a:pt x="3347" y="4715"/>
                  </a:cubicBezTo>
                  <a:cubicBezTo>
                    <a:pt x="3347" y="4715"/>
                    <a:pt x="3336" y="4701"/>
                    <a:pt x="3334" y="4701"/>
                  </a:cubicBezTo>
                  <a:cubicBezTo>
                    <a:pt x="3332" y="4701"/>
                    <a:pt x="3327" y="4731"/>
                    <a:pt x="3327" y="4731"/>
                  </a:cubicBezTo>
                  <a:cubicBezTo>
                    <a:pt x="3320" y="4731"/>
                    <a:pt x="3320" y="4731"/>
                    <a:pt x="3320" y="4731"/>
                  </a:cubicBezTo>
                  <a:cubicBezTo>
                    <a:pt x="3318" y="4704"/>
                    <a:pt x="3318" y="4704"/>
                    <a:pt x="3318" y="4704"/>
                  </a:cubicBezTo>
                  <a:cubicBezTo>
                    <a:pt x="3323" y="4698"/>
                    <a:pt x="3323" y="4698"/>
                    <a:pt x="3323" y="4698"/>
                  </a:cubicBezTo>
                  <a:cubicBezTo>
                    <a:pt x="3304" y="4676"/>
                    <a:pt x="3304" y="4676"/>
                    <a:pt x="3304" y="4676"/>
                  </a:cubicBezTo>
                  <a:cubicBezTo>
                    <a:pt x="3304" y="4676"/>
                    <a:pt x="3301" y="4667"/>
                    <a:pt x="3318" y="4667"/>
                  </a:cubicBezTo>
                  <a:cubicBezTo>
                    <a:pt x="3314" y="4664"/>
                    <a:pt x="3312" y="4655"/>
                    <a:pt x="3305" y="4653"/>
                  </a:cubicBezTo>
                  <a:cubicBezTo>
                    <a:pt x="3297" y="4651"/>
                    <a:pt x="3256" y="4609"/>
                    <a:pt x="3256" y="4609"/>
                  </a:cubicBezTo>
                  <a:cubicBezTo>
                    <a:pt x="3255" y="4575"/>
                    <a:pt x="3255" y="4575"/>
                    <a:pt x="3255" y="4575"/>
                  </a:cubicBezTo>
                  <a:cubicBezTo>
                    <a:pt x="3255" y="4575"/>
                    <a:pt x="3231" y="4528"/>
                    <a:pt x="3230" y="4515"/>
                  </a:cubicBezTo>
                  <a:cubicBezTo>
                    <a:pt x="3229" y="4503"/>
                    <a:pt x="3237" y="4498"/>
                    <a:pt x="3237" y="4498"/>
                  </a:cubicBezTo>
                  <a:cubicBezTo>
                    <a:pt x="3237" y="4498"/>
                    <a:pt x="3229" y="4491"/>
                    <a:pt x="3229" y="4483"/>
                  </a:cubicBezTo>
                  <a:cubicBezTo>
                    <a:pt x="3228" y="4476"/>
                    <a:pt x="3235" y="4469"/>
                    <a:pt x="3235" y="4465"/>
                  </a:cubicBezTo>
                  <a:cubicBezTo>
                    <a:pt x="3235" y="4461"/>
                    <a:pt x="3224" y="4454"/>
                    <a:pt x="3224" y="4454"/>
                  </a:cubicBezTo>
                  <a:cubicBezTo>
                    <a:pt x="3222" y="4439"/>
                    <a:pt x="3222" y="4439"/>
                    <a:pt x="3222" y="4439"/>
                  </a:cubicBezTo>
                  <a:cubicBezTo>
                    <a:pt x="3209" y="4439"/>
                    <a:pt x="3209" y="4439"/>
                    <a:pt x="3209" y="4439"/>
                  </a:cubicBezTo>
                  <a:cubicBezTo>
                    <a:pt x="3198" y="4399"/>
                    <a:pt x="3198" y="4399"/>
                    <a:pt x="3198" y="4399"/>
                  </a:cubicBezTo>
                  <a:cubicBezTo>
                    <a:pt x="3187" y="4399"/>
                    <a:pt x="3187" y="4399"/>
                    <a:pt x="3187" y="4399"/>
                  </a:cubicBezTo>
                  <a:cubicBezTo>
                    <a:pt x="3188" y="4379"/>
                    <a:pt x="3188" y="4379"/>
                    <a:pt x="3188" y="4379"/>
                  </a:cubicBezTo>
                  <a:cubicBezTo>
                    <a:pt x="3168" y="4356"/>
                    <a:pt x="3168" y="4356"/>
                    <a:pt x="3168" y="4356"/>
                  </a:cubicBezTo>
                  <a:cubicBezTo>
                    <a:pt x="3171" y="4345"/>
                    <a:pt x="3171" y="4345"/>
                    <a:pt x="3171" y="4345"/>
                  </a:cubicBezTo>
                  <a:cubicBezTo>
                    <a:pt x="3171" y="4345"/>
                    <a:pt x="3159" y="4329"/>
                    <a:pt x="3156" y="4313"/>
                  </a:cubicBezTo>
                  <a:cubicBezTo>
                    <a:pt x="3153" y="4297"/>
                    <a:pt x="3168" y="4295"/>
                    <a:pt x="3168" y="4295"/>
                  </a:cubicBezTo>
                  <a:cubicBezTo>
                    <a:pt x="3155" y="4275"/>
                    <a:pt x="3155" y="4275"/>
                    <a:pt x="3155" y="4275"/>
                  </a:cubicBezTo>
                  <a:cubicBezTo>
                    <a:pt x="3155" y="4275"/>
                    <a:pt x="3151" y="4253"/>
                    <a:pt x="3138" y="4245"/>
                  </a:cubicBezTo>
                  <a:cubicBezTo>
                    <a:pt x="3133" y="4238"/>
                    <a:pt x="3135" y="4212"/>
                    <a:pt x="3135" y="4212"/>
                  </a:cubicBezTo>
                  <a:cubicBezTo>
                    <a:pt x="3135" y="4212"/>
                    <a:pt x="3145" y="4203"/>
                    <a:pt x="3144" y="4195"/>
                  </a:cubicBezTo>
                  <a:cubicBezTo>
                    <a:pt x="3143" y="4187"/>
                    <a:pt x="3117" y="4163"/>
                    <a:pt x="3116" y="4153"/>
                  </a:cubicBezTo>
                  <a:cubicBezTo>
                    <a:pt x="3115" y="4143"/>
                    <a:pt x="3133" y="4123"/>
                    <a:pt x="3131" y="4114"/>
                  </a:cubicBezTo>
                  <a:cubicBezTo>
                    <a:pt x="3128" y="4105"/>
                    <a:pt x="3122" y="4063"/>
                    <a:pt x="3122" y="4063"/>
                  </a:cubicBezTo>
                  <a:cubicBezTo>
                    <a:pt x="3114" y="4061"/>
                    <a:pt x="3114" y="4061"/>
                    <a:pt x="3114" y="4061"/>
                  </a:cubicBezTo>
                  <a:cubicBezTo>
                    <a:pt x="3114" y="4044"/>
                    <a:pt x="3114" y="4044"/>
                    <a:pt x="3114" y="4044"/>
                  </a:cubicBezTo>
                  <a:cubicBezTo>
                    <a:pt x="3101" y="4023"/>
                    <a:pt x="3101" y="4023"/>
                    <a:pt x="3101" y="4023"/>
                  </a:cubicBezTo>
                  <a:cubicBezTo>
                    <a:pt x="3108" y="4018"/>
                    <a:pt x="3108" y="4018"/>
                    <a:pt x="3108" y="4018"/>
                  </a:cubicBezTo>
                  <a:cubicBezTo>
                    <a:pt x="3108" y="4018"/>
                    <a:pt x="3100" y="3995"/>
                    <a:pt x="3095" y="3992"/>
                  </a:cubicBezTo>
                  <a:cubicBezTo>
                    <a:pt x="3089" y="3989"/>
                    <a:pt x="3069" y="3969"/>
                    <a:pt x="3069" y="3969"/>
                  </a:cubicBezTo>
                  <a:cubicBezTo>
                    <a:pt x="3051" y="3969"/>
                    <a:pt x="3051" y="3969"/>
                    <a:pt x="3051" y="3969"/>
                  </a:cubicBezTo>
                  <a:cubicBezTo>
                    <a:pt x="3051" y="3969"/>
                    <a:pt x="3045" y="3985"/>
                    <a:pt x="3040" y="3975"/>
                  </a:cubicBezTo>
                  <a:cubicBezTo>
                    <a:pt x="3035" y="3966"/>
                    <a:pt x="3050" y="3965"/>
                    <a:pt x="3050" y="3965"/>
                  </a:cubicBezTo>
                  <a:cubicBezTo>
                    <a:pt x="3036" y="3943"/>
                    <a:pt x="3036" y="3943"/>
                    <a:pt x="3036" y="3943"/>
                  </a:cubicBezTo>
                  <a:cubicBezTo>
                    <a:pt x="3037" y="3914"/>
                    <a:pt x="3037" y="3914"/>
                    <a:pt x="3037" y="3914"/>
                  </a:cubicBezTo>
                  <a:cubicBezTo>
                    <a:pt x="3003" y="3913"/>
                    <a:pt x="3003" y="3913"/>
                    <a:pt x="3003" y="3913"/>
                  </a:cubicBezTo>
                  <a:cubicBezTo>
                    <a:pt x="3009" y="3929"/>
                    <a:pt x="3009" y="3929"/>
                    <a:pt x="3009" y="3929"/>
                  </a:cubicBezTo>
                  <a:cubicBezTo>
                    <a:pt x="3009" y="3929"/>
                    <a:pt x="3029" y="3931"/>
                    <a:pt x="3029" y="3937"/>
                  </a:cubicBezTo>
                  <a:cubicBezTo>
                    <a:pt x="3029" y="3944"/>
                    <a:pt x="3029" y="3959"/>
                    <a:pt x="3021" y="3957"/>
                  </a:cubicBezTo>
                  <a:cubicBezTo>
                    <a:pt x="3013" y="3955"/>
                    <a:pt x="2996" y="3933"/>
                    <a:pt x="2996" y="3933"/>
                  </a:cubicBezTo>
                  <a:cubicBezTo>
                    <a:pt x="2995" y="3919"/>
                    <a:pt x="2995" y="3919"/>
                    <a:pt x="2995" y="3919"/>
                  </a:cubicBezTo>
                  <a:cubicBezTo>
                    <a:pt x="2995" y="3919"/>
                    <a:pt x="2968" y="3899"/>
                    <a:pt x="2956" y="3879"/>
                  </a:cubicBezTo>
                  <a:cubicBezTo>
                    <a:pt x="2944" y="3859"/>
                    <a:pt x="2937" y="3853"/>
                    <a:pt x="2938" y="3847"/>
                  </a:cubicBezTo>
                  <a:cubicBezTo>
                    <a:pt x="2939" y="3840"/>
                    <a:pt x="2914" y="3819"/>
                    <a:pt x="2914" y="3819"/>
                  </a:cubicBezTo>
                  <a:cubicBezTo>
                    <a:pt x="2915" y="3807"/>
                    <a:pt x="2915" y="3807"/>
                    <a:pt x="2915" y="3807"/>
                  </a:cubicBezTo>
                  <a:cubicBezTo>
                    <a:pt x="2903" y="3790"/>
                    <a:pt x="2903" y="3790"/>
                    <a:pt x="2903" y="3790"/>
                  </a:cubicBezTo>
                  <a:cubicBezTo>
                    <a:pt x="2901" y="3775"/>
                    <a:pt x="2901" y="3775"/>
                    <a:pt x="2901" y="3775"/>
                  </a:cubicBezTo>
                  <a:cubicBezTo>
                    <a:pt x="2883" y="3769"/>
                    <a:pt x="2883" y="3769"/>
                    <a:pt x="2883" y="3769"/>
                  </a:cubicBezTo>
                  <a:cubicBezTo>
                    <a:pt x="2879" y="3747"/>
                    <a:pt x="2879" y="3747"/>
                    <a:pt x="2879" y="3747"/>
                  </a:cubicBezTo>
                  <a:cubicBezTo>
                    <a:pt x="2859" y="3746"/>
                    <a:pt x="2859" y="3746"/>
                    <a:pt x="2859" y="3746"/>
                  </a:cubicBezTo>
                  <a:cubicBezTo>
                    <a:pt x="2859" y="3746"/>
                    <a:pt x="2845" y="3729"/>
                    <a:pt x="2843" y="3729"/>
                  </a:cubicBezTo>
                  <a:cubicBezTo>
                    <a:pt x="2841" y="3729"/>
                    <a:pt x="2824" y="3729"/>
                    <a:pt x="2824" y="3729"/>
                  </a:cubicBezTo>
                  <a:cubicBezTo>
                    <a:pt x="2816" y="3741"/>
                    <a:pt x="2816" y="3741"/>
                    <a:pt x="2816" y="3741"/>
                  </a:cubicBezTo>
                  <a:cubicBezTo>
                    <a:pt x="2804" y="3731"/>
                    <a:pt x="2804" y="3731"/>
                    <a:pt x="2804" y="3731"/>
                  </a:cubicBezTo>
                  <a:cubicBezTo>
                    <a:pt x="2783" y="3728"/>
                    <a:pt x="2783" y="3728"/>
                    <a:pt x="2783" y="3728"/>
                  </a:cubicBezTo>
                  <a:cubicBezTo>
                    <a:pt x="2763" y="3715"/>
                    <a:pt x="2763" y="3715"/>
                    <a:pt x="2763" y="3715"/>
                  </a:cubicBezTo>
                  <a:cubicBezTo>
                    <a:pt x="2759" y="3703"/>
                    <a:pt x="2759" y="3703"/>
                    <a:pt x="2759" y="3703"/>
                  </a:cubicBezTo>
                  <a:cubicBezTo>
                    <a:pt x="2724" y="3683"/>
                    <a:pt x="2724" y="3683"/>
                    <a:pt x="2724" y="3683"/>
                  </a:cubicBezTo>
                  <a:cubicBezTo>
                    <a:pt x="2715" y="3682"/>
                    <a:pt x="2715" y="3682"/>
                    <a:pt x="2715" y="3682"/>
                  </a:cubicBezTo>
                  <a:cubicBezTo>
                    <a:pt x="2715" y="3682"/>
                    <a:pt x="2711" y="3667"/>
                    <a:pt x="2704" y="3667"/>
                  </a:cubicBezTo>
                  <a:cubicBezTo>
                    <a:pt x="2697" y="3668"/>
                    <a:pt x="2691" y="3681"/>
                    <a:pt x="2691" y="3681"/>
                  </a:cubicBezTo>
                  <a:cubicBezTo>
                    <a:pt x="2679" y="3669"/>
                    <a:pt x="2679" y="3669"/>
                    <a:pt x="2679" y="3669"/>
                  </a:cubicBezTo>
                  <a:cubicBezTo>
                    <a:pt x="2679" y="3669"/>
                    <a:pt x="2677" y="3687"/>
                    <a:pt x="2671" y="3682"/>
                  </a:cubicBezTo>
                  <a:cubicBezTo>
                    <a:pt x="2665" y="3677"/>
                    <a:pt x="2672" y="3665"/>
                    <a:pt x="2672" y="3665"/>
                  </a:cubicBezTo>
                  <a:cubicBezTo>
                    <a:pt x="2649" y="3635"/>
                    <a:pt x="2649" y="3635"/>
                    <a:pt x="2649" y="3635"/>
                  </a:cubicBezTo>
                  <a:cubicBezTo>
                    <a:pt x="2635" y="3632"/>
                    <a:pt x="2635" y="3632"/>
                    <a:pt x="2635" y="3632"/>
                  </a:cubicBezTo>
                  <a:cubicBezTo>
                    <a:pt x="2627" y="3625"/>
                    <a:pt x="2627" y="3625"/>
                    <a:pt x="2627" y="3625"/>
                  </a:cubicBezTo>
                  <a:cubicBezTo>
                    <a:pt x="2618" y="3634"/>
                    <a:pt x="2618" y="3634"/>
                    <a:pt x="2618" y="3634"/>
                  </a:cubicBezTo>
                  <a:cubicBezTo>
                    <a:pt x="2611" y="3626"/>
                    <a:pt x="2611" y="3626"/>
                    <a:pt x="2611" y="3626"/>
                  </a:cubicBezTo>
                  <a:cubicBezTo>
                    <a:pt x="2604" y="3626"/>
                    <a:pt x="2604" y="3626"/>
                    <a:pt x="2604" y="3626"/>
                  </a:cubicBezTo>
                  <a:cubicBezTo>
                    <a:pt x="2599" y="3632"/>
                    <a:pt x="2599" y="3632"/>
                    <a:pt x="2599" y="3632"/>
                  </a:cubicBezTo>
                  <a:cubicBezTo>
                    <a:pt x="2592" y="3625"/>
                    <a:pt x="2592" y="3625"/>
                    <a:pt x="2592" y="3625"/>
                  </a:cubicBezTo>
                  <a:cubicBezTo>
                    <a:pt x="2572" y="3625"/>
                    <a:pt x="2572" y="3625"/>
                    <a:pt x="2572" y="3625"/>
                  </a:cubicBezTo>
                  <a:cubicBezTo>
                    <a:pt x="2553" y="3645"/>
                    <a:pt x="2553" y="3645"/>
                    <a:pt x="2553" y="3645"/>
                  </a:cubicBezTo>
                  <a:cubicBezTo>
                    <a:pt x="2547" y="3665"/>
                    <a:pt x="2547" y="3665"/>
                    <a:pt x="2547" y="3665"/>
                  </a:cubicBezTo>
                  <a:cubicBezTo>
                    <a:pt x="2535" y="3665"/>
                    <a:pt x="2535" y="3665"/>
                    <a:pt x="2535" y="3665"/>
                  </a:cubicBezTo>
                  <a:cubicBezTo>
                    <a:pt x="2535" y="3665"/>
                    <a:pt x="2540" y="3665"/>
                    <a:pt x="2540" y="3671"/>
                  </a:cubicBezTo>
                  <a:cubicBezTo>
                    <a:pt x="2540" y="3677"/>
                    <a:pt x="2532" y="3690"/>
                    <a:pt x="2532" y="3690"/>
                  </a:cubicBezTo>
                  <a:cubicBezTo>
                    <a:pt x="2505" y="3689"/>
                    <a:pt x="2505" y="3689"/>
                    <a:pt x="2505" y="3689"/>
                  </a:cubicBezTo>
                  <a:cubicBezTo>
                    <a:pt x="2471" y="3707"/>
                    <a:pt x="2471" y="3707"/>
                    <a:pt x="2471" y="3707"/>
                  </a:cubicBezTo>
                  <a:cubicBezTo>
                    <a:pt x="2471" y="3707"/>
                    <a:pt x="2456" y="3716"/>
                    <a:pt x="2445" y="3707"/>
                  </a:cubicBezTo>
                  <a:cubicBezTo>
                    <a:pt x="2433" y="3697"/>
                    <a:pt x="2421" y="3680"/>
                    <a:pt x="2421" y="3680"/>
                  </a:cubicBezTo>
                  <a:cubicBezTo>
                    <a:pt x="2375" y="3681"/>
                    <a:pt x="2375" y="3681"/>
                    <a:pt x="2375" y="3681"/>
                  </a:cubicBezTo>
                  <a:cubicBezTo>
                    <a:pt x="2369" y="3684"/>
                    <a:pt x="2369" y="3684"/>
                    <a:pt x="2369" y="3684"/>
                  </a:cubicBezTo>
                  <a:cubicBezTo>
                    <a:pt x="2366" y="3679"/>
                    <a:pt x="2366" y="3679"/>
                    <a:pt x="2366" y="3679"/>
                  </a:cubicBezTo>
                  <a:cubicBezTo>
                    <a:pt x="2343" y="3678"/>
                    <a:pt x="2343" y="3678"/>
                    <a:pt x="2343" y="3678"/>
                  </a:cubicBezTo>
                  <a:cubicBezTo>
                    <a:pt x="2343" y="3678"/>
                    <a:pt x="2336" y="3665"/>
                    <a:pt x="2333" y="3665"/>
                  </a:cubicBezTo>
                  <a:cubicBezTo>
                    <a:pt x="2331" y="3665"/>
                    <a:pt x="2330" y="3675"/>
                    <a:pt x="2306" y="3673"/>
                  </a:cubicBezTo>
                  <a:cubicBezTo>
                    <a:pt x="2282" y="3672"/>
                    <a:pt x="2283" y="3665"/>
                    <a:pt x="2283" y="3665"/>
                  </a:cubicBezTo>
                  <a:cubicBezTo>
                    <a:pt x="2283" y="3665"/>
                    <a:pt x="2236" y="3666"/>
                    <a:pt x="2233" y="3650"/>
                  </a:cubicBezTo>
                  <a:cubicBezTo>
                    <a:pt x="2216" y="3649"/>
                    <a:pt x="2206" y="3649"/>
                    <a:pt x="2206" y="3649"/>
                  </a:cubicBezTo>
                  <a:cubicBezTo>
                    <a:pt x="2206" y="3649"/>
                    <a:pt x="2202" y="3655"/>
                    <a:pt x="2197" y="3656"/>
                  </a:cubicBezTo>
                  <a:cubicBezTo>
                    <a:pt x="2193" y="3657"/>
                    <a:pt x="2188" y="3641"/>
                    <a:pt x="2189" y="3636"/>
                  </a:cubicBezTo>
                  <a:cubicBezTo>
                    <a:pt x="2189" y="3631"/>
                    <a:pt x="2210" y="3617"/>
                    <a:pt x="2215" y="3627"/>
                  </a:cubicBezTo>
                  <a:cubicBezTo>
                    <a:pt x="2221" y="3638"/>
                    <a:pt x="2221" y="3636"/>
                    <a:pt x="2221" y="3636"/>
                  </a:cubicBezTo>
                  <a:cubicBezTo>
                    <a:pt x="2221" y="3636"/>
                    <a:pt x="2234" y="3614"/>
                    <a:pt x="2245" y="3642"/>
                  </a:cubicBezTo>
                  <a:cubicBezTo>
                    <a:pt x="2269" y="3647"/>
                    <a:pt x="2275" y="3641"/>
                    <a:pt x="2275" y="3641"/>
                  </a:cubicBezTo>
                  <a:cubicBezTo>
                    <a:pt x="2311" y="3663"/>
                    <a:pt x="2311" y="3663"/>
                    <a:pt x="2311" y="3663"/>
                  </a:cubicBezTo>
                  <a:cubicBezTo>
                    <a:pt x="2319" y="3661"/>
                    <a:pt x="2319" y="3661"/>
                    <a:pt x="2319" y="3661"/>
                  </a:cubicBezTo>
                  <a:cubicBezTo>
                    <a:pt x="2321" y="3651"/>
                    <a:pt x="2321" y="3651"/>
                    <a:pt x="2321" y="3651"/>
                  </a:cubicBezTo>
                  <a:cubicBezTo>
                    <a:pt x="2339" y="3653"/>
                    <a:pt x="2339" y="3653"/>
                    <a:pt x="2339" y="3653"/>
                  </a:cubicBezTo>
                  <a:cubicBezTo>
                    <a:pt x="2339" y="3653"/>
                    <a:pt x="2361" y="3641"/>
                    <a:pt x="2355" y="3633"/>
                  </a:cubicBezTo>
                  <a:cubicBezTo>
                    <a:pt x="2357" y="3635"/>
                    <a:pt x="2361" y="3638"/>
                    <a:pt x="2361" y="3638"/>
                  </a:cubicBezTo>
                  <a:cubicBezTo>
                    <a:pt x="2391" y="3634"/>
                    <a:pt x="2391" y="3634"/>
                    <a:pt x="2391" y="3634"/>
                  </a:cubicBezTo>
                  <a:cubicBezTo>
                    <a:pt x="2391" y="3627"/>
                    <a:pt x="2391" y="3627"/>
                    <a:pt x="2391" y="3627"/>
                  </a:cubicBezTo>
                  <a:cubicBezTo>
                    <a:pt x="2417" y="3626"/>
                    <a:pt x="2417" y="3626"/>
                    <a:pt x="2417" y="3626"/>
                  </a:cubicBezTo>
                  <a:cubicBezTo>
                    <a:pt x="2422" y="3610"/>
                    <a:pt x="2422" y="3610"/>
                    <a:pt x="2422" y="3610"/>
                  </a:cubicBezTo>
                  <a:cubicBezTo>
                    <a:pt x="2421" y="3587"/>
                    <a:pt x="2421" y="3587"/>
                    <a:pt x="2421" y="3587"/>
                  </a:cubicBezTo>
                  <a:cubicBezTo>
                    <a:pt x="2435" y="3588"/>
                    <a:pt x="2435" y="3588"/>
                    <a:pt x="2435" y="3588"/>
                  </a:cubicBezTo>
                  <a:cubicBezTo>
                    <a:pt x="2500" y="3523"/>
                    <a:pt x="2500" y="3523"/>
                    <a:pt x="2500" y="3523"/>
                  </a:cubicBezTo>
                  <a:cubicBezTo>
                    <a:pt x="2539" y="3523"/>
                    <a:pt x="2539" y="3523"/>
                    <a:pt x="2539" y="3523"/>
                  </a:cubicBezTo>
                  <a:cubicBezTo>
                    <a:pt x="2539" y="3523"/>
                    <a:pt x="2543" y="3542"/>
                    <a:pt x="2561" y="3539"/>
                  </a:cubicBezTo>
                  <a:cubicBezTo>
                    <a:pt x="2563" y="3541"/>
                    <a:pt x="2563" y="3547"/>
                    <a:pt x="2563" y="3547"/>
                  </a:cubicBezTo>
                  <a:cubicBezTo>
                    <a:pt x="2569" y="3537"/>
                    <a:pt x="2569" y="3537"/>
                    <a:pt x="2569" y="3537"/>
                  </a:cubicBezTo>
                  <a:cubicBezTo>
                    <a:pt x="2572" y="3545"/>
                    <a:pt x="2572" y="3545"/>
                    <a:pt x="2572" y="3545"/>
                  </a:cubicBezTo>
                  <a:cubicBezTo>
                    <a:pt x="2572" y="3545"/>
                    <a:pt x="2580" y="3524"/>
                    <a:pt x="2606" y="3524"/>
                  </a:cubicBezTo>
                  <a:cubicBezTo>
                    <a:pt x="2632" y="3509"/>
                    <a:pt x="2667" y="3485"/>
                    <a:pt x="2673" y="3475"/>
                  </a:cubicBezTo>
                  <a:cubicBezTo>
                    <a:pt x="2656" y="3465"/>
                    <a:pt x="2641" y="3448"/>
                    <a:pt x="2635" y="3437"/>
                  </a:cubicBezTo>
                  <a:cubicBezTo>
                    <a:pt x="2629" y="3427"/>
                    <a:pt x="2603" y="3433"/>
                    <a:pt x="2603" y="3433"/>
                  </a:cubicBezTo>
                  <a:cubicBezTo>
                    <a:pt x="2575" y="3419"/>
                    <a:pt x="2575" y="3419"/>
                    <a:pt x="2575" y="3419"/>
                  </a:cubicBezTo>
                  <a:cubicBezTo>
                    <a:pt x="2575" y="3409"/>
                    <a:pt x="2575" y="3409"/>
                    <a:pt x="2575" y="3409"/>
                  </a:cubicBezTo>
                  <a:cubicBezTo>
                    <a:pt x="2568" y="3403"/>
                    <a:pt x="2568" y="3403"/>
                    <a:pt x="2568" y="3403"/>
                  </a:cubicBezTo>
                  <a:cubicBezTo>
                    <a:pt x="2568" y="3403"/>
                    <a:pt x="2566" y="3417"/>
                    <a:pt x="2559" y="3413"/>
                  </a:cubicBezTo>
                  <a:cubicBezTo>
                    <a:pt x="2553" y="3408"/>
                    <a:pt x="2573" y="3388"/>
                    <a:pt x="2573" y="3388"/>
                  </a:cubicBezTo>
                  <a:cubicBezTo>
                    <a:pt x="2572" y="3361"/>
                    <a:pt x="2572" y="3361"/>
                    <a:pt x="2572" y="3361"/>
                  </a:cubicBezTo>
                  <a:cubicBezTo>
                    <a:pt x="2572" y="3361"/>
                    <a:pt x="2582" y="3363"/>
                    <a:pt x="2580" y="3357"/>
                  </a:cubicBezTo>
                  <a:cubicBezTo>
                    <a:pt x="2578" y="3351"/>
                    <a:pt x="2568" y="3341"/>
                    <a:pt x="2568" y="3341"/>
                  </a:cubicBezTo>
                  <a:cubicBezTo>
                    <a:pt x="2564" y="3349"/>
                    <a:pt x="2564" y="3349"/>
                    <a:pt x="2564" y="3349"/>
                  </a:cubicBezTo>
                  <a:cubicBezTo>
                    <a:pt x="2545" y="3348"/>
                    <a:pt x="2545" y="3348"/>
                    <a:pt x="2545" y="3348"/>
                  </a:cubicBezTo>
                  <a:cubicBezTo>
                    <a:pt x="2545" y="3342"/>
                    <a:pt x="2545" y="3342"/>
                    <a:pt x="2545" y="3342"/>
                  </a:cubicBezTo>
                  <a:cubicBezTo>
                    <a:pt x="2517" y="3341"/>
                    <a:pt x="2517" y="3341"/>
                    <a:pt x="2517" y="3341"/>
                  </a:cubicBezTo>
                  <a:cubicBezTo>
                    <a:pt x="2497" y="3361"/>
                    <a:pt x="2497" y="3361"/>
                    <a:pt x="2497" y="3361"/>
                  </a:cubicBezTo>
                  <a:cubicBezTo>
                    <a:pt x="2481" y="3362"/>
                    <a:pt x="2481" y="3362"/>
                    <a:pt x="2481" y="3362"/>
                  </a:cubicBezTo>
                  <a:cubicBezTo>
                    <a:pt x="2455" y="3379"/>
                    <a:pt x="2455" y="3379"/>
                    <a:pt x="2455" y="3379"/>
                  </a:cubicBezTo>
                  <a:cubicBezTo>
                    <a:pt x="2439" y="3379"/>
                    <a:pt x="2439" y="3379"/>
                    <a:pt x="2439" y="3379"/>
                  </a:cubicBezTo>
                  <a:cubicBezTo>
                    <a:pt x="2426" y="3391"/>
                    <a:pt x="2426" y="3391"/>
                    <a:pt x="2426" y="3391"/>
                  </a:cubicBezTo>
                  <a:cubicBezTo>
                    <a:pt x="2413" y="3391"/>
                    <a:pt x="2413" y="3391"/>
                    <a:pt x="2413" y="3391"/>
                  </a:cubicBezTo>
                  <a:cubicBezTo>
                    <a:pt x="2405" y="3403"/>
                    <a:pt x="2405" y="3403"/>
                    <a:pt x="2405" y="3403"/>
                  </a:cubicBezTo>
                  <a:cubicBezTo>
                    <a:pt x="2405" y="3403"/>
                    <a:pt x="2376" y="3416"/>
                    <a:pt x="2372" y="3410"/>
                  </a:cubicBezTo>
                  <a:cubicBezTo>
                    <a:pt x="2368" y="3404"/>
                    <a:pt x="2387" y="3394"/>
                    <a:pt x="2395" y="3394"/>
                  </a:cubicBezTo>
                  <a:cubicBezTo>
                    <a:pt x="2403" y="3384"/>
                    <a:pt x="2453" y="3343"/>
                    <a:pt x="2460" y="3343"/>
                  </a:cubicBezTo>
                  <a:cubicBezTo>
                    <a:pt x="2467" y="3343"/>
                    <a:pt x="2473" y="3337"/>
                    <a:pt x="2473" y="3337"/>
                  </a:cubicBezTo>
                  <a:cubicBezTo>
                    <a:pt x="2473" y="3337"/>
                    <a:pt x="2476" y="3344"/>
                    <a:pt x="2479" y="3345"/>
                  </a:cubicBezTo>
                  <a:cubicBezTo>
                    <a:pt x="2481" y="3345"/>
                    <a:pt x="2503" y="3345"/>
                    <a:pt x="2503" y="3345"/>
                  </a:cubicBezTo>
                  <a:cubicBezTo>
                    <a:pt x="2513" y="3332"/>
                    <a:pt x="2513" y="3332"/>
                    <a:pt x="2513" y="3332"/>
                  </a:cubicBezTo>
                  <a:cubicBezTo>
                    <a:pt x="2557" y="3332"/>
                    <a:pt x="2557" y="3332"/>
                    <a:pt x="2557" y="3332"/>
                  </a:cubicBezTo>
                  <a:cubicBezTo>
                    <a:pt x="2559" y="3327"/>
                    <a:pt x="2559" y="3327"/>
                    <a:pt x="2559" y="3327"/>
                  </a:cubicBezTo>
                  <a:cubicBezTo>
                    <a:pt x="2598" y="3329"/>
                    <a:pt x="2598" y="3329"/>
                    <a:pt x="2598" y="3329"/>
                  </a:cubicBezTo>
                  <a:cubicBezTo>
                    <a:pt x="2598" y="3329"/>
                    <a:pt x="2601" y="3342"/>
                    <a:pt x="2612" y="3335"/>
                  </a:cubicBezTo>
                  <a:cubicBezTo>
                    <a:pt x="2615" y="3321"/>
                    <a:pt x="2615" y="3309"/>
                    <a:pt x="2615" y="3309"/>
                  </a:cubicBezTo>
                  <a:cubicBezTo>
                    <a:pt x="2615" y="3309"/>
                    <a:pt x="2644" y="3299"/>
                    <a:pt x="2660" y="3272"/>
                  </a:cubicBezTo>
                  <a:cubicBezTo>
                    <a:pt x="2679" y="3271"/>
                    <a:pt x="2699" y="3261"/>
                    <a:pt x="2700" y="3243"/>
                  </a:cubicBezTo>
                  <a:cubicBezTo>
                    <a:pt x="2714" y="3232"/>
                    <a:pt x="2721" y="3225"/>
                    <a:pt x="2719" y="3219"/>
                  </a:cubicBezTo>
                  <a:cubicBezTo>
                    <a:pt x="2716" y="3213"/>
                    <a:pt x="2706" y="3213"/>
                    <a:pt x="2705" y="3207"/>
                  </a:cubicBezTo>
                  <a:cubicBezTo>
                    <a:pt x="2705" y="3201"/>
                    <a:pt x="2708" y="3188"/>
                    <a:pt x="2724" y="3188"/>
                  </a:cubicBezTo>
                  <a:cubicBezTo>
                    <a:pt x="2739" y="3175"/>
                    <a:pt x="2739" y="3172"/>
                    <a:pt x="2739" y="3166"/>
                  </a:cubicBezTo>
                  <a:cubicBezTo>
                    <a:pt x="2739" y="3160"/>
                    <a:pt x="2733" y="3157"/>
                    <a:pt x="2733" y="3153"/>
                  </a:cubicBezTo>
                  <a:cubicBezTo>
                    <a:pt x="2733" y="3148"/>
                    <a:pt x="2739" y="3119"/>
                    <a:pt x="2761" y="3117"/>
                  </a:cubicBezTo>
                  <a:cubicBezTo>
                    <a:pt x="2775" y="3108"/>
                    <a:pt x="2769" y="3103"/>
                    <a:pt x="2781" y="3103"/>
                  </a:cubicBezTo>
                  <a:cubicBezTo>
                    <a:pt x="2791" y="3095"/>
                    <a:pt x="2833" y="3049"/>
                    <a:pt x="2835" y="3038"/>
                  </a:cubicBezTo>
                  <a:cubicBezTo>
                    <a:pt x="2838" y="3027"/>
                    <a:pt x="2841" y="3019"/>
                    <a:pt x="2843" y="3019"/>
                  </a:cubicBezTo>
                  <a:cubicBezTo>
                    <a:pt x="2846" y="3019"/>
                    <a:pt x="2845" y="2970"/>
                    <a:pt x="2845" y="2970"/>
                  </a:cubicBezTo>
                  <a:cubicBezTo>
                    <a:pt x="2851" y="2967"/>
                    <a:pt x="2851" y="2967"/>
                    <a:pt x="2851" y="2967"/>
                  </a:cubicBezTo>
                  <a:cubicBezTo>
                    <a:pt x="2851" y="2967"/>
                    <a:pt x="2853" y="2943"/>
                    <a:pt x="2870" y="2925"/>
                  </a:cubicBezTo>
                  <a:cubicBezTo>
                    <a:pt x="2887" y="2907"/>
                    <a:pt x="2890" y="2905"/>
                    <a:pt x="2890" y="2899"/>
                  </a:cubicBezTo>
                  <a:cubicBezTo>
                    <a:pt x="2890" y="2894"/>
                    <a:pt x="2909" y="2871"/>
                    <a:pt x="2909" y="2865"/>
                  </a:cubicBezTo>
                  <a:cubicBezTo>
                    <a:pt x="2909" y="2858"/>
                    <a:pt x="2912" y="2850"/>
                    <a:pt x="2912" y="2850"/>
                  </a:cubicBezTo>
                  <a:cubicBezTo>
                    <a:pt x="2900" y="2849"/>
                    <a:pt x="2900" y="2849"/>
                    <a:pt x="2900" y="2849"/>
                  </a:cubicBezTo>
                  <a:cubicBezTo>
                    <a:pt x="2895" y="2805"/>
                    <a:pt x="2895" y="2805"/>
                    <a:pt x="2895" y="2805"/>
                  </a:cubicBezTo>
                  <a:cubicBezTo>
                    <a:pt x="2895" y="2805"/>
                    <a:pt x="2908" y="2793"/>
                    <a:pt x="2907" y="2783"/>
                  </a:cubicBezTo>
                  <a:cubicBezTo>
                    <a:pt x="2907" y="2774"/>
                    <a:pt x="2919" y="2768"/>
                    <a:pt x="2919" y="2760"/>
                  </a:cubicBezTo>
                  <a:cubicBezTo>
                    <a:pt x="2919" y="2752"/>
                    <a:pt x="2954" y="2699"/>
                    <a:pt x="2968" y="2694"/>
                  </a:cubicBezTo>
                  <a:cubicBezTo>
                    <a:pt x="2970" y="2687"/>
                    <a:pt x="2970" y="2687"/>
                    <a:pt x="2970" y="2687"/>
                  </a:cubicBezTo>
                  <a:cubicBezTo>
                    <a:pt x="2982" y="2687"/>
                    <a:pt x="2982" y="2687"/>
                    <a:pt x="2982" y="2687"/>
                  </a:cubicBezTo>
                  <a:cubicBezTo>
                    <a:pt x="2993" y="2675"/>
                    <a:pt x="2993" y="2675"/>
                    <a:pt x="2993" y="2675"/>
                  </a:cubicBezTo>
                  <a:cubicBezTo>
                    <a:pt x="2993" y="2655"/>
                    <a:pt x="2993" y="2655"/>
                    <a:pt x="2993" y="2655"/>
                  </a:cubicBezTo>
                  <a:cubicBezTo>
                    <a:pt x="3005" y="2655"/>
                    <a:pt x="3005" y="2655"/>
                    <a:pt x="3005" y="2655"/>
                  </a:cubicBezTo>
                  <a:cubicBezTo>
                    <a:pt x="3021" y="2641"/>
                    <a:pt x="3021" y="2641"/>
                    <a:pt x="3021" y="2641"/>
                  </a:cubicBezTo>
                  <a:cubicBezTo>
                    <a:pt x="3018" y="2632"/>
                    <a:pt x="3018" y="2632"/>
                    <a:pt x="3018" y="2632"/>
                  </a:cubicBezTo>
                  <a:cubicBezTo>
                    <a:pt x="3034" y="2616"/>
                    <a:pt x="3034" y="2616"/>
                    <a:pt x="3034" y="2616"/>
                  </a:cubicBezTo>
                  <a:cubicBezTo>
                    <a:pt x="3022" y="2609"/>
                    <a:pt x="3022" y="2609"/>
                    <a:pt x="3022" y="2609"/>
                  </a:cubicBezTo>
                  <a:cubicBezTo>
                    <a:pt x="3022" y="2609"/>
                    <a:pt x="3036" y="2600"/>
                    <a:pt x="3034" y="2593"/>
                  </a:cubicBezTo>
                  <a:cubicBezTo>
                    <a:pt x="3032" y="2587"/>
                    <a:pt x="3015" y="2569"/>
                    <a:pt x="3015" y="2569"/>
                  </a:cubicBezTo>
                  <a:cubicBezTo>
                    <a:pt x="3015" y="2548"/>
                    <a:pt x="3015" y="2548"/>
                    <a:pt x="3015" y="2548"/>
                  </a:cubicBezTo>
                  <a:cubicBezTo>
                    <a:pt x="3007" y="2543"/>
                    <a:pt x="3007" y="2543"/>
                    <a:pt x="3007" y="2543"/>
                  </a:cubicBezTo>
                  <a:cubicBezTo>
                    <a:pt x="3008" y="2509"/>
                    <a:pt x="3008" y="2509"/>
                    <a:pt x="3008" y="2509"/>
                  </a:cubicBezTo>
                  <a:cubicBezTo>
                    <a:pt x="3008" y="2509"/>
                    <a:pt x="2991" y="2497"/>
                    <a:pt x="2989" y="2498"/>
                  </a:cubicBezTo>
                  <a:cubicBezTo>
                    <a:pt x="2985" y="2496"/>
                    <a:pt x="2963" y="2463"/>
                    <a:pt x="2963" y="2463"/>
                  </a:cubicBezTo>
                  <a:cubicBezTo>
                    <a:pt x="2936" y="2459"/>
                    <a:pt x="2936" y="2459"/>
                    <a:pt x="2936" y="2459"/>
                  </a:cubicBezTo>
                  <a:cubicBezTo>
                    <a:pt x="2928" y="2449"/>
                    <a:pt x="2928" y="2449"/>
                    <a:pt x="2928" y="2449"/>
                  </a:cubicBezTo>
                  <a:cubicBezTo>
                    <a:pt x="2897" y="2447"/>
                    <a:pt x="2897" y="2447"/>
                    <a:pt x="2897" y="2447"/>
                  </a:cubicBezTo>
                  <a:cubicBezTo>
                    <a:pt x="2894" y="2441"/>
                    <a:pt x="2894" y="2441"/>
                    <a:pt x="2894" y="2441"/>
                  </a:cubicBezTo>
                  <a:cubicBezTo>
                    <a:pt x="2883" y="2446"/>
                    <a:pt x="2883" y="2446"/>
                    <a:pt x="2883" y="2446"/>
                  </a:cubicBezTo>
                  <a:cubicBezTo>
                    <a:pt x="2877" y="2439"/>
                    <a:pt x="2877" y="2439"/>
                    <a:pt x="2877" y="2439"/>
                  </a:cubicBezTo>
                  <a:cubicBezTo>
                    <a:pt x="2845" y="2463"/>
                    <a:pt x="2845" y="2463"/>
                    <a:pt x="2845" y="2463"/>
                  </a:cubicBezTo>
                  <a:cubicBezTo>
                    <a:pt x="2824" y="2459"/>
                    <a:pt x="2824" y="2459"/>
                    <a:pt x="2824" y="2459"/>
                  </a:cubicBezTo>
                  <a:cubicBezTo>
                    <a:pt x="2819" y="2451"/>
                    <a:pt x="2819" y="2451"/>
                    <a:pt x="2819" y="2451"/>
                  </a:cubicBezTo>
                  <a:cubicBezTo>
                    <a:pt x="2812" y="2457"/>
                    <a:pt x="2812" y="2457"/>
                    <a:pt x="2812" y="2457"/>
                  </a:cubicBezTo>
                  <a:cubicBezTo>
                    <a:pt x="2797" y="2444"/>
                    <a:pt x="2797" y="2444"/>
                    <a:pt x="2797" y="2444"/>
                  </a:cubicBezTo>
                  <a:cubicBezTo>
                    <a:pt x="2777" y="2460"/>
                    <a:pt x="2777" y="2460"/>
                    <a:pt x="2777" y="2460"/>
                  </a:cubicBezTo>
                  <a:cubicBezTo>
                    <a:pt x="2768" y="2455"/>
                    <a:pt x="2768" y="2455"/>
                    <a:pt x="2768" y="2455"/>
                  </a:cubicBezTo>
                  <a:cubicBezTo>
                    <a:pt x="2768" y="2455"/>
                    <a:pt x="2741" y="2476"/>
                    <a:pt x="2720" y="2456"/>
                  </a:cubicBezTo>
                  <a:cubicBezTo>
                    <a:pt x="2712" y="2459"/>
                    <a:pt x="2705" y="2444"/>
                    <a:pt x="2703" y="2467"/>
                  </a:cubicBezTo>
                  <a:cubicBezTo>
                    <a:pt x="2700" y="2468"/>
                    <a:pt x="2687" y="2459"/>
                    <a:pt x="2680" y="2458"/>
                  </a:cubicBezTo>
                  <a:cubicBezTo>
                    <a:pt x="2673" y="2457"/>
                    <a:pt x="2663" y="2451"/>
                    <a:pt x="2649" y="2451"/>
                  </a:cubicBezTo>
                  <a:cubicBezTo>
                    <a:pt x="2636" y="2451"/>
                    <a:pt x="2603" y="2444"/>
                    <a:pt x="2595" y="2443"/>
                  </a:cubicBezTo>
                  <a:cubicBezTo>
                    <a:pt x="2586" y="2443"/>
                    <a:pt x="2566" y="2435"/>
                    <a:pt x="2555" y="2432"/>
                  </a:cubicBezTo>
                  <a:cubicBezTo>
                    <a:pt x="2545" y="2429"/>
                    <a:pt x="2512" y="2441"/>
                    <a:pt x="2490" y="2455"/>
                  </a:cubicBezTo>
                  <a:cubicBezTo>
                    <a:pt x="2459" y="2453"/>
                    <a:pt x="2445" y="2463"/>
                    <a:pt x="2369" y="2415"/>
                  </a:cubicBezTo>
                  <a:cubicBezTo>
                    <a:pt x="2324" y="2406"/>
                    <a:pt x="2293" y="2417"/>
                    <a:pt x="2290" y="2424"/>
                  </a:cubicBezTo>
                  <a:cubicBezTo>
                    <a:pt x="2287" y="2431"/>
                    <a:pt x="2270" y="2425"/>
                    <a:pt x="2270" y="2425"/>
                  </a:cubicBezTo>
                  <a:cubicBezTo>
                    <a:pt x="2275" y="2432"/>
                    <a:pt x="2275" y="2432"/>
                    <a:pt x="2275" y="2432"/>
                  </a:cubicBezTo>
                  <a:cubicBezTo>
                    <a:pt x="2254" y="2453"/>
                    <a:pt x="2254" y="2453"/>
                    <a:pt x="2254" y="2453"/>
                  </a:cubicBezTo>
                  <a:cubicBezTo>
                    <a:pt x="2221" y="2456"/>
                    <a:pt x="2221" y="2456"/>
                    <a:pt x="2221" y="2456"/>
                  </a:cubicBezTo>
                  <a:cubicBezTo>
                    <a:pt x="2221" y="2456"/>
                    <a:pt x="2233" y="2474"/>
                    <a:pt x="2223" y="2474"/>
                  </a:cubicBezTo>
                  <a:cubicBezTo>
                    <a:pt x="2212" y="2474"/>
                    <a:pt x="2211" y="2478"/>
                    <a:pt x="2216" y="2462"/>
                  </a:cubicBezTo>
                  <a:cubicBezTo>
                    <a:pt x="2208" y="2445"/>
                    <a:pt x="2201" y="2453"/>
                    <a:pt x="2180" y="2453"/>
                  </a:cubicBezTo>
                  <a:cubicBezTo>
                    <a:pt x="2177" y="2462"/>
                    <a:pt x="2169" y="2465"/>
                    <a:pt x="2163" y="2465"/>
                  </a:cubicBezTo>
                  <a:cubicBezTo>
                    <a:pt x="2156" y="2465"/>
                    <a:pt x="2124" y="2497"/>
                    <a:pt x="2124" y="2497"/>
                  </a:cubicBezTo>
                  <a:cubicBezTo>
                    <a:pt x="2124" y="2497"/>
                    <a:pt x="2111" y="2503"/>
                    <a:pt x="2087" y="2501"/>
                  </a:cubicBezTo>
                  <a:cubicBezTo>
                    <a:pt x="2063" y="2500"/>
                    <a:pt x="2063" y="2495"/>
                    <a:pt x="2063" y="2495"/>
                  </a:cubicBezTo>
                  <a:cubicBezTo>
                    <a:pt x="2041" y="2495"/>
                    <a:pt x="2041" y="2495"/>
                    <a:pt x="2041" y="2495"/>
                  </a:cubicBezTo>
                  <a:cubicBezTo>
                    <a:pt x="2041" y="2495"/>
                    <a:pt x="2022" y="2500"/>
                    <a:pt x="2015" y="2500"/>
                  </a:cubicBezTo>
                  <a:cubicBezTo>
                    <a:pt x="2009" y="2500"/>
                    <a:pt x="2015" y="2512"/>
                    <a:pt x="2015" y="2512"/>
                  </a:cubicBezTo>
                  <a:cubicBezTo>
                    <a:pt x="2029" y="2513"/>
                    <a:pt x="2029" y="2513"/>
                    <a:pt x="2029" y="2513"/>
                  </a:cubicBezTo>
                  <a:cubicBezTo>
                    <a:pt x="2029" y="2513"/>
                    <a:pt x="1998" y="2541"/>
                    <a:pt x="1998" y="2551"/>
                  </a:cubicBezTo>
                  <a:cubicBezTo>
                    <a:pt x="1985" y="2553"/>
                    <a:pt x="1982" y="2550"/>
                    <a:pt x="1982" y="2550"/>
                  </a:cubicBezTo>
                  <a:cubicBezTo>
                    <a:pt x="1982" y="2550"/>
                    <a:pt x="1980" y="2577"/>
                    <a:pt x="1965" y="2573"/>
                  </a:cubicBezTo>
                  <a:cubicBezTo>
                    <a:pt x="1951" y="2568"/>
                    <a:pt x="1949" y="2557"/>
                    <a:pt x="1949" y="2557"/>
                  </a:cubicBezTo>
                  <a:cubicBezTo>
                    <a:pt x="1981" y="2513"/>
                    <a:pt x="1981" y="2513"/>
                    <a:pt x="1981" y="2513"/>
                  </a:cubicBezTo>
                  <a:cubicBezTo>
                    <a:pt x="2004" y="2510"/>
                    <a:pt x="2004" y="2510"/>
                    <a:pt x="2004" y="2510"/>
                  </a:cubicBezTo>
                  <a:cubicBezTo>
                    <a:pt x="2002" y="2491"/>
                    <a:pt x="2002" y="2491"/>
                    <a:pt x="2002" y="2491"/>
                  </a:cubicBezTo>
                  <a:cubicBezTo>
                    <a:pt x="2051" y="2436"/>
                    <a:pt x="2051" y="2436"/>
                    <a:pt x="2051" y="2436"/>
                  </a:cubicBezTo>
                  <a:cubicBezTo>
                    <a:pt x="2023" y="2433"/>
                    <a:pt x="2023" y="2433"/>
                    <a:pt x="2023" y="2433"/>
                  </a:cubicBezTo>
                  <a:cubicBezTo>
                    <a:pt x="2001" y="2446"/>
                    <a:pt x="2001" y="2446"/>
                    <a:pt x="2001" y="2446"/>
                  </a:cubicBezTo>
                  <a:cubicBezTo>
                    <a:pt x="1976" y="2446"/>
                    <a:pt x="1976" y="2446"/>
                    <a:pt x="1976" y="2446"/>
                  </a:cubicBezTo>
                  <a:cubicBezTo>
                    <a:pt x="1976" y="2437"/>
                    <a:pt x="1976" y="2437"/>
                    <a:pt x="1976" y="2437"/>
                  </a:cubicBezTo>
                  <a:cubicBezTo>
                    <a:pt x="2007" y="2403"/>
                    <a:pt x="2007" y="2403"/>
                    <a:pt x="2007" y="2403"/>
                  </a:cubicBezTo>
                  <a:cubicBezTo>
                    <a:pt x="2027" y="2403"/>
                    <a:pt x="2027" y="2403"/>
                    <a:pt x="2027" y="2403"/>
                  </a:cubicBezTo>
                  <a:cubicBezTo>
                    <a:pt x="2027" y="2403"/>
                    <a:pt x="2033" y="2395"/>
                    <a:pt x="2038" y="2396"/>
                  </a:cubicBezTo>
                  <a:cubicBezTo>
                    <a:pt x="2043" y="2397"/>
                    <a:pt x="2033" y="2411"/>
                    <a:pt x="2033" y="2411"/>
                  </a:cubicBezTo>
                  <a:cubicBezTo>
                    <a:pt x="2033" y="2429"/>
                    <a:pt x="2033" y="2429"/>
                    <a:pt x="2033" y="2429"/>
                  </a:cubicBezTo>
                  <a:cubicBezTo>
                    <a:pt x="2062" y="2428"/>
                    <a:pt x="2062" y="2428"/>
                    <a:pt x="2062" y="2428"/>
                  </a:cubicBezTo>
                  <a:cubicBezTo>
                    <a:pt x="2062" y="2428"/>
                    <a:pt x="2093" y="2371"/>
                    <a:pt x="2102" y="2369"/>
                  </a:cubicBezTo>
                  <a:cubicBezTo>
                    <a:pt x="2111" y="2359"/>
                    <a:pt x="2151" y="2326"/>
                    <a:pt x="2149" y="2305"/>
                  </a:cubicBezTo>
                  <a:cubicBezTo>
                    <a:pt x="2148" y="2302"/>
                    <a:pt x="2137" y="2305"/>
                    <a:pt x="2137" y="2305"/>
                  </a:cubicBezTo>
                  <a:cubicBezTo>
                    <a:pt x="2137" y="2305"/>
                    <a:pt x="2119" y="2336"/>
                    <a:pt x="2099" y="2336"/>
                  </a:cubicBezTo>
                  <a:cubicBezTo>
                    <a:pt x="2080" y="2336"/>
                    <a:pt x="2063" y="2311"/>
                    <a:pt x="2063" y="2311"/>
                  </a:cubicBezTo>
                  <a:cubicBezTo>
                    <a:pt x="2026" y="2340"/>
                    <a:pt x="2026" y="2340"/>
                    <a:pt x="2026" y="2340"/>
                  </a:cubicBezTo>
                  <a:cubicBezTo>
                    <a:pt x="2026" y="2340"/>
                    <a:pt x="2001" y="2318"/>
                    <a:pt x="2000" y="2316"/>
                  </a:cubicBezTo>
                  <a:cubicBezTo>
                    <a:pt x="1999" y="2314"/>
                    <a:pt x="2032" y="2296"/>
                    <a:pt x="2042" y="2310"/>
                  </a:cubicBezTo>
                  <a:cubicBezTo>
                    <a:pt x="2044" y="2302"/>
                    <a:pt x="2044" y="2302"/>
                    <a:pt x="2044" y="2302"/>
                  </a:cubicBezTo>
                  <a:cubicBezTo>
                    <a:pt x="2044" y="2302"/>
                    <a:pt x="2040" y="2298"/>
                    <a:pt x="2040" y="2295"/>
                  </a:cubicBezTo>
                  <a:cubicBezTo>
                    <a:pt x="2040" y="2291"/>
                    <a:pt x="2051" y="2280"/>
                    <a:pt x="2051" y="2271"/>
                  </a:cubicBezTo>
                  <a:cubicBezTo>
                    <a:pt x="2051" y="2263"/>
                    <a:pt x="2050" y="2265"/>
                    <a:pt x="2047" y="2255"/>
                  </a:cubicBezTo>
                  <a:cubicBezTo>
                    <a:pt x="2045" y="2245"/>
                    <a:pt x="2047" y="2219"/>
                    <a:pt x="2094" y="2223"/>
                  </a:cubicBezTo>
                  <a:cubicBezTo>
                    <a:pt x="2094" y="2223"/>
                    <a:pt x="2095" y="2210"/>
                    <a:pt x="2116" y="2210"/>
                  </a:cubicBezTo>
                  <a:cubicBezTo>
                    <a:pt x="2115" y="2208"/>
                    <a:pt x="2115" y="2164"/>
                    <a:pt x="2159" y="2166"/>
                  </a:cubicBezTo>
                  <a:cubicBezTo>
                    <a:pt x="2159" y="2162"/>
                    <a:pt x="2201" y="2139"/>
                    <a:pt x="2199" y="2133"/>
                  </a:cubicBezTo>
                  <a:cubicBezTo>
                    <a:pt x="2197" y="2127"/>
                    <a:pt x="2212" y="2130"/>
                    <a:pt x="2212" y="2130"/>
                  </a:cubicBezTo>
                  <a:cubicBezTo>
                    <a:pt x="2262" y="2097"/>
                    <a:pt x="2262" y="2097"/>
                    <a:pt x="2262" y="2097"/>
                  </a:cubicBezTo>
                  <a:cubicBezTo>
                    <a:pt x="2314" y="2024"/>
                    <a:pt x="2314" y="2024"/>
                    <a:pt x="2314" y="2024"/>
                  </a:cubicBezTo>
                  <a:cubicBezTo>
                    <a:pt x="2314" y="2024"/>
                    <a:pt x="2378" y="1999"/>
                    <a:pt x="2393" y="1999"/>
                  </a:cubicBezTo>
                  <a:cubicBezTo>
                    <a:pt x="2405" y="1984"/>
                    <a:pt x="2423" y="1959"/>
                    <a:pt x="2435" y="1959"/>
                  </a:cubicBezTo>
                  <a:cubicBezTo>
                    <a:pt x="2442" y="1951"/>
                    <a:pt x="2444" y="1905"/>
                    <a:pt x="2465" y="1899"/>
                  </a:cubicBezTo>
                  <a:cubicBezTo>
                    <a:pt x="2462" y="1894"/>
                    <a:pt x="2461" y="1881"/>
                    <a:pt x="2461" y="1881"/>
                  </a:cubicBezTo>
                  <a:cubicBezTo>
                    <a:pt x="2437" y="1877"/>
                    <a:pt x="2437" y="1877"/>
                    <a:pt x="2437" y="1877"/>
                  </a:cubicBezTo>
                  <a:cubicBezTo>
                    <a:pt x="2428" y="1852"/>
                    <a:pt x="2428" y="1852"/>
                    <a:pt x="2428" y="1852"/>
                  </a:cubicBezTo>
                  <a:cubicBezTo>
                    <a:pt x="2457" y="1815"/>
                    <a:pt x="2457" y="1815"/>
                    <a:pt x="2457" y="1815"/>
                  </a:cubicBezTo>
                  <a:cubicBezTo>
                    <a:pt x="2461" y="1797"/>
                    <a:pt x="2461" y="1797"/>
                    <a:pt x="2461" y="1797"/>
                  </a:cubicBezTo>
                  <a:cubicBezTo>
                    <a:pt x="2471" y="1785"/>
                    <a:pt x="2471" y="1785"/>
                    <a:pt x="2471" y="1785"/>
                  </a:cubicBezTo>
                  <a:cubicBezTo>
                    <a:pt x="2478" y="1754"/>
                    <a:pt x="2478" y="1754"/>
                    <a:pt x="2478" y="1754"/>
                  </a:cubicBezTo>
                  <a:cubicBezTo>
                    <a:pt x="2432" y="1756"/>
                    <a:pt x="2432" y="1756"/>
                    <a:pt x="2432" y="1756"/>
                  </a:cubicBezTo>
                  <a:cubicBezTo>
                    <a:pt x="2432" y="1763"/>
                    <a:pt x="2432" y="1763"/>
                    <a:pt x="2432" y="1763"/>
                  </a:cubicBezTo>
                  <a:cubicBezTo>
                    <a:pt x="2415" y="1762"/>
                    <a:pt x="2415" y="1762"/>
                    <a:pt x="2415" y="1762"/>
                  </a:cubicBezTo>
                  <a:cubicBezTo>
                    <a:pt x="2414" y="1751"/>
                    <a:pt x="2414" y="1751"/>
                    <a:pt x="2414" y="1751"/>
                  </a:cubicBezTo>
                  <a:cubicBezTo>
                    <a:pt x="2393" y="1747"/>
                    <a:pt x="2393" y="1747"/>
                    <a:pt x="2393" y="1747"/>
                  </a:cubicBezTo>
                  <a:cubicBezTo>
                    <a:pt x="2390" y="1753"/>
                    <a:pt x="2390" y="1753"/>
                    <a:pt x="2390" y="1753"/>
                  </a:cubicBezTo>
                  <a:cubicBezTo>
                    <a:pt x="2381" y="1755"/>
                    <a:pt x="2381" y="1755"/>
                    <a:pt x="2381" y="1755"/>
                  </a:cubicBezTo>
                  <a:cubicBezTo>
                    <a:pt x="2381" y="1746"/>
                    <a:pt x="2381" y="1746"/>
                    <a:pt x="2381" y="1746"/>
                  </a:cubicBezTo>
                  <a:cubicBezTo>
                    <a:pt x="2365" y="1745"/>
                    <a:pt x="2365" y="1745"/>
                    <a:pt x="2365" y="1745"/>
                  </a:cubicBezTo>
                  <a:cubicBezTo>
                    <a:pt x="2365" y="1753"/>
                    <a:pt x="2365" y="1753"/>
                    <a:pt x="2365" y="1753"/>
                  </a:cubicBezTo>
                  <a:cubicBezTo>
                    <a:pt x="2338" y="1755"/>
                    <a:pt x="2338" y="1755"/>
                    <a:pt x="2338" y="1755"/>
                  </a:cubicBezTo>
                  <a:cubicBezTo>
                    <a:pt x="2327" y="1732"/>
                    <a:pt x="2327" y="1732"/>
                    <a:pt x="2327" y="1732"/>
                  </a:cubicBezTo>
                  <a:cubicBezTo>
                    <a:pt x="2305" y="1754"/>
                    <a:pt x="2305" y="1754"/>
                    <a:pt x="2305" y="1754"/>
                  </a:cubicBezTo>
                  <a:cubicBezTo>
                    <a:pt x="2338" y="1781"/>
                    <a:pt x="2338" y="1781"/>
                    <a:pt x="2338" y="1781"/>
                  </a:cubicBezTo>
                  <a:cubicBezTo>
                    <a:pt x="2325" y="1791"/>
                    <a:pt x="2325" y="1791"/>
                    <a:pt x="2325" y="1791"/>
                  </a:cubicBezTo>
                  <a:cubicBezTo>
                    <a:pt x="2325" y="1791"/>
                    <a:pt x="2299" y="1775"/>
                    <a:pt x="2287" y="1775"/>
                  </a:cubicBezTo>
                  <a:cubicBezTo>
                    <a:pt x="2275" y="1775"/>
                    <a:pt x="2260" y="1786"/>
                    <a:pt x="2250" y="1781"/>
                  </a:cubicBezTo>
                  <a:cubicBezTo>
                    <a:pt x="2249" y="1771"/>
                    <a:pt x="2253" y="1769"/>
                    <a:pt x="2253" y="1769"/>
                  </a:cubicBezTo>
                  <a:cubicBezTo>
                    <a:pt x="2201" y="1769"/>
                    <a:pt x="2201" y="1769"/>
                    <a:pt x="2201" y="1769"/>
                  </a:cubicBezTo>
                  <a:cubicBezTo>
                    <a:pt x="2146" y="1805"/>
                    <a:pt x="2146" y="1805"/>
                    <a:pt x="2146" y="1805"/>
                  </a:cubicBezTo>
                  <a:cubicBezTo>
                    <a:pt x="2139" y="1798"/>
                    <a:pt x="2139" y="1798"/>
                    <a:pt x="2139" y="1798"/>
                  </a:cubicBezTo>
                  <a:cubicBezTo>
                    <a:pt x="2125" y="1803"/>
                    <a:pt x="2125" y="1803"/>
                    <a:pt x="2125" y="1803"/>
                  </a:cubicBezTo>
                  <a:cubicBezTo>
                    <a:pt x="2093" y="1803"/>
                    <a:pt x="2093" y="1803"/>
                    <a:pt x="2093" y="1803"/>
                  </a:cubicBezTo>
                  <a:cubicBezTo>
                    <a:pt x="2085" y="1809"/>
                    <a:pt x="2085" y="1809"/>
                    <a:pt x="2085" y="1809"/>
                  </a:cubicBezTo>
                  <a:cubicBezTo>
                    <a:pt x="2082" y="1799"/>
                    <a:pt x="2082" y="1799"/>
                    <a:pt x="2082" y="1799"/>
                  </a:cubicBezTo>
                  <a:cubicBezTo>
                    <a:pt x="2082" y="1799"/>
                    <a:pt x="2062" y="1802"/>
                    <a:pt x="2055" y="1802"/>
                  </a:cubicBezTo>
                  <a:cubicBezTo>
                    <a:pt x="2047" y="1802"/>
                    <a:pt x="2045" y="1777"/>
                    <a:pt x="2045" y="1777"/>
                  </a:cubicBezTo>
                  <a:cubicBezTo>
                    <a:pt x="2045" y="1777"/>
                    <a:pt x="2035" y="1775"/>
                    <a:pt x="2019" y="1804"/>
                  </a:cubicBezTo>
                  <a:cubicBezTo>
                    <a:pt x="2007" y="1807"/>
                    <a:pt x="2007" y="1807"/>
                    <a:pt x="2007" y="1807"/>
                  </a:cubicBezTo>
                  <a:cubicBezTo>
                    <a:pt x="2006" y="1799"/>
                    <a:pt x="2006" y="1799"/>
                    <a:pt x="2006" y="1799"/>
                  </a:cubicBezTo>
                  <a:cubicBezTo>
                    <a:pt x="1981" y="1798"/>
                    <a:pt x="1981" y="1798"/>
                    <a:pt x="1981" y="1798"/>
                  </a:cubicBezTo>
                  <a:cubicBezTo>
                    <a:pt x="1981" y="1798"/>
                    <a:pt x="1984" y="1816"/>
                    <a:pt x="1973" y="1815"/>
                  </a:cubicBezTo>
                  <a:cubicBezTo>
                    <a:pt x="1961" y="1813"/>
                    <a:pt x="1958" y="1802"/>
                    <a:pt x="1958" y="1802"/>
                  </a:cubicBezTo>
                  <a:cubicBezTo>
                    <a:pt x="1958" y="1802"/>
                    <a:pt x="1957" y="1815"/>
                    <a:pt x="1950" y="1815"/>
                  </a:cubicBezTo>
                  <a:cubicBezTo>
                    <a:pt x="1943" y="1815"/>
                    <a:pt x="1937" y="1823"/>
                    <a:pt x="1937" y="1823"/>
                  </a:cubicBezTo>
                  <a:cubicBezTo>
                    <a:pt x="1919" y="1810"/>
                    <a:pt x="1919" y="1810"/>
                    <a:pt x="1919" y="1810"/>
                  </a:cubicBezTo>
                  <a:cubicBezTo>
                    <a:pt x="1919" y="1810"/>
                    <a:pt x="1904" y="1820"/>
                    <a:pt x="1903" y="1815"/>
                  </a:cubicBezTo>
                  <a:cubicBezTo>
                    <a:pt x="1901" y="1809"/>
                    <a:pt x="1908" y="1803"/>
                    <a:pt x="1908" y="1803"/>
                  </a:cubicBezTo>
                  <a:cubicBezTo>
                    <a:pt x="1905" y="1797"/>
                    <a:pt x="1905" y="1797"/>
                    <a:pt x="1905" y="1797"/>
                  </a:cubicBezTo>
                  <a:cubicBezTo>
                    <a:pt x="1905" y="1797"/>
                    <a:pt x="1891" y="1799"/>
                    <a:pt x="1892" y="1814"/>
                  </a:cubicBezTo>
                  <a:cubicBezTo>
                    <a:pt x="1892" y="1814"/>
                    <a:pt x="1879" y="1836"/>
                    <a:pt x="1867" y="1839"/>
                  </a:cubicBezTo>
                  <a:cubicBezTo>
                    <a:pt x="1866" y="1846"/>
                    <a:pt x="1861" y="1858"/>
                    <a:pt x="1861" y="1858"/>
                  </a:cubicBezTo>
                  <a:cubicBezTo>
                    <a:pt x="1847" y="1871"/>
                    <a:pt x="1847" y="1871"/>
                    <a:pt x="1847" y="1871"/>
                  </a:cubicBezTo>
                  <a:cubicBezTo>
                    <a:pt x="1843" y="1863"/>
                    <a:pt x="1843" y="1863"/>
                    <a:pt x="1843" y="1863"/>
                  </a:cubicBezTo>
                  <a:cubicBezTo>
                    <a:pt x="1843" y="1863"/>
                    <a:pt x="1857" y="1844"/>
                    <a:pt x="1856" y="1839"/>
                  </a:cubicBezTo>
                  <a:cubicBezTo>
                    <a:pt x="1855" y="1835"/>
                    <a:pt x="1868" y="1827"/>
                    <a:pt x="1868" y="1827"/>
                  </a:cubicBezTo>
                  <a:cubicBezTo>
                    <a:pt x="1859" y="1802"/>
                    <a:pt x="1859" y="1802"/>
                    <a:pt x="1859" y="1802"/>
                  </a:cubicBezTo>
                  <a:cubicBezTo>
                    <a:pt x="1815" y="1781"/>
                    <a:pt x="1815" y="1781"/>
                    <a:pt x="1815" y="1781"/>
                  </a:cubicBezTo>
                  <a:cubicBezTo>
                    <a:pt x="1801" y="1786"/>
                    <a:pt x="1801" y="1786"/>
                    <a:pt x="1801" y="1786"/>
                  </a:cubicBezTo>
                  <a:cubicBezTo>
                    <a:pt x="1794" y="1779"/>
                    <a:pt x="1794" y="1779"/>
                    <a:pt x="1794" y="1779"/>
                  </a:cubicBezTo>
                  <a:cubicBezTo>
                    <a:pt x="1794" y="1779"/>
                    <a:pt x="1785" y="1801"/>
                    <a:pt x="1785" y="1804"/>
                  </a:cubicBezTo>
                  <a:cubicBezTo>
                    <a:pt x="1785" y="1807"/>
                    <a:pt x="1791" y="1820"/>
                    <a:pt x="1787" y="1821"/>
                  </a:cubicBezTo>
                  <a:cubicBezTo>
                    <a:pt x="1784" y="1821"/>
                    <a:pt x="1768" y="1825"/>
                    <a:pt x="1768" y="1825"/>
                  </a:cubicBezTo>
                  <a:cubicBezTo>
                    <a:pt x="1768" y="1825"/>
                    <a:pt x="1755" y="1841"/>
                    <a:pt x="1755" y="1849"/>
                  </a:cubicBezTo>
                  <a:cubicBezTo>
                    <a:pt x="1747" y="1857"/>
                    <a:pt x="1726" y="1873"/>
                    <a:pt x="1726" y="1873"/>
                  </a:cubicBezTo>
                  <a:cubicBezTo>
                    <a:pt x="1720" y="1868"/>
                    <a:pt x="1720" y="1868"/>
                    <a:pt x="1720" y="1868"/>
                  </a:cubicBezTo>
                  <a:cubicBezTo>
                    <a:pt x="1765" y="1816"/>
                    <a:pt x="1765" y="1816"/>
                    <a:pt x="1765" y="1816"/>
                  </a:cubicBezTo>
                  <a:cubicBezTo>
                    <a:pt x="1762" y="1799"/>
                    <a:pt x="1762" y="1799"/>
                    <a:pt x="1762" y="1799"/>
                  </a:cubicBezTo>
                  <a:cubicBezTo>
                    <a:pt x="1753" y="1802"/>
                    <a:pt x="1753" y="1802"/>
                    <a:pt x="1753" y="1802"/>
                  </a:cubicBezTo>
                  <a:cubicBezTo>
                    <a:pt x="1734" y="1787"/>
                    <a:pt x="1734" y="1787"/>
                    <a:pt x="1734" y="1787"/>
                  </a:cubicBezTo>
                  <a:cubicBezTo>
                    <a:pt x="1730" y="1791"/>
                    <a:pt x="1730" y="1791"/>
                    <a:pt x="1730" y="1791"/>
                  </a:cubicBezTo>
                  <a:cubicBezTo>
                    <a:pt x="1729" y="1779"/>
                    <a:pt x="1729" y="1779"/>
                    <a:pt x="1729" y="1779"/>
                  </a:cubicBezTo>
                  <a:cubicBezTo>
                    <a:pt x="1729" y="1779"/>
                    <a:pt x="1711" y="1773"/>
                    <a:pt x="1711" y="1767"/>
                  </a:cubicBezTo>
                  <a:cubicBezTo>
                    <a:pt x="1712" y="1764"/>
                    <a:pt x="1703" y="1765"/>
                    <a:pt x="1703" y="1765"/>
                  </a:cubicBezTo>
                  <a:cubicBezTo>
                    <a:pt x="1711" y="1782"/>
                    <a:pt x="1711" y="1782"/>
                    <a:pt x="1711" y="1782"/>
                  </a:cubicBezTo>
                  <a:cubicBezTo>
                    <a:pt x="1699" y="1787"/>
                    <a:pt x="1699" y="1787"/>
                    <a:pt x="1699" y="1787"/>
                  </a:cubicBezTo>
                  <a:cubicBezTo>
                    <a:pt x="1699" y="1793"/>
                    <a:pt x="1699" y="1793"/>
                    <a:pt x="1699" y="1793"/>
                  </a:cubicBezTo>
                  <a:cubicBezTo>
                    <a:pt x="1699" y="1793"/>
                    <a:pt x="1711" y="1807"/>
                    <a:pt x="1709" y="1809"/>
                  </a:cubicBezTo>
                  <a:cubicBezTo>
                    <a:pt x="1707" y="1811"/>
                    <a:pt x="1691" y="1795"/>
                    <a:pt x="1691" y="1795"/>
                  </a:cubicBezTo>
                  <a:cubicBezTo>
                    <a:pt x="1690" y="1767"/>
                    <a:pt x="1690" y="1767"/>
                    <a:pt x="1690" y="1767"/>
                  </a:cubicBezTo>
                  <a:cubicBezTo>
                    <a:pt x="1690" y="1767"/>
                    <a:pt x="1665" y="1765"/>
                    <a:pt x="1663" y="1751"/>
                  </a:cubicBezTo>
                  <a:cubicBezTo>
                    <a:pt x="1655" y="1761"/>
                    <a:pt x="1655" y="1761"/>
                    <a:pt x="1655" y="1761"/>
                  </a:cubicBezTo>
                  <a:cubicBezTo>
                    <a:pt x="1651" y="1750"/>
                    <a:pt x="1651" y="1750"/>
                    <a:pt x="1651" y="1750"/>
                  </a:cubicBezTo>
                  <a:cubicBezTo>
                    <a:pt x="1639" y="1750"/>
                    <a:pt x="1639" y="1750"/>
                    <a:pt x="1639" y="1750"/>
                  </a:cubicBezTo>
                  <a:cubicBezTo>
                    <a:pt x="1629" y="1755"/>
                    <a:pt x="1629" y="1755"/>
                    <a:pt x="1629" y="1755"/>
                  </a:cubicBezTo>
                  <a:cubicBezTo>
                    <a:pt x="1611" y="1741"/>
                    <a:pt x="1611" y="1741"/>
                    <a:pt x="1611" y="1741"/>
                  </a:cubicBezTo>
                  <a:cubicBezTo>
                    <a:pt x="1611" y="1741"/>
                    <a:pt x="1605" y="1794"/>
                    <a:pt x="1590" y="1805"/>
                  </a:cubicBezTo>
                  <a:cubicBezTo>
                    <a:pt x="1572" y="1807"/>
                    <a:pt x="1572" y="1807"/>
                    <a:pt x="1572" y="1807"/>
                  </a:cubicBezTo>
                  <a:cubicBezTo>
                    <a:pt x="1572" y="1807"/>
                    <a:pt x="1558" y="1822"/>
                    <a:pt x="1559" y="1837"/>
                  </a:cubicBezTo>
                  <a:cubicBezTo>
                    <a:pt x="1561" y="1851"/>
                    <a:pt x="1580" y="1866"/>
                    <a:pt x="1580" y="1866"/>
                  </a:cubicBezTo>
                  <a:cubicBezTo>
                    <a:pt x="1580" y="1866"/>
                    <a:pt x="1563" y="1887"/>
                    <a:pt x="1563" y="1891"/>
                  </a:cubicBezTo>
                  <a:cubicBezTo>
                    <a:pt x="1563" y="1895"/>
                    <a:pt x="1577" y="1905"/>
                    <a:pt x="1570" y="1907"/>
                  </a:cubicBezTo>
                  <a:cubicBezTo>
                    <a:pt x="1563" y="1909"/>
                    <a:pt x="1551" y="1895"/>
                    <a:pt x="1551" y="1895"/>
                  </a:cubicBezTo>
                  <a:cubicBezTo>
                    <a:pt x="1544" y="1919"/>
                    <a:pt x="1544" y="1919"/>
                    <a:pt x="1544" y="1919"/>
                  </a:cubicBezTo>
                  <a:cubicBezTo>
                    <a:pt x="1544" y="1919"/>
                    <a:pt x="1537" y="1913"/>
                    <a:pt x="1531" y="1913"/>
                  </a:cubicBezTo>
                  <a:cubicBezTo>
                    <a:pt x="1524" y="1913"/>
                    <a:pt x="1518" y="1923"/>
                    <a:pt x="1518" y="1923"/>
                  </a:cubicBezTo>
                  <a:cubicBezTo>
                    <a:pt x="1541" y="1930"/>
                    <a:pt x="1541" y="1930"/>
                    <a:pt x="1541" y="1930"/>
                  </a:cubicBezTo>
                  <a:cubicBezTo>
                    <a:pt x="1541" y="1930"/>
                    <a:pt x="1536" y="1938"/>
                    <a:pt x="1535" y="1941"/>
                  </a:cubicBezTo>
                  <a:cubicBezTo>
                    <a:pt x="1535" y="1943"/>
                    <a:pt x="1556" y="2003"/>
                    <a:pt x="1556" y="2003"/>
                  </a:cubicBezTo>
                  <a:cubicBezTo>
                    <a:pt x="1556" y="2003"/>
                    <a:pt x="1536" y="1999"/>
                    <a:pt x="1536" y="2015"/>
                  </a:cubicBezTo>
                  <a:cubicBezTo>
                    <a:pt x="1532" y="2017"/>
                    <a:pt x="1516" y="2000"/>
                    <a:pt x="1516" y="2000"/>
                  </a:cubicBezTo>
                  <a:cubicBezTo>
                    <a:pt x="1507" y="2005"/>
                    <a:pt x="1507" y="2005"/>
                    <a:pt x="1507" y="2005"/>
                  </a:cubicBezTo>
                  <a:cubicBezTo>
                    <a:pt x="1498" y="1996"/>
                    <a:pt x="1498" y="1996"/>
                    <a:pt x="1498" y="1996"/>
                  </a:cubicBezTo>
                  <a:cubicBezTo>
                    <a:pt x="1485" y="2003"/>
                    <a:pt x="1485" y="2003"/>
                    <a:pt x="1485" y="2003"/>
                  </a:cubicBezTo>
                  <a:cubicBezTo>
                    <a:pt x="1493" y="2019"/>
                    <a:pt x="1493" y="2019"/>
                    <a:pt x="1493" y="2019"/>
                  </a:cubicBezTo>
                  <a:cubicBezTo>
                    <a:pt x="1479" y="2025"/>
                    <a:pt x="1479" y="2025"/>
                    <a:pt x="1479" y="2025"/>
                  </a:cubicBezTo>
                  <a:cubicBezTo>
                    <a:pt x="1479" y="2025"/>
                    <a:pt x="1468" y="2009"/>
                    <a:pt x="1453" y="2008"/>
                  </a:cubicBezTo>
                  <a:cubicBezTo>
                    <a:pt x="1447" y="2006"/>
                    <a:pt x="1446" y="1997"/>
                    <a:pt x="1446" y="1997"/>
                  </a:cubicBezTo>
                  <a:cubicBezTo>
                    <a:pt x="1431" y="2023"/>
                    <a:pt x="1431" y="2023"/>
                    <a:pt x="1431" y="2023"/>
                  </a:cubicBezTo>
                  <a:cubicBezTo>
                    <a:pt x="1443" y="2029"/>
                    <a:pt x="1443" y="2029"/>
                    <a:pt x="1443" y="2029"/>
                  </a:cubicBezTo>
                  <a:cubicBezTo>
                    <a:pt x="1443" y="2029"/>
                    <a:pt x="1474" y="2073"/>
                    <a:pt x="1473" y="2081"/>
                  </a:cubicBezTo>
                  <a:cubicBezTo>
                    <a:pt x="1483" y="2086"/>
                    <a:pt x="1491" y="2091"/>
                    <a:pt x="1491" y="2091"/>
                  </a:cubicBezTo>
                  <a:cubicBezTo>
                    <a:pt x="1479" y="2095"/>
                    <a:pt x="1479" y="2095"/>
                    <a:pt x="1479" y="2095"/>
                  </a:cubicBezTo>
                  <a:cubicBezTo>
                    <a:pt x="1479" y="2108"/>
                    <a:pt x="1479" y="2108"/>
                    <a:pt x="1479" y="2108"/>
                  </a:cubicBezTo>
                  <a:cubicBezTo>
                    <a:pt x="1485" y="2108"/>
                    <a:pt x="1485" y="2108"/>
                    <a:pt x="1485" y="2108"/>
                  </a:cubicBezTo>
                  <a:cubicBezTo>
                    <a:pt x="1485" y="2108"/>
                    <a:pt x="1490" y="2135"/>
                    <a:pt x="1483" y="2137"/>
                  </a:cubicBezTo>
                  <a:cubicBezTo>
                    <a:pt x="1475" y="2138"/>
                    <a:pt x="1459" y="2139"/>
                    <a:pt x="1459" y="2131"/>
                  </a:cubicBezTo>
                  <a:cubicBezTo>
                    <a:pt x="1458" y="2126"/>
                    <a:pt x="1452" y="2135"/>
                    <a:pt x="1452" y="2135"/>
                  </a:cubicBezTo>
                  <a:cubicBezTo>
                    <a:pt x="1424" y="2110"/>
                    <a:pt x="1424" y="2110"/>
                    <a:pt x="1424" y="2110"/>
                  </a:cubicBezTo>
                  <a:cubicBezTo>
                    <a:pt x="1424" y="2110"/>
                    <a:pt x="1398" y="2128"/>
                    <a:pt x="1422" y="2149"/>
                  </a:cubicBezTo>
                  <a:cubicBezTo>
                    <a:pt x="1418" y="2152"/>
                    <a:pt x="1411" y="2154"/>
                    <a:pt x="1411" y="2154"/>
                  </a:cubicBezTo>
                  <a:cubicBezTo>
                    <a:pt x="1414" y="2166"/>
                    <a:pt x="1414" y="2166"/>
                    <a:pt x="1414" y="2166"/>
                  </a:cubicBezTo>
                  <a:cubicBezTo>
                    <a:pt x="1429" y="2167"/>
                    <a:pt x="1429" y="2167"/>
                    <a:pt x="1429" y="2167"/>
                  </a:cubicBezTo>
                  <a:cubicBezTo>
                    <a:pt x="1429" y="2174"/>
                    <a:pt x="1429" y="2174"/>
                    <a:pt x="1429" y="2174"/>
                  </a:cubicBezTo>
                  <a:cubicBezTo>
                    <a:pt x="1414" y="2176"/>
                    <a:pt x="1414" y="2176"/>
                    <a:pt x="1414" y="2176"/>
                  </a:cubicBezTo>
                  <a:cubicBezTo>
                    <a:pt x="1414" y="2176"/>
                    <a:pt x="1409" y="2191"/>
                    <a:pt x="1415" y="2191"/>
                  </a:cubicBezTo>
                  <a:cubicBezTo>
                    <a:pt x="1421" y="2191"/>
                    <a:pt x="1424" y="2184"/>
                    <a:pt x="1424" y="2184"/>
                  </a:cubicBezTo>
                  <a:cubicBezTo>
                    <a:pt x="1433" y="2194"/>
                    <a:pt x="1433" y="2194"/>
                    <a:pt x="1433" y="2194"/>
                  </a:cubicBezTo>
                  <a:cubicBezTo>
                    <a:pt x="1446" y="2181"/>
                    <a:pt x="1446" y="2181"/>
                    <a:pt x="1446" y="2181"/>
                  </a:cubicBezTo>
                  <a:cubicBezTo>
                    <a:pt x="1446" y="2181"/>
                    <a:pt x="1441" y="2181"/>
                    <a:pt x="1441" y="2175"/>
                  </a:cubicBezTo>
                  <a:cubicBezTo>
                    <a:pt x="1441" y="2169"/>
                    <a:pt x="1455" y="2174"/>
                    <a:pt x="1455" y="2174"/>
                  </a:cubicBezTo>
                  <a:cubicBezTo>
                    <a:pt x="1457" y="2187"/>
                    <a:pt x="1457" y="2187"/>
                    <a:pt x="1457" y="2187"/>
                  </a:cubicBezTo>
                  <a:cubicBezTo>
                    <a:pt x="1457" y="2187"/>
                    <a:pt x="1472" y="2189"/>
                    <a:pt x="1473" y="2211"/>
                  </a:cubicBezTo>
                  <a:cubicBezTo>
                    <a:pt x="1473" y="2211"/>
                    <a:pt x="1513" y="2209"/>
                    <a:pt x="1513" y="2230"/>
                  </a:cubicBezTo>
                  <a:cubicBezTo>
                    <a:pt x="1506" y="2231"/>
                    <a:pt x="1506" y="2231"/>
                    <a:pt x="1506" y="2231"/>
                  </a:cubicBezTo>
                  <a:cubicBezTo>
                    <a:pt x="1514" y="2242"/>
                    <a:pt x="1514" y="2242"/>
                    <a:pt x="1514" y="2242"/>
                  </a:cubicBezTo>
                  <a:cubicBezTo>
                    <a:pt x="1513" y="2253"/>
                    <a:pt x="1513" y="2253"/>
                    <a:pt x="1513" y="2253"/>
                  </a:cubicBezTo>
                  <a:cubicBezTo>
                    <a:pt x="1513" y="2253"/>
                    <a:pt x="1468" y="2251"/>
                    <a:pt x="1466" y="2249"/>
                  </a:cubicBezTo>
                  <a:cubicBezTo>
                    <a:pt x="1464" y="2248"/>
                    <a:pt x="1454" y="2231"/>
                    <a:pt x="1454" y="2231"/>
                  </a:cubicBezTo>
                  <a:cubicBezTo>
                    <a:pt x="1433" y="2245"/>
                    <a:pt x="1433" y="2245"/>
                    <a:pt x="1433" y="2245"/>
                  </a:cubicBezTo>
                  <a:cubicBezTo>
                    <a:pt x="1433" y="2245"/>
                    <a:pt x="1449" y="2267"/>
                    <a:pt x="1467" y="2266"/>
                  </a:cubicBezTo>
                  <a:cubicBezTo>
                    <a:pt x="1471" y="2271"/>
                    <a:pt x="1473" y="2279"/>
                    <a:pt x="1473" y="2279"/>
                  </a:cubicBezTo>
                  <a:cubicBezTo>
                    <a:pt x="1502" y="2289"/>
                    <a:pt x="1502" y="2289"/>
                    <a:pt x="1502" y="2289"/>
                  </a:cubicBezTo>
                  <a:cubicBezTo>
                    <a:pt x="1502" y="2289"/>
                    <a:pt x="1509" y="2300"/>
                    <a:pt x="1503" y="2300"/>
                  </a:cubicBezTo>
                  <a:cubicBezTo>
                    <a:pt x="1496" y="2300"/>
                    <a:pt x="1471" y="2290"/>
                    <a:pt x="1471" y="2290"/>
                  </a:cubicBezTo>
                  <a:cubicBezTo>
                    <a:pt x="1450" y="2265"/>
                    <a:pt x="1450" y="2265"/>
                    <a:pt x="1450" y="2265"/>
                  </a:cubicBezTo>
                  <a:cubicBezTo>
                    <a:pt x="1436" y="2265"/>
                    <a:pt x="1436" y="2265"/>
                    <a:pt x="1436" y="2265"/>
                  </a:cubicBezTo>
                  <a:cubicBezTo>
                    <a:pt x="1436" y="2265"/>
                    <a:pt x="1437" y="2257"/>
                    <a:pt x="1429" y="2257"/>
                  </a:cubicBezTo>
                  <a:cubicBezTo>
                    <a:pt x="1421" y="2257"/>
                    <a:pt x="1410" y="2294"/>
                    <a:pt x="1410" y="2294"/>
                  </a:cubicBezTo>
                  <a:cubicBezTo>
                    <a:pt x="1405" y="2290"/>
                    <a:pt x="1405" y="2290"/>
                    <a:pt x="1405" y="2290"/>
                  </a:cubicBezTo>
                  <a:cubicBezTo>
                    <a:pt x="1405" y="2290"/>
                    <a:pt x="1368" y="2290"/>
                    <a:pt x="1369" y="2276"/>
                  </a:cubicBezTo>
                  <a:cubicBezTo>
                    <a:pt x="1369" y="2262"/>
                    <a:pt x="1367" y="2252"/>
                    <a:pt x="1367" y="2252"/>
                  </a:cubicBezTo>
                  <a:cubicBezTo>
                    <a:pt x="1367" y="2252"/>
                    <a:pt x="1361" y="2244"/>
                    <a:pt x="1347" y="2244"/>
                  </a:cubicBezTo>
                  <a:cubicBezTo>
                    <a:pt x="1333" y="2244"/>
                    <a:pt x="1324" y="2259"/>
                    <a:pt x="1324" y="2266"/>
                  </a:cubicBezTo>
                  <a:cubicBezTo>
                    <a:pt x="1324" y="2273"/>
                    <a:pt x="1320" y="2273"/>
                    <a:pt x="1320" y="2273"/>
                  </a:cubicBezTo>
                  <a:cubicBezTo>
                    <a:pt x="1320" y="2273"/>
                    <a:pt x="1328" y="2282"/>
                    <a:pt x="1328" y="2289"/>
                  </a:cubicBezTo>
                  <a:cubicBezTo>
                    <a:pt x="1328" y="2295"/>
                    <a:pt x="1321" y="2305"/>
                    <a:pt x="1329" y="2310"/>
                  </a:cubicBezTo>
                  <a:cubicBezTo>
                    <a:pt x="1337" y="2315"/>
                    <a:pt x="1339" y="2319"/>
                    <a:pt x="1341" y="2316"/>
                  </a:cubicBezTo>
                  <a:cubicBezTo>
                    <a:pt x="1343" y="2313"/>
                    <a:pt x="1331" y="2301"/>
                    <a:pt x="1331" y="2296"/>
                  </a:cubicBezTo>
                  <a:cubicBezTo>
                    <a:pt x="1331" y="2291"/>
                    <a:pt x="1335" y="2286"/>
                    <a:pt x="1341" y="2299"/>
                  </a:cubicBezTo>
                  <a:cubicBezTo>
                    <a:pt x="1347" y="2311"/>
                    <a:pt x="1362" y="2317"/>
                    <a:pt x="1337" y="2338"/>
                  </a:cubicBezTo>
                  <a:cubicBezTo>
                    <a:pt x="1335" y="2340"/>
                    <a:pt x="1346" y="2351"/>
                    <a:pt x="1342" y="2351"/>
                  </a:cubicBezTo>
                  <a:cubicBezTo>
                    <a:pt x="1338" y="2351"/>
                    <a:pt x="1317" y="2340"/>
                    <a:pt x="1317" y="2323"/>
                  </a:cubicBezTo>
                  <a:cubicBezTo>
                    <a:pt x="1317" y="2317"/>
                    <a:pt x="1323" y="2316"/>
                    <a:pt x="1323" y="2316"/>
                  </a:cubicBezTo>
                  <a:cubicBezTo>
                    <a:pt x="1323" y="2316"/>
                    <a:pt x="1305" y="2299"/>
                    <a:pt x="1305" y="2294"/>
                  </a:cubicBezTo>
                  <a:cubicBezTo>
                    <a:pt x="1305" y="2289"/>
                    <a:pt x="1314" y="2287"/>
                    <a:pt x="1311" y="2282"/>
                  </a:cubicBezTo>
                  <a:cubicBezTo>
                    <a:pt x="1309" y="2277"/>
                    <a:pt x="1253" y="2287"/>
                    <a:pt x="1253" y="2287"/>
                  </a:cubicBezTo>
                  <a:cubicBezTo>
                    <a:pt x="1253" y="2287"/>
                    <a:pt x="1245" y="2314"/>
                    <a:pt x="1257" y="2324"/>
                  </a:cubicBezTo>
                  <a:cubicBezTo>
                    <a:pt x="1255" y="2328"/>
                    <a:pt x="1253" y="2349"/>
                    <a:pt x="1253" y="2349"/>
                  </a:cubicBezTo>
                  <a:cubicBezTo>
                    <a:pt x="1253" y="2349"/>
                    <a:pt x="1249" y="2367"/>
                    <a:pt x="1258" y="2367"/>
                  </a:cubicBezTo>
                  <a:cubicBezTo>
                    <a:pt x="1261" y="2372"/>
                    <a:pt x="1255" y="2377"/>
                    <a:pt x="1250" y="2376"/>
                  </a:cubicBezTo>
                  <a:cubicBezTo>
                    <a:pt x="1245" y="2375"/>
                    <a:pt x="1255" y="2387"/>
                    <a:pt x="1255" y="2387"/>
                  </a:cubicBezTo>
                  <a:cubicBezTo>
                    <a:pt x="1265" y="2373"/>
                    <a:pt x="1265" y="2373"/>
                    <a:pt x="1265" y="2373"/>
                  </a:cubicBezTo>
                  <a:cubicBezTo>
                    <a:pt x="1265" y="2373"/>
                    <a:pt x="1268" y="2383"/>
                    <a:pt x="1299" y="2382"/>
                  </a:cubicBezTo>
                  <a:cubicBezTo>
                    <a:pt x="1311" y="2403"/>
                    <a:pt x="1311" y="2403"/>
                    <a:pt x="1311" y="2403"/>
                  </a:cubicBezTo>
                  <a:cubicBezTo>
                    <a:pt x="1292" y="2404"/>
                    <a:pt x="1292" y="2404"/>
                    <a:pt x="1292" y="2404"/>
                  </a:cubicBezTo>
                  <a:cubicBezTo>
                    <a:pt x="1292" y="2404"/>
                    <a:pt x="1287" y="2393"/>
                    <a:pt x="1278" y="2393"/>
                  </a:cubicBezTo>
                  <a:cubicBezTo>
                    <a:pt x="1269" y="2393"/>
                    <a:pt x="1259" y="2409"/>
                    <a:pt x="1258" y="2419"/>
                  </a:cubicBezTo>
                  <a:cubicBezTo>
                    <a:pt x="1250" y="2429"/>
                    <a:pt x="1249" y="2446"/>
                    <a:pt x="1249" y="2446"/>
                  </a:cubicBezTo>
                  <a:cubicBezTo>
                    <a:pt x="1249" y="2446"/>
                    <a:pt x="1282" y="2447"/>
                    <a:pt x="1283" y="2476"/>
                  </a:cubicBezTo>
                  <a:cubicBezTo>
                    <a:pt x="1297" y="2493"/>
                    <a:pt x="1297" y="2493"/>
                    <a:pt x="1297" y="2493"/>
                  </a:cubicBezTo>
                  <a:cubicBezTo>
                    <a:pt x="1289" y="2514"/>
                    <a:pt x="1289" y="2514"/>
                    <a:pt x="1289" y="2514"/>
                  </a:cubicBezTo>
                  <a:cubicBezTo>
                    <a:pt x="1289" y="2514"/>
                    <a:pt x="1253" y="2482"/>
                    <a:pt x="1249" y="2482"/>
                  </a:cubicBezTo>
                  <a:cubicBezTo>
                    <a:pt x="1244" y="2482"/>
                    <a:pt x="1225" y="2485"/>
                    <a:pt x="1227" y="2530"/>
                  </a:cubicBezTo>
                  <a:cubicBezTo>
                    <a:pt x="1219" y="2555"/>
                    <a:pt x="1217" y="2582"/>
                    <a:pt x="1231" y="2585"/>
                  </a:cubicBezTo>
                  <a:cubicBezTo>
                    <a:pt x="1245" y="2587"/>
                    <a:pt x="1247" y="2587"/>
                    <a:pt x="1247" y="2587"/>
                  </a:cubicBezTo>
                  <a:cubicBezTo>
                    <a:pt x="1245" y="2601"/>
                    <a:pt x="1245" y="2601"/>
                    <a:pt x="1245" y="2601"/>
                  </a:cubicBezTo>
                  <a:cubicBezTo>
                    <a:pt x="1240" y="2603"/>
                    <a:pt x="1240" y="2603"/>
                    <a:pt x="1240" y="2603"/>
                  </a:cubicBezTo>
                  <a:cubicBezTo>
                    <a:pt x="1247" y="2615"/>
                    <a:pt x="1247" y="2615"/>
                    <a:pt x="1247" y="2615"/>
                  </a:cubicBezTo>
                  <a:cubicBezTo>
                    <a:pt x="1247" y="2615"/>
                    <a:pt x="1222" y="2630"/>
                    <a:pt x="1263" y="2659"/>
                  </a:cubicBezTo>
                  <a:cubicBezTo>
                    <a:pt x="1295" y="2643"/>
                    <a:pt x="1312" y="2629"/>
                    <a:pt x="1312" y="2629"/>
                  </a:cubicBezTo>
                  <a:cubicBezTo>
                    <a:pt x="1337" y="2619"/>
                    <a:pt x="1337" y="2619"/>
                    <a:pt x="1337" y="2619"/>
                  </a:cubicBezTo>
                  <a:cubicBezTo>
                    <a:pt x="1338" y="2632"/>
                    <a:pt x="1338" y="2632"/>
                    <a:pt x="1338" y="2632"/>
                  </a:cubicBezTo>
                  <a:cubicBezTo>
                    <a:pt x="1338" y="2632"/>
                    <a:pt x="1325" y="2631"/>
                    <a:pt x="1325" y="2639"/>
                  </a:cubicBezTo>
                  <a:cubicBezTo>
                    <a:pt x="1325" y="2646"/>
                    <a:pt x="1337" y="2648"/>
                    <a:pt x="1337" y="2648"/>
                  </a:cubicBezTo>
                  <a:cubicBezTo>
                    <a:pt x="1337" y="2648"/>
                    <a:pt x="1342" y="2677"/>
                    <a:pt x="1323" y="2659"/>
                  </a:cubicBezTo>
                  <a:cubicBezTo>
                    <a:pt x="1321" y="2660"/>
                    <a:pt x="1320" y="2655"/>
                    <a:pt x="1320" y="2655"/>
                  </a:cubicBezTo>
                  <a:cubicBezTo>
                    <a:pt x="1320" y="2655"/>
                    <a:pt x="1287" y="2683"/>
                    <a:pt x="1287" y="2693"/>
                  </a:cubicBezTo>
                  <a:cubicBezTo>
                    <a:pt x="1283" y="2697"/>
                    <a:pt x="1284" y="2695"/>
                    <a:pt x="1283" y="2697"/>
                  </a:cubicBezTo>
                  <a:cubicBezTo>
                    <a:pt x="1281" y="2698"/>
                    <a:pt x="1282" y="2705"/>
                    <a:pt x="1282" y="2705"/>
                  </a:cubicBezTo>
                  <a:cubicBezTo>
                    <a:pt x="1282" y="2705"/>
                    <a:pt x="1256" y="2707"/>
                    <a:pt x="1250" y="2717"/>
                  </a:cubicBezTo>
                  <a:cubicBezTo>
                    <a:pt x="1233" y="2719"/>
                    <a:pt x="1223" y="2728"/>
                    <a:pt x="1219" y="2731"/>
                  </a:cubicBezTo>
                  <a:cubicBezTo>
                    <a:pt x="1215" y="2733"/>
                    <a:pt x="1206" y="2729"/>
                    <a:pt x="1206" y="2729"/>
                  </a:cubicBezTo>
                  <a:cubicBezTo>
                    <a:pt x="1206" y="2718"/>
                    <a:pt x="1206" y="2718"/>
                    <a:pt x="1206" y="2718"/>
                  </a:cubicBezTo>
                  <a:cubicBezTo>
                    <a:pt x="1197" y="2711"/>
                    <a:pt x="1197" y="2711"/>
                    <a:pt x="1197" y="2711"/>
                  </a:cubicBezTo>
                  <a:cubicBezTo>
                    <a:pt x="1197" y="2711"/>
                    <a:pt x="1193" y="2724"/>
                    <a:pt x="1187" y="2717"/>
                  </a:cubicBezTo>
                  <a:cubicBezTo>
                    <a:pt x="1180" y="2709"/>
                    <a:pt x="1201" y="2689"/>
                    <a:pt x="1201" y="2689"/>
                  </a:cubicBezTo>
                  <a:cubicBezTo>
                    <a:pt x="1201" y="2689"/>
                    <a:pt x="1192" y="2673"/>
                    <a:pt x="1176" y="2671"/>
                  </a:cubicBezTo>
                  <a:cubicBezTo>
                    <a:pt x="1168" y="2665"/>
                    <a:pt x="1168" y="2665"/>
                    <a:pt x="1168" y="2665"/>
                  </a:cubicBezTo>
                  <a:cubicBezTo>
                    <a:pt x="1168" y="2665"/>
                    <a:pt x="1154" y="2672"/>
                    <a:pt x="1156" y="2693"/>
                  </a:cubicBezTo>
                  <a:cubicBezTo>
                    <a:pt x="1147" y="2696"/>
                    <a:pt x="1135" y="2711"/>
                    <a:pt x="1135" y="2711"/>
                  </a:cubicBezTo>
                  <a:cubicBezTo>
                    <a:pt x="1133" y="2702"/>
                    <a:pt x="1133" y="2702"/>
                    <a:pt x="1133" y="2702"/>
                  </a:cubicBezTo>
                  <a:cubicBezTo>
                    <a:pt x="1144" y="2690"/>
                    <a:pt x="1144" y="2690"/>
                    <a:pt x="1144" y="2690"/>
                  </a:cubicBezTo>
                  <a:cubicBezTo>
                    <a:pt x="1143" y="2680"/>
                    <a:pt x="1143" y="2680"/>
                    <a:pt x="1143" y="2680"/>
                  </a:cubicBezTo>
                  <a:cubicBezTo>
                    <a:pt x="1120" y="2674"/>
                    <a:pt x="1120" y="2674"/>
                    <a:pt x="1120" y="2674"/>
                  </a:cubicBezTo>
                  <a:cubicBezTo>
                    <a:pt x="1119" y="2655"/>
                    <a:pt x="1119" y="2655"/>
                    <a:pt x="1119" y="2655"/>
                  </a:cubicBezTo>
                  <a:cubicBezTo>
                    <a:pt x="1119" y="2655"/>
                    <a:pt x="1104" y="2643"/>
                    <a:pt x="1104" y="2640"/>
                  </a:cubicBezTo>
                  <a:cubicBezTo>
                    <a:pt x="1104" y="2637"/>
                    <a:pt x="1115" y="2626"/>
                    <a:pt x="1113" y="2620"/>
                  </a:cubicBezTo>
                  <a:cubicBezTo>
                    <a:pt x="1112" y="2614"/>
                    <a:pt x="1093" y="2605"/>
                    <a:pt x="1093" y="2605"/>
                  </a:cubicBezTo>
                  <a:cubicBezTo>
                    <a:pt x="1093" y="2605"/>
                    <a:pt x="1109" y="2574"/>
                    <a:pt x="1105" y="2549"/>
                  </a:cubicBezTo>
                  <a:cubicBezTo>
                    <a:pt x="1105" y="2549"/>
                    <a:pt x="1101" y="2547"/>
                    <a:pt x="1101" y="2539"/>
                  </a:cubicBezTo>
                  <a:cubicBezTo>
                    <a:pt x="1101" y="2532"/>
                    <a:pt x="1107" y="2499"/>
                    <a:pt x="1107" y="2497"/>
                  </a:cubicBezTo>
                  <a:cubicBezTo>
                    <a:pt x="1107" y="2495"/>
                    <a:pt x="1100" y="2489"/>
                    <a:pt x="1100" y="2489"/>
                  </a:cubicBezTo>
                  <a:cubicBezTo>
                    <a:pt x="1107" y="2481"/>
                    <a:pt x="1107" y="2481"/>
                    <a:pt x="1107" y="2481"/>
                  </a:cubicBezTo>
                  <a:cubicBezTo>
                    <a:pt x="1107" y="2481"/>
                    <a:pt x="1093" y="2469"/>
                    <a:pt x="1092" y="2451"/>
                  </a:cubicBezTo>
                  <a:cubicBezTo>
                    <a:pt x="1087" y="2447"/>
                    <a:pt x="1084" y="2444"/>
                    <a:pt x="1084" y="2444"/>
                  </a:cubicBezTo>
                  <a:cubicBezTo>
                    <a:pt x="1065" y="2439"/>
                    <a:pt x="1065" y="2439"/>
                    <a:pt x="1065" y="2439"/>
                  </a:cubicBezTo>
                  <a:cubicBezTo>
                    <a:pt x="1065" y="2439"/>
                    <a:pt x="1061" y="2406"/>
                    <a:pt x="1041" y="2399"/>
                  </a:cubicBezTo>
                  <a:cubicBezTo>
                    <a:pt x="1039" y="2391"/>
                    <a:pt x="1038" y="2389"/>
                    <a:pt x="1038" y="2389"/>
                  </a:cubicBezTo>
                  <a:cubicBezTo>
                    <a:pt x="1009" y="2391"/>
                    <a:pt x="1009" y="2391"/>
                    <a:pt x="1009" y="2391"/>
                  </a:cubicBezTo>
                  <a:cubicBezTo>
                    <a:pt x="1013" y="2403"/>
                    <a:pt x="1013" y="2403"/>
                    <a:pt x="1013" y="2403"/>
                  </a:cubicBezTo>
                  <a:cubicBezTo>
                    <a:pt x="1013" y="2403"/>
                    <a:pt x="1003" y="2421"/>
                    <a:pt x="1001" y="2421"/>
                  </a:cubicBezTo>
                  <a:cubicBezTo>
                    <a:pt x="999" y="2421"/>
                    <a:pt x="988" y="2421"/>
                    <a:pt x="988" y="2421"/>
                  </a:cubicBezTo>
                  <a:cubicBezTo>
                    <a:pt x="977" y="2435"/>
                    <a:pt x="977" y="2435"/>
                    <a:pt x="977" y="2435"/>
                  </a:cubicBezTo>
                  <a:cubicBezTo>
                    <a:pt x="990" y="2453"/>
                    <a:pt x="990" y="2453"/>
                    <a:pt x="990" y="2453"/>
                  </a:cubicBezTo>
                  <a:cubicBezTo>
                    <a:pt x="989" y="2475"/>
                    <a:pt x="989" y="2475"/>
                    <a:pt x="989" y="2475"/>
                  </a:cubicBezTo>
                  <a:cubicBezTo>
                    <a:pt x="1005" y="2477"/>
                    <a:pt x="1005" y="2477"/>
                    <a:pt x="1005" y="2477"/>
                  </a:cubicBezTo>
                  <a:cubicBezTo>
                    <a:pt x="1007" y="2490"/>
                    <a:pt x="1007" y="2490"/>
                    <a:pt x="1007" y="2490"/>
                  </a:cubicBezTo>
                  <a:cubicBezTo>
                    <a:pt x="989" y="2493"/>
                    <a:pt x="989" y="2493"/>
                    <a:pt x="989" y="2493"/>
                  </a:cubicBezTo>
                  <a:cubicBezTo>
                    <a:pt x="989" y="2493"/>
                    <a:pt x="1005" y="2536"/>
                    <a:pt x="1013" y="2535"/>
                  </a:cubicBezTo>
                  <a:cubicBezTo>
                    <a:pt x="1011" y="2545"/>
                    <a:pt x="1011" y="2545"/>
                    <a:pt x="1011" y="2545"/>
                  </a:cubicBezTo>
                  <a:cubicBezTo>
                    <a:pt x="987" y="2518"/>
                    <a:pt x="987" y="2518"/>
                    <a:pt x="987" y="2518"/>
                  </a:cubicBezTo>
                  <a:cubicBezTo>
                    <a:pt x="988" y="2528"/>
                    <a:pt x="988" y="2528"/>
                    <a:pt x="988" y="2528"/>
                  </a:cubicBezTo>
                  <a:cubicBezTo>
                    <a:pt x="976" y="2523"/>
                    <a:pt x="976" y="2523"/>
                    <a:pt x="976" y="2523"/>
                  </a:cubicBezTo>
                  <a:cubicBezTo>
                    <a:pt x="972" y="2529"/>
                    <a:pt x="972" y="2529"/>
                    <a:pt x="972" y="2529"/>
                  </a:cubicBezTo>
                  <a:cubicBezTo>
                    <a:pt x="963" y="2530"/>
                    <a:pt x="963" y="2530"/>
                    <a:pt x="963" y="2530"/>
                  </a:cubicBezTo>
                  <a:cubicBezTo>
                    <a:pt x="932" y="2501"/>
                    <a:pt x="932" y="2501"/>
                    <a:pt x="932" y="2501"/>
                  </a:cubicBezTo>
                  <a:cubicBezTo>
                    <a:pt x="918" y="2501"/>
                    <a:pt x="918" y="2501"/>
                    <a:pt x="918" y="2501"/>
                  </a:cubicBezTo>
                  <a:cubicBezTo>
                    <a:pt x="915" y="2482"/>
                    <a:pt x="915" y="2482"/>
                    <a:pt x="915" y="2482"/>
                  </a:cubicBezTo>
                  <a:cubicBezTo>
                    <a:pt x="893" y="2455"/>
                    <a:pt x="893" y="2455"/>
                    <a:pt x="893" y="2455"/>
                  </a:cubicBezTo>
                  <a:cubicBezTo>
                    <a:pt x="893" y="2455"/>
                    <a:pt x="885" y="2496"/>
                    <a:pt x="877" y="2495"/>
                  </a:cubicBezTo>
                  <a:cubicBezTo>
                    <a:pt x="869" y="2495"/>
                    <a:pt x="910" y="2509"/>
                    <a:pt x="908" y="2523"/>
                  </a:cubicBezTo>
                  <a:cubicBezTo>
                    <a:pt x="908" y="2523"/>
                    <a:pt x="925" y="2534"/>
                    <a:pt x="917" y="2537"/>
                  </a:cubicBezTo>
                  <a:cubicBezTo>
                    <a:pt x="909" y="2539"/>
                    <a:pt x="905" y="2525"/>
                    <a:pt x="905" y="2525"/>
                  </a:cubicBezTo>
                  <a:cubicBezTo>
                    <a:pt x="905" y="2525"/>
                    <a:pt x="894" y="2533"/>
                    <a:pt x="891" y="2531"/>
                  </a:cubicBezTo>
                  <a:cubicBezTo>
                    <a:pt x="889" y="2528"/>
                    <a:pt x="885" y="2517"/>
                    <a:pt x="880" y="2514"/>
                  </a:cubicBezTo>
                  <a:cubicBezTo>
                    <a:pt x="875" y="2511"/>
                    <a:pt x="874" y="2526"/>
                    <a:pt x="878" y="2526"/>
                  </a:cubicBezTo>
                  <a:cubicBezTo>
                    <a:pt x="882" y="2526"/>
                    <a:pt x="885" y="2529"/>
                    <a:pt x="885" y="2529"/>
                  </a:cubicBezTo>
                  <a:cubicBezTo>
                    <a:pt x="886" y="2546"/>
                    <a:pt x="886" y="2546"/>
                    <a:pt x="886" y="2546"/>
                  </a:cubicBezTo>
                  <a:cubicBezTo>
                    <a:pt x="886" y="2546"/>
                    <a:pt x="906" y="2572"/>
                    <a:pt x="901" y="2572"/>
                  </a:cubicBezTo>
                  <a:cubicBezTo>
                    <a:pt x="897" y="2572"/>
                    <a:pt x="891" y="2562"/>
                    <a:pt x="891" y="2562"/>
                  </a:cubicBezTo>
                  <a:cubicBezTo>
                    <a:pt x="891" y="2562"/>
                    <a:pt x="897" y="2577"/>
                    <a:pt x="891" y="2577"/>
                  </a:cubicBezTo>
                  <a:cubicBezTo>
                    <a:pt x="885" y="2577"/>
                    <a:pt x="863" y="2539"/>
                    <a:pt x="863" y="2539"/>
                  </a:cubicBezTo>
                  <a:cubicBezTo>
                    <a:pt x="854" y="2538"/>
                    <a:pt x="854" y="2538"/>
                    <a:pt x="854" y="2538"/>
                  </a:cubicBezTo>
                  <a:cubicBezTo>
                    <a:pt x="854" y="2524"/>
                    <a:pt x="854" y="2524"/>
                    <a:pt x="854" y="2524"/>
                  </a:cubicBezTo>
                  <a:cubicBezTo>
                    <a:pt x="854" y="2524"/>
                    <a:pt x="825" y="2529"/>
                    <a:pt x="838" y="2553"/>
                  </a:cubicBezTo>
                  <a:cubicBezTo>
                    <a:pt x="835" y="2560"/>
                    <a:pt x="841" y="2563"/>
                    <a:pt x="827" y="2557"/>
                  </a:cubicBezTo>
                  <a:cubicBezTo>
                    <a:pt x="812" y="2550"/>
                    <a:pt x="817" y="2567"/>
                    <a:pt x="817" y="2567"/>
                  </a:cubicBezTo>
                  <a:cubicBezTo>
                    <a:pt x="821" y="2574"/>
                    <a:pt x="821" y="2574"/>
                    <a:pt x="821" y="2574"/>
                  </a:cubicBezTo>
                  <a:cubicBezTo>
                    <a:pt x="821" y="2574"/>
                    <a:pt x="815" y="2594"/>
                    <a:pt x="819" y="2594"/>
                  </a:cubicBezTo>
                  <a:cubicBezTo>
                    <a:pt x="822" y="2594"/>
                    <a:pt x="830" y="2581"/>
                    <a:pt x="839" y="2592"/>
                  </a:cubicBezTo>
                  <a:cubicBezTo>
                    <a:pt x="847" y="2603"/>
                    <a:pt x="841" y="2614"/>
                    <a:pt x="841" y="2614"/>
                  </a:cubicBezTo>
                  <a:cubicBezTo>
                    <a:pt x="841" y="2614"/>
                    <a:pt x="859" y="2644"/>
                    <a:pt x="884" y="2642"/>
                  </a:cubicBezTo>
                  <a:cubicBezTo>
                    <a:pt x="889" y="2649"/>
                    <a:pt x="903" y="2659"/>
                    <a:pt x="908" y="2657"/>
                  </a:cubicBezTo>
                  <a:cubicBezTo>
                    <a:pt x="913" y="2656"/>
                    <a:pt x="925" y="2647"/>
                    <a:pt x="921" y="2639"/>
                  </a:cubicBezTo>
                  <a:cubicBezTo>
                    <a:pt x="917" y="2631"/>
                    <a:pt x="916" y="2631"/>
                    <a:pt x="916" y="2624"/>
                  </a:cubicBezTo>
                  <a:cubicBezTo>
                    <a:pt x="916" y="2617"/>
                    <a:pt x="936" y="2611"/>
                    <a:pt x="936" y="2611"/>
                  </a:cubicBezTo>
                  <a:cubicBezTo>
                    <a:pt x="933" y="2622"/>
                    <a:pt x="933" y="2622"/>
                    <a:pt x="933" y="2622"/>
                  </a:cubicBezTo>
                  <a:cubicBezTo>
                    <a:pt x="936" y="2630"/>
                    <a:pt x="936" y="2630"/>
                    <a:pt x="936" y="2630"/>
                  </a:cubicBezTo>
                  <a:cubicBezTo>
                    <a:pt x="946" y="2617"/>
                    <a:pt x="946" y="2617"/>
                    <a:pt x="946" y="2617"/>
                  </a:cubicBezTo>
                  <a:cubicBezTo>
                    <a:pt x="946" y="2617"/>
                    <a:pt x="948" y="2639"/>
                    <a:pt x="962" y="2638"/>
                  </a:cubicBezTo>
                  <a:cubicBezTo>
                    <a:pt x="965" y="2639"/>
                    <a:pt x="958" y="2653"/>
                    <a:pt x="958" y="2653"/>
                  </a:cubicBezTo>
                  <a:cubicBezTo>
                    <a:pt x="958" y="2653"/>
                    <a:pt x="976" y="2653"/>
                    <a:pt x="981" y="2645"/>
                  </a:cubicBezTo>
                  <a:cubicBezTo>
                    <a:pt x="986" y="2647"/>
                    <a:pt x="983" y="2655"/>
                    <a:pt x="975" y="2655"/>
                  </a:cubicBezTo>
                  <a:cubicBezTo>
                    <a:pt x="967" y="2655"/>
                    <a:pt x="951" y="2669"/>
                    <a:pt x="951" y="2679"/>
                  </a:cubicBezTo>
                  <a:cubicBezTo>
                    <a:pt x="951" y="2688"/>
                    <a:pt x="961" y="2690"/>
                    <a:pt x="961" y="2690"/>
                  </a:cubicBezTo>
                  <a:cubicBezTo>
                    <a:pt x="961" y="2690"/>
                    <a:pt x="964" y="2732"/>
                    <a:pt x="992" y="2734"/>
                  </a:cubicBezTo>
                  <a:cubicBezTo>
                    <a:pt x="992" y="2739"/>
                    <a:pt x="1005" y="2767"/>
                    <a:pt x="1013" y="2768"/>
                  </a:cubicBezTo>
                  <a:cubicBezTo>
                    <a:pt x="1022" y="2769"/>
                    <a:pt x="1034" y="2749"/>
                    <a:pt x="1037" y="2757"/>
                  </a:cubicBezTo>
                  <a:cubicBezTo>
                    <a:pt x="1041" y="2764"/>
                    <a:pt x="1009" y="2789"/>
                    <a:pt x="1023" y="2789"/>
                  </a:cubicBezTo>
                  <a:cubicBezTo>
                    <a:pt x="1035" y="2785"/>
                    <a:pt x="1061" y="2773"/>
                    <a:pt x="1065" y="2775"/>
                  </a:cubicBezTo>
                  <a:cubicBezTo>
                    <a:pt x="1068" y="2777"/>
                    <a:pt x="1051" y="2796"/>
                    <a:pt x="1051" y="2796"/>
                  </a:cubicBezTo>
                  <a:cubicBezTo>
                    <a:pt x="1065" y="2811"/>
                    <a:pt x="1065" y="2811"/>
                    <a:pt x="1065" y="2811"/>
                  </a:cubicBezTo>
                  <a:cubicBezTo>
                    <a:pt x="1083" y="2789"/>
                    <a:pt x="1083" y="2789"/>
                    <a:pt x="1083" y="2789"/>
                  </a:cubicBezTo>
                  <a:cubicBezTo>
                    <a:pt x="1079" y="2783"/>
                    <a:pt x="1079" y="2783"/>
                    <a:pt x="1079" y="2783"/>
                  </a:cubicBezTo>
                  <a:cubicBezTo>
                    <a:pt x="1079" y="2783"/>
                    <a:pt x="1085" y="2766"/>
                    <a:pt x="1101" y="2766"/>
                  </a:cubicBezTo>
                  <a:cubicBezTo>
                    <a:pt x="1116" y="2766"/>
                    <a:pt x="1112" y="2800"/>
                    <a:pt x="1112" y="2800"/>
                  </a:cubicBezTo>
                  <a:cubicBezTo>
                    <a:pt x="1125" y="2814"/>
                    <a:pt x="1125" y="2814"/>
                    <a:pt x="1125" y="2814"/>
                  </a:cubicBezTo>
                  <a:cubicBezTo>
                    <a:pt x="1157" y="2759"/>
                    <a:pt x="1157" y="2759"/>
                    <a:pt x="1157" y="2759"/>
                  </a:cubicBezTo>
                  <a:cubicBezTo>
                    <a:pt x="1157" y="2759"/>
                    <a:pt x="1169" y="2787"/>
                    <a:pt x="1173" y="2787"/>
                  </a:cubicBezTo>
                  <a:cubicBezTo>
                    <a:pt x="1177" y="2786"/>
                    <a:pt x="1201" y="2779"/>
                    <a:pt x="1201" y="2779"/>
                  </a:cubicBezTo>
                  <a:cubicBezTo>
                    <a:pt x="1201" y="2779"/>
                    <a:pt x="1135" y="2824"/>
                    <a:pt x="1165" y="2825"/>
                  </a:cubicBezTo>
                  <a:cubicBezTo>
                    <a:pt x="1167" y="2826"/>
                    <a:pt x="1153" y="2843"/>
                    <a:pt x="1153" y="2843"/>
                  </a:cubicBezTo>
                  <a:cubicBezTo>
                    <a:pt x="1162" y="2849"/>
                    <a:pt x="1162" y="2849"/>
                    <a:pt x="1162" y="2849"/>
                  </a:cubicBezTo>
                  <a:cubicBezTo>
                    <a:pt x="1162" y="2849"/>
                    <a:pt x="1122" y="2875"/>
                    <a:pt x="1157" y="2891"/>
                  </a:cubicBezTo>
                  <a:cubicBezTo>
                    <a:pt x="1203" y="2877"/>
                    <a:pt x="1216" y="2853"/>
                    <a:pt x="1225" y="2831"/>
                  </a:cubicBezTo>
                  <a:cubicBezTo>
                    <a:pt x="1244" y="2827"/>
                    <a:pt x="1246" y="2829"/>
                    <a:pt x="1246" y="2829"/>
                  </a:cubicBezTo>
                  <a:cubicBezTo>
                    <a:pt x="1259" y="2801"/>
                    <a:pt x="1259" y="2801"/>
                    <a:pt x="1259" y="2801"/>
                  </a:cubicBezTo>
                  <a:cubicBezTo>
                    <a:pt x="1254" y="2790"/>
                    <a:pt x="1254" y="2790"/>
                    <a:pt x="1254" y="2790"/>
                  </a:cubicBezTo>
                  <a:cubicBezTo>
                    <a:pt x="1254" y="2790"/>
                    <a:pt x="1307" y="2783"/>
                    <a:pt x="1313" y="2749"/>
                  </a:cubicBezTo>
                  <a:cubicBezTo>
                    <a:pt x="1319" y="2747"/>
                    <a:pt x="1327" y="2747"/>
                    <a:pt x="1327" y="2747"/>
                  </a:cubicBezTo>
                  <a:cubicBezTo>
                    <a:pt x="1327" y="2747"/>
                    <a:pt x="1333" y="2764"/>
                    <a:pt x="1299" y="2787"/>
                  </a:cubicBezTo>
                  <a:cubicBezTo>
                    <a:pt x="1299" y="2807"/>
                    <a:pt x="1317" y="2809"/>
                    <a:pt x="1317" y="2809"/>
                  </a:cubicBezTo>
                  <a:cubicBezTo>
                    <a:pt x="1317" y="2817"/>
                    <a:pt x="1317" y="2817"/>
                    <a:pt x="1317" y="2817"/>
                  </a:cubicBezTo>
                  <a:cubicBezTo>
                    <a:pt x="1286" y="2820"/>
                    <a:pt x="1286" y="2820"/>
                    <a:pt x="1286" y="2820"/>
                  </a:cubicBezTo>
                  <a:cubicBezTo>
                    <a:pt x="1286" y="2820"/>
                    <a:pt x="1279" y="2844"/>
                    <a:pt x="1264" y="2843"/>
                  </a:cubicBezTo>
                  <a:cubicBezTo>
                    <a:pt x="1253" y="2852"/>
                    <a:pt x="1250" y="2861"/>
                    <a:pt x="1250" y="2861"/>
                  </a:cubicBezTo>
                  <a:cubicBezTo>
                    <a:pt x="1250" y="2861"/>
                    <a:pt x="1269" y="2885"/>
                    <a:pt x="1277" y="2885"/>
                  </a:cubicBezTo>
                  <a:cubicBezTo>
                    <a:pt x="1285" y="2885"/>
                    <a:pt x="1307" y="2872"/>
                    <a:pt x="1306" y="2879"/>
                  </a:cubicBezTo>
                  <a:cubicBezTo>
                    <a:pt x="1305" y="2887"/>
                    <a:pt x="1301" y="2896"/>
                    <a:pt x="1301" y="2896"/>
                  </a:cubicBezTo>
                  <a:cubicBezTo>
                    <a:pt x="1301" y="2896"/>
                    <a:pt x="1307" y="2917"/>
                    <a:pt x="1319" y="2916"/>
                  </a:cubicBezTo>
                  <a:cubicBezTo>
                    <a:pt x="1323" y="2917"/>
                    <a:pt x="1327" y="2931"/>
                    <a:pt x="1324" y="2931"/>
                  </a:cubicBezTo>
                  <a:cubicBezTo>
                    <a:pt x="1321" y="2931"/>
                    <a:pt x="1311" y="2923"/>
                    <a:pt x="1303" y="2923"/>
                  </a:cubicBezTo>
                  <a:cubicBezTo>
                    <a:pt x="1296" y="2923"/>
                    <a:pt x="1287" y="2899"/>
                    <a:pt x="1285" y="2899"/>
                  </a:cubicBezTo>
                  <a:cubicBezTo>
                    <a:pt x="1283" y="2899"/>
                    <a:pt x="1243" y="2897"/>
                    <a:pt x="1243" y="2897"/>
                  </a:cubicBezTo>
                  <a:cubicBezTo>
                    <a:pt x="1243" y="2897"/>
                    <a:pt x="1228" y="2902"/>
                    <a:pt x="1229" y="2937"/>
                  </a:cubicBezTo>
                  <a:cubicBezTo>
                    <a:pt x="1215" y="2964"/>
                    <a:pt x="1214" y="2966"/>
                    <a:pt x="1213" y="2966"/>
                  </a:cubicBezTo>
                  <a:cubicBezTo>
                    <a:pt x="1217" y="2974"/>
                    <a:pt x="1217" y="2974"/>
                    <a:pt x="1217" y="2974"/>
                  </a:cubicBezTo>
                  <a:cubicBezTo>
                    <a:pt x="1213" y="2978"/>
                    <a:pt x="1213" y="2978"/>
                    <a:pt x="1213" y="2978"/>
                  </a:cubicBezTo>
                  <a:cubicBezTo>
                    <a:pt x="1209" y="2971"/>
                    <a:pt x="1209" y="2971"/>
                    <a:pt x="1209" y="2971"/>
                  </a:cubicBezTo>
                  <a:cubicBezTo>
                    <a:pt x="1193" y="2984"/>
                    <a:pt x="1193" y="2984"/>
                    <a:pt x="1193" y="2984"/>
                  </a:cubicBezTo>
                  <a:cubicBezTo>
                    <a:pt x="1193" y="2984"/>
                    <a:pt x="1200" y="2999"/>
                    <a:pt x="1211" y="2999"/>
                  </a:cubicBezTo>
                  <a:cubicBezTo>
                    <a:pt x="1223" y="2998"/>
                    <a:pt x="1276" y="2984"/>
                    <a:pt x="1276" y="2984"/>
                  </a:cubicBezTo>
                  <a:cubicBezTo>
                    <a:pt x="1275" y="2994"/>
                    <a:pt x="1275" y="2994"/>
                    <a:pt x="1275" y="2994"/>
                  </a:cubicBezTo>
                  <a:cubicBezTo>
                    <a:pt x="1252" y="3009"/>
                    <a:pt x="1252" y="3009"/>
                    <a:pt x="1252" y="3009"/>
                  </a:cubicBezTo>
                  <a:cubicBezTo>
                    <a:pt x="1252" y="3009"/>
                    <a:pt x="1271" y="3012"/>
                    <a:pt x="1269" y="3015"/>
                  </a:cubicBezTo>
                  <a:cubicBezTo>
                    <a:pt x="1267" y="3017"/>
                    <a:pt x="1227" y="3027"/>
                    <a:pt x="1227" y="3027"/>
                  </a:cubicBezTo>
                  <a:cubicBezTo>
                    <a:pt x="1227" y="3027"/>
                    <a:pt x="1218" y="3051"/>
                    <a:pt x="1209" y="3051"/>
                  </a:cubicBezTo>
                  <a:cubicBezTo>
                    <a:pt x="1209" y="3055"/>
                    <a:pt x="1211" y="3085"/>
                    <a:pt x="1203" y="3083"/>
                  </a:cubicBezTo>
                  <a:cubicBezTo>
                    <a:pt x="1195" y="3081"/>
                    <a:pt x="1186" y="3062"/>
                    <a:pt x="1178" y="3063"/>
                  </a:cubicBezTo>
                  <a:cubicBezTo>
                    <a:pt x="1170" y="3063"/>
                    <a:pt x="1149" y="3075"/>
                    <a:pt x="1149" y="3075"/>
                  </a:cubicBezTo>
                  <a:cubicBezTo>
                    <a:pt x="1093" y="3075"/>
                    <a:pt x="1093" y="3075"/>
                    <a:pt x="1093" y="3075"/>
                  </a:cubicBezTo>
                  <a:cubicBezTo>
                    <a:pt x="1073" y="3081"/>
                    <a:pt x="1073" y="3081"/>
                    <a:pt x="1073" y="3081"/>
                  </a:cubicBezTo>
                  <a:cubicBezTo>
                    <a:pt x="1077" y="3091"/>
                    <a:pt x="1077" y="3091"/>
                    <a:pt x="1077" y="3091"/>
                  </a:cubicBezTo>
                  <a:cubicBezTo>
                    <a:pt x="1067" y="3092"/>
                    <a:pt x="1067" y="3092"/>
                    <a:pt x="1067" y="3092"/>
                  </a:cubicBezTo>
                  <a:cubicBezTo>
                    <a:pt x="1055" y="3103"/>
                    <a:pt x="1055" y="3103"/>
                    <a:pt x="1055" y="3103"/>
                  </a:cubicBezTo>
                  <a:cubicBezTo>
                    <a:pt x="1055" y="3103"/>
                    <a:pt x="1059" y="3150"/>
                    <a:pt x="1141" y="3131"/>
                  </a:cubicBezTo>
                  <a:cubicBezTo>
                    <a:pt x="1167" y="3147"/>
                    <a:pt x="1173" y="3148"/>
                    <a:pt x="1173" y="3148"/>
                  </a:cubicBezTo>
                  <a:cubicBezTo>
                    <a:pt x="1186" y="3141"/>
                    <a:pt x="1186" y="3141"/>
                    <a:pt x="1186" y="3141"/>
                  </a:cubicBezTo>
                  <a:cubicBezTo>
                    <a:pt x="1186" y="3141"/>
                    <a:pt x="1191" y="3162"/>
                    <a:pt x="1157" y="3163"/>
                  </a:cubicBezTo>
                  <a:cubicBezTo>
                    <a:pt x="1158" y="3170"/>
                    <a:pt x="1157" y="3183"/>
                    <a:pt x="1157" y="3183"/>
                  </a:cubicBezTo>
                  <a:cubicBezTo>
                    <a:pt x="1157" y="3183"/>
                    <a:pt x="1173" y="3191"/>
                    <a:pt x="1171" y="3201"/>
                  </a:cubicBezTo>
                  <a:cubicBezTo>
                    <a:pt x="1171" y="3204"/>
                    <a:pt x="1211" y="3251"/>
                    <a:pt x="1256" y="3244"/>
                  </a:cubicBezTo>
                  <a:cubicBezTo>
                    <a:pt x="1256" y="3244"/>
                    <a:pt x="1263" y="3231"/>
                    <a:pt x="1267" y="3234"/>
                  </a:cubicBezTo>
                  <a:cubicBezTo>
                    <a:pt x="1271" y="3237"/>
                    <a:pt x="1259" y="3249"/>
                    <a:pt x="1259" y="3249"/>
                  </a:cubicBezTo>
                  <a:cubicBezTo>
                    <a:pt x="1266" y="3257"/>
                    <a:pt x="1266" y="3257"/>
                    <a:pt x="1266" y="3257"/>
                  </a:cubicBezTo>
                  <a:cubicBezTo>
                    <a:pt x="1287" y="3261"/>
                    <a:pt x="1287" y="3261"/>
                    <a:pt x="1287" y="3261"/>
                  </a:cubicBezTo>
                  <a:cubicBezTo>
                    <a:pt x="1287" y="3261"/>
                    <a:pt x="1284" y="3275"/>
                    <a:pt x="1299" y="3275"/>
                  </a:cubicBezTo>
                  <a:cubicBezTo>
                    <a:pt x="1315" y="3275"/>
                    <a:pt x="1371" y="3229"/>
                    <a:pt x="1371" y="3224"/>
                  </a:cubicBezTo>
                  <a:cubicBezTo>
                    <a:pt x="1371" y="3219"/>
                    <a:pt x="1373" y="3211"/>
                    <a:pt x="1373" y="3211"/>
                  </a:cubicBezTo>
                  <a:cubicBezTo>
                    <a:pt x="1413" y="3175"/>
                    <a:pt x="1413" y="3175"/>
                    <a:pt x="1413" y="3175"/>
                  </a:cubicBezTo>
                  <a:cubicBezTo>
                    <a:pt x="1423" y="3173"/>
                    <a:pt x="1423" y="3173"/>
                    <a:pt x="1423" y="3173"/>
                  </a:cubicBezTo>
                  <a:cubicBezTo>
                    <a:pt x="1447" y="3152"/>
                    <a:pt x="1447" y="3152"/>
                    <a:pt x="1447" y="3152"/>
                  </a:cubicBezTo>
                  <a:cubicBezTo>
                    <a:pt x="1447" y="3152"/>
                    <a:pt x="1443" y="3140"/>
                    <a:pt x="1458" y="3140"/>
                  </a:cubicBezTo>
                  <a:cubicBezTo>
                    <a:pt x="1458" y="3140"/>
                    <a:pt x="1467" y="3116"/>
                    <a:pt x="1474" y="3133"/>
                  </a:cubicBezTo>
                  <a:cubicBezTo>
                    <a:pt x="1491" y="3119"/>
                    <a:pt x="1491" y="3119"/>
                    <a:pt x="1491" y="3119"/>
                  </a:cubicBezTo>
                  <a:cubicBezTo>
                    <a:pt x="1505" y="3141"/>
                    <a:pt x="1505" y="3141"/>
                    <a:pt x="1505" y="3141"/>
                  </a:cubicBezTo>
                  <a:cubicBezTo>
                    <a:pt x="1491" y="3158"/>
                    <a:pt x="1491" y="3158"/>
                    <a:pt x="1491" y="3158"/>
                  </a:cubicBezTo>
                  <a:cubicBezTo>
                    <a:pt x="1485" y="3150"/>
                    <a:pt x="1485" y="3150"/>
                    <a:pt x="1485" y="3150"/>
                  </a:cubicBezTo>
                  <a:cubicBezTo>
                    <a:pt x="1485" y="3150"/>
                    <a:pt x="1462" y="3163"/>
                    <a:pt x="1461" y="3167"/>
                  </a:cubicBezTo>
                  <a:cubicBezTo>
                    <a:pt x="1461" y="3171"/>
                    <a:pt x="1467" y="3176"/>
                    <a:pt x="1467" y="3176"/>
                  </a:cubicBezTo>
                  <a:cubicBezTo>
                    <a:pt x="1457" y="3189"/>
                    <a:pt x="1457" y="3189"/>
                    <a:pt x="1457" y="3189"/>
                  </a:cubicBezTo>
                  <a:cubicBezTo>
                    <a:pt x="1457" y="3189"/>
                    <a:pt x="1457" y="3177"/>
                    <a:pt x="1436" y="3212"/>
                  </a:cubicBezTo>
                  <a:cubicBezTo>
                    <a:pt x="1427" y="3205"/>
                    <a:pt x="1428" y="3199"/>
                    <a:pt x="1428" y="3199"/>
                  </a:cubicBezTo>
                  <a:cubicBezTo>
                    <a:pt x="1420" y="3208"/>
                    <a:pt x="1420" y="3208"/>
                    <a:pt x="1420" y="3208"/>
                  </a:cubicBezTo>
                  <a:cubicBezTo>
                    <a:pt x="1429" y="3225"/>
                    <a:pt x="1429" y="3225"/>
                    <a:pt x="1429" y="3225"/>
                  </a:cubicBezTo>
                  <a:cubicBezTo>
                    <a:pt x="1429" y="3225"/>
                    <a:pt x="1417" y="3234"/>
                    <a:pt x="1417" y="3249"/>
                  </a:cubicBezTo>
                  <a:cubicBezTo>
                    <a:pt x="1408" y="3259"/>
                    <a:pt x="1394" y="3285"/>
                    <a:pt x="1394" y="3285"/>
                  </a:cubicBezTo>
                  <a:cubicBezTo>
                    <a:pt x="1394" y="3285"/>
                    <a:pt x="1399" y="3294"/>
                    <a:pt x="1402" y="3294"/>
                  </a:cubicBezTo>
                  <a:cubicBezTo>
                    <a:pt x="1405" y="3294"/>
                    <a:pt x="1415" y="3282"/>
                    <a:pt x="1415" y="3282"/>
                  </a:cubicBezTo>
                  <a:cubicBezTo>
                    <a:pt x="1425" y="3297"/>
                    <a:pt x="1425" y="3297"/>
                    <a:pt x="1425" y="3297"/>
                  </a:cubicBezTo>
                  <a:cubicBezTo>
                    <a:pt x="1425" y="3297"/>
                    <a:pt x="1421" y="3313"/>
                    <a:pt x="1397" y="3313"/>
                  </a:cubicBezTo>
                  <a:cubicBezTo>
                    <a:pt x="1393" y="3316"/>
                    <a:pt x="1369" y="3336"/>
                    <a:pt x="1369" y="3336"/>
                  </a:cubicBezTo>
                  <a:cubicBezTo>
                    <a:pt x="1354" y="3336"/>
                    <a:pt x="1354" y="3336"/>
                    <a:pt x="1354" y="3336"/>
                  </a:cubicBezTo>
                  <a:cubicBezTo>
                    <a:pt x="1354" y="3336"/>
                    <a:pt x="1335" y="3353"/>
                    <a:pt x="1337" y="3353"/>
                  </a:cubicBezTo>
                  <a:cubicBezTo>
                    <a:pt x="1339" y="3353"/>
                    <a:pt x="1356" y="3367"/>
                    <a:pt x="1356" y="3367"/>
                  </a:cubicBezTo>
                  <a:cubicBezTo>
                    <a:pt x="1363" y="3361"/>
                    <a:pt x="1363" y="3361"/>
                    <a:pt x="1363" y="3361"/>
                  </a:cubicBezTo>
                  <a:cubicBezTo>
                    <a:pt x="1363" y="3361"/>
                    <a:pt x="1381" y="3355"/>
                    <a:pt x="1335" y="3409"/>
                  </a:cubicBezTo>
                  <a:cubicBezTo>
                    <a:pt x="1320" y="3411"/>
                    <a:pt x="1319" y="3409"/>
                    <a:pt x="1319" y="3409"/>
                  </a:cubicBezTo>
                  <a:cubicBezTo>
                    <a:pt x="1316" y="3412"/>
                    <a:pt x="1299" y="3433"/>
                    <a:pt x="1303" y="3433"/>
                  </a:cubicBezTo>
                  <a:cubicBezTo>
                    <a:pt x="1308" y="3433"/>
                    <a:pt x="1311" y="3427"/>
                    <a:pt x="1311" y="3427"/>
                  </a:cubicBezTo>
                  <a:cubicBezTo>
                    <a:pt x="1319" y="3438"/>
                    <a:pt x="1319" y="3438"/>
                    <a:pt x="1319" y="3438"/>
                  </a:cubicBezTo>
                  <a:cubicBezTo>
                    <a:pt x="1319" y="3438"/>
                    <a:pt x="1310" y="3431"/>
                    <a:pt x="1303" y="3479"/>
                  </a:cubicBezTo>
                  <a:cubicBezTo>
                    <a:pt x="1317" y="3501"/>
                    <a:pt x="1321" y="3503"/>
                    <a:pt x="1321" y="3503"/>
                  </a:cubicBezTo>
                  <a:cubicBezTo>
                    <a:pt x="1321" y="3495"/>
                    <a:pt x="1321" y="3495"/>
                    <a:pt x="1321" y="3495"/>
                  </a:cubicBezTo>
                  <a:cubicBezTo>
                    <a:pt x="1321" y="3495"/>
                    <a:pt x="1327" y="3501"/>
                    <a:pt x="1331" y="3498"/>
                  </a:cubicBezTo>
                  <a:cubicBezTo>
                    <a:pt x="1335" y="3495"/>
                    <a:pt x="1342" y="3488"/>
                    <a:pt x="1342" y="3488"/>
                  </a:cubicBezTo>
                  <a:cubicBezTo>
                    <a:pt x="1327" y="3466"/>
                    <a:pt x="1327" y="3466"/>
                    <a:pt x="1327" y="3466"/>
                  </a:cubicBezTo>
                  <a:cubicBezTo>
                    <a:pt x="1327" y="3466"/>
                    <a:pt x="1328" y="3451"/>
                    <a:pt x="1337" y="3459"/>
                  </a:cubicBezTo>
                  <a:cubicBezTo>
                    <a:pt x="1347" y="3459"/>
                    <a:pt x="1347" y="3457"/>
                    <a:pt x="1347" y="3454"/>
                  </a:cubicBezTo>
                  <a:cubicBezTo>
                    <a:pt x="1347" y="3451"/>
                    <a:pt x="1367" y="3454"/>
                    <a:pt x="1367" y="3454"/>
                  </a:cubicBezTo>
                  <a:cubicBezTo>
                    <a:pt x="1367" y="3462"/>
                    <a:pt x="1367" y="3462"/>
                    <a:pt x="1367" y="3462"/>
                  </a:cubicBezTo>
                  <a:cubicBezTo>
                    <a:pt x="1367" y="3462"/>
                    <a:pt x="1346" y="3460"/>
                    <a:pt x="1346" y="3471"/>
                  </a:cubicBezTo>
                  <a:cubicBezTo>
                    <a:pt x="1351" y="3473"/>
                    <a:pt x="1355" y="3474"/>
                    <a:pt x="1355" y="3474"/>
                  </a:cubicBezTo>
                  <a:cubicBezTo>
                    <a:pt x="1355" y="3490"/>
                    <a:pt x="1355" y="3490"/>
                    <a:pt x="1355" y="3490"/>
                  </a:cubicBezTo>
                  <a:cubicBezTo>
                    <a:pt x="1329" y="3521"/>
                    <a:pt x="1329" y="3521"/>
                    <a:pt x="1329" y="3521"/>
                  </a:cubicBezTo>
                  <a:cubicBezTo>
                    <a:pt x="1328" y="3547"/>
                    <a:pt x="1328" y="3547"/>
                    <a:pt x="1328" y="3547"/>
                  </a:cubicBezTo>
                  <a:cubicBezTo>
                    <a:pt x="1353" y="3521"/>
                    <a:pt x="1353" y="3521"/>
                    <a:pt x="1353" y="3521"/>
                  </a:cubicBezTo>
                  <a:cubicBezTo>
                    <a:pt x="1355" y="3533"/>
                    <a:pt x="1355" y="3533"/>
                    <a:pt x="1355" y="3533"/>
                  </a:cubicBezTo>
                  <a:cubicBezTo>
                    <a:pt x="1347" y="3544"/>
                    <a:pt x="1347" y="3544"/>
                    <a:pt x="1347" y="3544"/>
                  </a:cubicBezTo>
                  <a:cubicBezTo>
                    <a:pt x="1353" y="3550"/>
                    <a:pt x="1353" y="3550"/>
                    <a:pt x="1353" y="3550"/>
                  </a:cubicBezTo>
                  <a:cubicBezTo>
                    <a:pt x="1347" y="3561"/>
                    <a:pt x="1347" y="3561"/>
                    <a:pt x="1347" y="3561"/>
                  </a:cubicBezTo>
                  <a:cubicBezTo>
                    <a:pt x="1359" y="3579"/>
                    <a:pt x="1359" y="3579"/>
                    <a:pt x="1359" y="3579"/>
                  </a:cubicBezTo>
                  <a:cubicBezTo>
                    <a:pt x="1359" y="3579"/>
                    <a:pt x="1334" y="3563"/>
                    <a:pt x="1330" y="3590"/>
                  </a:cubicBezTo>
                  <a:cubicBezTo>
                    <a:pt x="1330" y="3590"/>
                    <a:pt x="1316" y="3599"/>
                    <a:pt x="1314" y="3617"/>
                  </a:cubicBezTo>
                  <a:cubicBezTo>
                    <a:pt x="1311" y="3615"/>
                    <a:pt x="1297" y="3645"/>
                    <a:pt x="1293" y="3653"/>
                  </a:cubicBezTo>
                  <a:cubicBezTo>
                    <a:pt x="1289" y="3661"/>
                    <a:pt x="1280" y="3671"/>
                    <a:pt x="1280" y="3671"/>
                  </a:cubicBezTo>
                  <a:cubicBezTo>
                    <a:pt x="1291" y="3693"/>
                    <a:pt x="1291" y="3693"/>
                    <a:pt x="1291" y="3693"/>
                  </a:cubicBezTo>
                  <a:cubicBezTo>
                    <a:pt x="1291" y="3693"/>
                    <a:pt x="1298" y="3684"/>
                    <a:pt x="1298" y="3674"/>
                  </a:cubicBezTo>
                  <a:cubicBezTo>
                    <a:pt x="1298" y="3664"/>
                    <a:pt x="1329" y="3625"/>
                    <a:pt x="1329" y="3625"/>
                  </a:cubicBezTo>
                  <a:cubicBezTo>
                    <a:pt x="1335" y="3628"/>
                    <a:pt x="1335" y="3628"/>
                    <a:pt x="1335" y="3628"/>
                  </a:cubicBezTo>
                  <a:cubicBezTo>
                    <a:pt x="1335" y="3628"/>
                    <a:pt x="1317" y="3665"/>
                    <a:pt x="1304" y="3679"/>
                  </a:cubicBezTo>
                  <a:cubicBezTo>
                    <a:pt x="1304" y="3679"/>
                    <a:pt x="1299" y="3692"/>
                    <a:pt x="1294" y="3698"/>
                  </a:cubicBezTo>
                  <a:cubicBezTo>
                    <a:pt x="1289" y="3704"/>
                    <a:pt x="1292" y="3731"/>
                    <a:pt x="1295" y="3731"/>
                  </a:cubicBezTo>
                  <a:cubicBezTo>
                    <a:pt x="1297" y="3730"/>
                    <a:pt x="1308" y="3718"/>
                    <a:pt x="1314" y="3717"/>
                  </a:cubicBezTo>
                  <a:cubicBezTo>
                    <a:pt x="1320" y="3717"/>
                    <a:pt x="1329" y="3690"/>
                    <a:pt x="1334" y="3696"/>
                  </a:cubicBezTo>
                  <a:cubicBezTo>
                    <a:pt x="1339" y="3702"/>
                    <a:pt x="1339" y="3702"/>
                    <a:pt x="1339" y="3702"/>
                  </a:cubicBezTo>
                  <a:cubicBezTo>
                    <a:pt x="1329" y="3706"/>
                    <a:pt x="1329" y="3706"/>
                    <a:pt x="1329" y="3706"/>
                  </a:cubicBezTo>
                  <a:cubicBezTo>
                    <a:pt x="1316" y="3738"/>
                    <a:pt x="1316" y="3738"/>
                    <a:pt x="1316" y="3738"/>
                  </a:cubicBezTo>
                  <a:cubicBezTo>
                    <a:pt x="1307" y="3737"/>
                    <a:pt x="1307" y="3737"/>
                    <a:pt x="1307" y="3737"/>
                  </a:cubicBezTo>
                  <a:cubicBezTo>
                    <a:pt x="1307" y="3737"/>
                    <a:pt x="1286" y="3825"/>
                    <a:pt x="1324" y="3802"/>
                  </a:cubicBezTo>
                  <a:cubicBezTo>
                    <a:pt x="1324" y="3802"/>
                    <a:pt x="1323" y="3824"/>
                    <a:pt x="1327" y="3823"/>
                  </a:cubicBezTo>
                  <a:cubicBezTo>
                    <a:pt x="1331" y="3823"/>
                    <a:pt x="1339" y="3810"/>
                    <a:pt x="1343" y="3810"/>
                  </a:cubicBezTo>
                  <a:cubicBezTo>
                    <a:pt x="1347" y="3810"/>
                    <a:pt x="1345" y="3815"/>
                    <a:pt x="1345" y="3815"/>
                  </a:cubicBezTo>
                  <a:cubicBezTo>
                    <a:pt x="1345" y="3815"/>
                    <a:pt x="1315" y="3873"/>
                    <a:pt x="1296" y="3875"/>
                  </a:cubicBezTo>
                  <a:cubicBezTo>
                    <a:pt x="1299" y="3882"/>
                    <a:pt x="1302" y="3907"/>
                    <a:pt x="1296" y="3907"/>
                  </a:cubicBezTo>
                  <a:cubicBezTo>
                    <a:pt x="1290" y="3906"/>
                    <a:pt x="1294" y="3952"/>
                    <a:pt x="1279" y="3952"/>
                  </a:cubicBezTo>
                  <a:cubicBezTo>
                    <a:pt x="1279" y="3952"/>
                    <a:pt x="1276" y="3977"/>
                    <a:pt x="1279" y="3976"/>
                  </a:cubicBezTo>
                  <a:cubicBezTo>
                    <a:pt x="1281" y="3975"/>
                    <a:pt x="1282" y="3989"/>
                    <a:pt x="1282" y="3989"/>
                  </a:cubicBezTo>
                  <a:cubicBezTo>
                    <a:pt x="1277" y="3991"/>
                    <a:pt x="1277" y="3991"/>
                    <a:pt x="1277" y="3991"/>
                  </a:cubicBezTo>
                  <a:cubicBezTo>
                    <a:pt x="1273" y="4063"/>
                    <a:pt x="1273" y="4063"/>
                    <a:pt x="1273" y="4063"/>
                  </a:cubicBezTo>
                  <a:cubicBezTo>
                    <a:pt x="1262" y="4063"/>
                    <a:pt x="1262" y="4063"/>
                    <a:pt x="1262" y="4063"/>
                  </a:cubicBezTo>
                  <a:cubicBezTo>
                    <a:pt x="1262" y="4063"/>
                    <a:pt x="1239" y="4081"/>
                    <a:pt x="1239" y="4111"/>
                  </a:cubicBezTo>
                  <a:cubicBezTo>
                    <a:pt x="1239" y="4141"/>
                    <a:pt x="1223" y="4169"/>
                    <a:pt x="1258" y="4169"/>
                  </a:cubicBezTo>
                  <a:cubicBezTo>
                    <a:pt x="1293" y="4169"/>
                    <a:pt x="1298" y="4157"/>
                    <a:pt x="1298" y="4157"/>
                  </a:cubicBezTo>
                  <a:cubicBezTo>
                    <a:pt x="1315" y="4155"/>
                    <a:pt x="1315" y="4155"/>
                    <a:pt x="1315" y="4155"/>
                  </a:cubicBezTo>
                  <a:cubicBezTo>
                    <a:pt x="1317" y="4161"/>
                    <a:pt x="1317" y="4161"/>
                    <a:pt x="1317" y="4161"/>
                  </a:cubicBezTo>
                  <a:cubicBezTo>
                    <a:pt x="1317" y="4161"/>
                    <a:pt x="1343" y="4156"/>
                    <a:pt x="1366" y="4114"/>
                  </a:cubicBezTo>
                  <a:cubicBezTo>
                    <a:pt x="1359" y="4079"/>
                    <a:pt x="1344" y="4071"/>
                    <a:pt x="1344" y="4071"/>
                  </a:cubicBezTo>
                  <a:cubicBezTo>
                    <a:pt x="1343" y="4063"/>
                    <a:pt x="1343" y="4063"/>
                    <a:pt x="1343" y="4063"/>
                  </a:cubicBezTo>
                  <a:cubicBezTo>
                    <a:pt x="1343" y="4063"/>
                    <a:pt x="1355" y="4064"/>
                    <a:pt x="1357" y="4043"/>
                  </a:cubicBezTo>
                  <a:cubicBezTo>
                    <a:pt x="1359" y="4038"/>
                    <a:pt x="1369" y="4028"/>
                    <a:pt x="1369" y="4007"/>
                  </a:cubicBezTo>
                  <a:cubicBezTo>
                    <a:pt x="1373" y="3998"/>
                    <a:pt x="1385" y="3995"/>
                    <a:pt x="1381" y="3961"/>
                  </a:cubicBezTo>
                  <a:cubicBezTo>
                    <a:pt x="1381" y="3961"/>
                    <a:pt x="1387" y="3966"/>
                    <a:pt x="1387" y="3964"/>
                  </a:cubicBezTo>
                  <a:cubicBezTo>
                    <a:pt x="1387" y="3962"/>
                    <a:pt x="1402" y="3955"/>
                    <a:pt x="1398" y="3949"/>
                  </a:cubicBezTo>
                  <a:cubicBezTo>
                    <a:pt x="1394" y="3943"/>
                    <a:pt x="1384" y="3941"/>
                    <a:pt x="1385" y="3921"/>
                  </a:cubicBezTo>
                  <a:cubicBezTo>
                    <a:pt x="1385" y="3902"/>
                    <a:pt x="1395" y="3901"/>
                    <a:pt x="1395" y="3879"/>
                  </a:cubicBezTo>
                  <a:cubicBezTo>
                    <a:pt x="1397" y="3878"/>
                    <a:pt x="1403" y="3871"/>
                    <a:pt x="1403" y="3871"/>
                  </a:cubicBezTo>
                  <a:cubicBezTo>
                    <a:pt x="1397" y="3862"/>
                    <a:pt x="1397" y="3862"/>
                    <a:pt x="1397" y="3862"/>
                  </a:cubicBezTo>
                  <a:cubicBezTo>
                    <a:pt x="1397" y="3862"/>
                    <a:pt x="1423" y="3820"/>
                    <a:pt x="1461" y="3819"/>
                  </a:cubicBezTo>
                  <a:cubicBezTo>
                    <a:pt x="1461" y="3794"/>
                    <a:pt x="1460" y="3789"/>
                    <a:pt x="1460" y="3789"/>
                  </a:cubicBezTo>
                  <a:cubicBezTo>
                    <a:pt x="1453" y="3789"/>
                    <a:pt x="1453" y="3789"/>
                    <a:pt x="1453" y="3789"/>
                  </a:cubicBezTo>
                  <a:cubicBezTo>
                    <a:pt x="1451" y="3775"/>
                    <a:pt x="1451" y="3775"/>
                    <a:pt x="1451" y="3775"/>
                  </a:cubicBezTo>
                  <a:cubicBezTo>
                    <a:pt x="1451" y="3775"/>
                    <a:pt x="1409" y="3737"/>
                    <a:pt x="1410" y="3685"/>
                  </a:cubicBezTo>
                  <a:cubicBezTo>
                    <a:pt x="1409" y="3682"/>
                    <a:pt x="1404" y="3682"/>
                    <a:pt x="1404" y="3682"/>
                  </a:cubicBezTo>
                  <a:cubicBezTo>
                    <a:pt x="1404" y="3682"/>
                    <a:pt x="1400" y="3632"/>
                    <a:pt x="1399" y="3628"/>
                  </a:cubicBezTo>
                  <a:cubicBezTo>
                    <a:pt x="1399" y="3624"/>
                    <a:pt x="1405" y="3624"/>
                    <a:pt x="1405" y="3624"/>
                  </a:cubicBezTo>
                  <a:cubicBezTo>
                    <a:pt x="1405" y="3624"/>
                    <a:pt x="1414" y="3646"/>
                    <a:pt x="1424" y="3645"/>
                  </a:cubicBezTo>
                  <a:cubicBezTo>
                    <a:pt x="1434" y="3645"/>
                    <a:pt x="1435" y="3628"/>
                    <a:pt x="1435" y="3628"/>
                  </a:cubicBezTo>
                  <a:cubicBezTo>
                    <a:pt x="1445" y="3633"/>
                    <a:pt x="1445" y="3633"/>
                    <a:pt x="1445" y="3633"/>
                  </a:cubicBezTo>
                  <a:cubicBezTo>
                    <a:pt x="1449" y="3615"/>
                    <a:pt x="1449" y="3615"/>
                    <a:pt x="1449" y="3615"/>
                  </a:cubicBezTo>
                  <a:cubicBezTo>
                    <a:pt x="1449" y="3615"/>
                    <a:pt x="1455" y="3600"/>
                    <a:pt x="1465" y="3600"/>
                  </a:cubicBezTo>
                  <a:cubicBezTo>
                    <a:pt x="1474" y="3600"/>
                    <a:pt x="1476" y="3585"/>
                    <a:pt x="1476" y="3585"/>
                  </a:cubicBezTo>
                  <a:cubicBezTo>
                    <a:pt x="1476" y="3585"/>
                    <a:pt x="1489" y="3582"/>
                    <a:pt x="1492" y="3560"/>
                  </a:cubicBezTo>
                  <a:cubicBezTo>
                    <a:pt x="1495" y="3561"/>
                    <a:pt x="1515" y="3538"/>
                    <a:pt x="1515" y="3538"/>
                  </a:cubicBezTo>
                  <a:cubicBezTo>
                    <a:pt x="1533" y="3533"/>
                    <a:pt x="1533" y="3533"/>
                    <a:pt x="1533" y="3533"/>
                  </a:cubicBezTo>
                  <a:cubicBezTo>
                    <a:pt x="1533" y="3533"/>
                    <a:pt x="1554" y="3525"/>
                    <a:pt x="1553" y="3503"/>
                  </a:cubicBezTo>
                  <a:cubicBezTo>
                    <a:pt x="1559" y="3497"/>
                    <a:pt x="1571" y="3474"/>
                    <a:pt x="1571" y="3474"/>
                  </a:cubicBezTo>
                  <a:cubicBezTo>
                    <a:pt x="1581" y="3481"/>
                    <a:pt x="1581" y="3481"/>
                    <a:pt x="1581" y="3481"/>
                  </a:cubicBezTo>
                  <a:cubicBezTo>
                    <a:pt x="1581" y="3481"/>
                    <a:pt x="1562" y="3505"/>
                    <a:pt x="1563" y="3524"/>
                  </a:cubicBezTo>
                  <a:cubicBezTo>
                    <a:pt x="1561" y="3525"/>
                    <a:pt x="1542" y="3546"/>
                    <a:pt x="1519" y="3545"/>
                  </a:cubicBezTo>
                  <a:cubicBezTo>
                    <a:pt x="1503" y="3559"/>
                    <a:pt x="1504" y="3563"/>
                    <a:pt x="1504" y="3563"/>
                  </a:cubicBezTo>
                  <a:cubicBezTo>
                    <a:pt x="1509" y="3567"/>
                    <a:pt x="1509" y="3567"/>
                    <a:pt x="1509" y="3567"/>
                  </a:cubicBezTo>
                  <a:cubicBezTo>
                    <a:pt x="1509" y="3567"/>
                    <a:pt x="1463" y="3606"/>
                    <a:pt x="1465" y="3630"/>
                  </a:cubicBezTo>
                  <a:cubicBezTo>
                    <a:pt x="1450" y="3637"/>
                    <a:pt x="1449" y="3647"/>
                    <a:pt x="1449" y="3659"/>
                  </a:cubicBezTo>
                  <a:cubicBezTo>
                    <a:pt x="1449" y="3672"/>
                    <a:pt x="1445" y="3668"/>
                    <a:pt x="1445" y="3668"/>
                  </a:cubicBezTo>
                  <a:cubicBezTo>
                    <a:pt x="1450" y="3679"/>
                    <a:pt x="1450" y="3679"/>
                    <a:pt x="1450" y="3679"/>
                  </a:cubicBezTo>
                  <a:cubicBezTo>
                    <a:pt x="1443" y="3691"/>
                    <a:pt x="1443" y="3691"/>
                    <a:pt x="1443" y="3691"/>
                  </a:cubicBezTo>
                  <a:cubicBezTo>
                    <a:pt x="1447" y="3736"/>
                    <a:pt x="1447" y="3736"/>
                    <a:pt x="1447" y="3736"/>
                  </a:cubicBezTo>
                  <a:cubicBezTo>
                    <a:pt x="1447" y="3736"/>
                    <a:pt x="1476" y="3741"/>
                    <a:pt x="1457" y="3751"/>
                  </a:cubicBezTo>
                  <a:cubicBezTo>
                    <a:pt x="1461" y="3761"/>
                    <a:pt x="1461" y="3761"/>
                    <a:pt x="1461" y="3761"/>
                  </a:cubicBezTo>
                  <a:cubicBezTo>
                    <a:pt x="1487" y="3761"/>
                    <a:pt x="1487" y="3761"/>
                    <a:pt x="1487" y="3761"/>
                  </a:cubicBezTo>
                  <a:cubicBezTo>
                    <a:pt x="1504" y="3780"/>
                    <a:pt x="1504" y="3780"/>
                    <a:pt x="1504" y="3780"/>
                  </a:cubicBezTo>
                  <a:cubicBezTo>
                    <a:pt x="1512" y="3768"/>
                    <a:pt x="1512" y="3768"/>
                    <a:pt x="1512" y="3768"/>
                  </a:cubicBezTo>
                  <a:cubicBezTo>
                    <a:pt x="1512" y="3768"/>
                    <a:pt x="1493" y="3735"/>
                    <a:pt x="1494" y="3725"/>
                  </a:cubicBezTo>
                  <a:cubicBezTo>
                    <a:pt x="1495" y="3716"/>
                    <a:pt x="1505" y="3724"/>
                    <a:pt x="1505" y="3731"/>
                  </a:cubicBezTo>
                  <a:cubicBezTo>
                    <a:pt x="1510" y="3739"/>
                    <a:pt x="1526" y="3763"/>
                    <a:pt x="1526" y="3763"/>
                  </a:cubicBezTo>
                  <a:cubicBezTo>
                    <a:pt x="1542" y="3765"/>
                    <a:pt x="1542" y="3765"/>
                    <a:pt x="1542" y="3765"/>
                  </a:cubicBezTo>
                  <a:cubicBezTo>
                    <a:pt x="1542" y="3765"/>
                    <a:pt x="1537" y="3777"/>
                    <a:pt x="1537" y="3782"/>
                  </a:cubicBezTo>
                  <a:cubicBezTo>
                    <a:pt x="1538" y="3787"/>
                    <a:pt x="1546" y="3795"/>
                    <a:pt x="1545" y="3798"/>
                  </a:cubicBezTo>
                  <a:cubicBezTo>
                    <a:pt x="1545" y="3801"/>
                    <a:pt x="1542" y="3809"/>
                    <a:pt x="1542" y="3809"/>
                  </a:cubicBezTo>
                  <a:cubicBezTo>
                    <a:pt x="1545" y="3815"/>
                    <a:pt x="1545" y="3815"/>
                    <a:pt x="1545" y="3815"/>
                  </a:cubicBezTo>
                  <a:cubicBezTo>
                    <a:pt x="1545" y="3815"/>
                    <a:pt x="1569" y="3810"/>
                    <a:pt x="1573" y="3851"/>
                  </a:cubicBezTo>
                  <a:cubicBezTo>
                    <a:pt x="1579" y="3861"/>
                    <a:pt x="1582" y="3857"/>
                    <a:pt x="1588" y="3857"/>
                  </a:cubicBezTo>
                  <a:cubicBezTo>
                    <a:pt x="1594" y="3857"/>
                    <a:pt x="1599" y="3849"/>
                    <a:pt x="1600" y="3843"/>
                  </a:cubicBezTo>
                  <a:cubicBezTo>
                    <a:pt x="1601" y="3837"/>
                    <a:pt x="1583" y="3842"/>
                    <a:pt x="1590" y="3836"/>
                  </a:cubicBezTo>
                  <a:cubicBezTo>
                    <a:pt x="1597" y="3830"/>
                    <a:pt x="1603" y="3823"/>
                    <a:pt x="1603" y="3816"/>
                  </a:cubicBezTo>
                  <a:cubicBezTo>
                    <a:pt x="1603" y="3809"/>
                    <a:pt x="1587" y="3762"/>
                    <a:pt x="1587" y="3762"/>
                  </a:cubicBezTo>
                  <a:cubicBezTo>
                    <a:pt x="1577" y="3762"/>
                    <a:pt x="1577" y="3762"/>
                    <a:pt x="1577" y="3762"/>
                  </a:cubicBezTo>
                  <a:cubicBezTo>
                    <a:pt x="1564" y="3749"/>
                    <a:pt x="1564" y="3749"/>
                    <a:pt x="1564" y="3749"/>
                  </a:cubicBezTo>
                  <a:cubicBezTo>
                    <a:pt x="1564" y="3731"/>
                    <a:pt x="1564" y="3731"/>
                    <a:pt x="1564" y="3731"/>
                  </a:cubicBezTo>
                  <a:cubicBezTo>
                    <a:pt x="1564" y="3731"/>
                    <a:pt x="1568" y="3718"/>
                    <a:pt x="1567" y="3716"/>
                  </a:cubicBezTo>
                  <a:cubicBezTo>
                    <a:pt x="1567" y="3714"/>
                    <a:pt x="1554" y="3685"/>
                    <a:pt x="1561" y="3682"/>
                  </a:cubicBezTo>
                  <a:cubicBezTo>
                    <a:pt x="1569" y="3679"/>
                    <a:pt x="1583" y="3739"/>
                    <a:pt x="1583" y="3746"/>
                  </a:cubicBezTo>
                  <a:cubicBezTo>
                    <a:pt x="1587" y="3747"/>
                    <a:pt x="1603" y="3748"/>
                    <a:pt x="1603" y="3757"/>
                  </a:cubicBezTo>
                  <a:cubicBezTo>
                    <a:pt x="1609" y="3762"/>
                    <a:pt x="1610" y="3757"/>
                    <a:pt x="1610" y="3757"/>
                  </a:cubicBezTo>
                  <a:cubicBezTo>
                    <a:pt x="1610" y="3757"/>
                    <a:pt x="1613" y="3735"/>
                    <a:pt x="1622" y="3733"/>
                  </a:cubicBezTo>
                  <a:cubicBezTo>
                    <a:pt x="1623" y="3731"/>
                    <a:pt x="1623" y="3710"/>
                    <a:pt x="1631" y="3704"/>
                  </a:cubicBezTo>
                  <a:cubicBezTo>
                    <a:pt x="1626" y="3701"/>
                    <a:pt x="1635" y="3683"/>
                    <a:pt x="1645" y="3677"/>
                  </a:cubicBezTo>
                  <a:cubicBezTo>
                    <a:pt x="1645" y="3673"/>
                    <a:pt x="1634" y="3666"/>
                    <a:pt x="1646" y="3664"/>
                  </a:cubicBezTo>
                  <a:cubicBezTo>
                    <a:pt x="1647" y="3661"/>
                    <a:pt x="1647" y="3647"/>
                    <a:pt x="1647" y="3647"/>
                  </a:cubicBezTo>
                  <a:cubicBezTo>
                    <a:pt x="1643" y="3621"/>
                    <a:pt x="1643" y="3621"/>
                    <a:pt x="1643" y="3621"/>
                  </a:cubicBezTo>
                  <a:cubicBezTo>
                    <a:pt x="1638" y="3616"/>
                    <a:pt x="1638" y="3616"/>
                    <a:pt x="1638" y="3616"/>
                  </a:cubicBezTo>
                  <a:cubicBezTo>
                    <a:pt x="1654" y="3599"/>
                    <a:pt x="1654" y="3599"/>
                    <a:pt x="1654" y="3599"/>
                  </a:cubicBezTo>
                  <a:cubicBezTo>
                    <a:pt x="1648" y="3619"/>
                    <a:pt x="1648" y="3619"/>
                    <a:pt x="1648" y="3619"/>
                  </a:cubicBezTo>
                  <a:cubicBezTo>
                    <a:pt x="1657" y="3621"/>
                    <a:pt x="1657" y="3621"/>
                    <a:pt x="1657" y="3621"/>
                  </a:cubicBezTo>
                  <a:cubicBezTo>
                    <a:pt x="1657" y="3621"/>
                    <a:pt x="1653" y="3663"/>
                    <a:pt x="1665" y="3663"/>
                  </a:cubicBezTo>
                  <a:cubicBezTo>
                    <a:pt x="1677" y="3664"/>
                    <a:pt x="1704" y="3663"/>
                    <a:pt x="1704" y="3663"/>
                  </a:cubicBezTo>
                  <a:cubicBezTo>
                    <a:pt x="1704" y="3663"/>
                    <a:pt x="1672" y="3632"/>
                    <a:pt x="1672" y="3621"/>
                  </a:cubicBezTo>
                  <a:cubicBezTo>
                    <a:pt x="1672" y="3611"/>
                    <a:pt x="1669" y="3600"/>
                    <a:pt x="1674" y="3600"/>
                  </a:cubicBezTo>
                  <a:cubicBezTo>
                    <a:pt x="1679" y="3600"/>
                    <a:pt x="1692" y="3636"/>
                    <a:pt x="1692" y="3636"/>
                  </a:cubicBezTo>
                  <a:cubicBezTo>
                    <a:pt x="1692" y="3636"/>
                    <a:pt x="1711" y="3661"/>
                    <a:pt x="1730" y="3661"/>
                  </a:cubicBezTo>
                  <a:cubicBezTo>
                    <a:pt x="1733" y="3669"/>
                    <a:pt x="1733" y="3685"/>
                    <a:pt x="1733" y="3685"/>
                  </a:cubicBezTo>
                  <a:cubicBezTo>
                    <a:pt x="1779" y="3698"/>
                    <a:pt x="1779" y="3698"/>
                    <a:pt x="1779" y="3698"/>
                  </a:cubicBezTo>
                  <a:cubicBezTo>
                    <a:pt x="1778" y="3707"/>
                    <a:pt x="1778" y="3707"/>
                    <a:pt x="1778" y="3707"/>
                  </a:cubicBezTo>
                  <a:cubicBezTo>
                    <a:pt x="1778" y="3707"/>
                    <a:pt x="1753" y="3717"/>
                    <a:pt x="1704" y="3687"/>
                  </a:cubicBezTo>
                  <a:cubicBezTo>
                    <a:pt x="1682" y="3681"/>
                    <a:pt x="1653" y="3672"/>
                    <a:pt x="1653" y="3715"/>
                  </a:cubicBezTo>
                  <a:cubicBezTo>
                    <a:pt x="1653" y="3729"/>
                    <a:pt x="1644" y="3730"/>
                    <a:pt x="1644" y="3734"/>
                  </a:cubicBezTo>
                  <a:cubicBezTo>
                    <a:pt x="1644" y="3738"/>
                    <a:pt x="1648" y="3766"/>
                    <a:pt x="1648" y="3766"/>
                  </a:cubicBezTo>
                  <a:cubicBezTo>
                    <a:pt x="1643" y="3771"/>
                    <a:pt x="1643" y="3771"/>
                    <a:pt x="1643" y="3771"/>
                  </a:cubicBezTo>
                  <a:cubicBezTo>
                    <a:pt x="1643" y="3771"/>
                    <a:pt x="1649" y="3811"/>
                    <a:pt x="1661" y="3811"/>
                  </a:cubicBezTo>
                  <a:cubicBezTo>
                    <a:pt x="1664" y="3810"/>
                    <a:pt x="1661" y="3837"/>
                    <a:pt x="1661" y="3837"/>
                  </a:cubicBezTo>
                  <a:cubicBezTo>
                    <a:pt x="1639" y="3855"/>
                    <a:pt x="1639" y="3855"/>
                    <a:pt x="1639" y="3855"/>
                  </a:cubicBezTo>
                  <a:cubicBezTo>
                    <a:pt x="1639" y="3878"/>
                    <a:pt x="1639" y="3878"/>
                    <a:pt x="1639" y="3878"/>
                  </a:cubicBezTo>
                  <a:cubicBezTo>
                    <a:pt x="1651" y="3880"/>
                    <a:pt x="1651" y="3880"/>
                    <a:pt x="1651" y="3880"/>
                  </a:cubicBezTo>
                  <a:cubicBezTo>
                    <a:pt x="1678" y="3907"/>
                    <a:pt x="1678" y="3907"/>
                    <a:pt x="1678" y="3907"/>
                  </a:cubicBezTo>
                  <a:cubicBezTo>
                    <a:pt x="1670" y="3916"/>
                    <a:pt x="1670" y="3916"/>
                    <a:pt x="1670" y="3916"/>
                  </a:cubicBezTo>
                  <a:cubicBezTo>
                    <a:pt x="1690" y="3931"/>
                    <a:pt x="1690" y="3931"/>
                    <a:pt x="1690" y="3931"/>
                  </a:cubicBezTo>
                  <a:cubicBezTo>
                    <a:pt x="1701" y="3924"/>
                    <a:pt x="1701" y="3924"/>
                    <a:pt x="1701" y="3924"/>
                  </a:cubicBezTo>
                  <a:cubicBezTo>
                    <a:pt x="1701" y="3924"/>
                    <a:pt x="1754" y="3949"/>
                    <a:pt x="1746" y="3986"/>
                  </a:cubicBezTo>
                  <a:cubicBezTo>
                    <a:pt x="1739" y="3988"/>
                    <a:pt x="1737" y="3983"/>
                    <a:pt x="1737" y="3983"/>
                  </a:cubicBezTo>
                  <a:cubicBezTo>
                    <a:pt x="1735" y="3989"/>
                    <a:pt x="1735" y="3989"/>
                    <a:pt x="1735" y="3989"/>
                  </a:cubicBezTo>
                  <a:cubicBezTo>
                    <a:pt x="1760" y="4016"/>
                    <a:pt x="1760" y="4016"/>
                    <a:pt x="1760" y="4016"/>
                  </a:cubicBezTo>
                  <a:cubicBezTo>
                    <a:pt x="1763" y="4033"/>
                    <a:pt x="1763" y="4033"/>
                    <a:pt x="1763" y="4033"/>
                  </a:cubicBezTo>
                  <a:cubicBezTo>
                    <a:pt x="1763" y="4033"/>
                    <a:pt x="1747" y="4050"/>
                    <a:pt x="1749" y="4068"/>
                  </a:cubicBezTo>
                  <a:cubicBezTo>
                    <a:pt x="1731" y="4068"/>
                    <a:pt x="1731" y="4068"/>
                    <a:pt x="1731" y="4068"/>
                  </a:cubicBezTo>
                  <a:cubicBezTo>
                    <a:pt x="1731" y="4068"/>
                    <a:pt x="1692" y="4083"/>
                    <a:pt x="1698" y="4118"/>
                  </a:cubicBezTo>
                  <a:cubicBezTo>
                    <a:pt x="1665" y="4149"/>
                    <a:pt x="1665" y="4149"/>
                    <a:pt x="1665" y="4149"/>
                  </a:cubicBezTo>
                  <a:cubicBezTo>
                    <a:pt x="1668" y="4190"/>
                    <a:pt x="1668" y="4190"/>
                    <a:pt x="1668" y="4190"/>
                  </a:cubicBezTo>
                  <a:cubicBezTo>
                    <a:pt x="1668" y="4190"/>
                    <a:pt x="1653" y="4205"/>
                    <a:pt x="1658" y="4225"/>
                  </a:cubicBezTo>
                  <a:cubicBezTo>
                    <a:pt x="1645" y="4234"/>
                    <a:pt x="1620" y="4268"/>
                    <a:pt x="1620" y="4268"/>
                  </a:cubicBezTo>
                  <a:cubicBezTo>
                    <a:pt x="1598" y="4287"/>
                    <a:pt x="1598" y="4287"/>
                    <a:pt x="1598" y="4287"/>
                  </a:cubicBezTo>
                  <a:cubicBezTo>
                    <a:pt x="1597" y="4309"/>
                    <a:pt x="1597" y="4309"/>
                    <a:pt x="1597" y="4309"/>
                  </a:cubicBezTo>
                  <a:cubicBezTo>
                    <a:pt x="1597" y="4309"/>
                    <a:pt x="1591" y="4317"/>
                    <a:pt x="1590" y="4329"/>
                  </a:cubicBezTo>
                  <a:cubicBezTo>
                    <a:pt x="1578" y="4336"/>
                    <a:pt x="1554" y="4381"/>
                    <a:pt x="1575" y="4391"/>
                  </a:cubicBezTo>
                  <a:cubicBezTo>
                    <a:pt x="1579" y="4409"/>
                    <a:pt x="1587" y="4429"/>
                    <a:pt x="1594" y="4431"/>
                  </a:cubicBezTo>
                  <a:cubicBezTo>
                    <a:pt x="1598" y="4443"/>
                    <a:pt x="1597" y="4457"/>
                    <a:pt x="1595" y="4458"/>
                  </a:cubicBezTo>
                  <a:cubicBezTo>
                    <a:pt x="1592" y="4459"/>
                    <a:pt x="1575" y="4459"/>
                    <a:pt x="1575" y="4459"/>
                  </a:cubicBezTo>
                  <a:cubicBezTo>
                    <a:pt x="1575" y="4459"/>
                    <a:pt x="1561" y="4431"/>
                    <a:pt x="1565" y="4425"/>
                  </a:cubicBezTo>
                  <a:cubicBezTo>
                    <a:pt x="1570" y="4419"/>
                    <a:pt x="1565" y="4400"/>
                    <a:pt x="1565" y="4400"/>
                  </a:cubicBezTo>
                  <a:cubicBezTo>
                    <a:pt x="1555" y="4380"/>
                    <a:pt x="1555" y="4380"/>
                    <a:pt x="1555" y="4380"/>
                  </a:cubicBezTo>
                  <a:cubicBezTo>
                    <a:pt x="1538" y="4379"/>
                    <a:pt x="1538" y="4379"/>
                    <a:pt x="1538" y="4379"/>
                  </a:cubicBezTo>
                  <a:cubicBezTo>
                    <a:pt x="1538" y="4385"/>
                    <a:pt x="1538" y="4385"/>
                    <a:pt x="1538" y="4385"/>
                  </a:cubicBezTo>
                  <a:cubicBezTo>
                    <a:pt x="1528" y="4385"/>
                    <a:pt x="1528" y="4385"/>
                    <a:pt x="1528" y="4385"/>
                  </a:cubicBezTo>
                  <a:cubicBezTo>
                    <a:pt x="1511" y="4410"/>
                    <a:pt x="1511" y="4410"/>
                    <a:pt x="1511" y="4410"/>
                  </a:cubicBezTo>
                  <a:cubicBezTo>
                    <a:pt x="1518" y="4419"/>
                    <a:pt x="1518" y="4419"/>
                    <a:pt x="1518" y="4419"/>
                  </a:cubicBezTo>
                  <a:cubicBezTo>
                    <a:pt x="1511" y="4427"/>
                    <a:pt x="1511" y="4427"/>
                    <a:pt x="1511" y="4427"/>
                  </a:cubicBezTo>
                  <a:cubicBezTo>
                    <a:pt x="1511" y="4463"/>
                    <a:pt x="1511" y="4463"/>
                    <a:pt x="1511" y="4463"/>
                  </a:cubicBezTo>
                  <a:cubicBezTo>
                    <a:pt x="1511" y="4463"/>
                    <a:pt x="1527" y="4478"/>
                    <a:pt x="1527" y="4493"/>
                  </a:cubicBezTo>
                  <a:cubicBezTo>
                    <a:pt x="1528" y="4509"/>
                    <a:pt x="1588" y="4557"/>
                    <a:pt x="1588" y="4557"/>
                  </a:cubicBezTo>
                  <a:cubicBezTo>
                    <a:pt x="1591" y="4579"/>
                    <a:pt x="1591" y="4579"/>
                    <a:pt x="1591" y="4579"/>
                  </a:cubicBezTo>
                  <a:cubicBezTo>
                    <a:pt x="1598" y="4579"/>
                    <a:pt x="1598" y="4579"/>
                    <a:pt x="1598" y="4579"/>
                  </a:cubicBezTo>
                  <a:cubicBezTo>
                    <a:pt x="1601" y="4599"/>
                    <a:pt x="1601" y="4599"/>
                    <a:pt x="1601" y="4599"/>
                  </a:cubicBezTo>
                  <a:cubicBezTo>
                    <a:pt x="1616" y="4618"/>
                    <a:pt x="1616" y="4618"/>
                    <a:pt x="1616" y="4618"/>
                  </a:cubicBezTo>
                  <a:cubicBezTo>
                    <a:pt x="1616" y="4618"/>
                    <a:pt x="1607" y="4622"/>
                    <a:pt x="1607" y="4630"/>
                  </a:cubicBezTo>
                  <a:cubicBezTo>
                    <a:pt x="1607" y="4638"/>
                    <a:pt x="1628" y="4666"/>
                    <a:pt x="1634" y="4665"/>
                  </a:cubicBezTo>
                  <a:cubicBezTo>
                    <a:pt x="1640" y="4665"/>
                    <a:pt x="1646" y="4667"/>
                    <a:pt x="1646" y="4667"/>
                  </a:cubicBezTo>
                  <a:cubicBezTo>
                    <a:pt x="1646" y="4667"/>
                    <a:pt x="1647" y="4675"/>
                    <a:pt x="1649" y="4674"/>
                  </a:cubicBezTo>
                  <a:cubicBezTo>
                    <a:pt x="1651" y="4673"/>
                    <a:pt x="1663" y="4664"/>
                    <a:pt x="1663" y="4664"/>
                  </a:cubicBezTo>
                  <a:cubicBezTo>
                    <a:pt x="1650" y="4663"/>
                    <a:pt x="1650" y="4663"/>
                    <a:pt x="1650" y="4663"/>
                  </a:cubicBezTo>
                  <a:cubicBezTo>
                    <a:pt x="1649" y="4643"/>
                    <a:pt x="1649" y="4643"/>
                    <a:pt x="1649" y="4643"/>
                  </a:cubicBezTo>
                  <a:cubicBezTo>
                    <a:pt x="1649" y="4643"/>
                    <a:pt x="1656" y="4639"/>
                    <a:pt x="1655" y="4635"/>
                  </a:cubicBezTo>
                  <a:cubicBezTo>
                    <a:pt x="1653" y="4630"/>
                    <a:pt x="1638" y="4614"/>
                    <a:pt x="1638" y="4614"/>
                  </a:cubicBezTo>
                  <a:cubicBezTo>
                    <a:pt x="1638" y="4614"/>
                    <a:pt x="1633" y="4586"/>
                    <a:pt x="1627" y="4583"/>
                  </a:cubicBezTo>
                  <a:cubicBezTo>
                    <a:pt x="1622" y="4581"/>
                    <a:pt x="1627" y="4557"/>
                    <a:pt x="1621" y="4555"/>
                  </a:cubicBezTo>
                  <a:cubicBezTo>
                    <a:pt x="1614" y="4553"/>
                    <a:pt x="1611" y="4540"/>
                    <a:pt x="1613" y="4536"/>
                  </a:cubicBezTo>
                  <a:cubicBezTo>
                    <a:pt x="1614" y="4532"/>
                    <a:pt x="1660" y="4497"/>
                    <a:pt x="1671" y="4499"/>
                  </a:cubicBezTo>
                  <a:cubicBezTo>
                    <a:pt x="1681" y="4500"/>
                    <a:pt x="1689" y="4527"/>
                    <a:pt x="1691" y="4527"/>
                  </a:cubicBezTo>
                  <a:cubicBezTo>
                    <a:pt x="1693" y="4527"/>
                    <a:pt x="1721" y="4527"/>
                    <a:pt x="1721" y="4527"/>
                  </a:cubicBezTo>
                  <a:cubicBezTo>
                    <a:pt x="1721" y="4527"/>
                    <a:pt x="1752" y="4570"/>
                    <a:pt x="1775" y="4570"/>
                  </a:cubicBezTo>
                  <a:cubicBezTo>
                    <a:pt x="1783" y="4576"/>
                    <a:pt x="1772" y="4599"/>
                    <a:pt x="1793" y="4597"/>
                  </a:cubicBezTo>
                  <a:cubicBezTo>
                    <a:pt x="1793" y="4597"/>
                    <a:pt x="1813" y="4631"/>
                    <a:pt x="1847" y="4633"/>
                  </a:cubicBezTo>
                  <a:cubicBezTo>
                    <a:pt x="1863" y="4643"/>
                    <a:pt x="1857" y="4649"/>
                    <a:pt x="1860" y="4647"/>
                  </a:cubicBezTo>
                  <a:cubicBezTo>
                    <a:pt x="1863" y="4645"/>
                    <a:pt x="1885" y="4631"/>
                    <a:pt x="1884" y="4619"/>
                  </a:cubicBezTo>
                  <a:cubicBezTo>
                    <a:pt x="1883" y="4608"/>
                    <a:pt x="1877" y="4601"/>
                    <a:pt x="1877" y="4593"/>
                  </a:cubicBezTo>
                  <a:cubicBezTo>
                    <a:pt x="1877" y="4586"/>
                    <a:pt x="1883" y="4577"/>
                    <a:pt x="1883" y="4577"/>
                  </a:cubicBezTo>
                  <a:cubicBezTo>
                    <a:pt x="1883" y="4577"/>
                    <a:pt x="1881" y="4573"/>
                    <a:pt x="1881" y="4564"/>
                  </a:cubicBezTo>
                  <a:cubicBezTo>
                    <a:pt x="1881" y="4555"/>
                    <a:pt x="1889" y="4551"/>
                    <a:pt x="1889" y="4551"/>
                  </a:cubicBezTo>
                  <a:cubicBezTo>
                    <a:pt x="1874" y="4533"/>
                    <a:pt x="1874" y="4533"/>
                    <a:pt x="1874" y="4533"/>
                  </a:cubicBezTo>
                  <a:cubicBezTo>
                    <a:pt x="1859" y="4533"/>
                    <a:pt x="1859" y="4533"/>
                    <a:pt x="1859" y="4533"/>
                  </a:cubicBezTo>
                  <a:cubicBezTo>
                    <a:pt x="1859" y="4533"/>
                    <a:pt x="1836" y="4491"/>
                    <a:pt x="1853" y="4485"/>
                  </a:cubicBezTo>
                  <a:cubicBezTo>
                    <a:pt x="1869" y="4479"/>
                    <a:pt x="1869" y="4489"/>
                    <a:pt x="1869" y="4489"/>
                  </a:cubicBezTo>
                  <a:cubicBezTo>
                    <a:pt x="1869" y="4489"/>
                    <a:pt x="1895" y="4528"/>
                    <a:pt x="1920" y="4524"/>
                  </a:cubicBezTo>
                  <a:cubicBezTo>
                    <a:pt x="1931" y="4518"/>
                    <a:pt x="1938" y="4513"/>
                    <a:pt x="1938" y="4513"/>
                  </a:cubicBezTo>
                  <a:cubicBezTo>
                    <a:pt x="1943" y="4535"/>
                    <a:pt x="1943" y="4535"/>
                    <a:pt x="1943" y="4535"/>
                  </a:cubicBezTo>
                  <a:cubicBezTo>
                    <a:pt x="1977" y="4575"/>
                    <a:pt x="1977" y="4575"/>
                    <a:pt x="1977" y="4575"/>
                  </a:cubicBezTo>
                  <a:cubicBezTo>
                    <a:pt x="1985" y="4567"/>
                    <a:pt x="1985" y="4567"/>
                    <a:pt x="1985" y="4567"/>
                  </a:cubicBezTo>
                  <a:cubicBezTo>
                    <a:pt x="1985" y="4567"/>
                    <a:pt x="1994" y="4584"/>
                    <a:pt x="1996" y="4583"/>
                  </a:cubicBezTo>
                  <a:cubicBezTo>
                    <a:pt x="1998" y="4581"/>
                    <a:pt x="2007" y="4573"/>
                    <a:pt x="2007" y="4573"/>
                  </a:cubicBezTo>
                  <a:cubicBezTo>
                    <a:pt x="2007" y="4573"/>
                    <a:pt x="2001" y="4569"/>
                    <a:pt x="2003" y="4563"/>
                  </a:cubicBezTo>
                  <a:cubicBezTo>
                    <a:pt x="2006" y="4557"/>
                    <a:pt x="2005" y="4543"/>
                    <a:pt x="2005" y="4543"/>
                  </a:cubicBezTo>
                  <a:cubicBezTo>
                    <a:pt x="2005" y="4543"/>
                    <a:pt x="2019" y="4541"/>
                    <a:pt x="2021" y="4545"/>
                  </a:cubicBezTo>
                  <a:cubicBezTo>
                    <a:pt x="2024" y="4548"/>
                    <a:pt x="2009" y="4559"/>
                    <a:pt x="2010" y="4561"/>
                  </a:cubicBezTo>
                  <a:cubicBezTo>
                    <a:pt x="2011" y="4563"/>
                    <a:pt x="2013" y="4581"/>
                    <a:pt x="2047" y="4579"/>
                  </a:cubicBezTo>
                  <a:cubicBezTo>
                    <a:pt x="2078" y="4563"/>
                    <a:pt x="2085" y="4556"/>
                    <a:pt x="2099" y="4556"/>
                  </a:cubicBezTo>
                  <a:cubicBezTo>
                    <a:pt x="2118" y="4545"/>
                    <a:pt x="2123" y="4536"/>
                    <a:pt x="2123" y="4536"/>
                  </a:cubicBezTo>
                  <a:cubicBezTo>
                    <a:pt x="2123" y="4536"/>
                    <a:pt x="2111" y="4529"/>
                    <a:pt x="2113" y="4527"/>
                  </a:cubicBezTo>
                  <a:cubicBezTo>
                    <a:pt x="2115" y="4524"/>
                    <a:pt x="2129" y="4524"/>
                    <a:pt x="2129" y="4524"/>
                  </a:cubicBezTo>
                  <a:cubicBezTo>
                    <a:pt x="2122" y="4506"/>
                    <a:pt x="2122" y="4506"/>
                    <a:pt x="2122" y="4506"/>
                  </a:cubicBezTo>
                  <a:cubicBezTo>
                    <a:pt x="2122" y="4506"/>
                    <a:pt x="2132" y="4517"/>
                    <a:pt x="2145" y="4517"/>
                  </a:cubicBezTo>
                  <a:cubicBezTo>
                    <a:pt x="2157" y="4517"/>
                    <a:pt x="2161" y="4501"/>
                    <a:pt x="2163" y="4501"/>
                  </a:cubicBezTo>
                  <a:cubicBezTo>
                    <a:pt x="2165" y="4501"/>
                    <a:pt x="2198" y="4499"/>
                    <a:pt x="2200" y="4499"/>
                  </a:cubicBezTo>
                  <a:cubicBezTo>
                    <a:pt x="2202" y="4499"/>
                    <a:pt x="2207" y="4511"/>
                    <a:pt x="2225" y="4503"/>
                  </a:cubicBezTo>
                  <a:cubicBezTo>
                    <a:pt x="2242" y="4496"/>
                    <a:pt x="2241" y="4484"/>
                    <a:pt x="2241" y="4484"/>
                  </a:cubicBezTo>
                  <a:cubicBezTo>
                    <a:pt x="2241" y="4484"/>
                    <a:pt x="2226" y="4461"/>
                    <a:pt x="2226" y="4458"/>
                  </a:cubicBezTo>
                  <a:cubicBezTo>
                    <a:pt x="2226" y="4455"/>
                    <a:pt x="2232" y="4419"/>
                    <a:pt x="2232" y="4419"/>
                  </a:cubicBezTo>
                  <a:cubicBezTo>
                    <a:pt x="2232" y="4419"/>
                    <a:pt x="2242" y="4440"/>
                    <a:pt x="2264" y="4437"/>
                  </a:cubicBezTo>
                  <a:cubicBezTo>
                    <a:pt x="2286" y="4433"/>
                    <a:pt x="2299" y="4419"/>
                    <a:pt x="2299" y="4419"/>
                  </a:cubicBezTo>
                  <a:cubicBezTo>
                    <a:pt x="2299" y="4419"/>
                    <a:pt x="2304" y="4435"/>
                    <a:pt x="2307" y="4435"/>
                  </a:cubicBezTo>
                  <a:cubicBezTo>
                    <a:pt x="2309" y="4435"/>
                    <a:pt x="2340" y="4435"/>
                    <a:pt x="2340" y="4435"/>
                  </a:cubicBezTo>
                  <a:cubicBezTo>
                    <a:pt x="2340" y="4435"/>
                    <a:pt x="2340" y="4427"/>
                    <a:pt x="2343" y="4427"/>
                  </a:cubicBezTo>
                  <a:cubicBezTo>
                    <a:pt x="2345" y="4427"/>
                    <a:pt x="2367" y="4442"/>
                    <a:pt x="2367" y="4442"/>
                  </a:cubicBezTo>
                  <a:cubicBezTo>
                    <a:pt x="2375" y="4437"/>
                    <a:pt x="2375" y="4437"/>
                    <a:pt x="2375" y="4437"/>
                  </a:cubicBezTo>
                  <a:cubicBezTo>
                    <a:pt x="2417" y="4439"/>
                    <a:pt x="2417" y="4439"/>
                    <a:pt x="2417" y="4439"/>
                  </a:cubicBezTo>
                  <a:cubicBezTo>
                    <a:pt x="2427" y="4445"/>
                    <a:pt x="2427" y="4445"/>
                    <a:pt x="2427" y="4445"/>
                  </a:cubicBezTo>
                  <a:cubicBezTo>
                    <a:pt x="2456" y="4430"/>
                    <a:pt x="2456" y="4430"/>
                    <a:pt x="2456" y="4430"/>
                  </a:cubicBezTo>
                  <a:cubicBezTo>
                    <a:pt x="2456" y="4430"/>
                    <a:pt x="2449" y="4451"/>
                    <a:pt x="2449" y="4465"/>
                  </a:cubicBezTo>
                  <a:cubicBezTo>
                    <a:pt x="2421" y="4469"/>
                    <a:pt x="2425" y="4466"/>
                    <a:pt x="2425" y="4466"/>
                  </a:cubicBezTo>
                  <a:cubicBezTo>
                    <a:pt x="2425" y="4466"/>
                    <a:pt x="2407" y="4457"/>
                    <a:pt x="2407" y="4449"/>
                  </a:cubicBezTo>
                  <a:cubicBezTo>
                    <a:pt x="2394" y="4442"/>
                    <a:pt x="2356" y="4463"/>
                    <a:pt x="2355" y="4470"/>
                  </a:cubicBezTo>
                  <a:cubicBezTo>
                    <a:pt x="2350" y="4475"/>
                    <a:pt x="2350" y="4475"/>
                    <a:pt x="2350" y="4475"/>
                  </a:cubicBezTo>
                  <a:cubicBezTo>
                    <a:pt x="2364" y="4489"/>
                    <a:pt x="2364" y="4489"/>
                    <a:pt x="2364" y="4489"/>
                  </a:cubicBezTo>
                  <a:cubicBezTo>
                    <a:pt x="2353" y="4497"/>
                    <a:pt x="2353" y="4497"/>
                    <a:pt x="2353" y="4497"/>
                  </a:cubicBezTo>
                  <a:cubicBezTo>
                    <a:pt x="2339" y="4485"/>
                    <a:pt x="2339" y="4485"/>
                    <a:pt x="2339" y="4485"/>
                  </a:cubicBezTo>
                  <a:cubicBezTo>
                    <a:pt x="2339" y="4485"/>
                    <a:pt x="2307" y="4503"/>
                    <a:pt x="2311" y="4529"/>
                  </a:cubicBezTo>
                  <a:cubicBezTo>
                    <a:pt x="2295" y="4553"/>
                    <a:pt x="2295" y="4566"/>
                    <a:pt x="2295" y="4566"/>
                  </a:cubicBezTo>
                  <a:cubicBezTo>
                    <a:pt x="2295" y="4566"/>
                    <a:pt x="2306" y="4601"/>
                    <a:pt x="2261" y="4622"/>
                  </a:cubicBezTo>
                  <a:cubicBezTo>
                    <a:pt x="2259" y="4641"/>
                    <a:pt x="2251" y="4653"/>
                    <a:pt x="2237" y="4666"/>
                  </a:cubicBezTo>
                  <a:cubicBezTo>
                    <a:pt x="2230" y="4675"/>
                    <a:pt x="2229" y="4684"/>
                    <a:pt x="2235" y="4693"/>
                  </a:cubicBezTo>
                  <a:cubicBezTo>
                    <a:pt x="2240" y="4701"/>
                    <a:pt x="2220" y="4720"/>
                    <a:pt x="2229" y="4736"/>
                  </a:cubicBezTo>
                  <a:cubicBezTo>
                    <a:pt x="2219" y="4748"/>
                    <a:pt x="2217" y="4757"/>
                    <a:pt x="2220" y="4762"/>
                  </a:cubicBezTo>
                  <a:cubicBezTo>
                    <a:pt x="2209" y="4763"/>
                    <a:pt x="2203" y="4777"/>
                    <a:pt x="2203" y="4777"/>
                  </a:cubicBezTo>
                  <a:cubicBezTo>
                    <a:pt x="2211" y="4785"/>
                    <a:pt x="2211" y="4785"/>
                    <a:pt x="2211" y="4785"/>
                  </a:cubicBezTo>
                  <a:cubicBezTo>
                    <a:pt x="2213" y="4796"/>
                    <a:pt x="2213" y="4796"/>
                    <a:pt x="2213" y="4796"/>
                  </a:cubicBezTo>
                  <a:cubicBezTo>
                    <a:pt x="2221" y="4797"/>
                    <a:pt x="2221" y="4797"/>
                    <a:pt x="2221" y="4797"/>
                  </a:cubicBezTo>
                  <a:cubicBezTo>
                    <a:pt x="2221" y="4797"/>
                    <a:pt x="2325" y="4918"/>
                    <a:pt x="2301" y="4945"/>
                  </a:cubicBezTo>
                  <a:cubicBezTo>
                    <a:pt x="2313" y="4971"/>
                    <a:pt x="2343" y="5023"/>
                    <a:pt x="2345" y="5023"/>
                  </a:cubicBezTo>
                  <a:cubicBezTo>
                    <a:pt x="2348" y="5023"/>
                    <a:pt x="2381" y="5023"/>
                    <a:pt x="2381" y="5023"/>
                  </a:cubicBezTo>
                  <a:cubicBezTo>
                    <a:pt x="2392" y="4979"/>
                    <a:pt x="2392" y="4979"/>
                    <a:pt x="2392" y="4979"/>
                  </a:cubicBezTo>
                  <a:cubicBezTo>
                    <a:pt x="2392" y="4979"/>
                    <a:pt x="2414" y="4989"/>
                    <a:pt x="2393" y="5031"/>
                  </a:cubicBezTo>
                  <a:cubicBezTo>
                    <a:pt x="2375" y="5033"/>
                    <a:pt x="2373" y="5031"/>
                    <a:pt x="2375" y="5048"/>
                  </a:cubicBezTo>
                  <a:cubicBezTo>
                    <a:pt x="2377" y="5065"/>
                    <a:pt x="2369" y="5051"/>
                    <a:pt x="2369" y="5051"/>
                  </a:cubicBezTo>
                  <a:cubicBezTo>
                    <a:pt x="2369" y="5077"/>
                    <a:pt x="2369" y="5077"/>
                    <a:pt x="2369" y="5077"/>
                  </a:cubicBezTo>
                  <a:cubicBezTo>
                    <a:pt x="2369" y="5077"/>
                    <a:pt x="2397" y="5131"/>
                    <a:pt x="2399" y="5131"/>
                  </a:cubicBezTo>
                  <a:cubicBezTo>
                    <a:pt x="2401" y="5131"/>
                    <a:pt x="2416" y="5131"/>
                    <a:pt x="2416" y="5131"/>
                  </a:cubicBezTo>
                  <a:cubicBezTo>
                    <a:pt x="2416" y="5131"/>
                    <a:pt x="2387" y="5111"/>
                    <a:pt x="2386" y="5095"/>
                  </a:cubicBezTo>
                  <a:cubicBezTo>
                    <a:pt x="2386" y="5091"/>
                    <a:pt x="2405" y="5085"/>
                    <a:pt x="2405" y="5085"/>
                  </a:cubicBezTo>
                  <a:cubicBezTo>
                    <a:pt x="2405" y="5085"/>
                    <a:pt x="2409" y="5120"/>
                    <a:pt x="2425" y="5120"/>
                  </a:cubicBezTo>
                  <a:cubicBezTo>
                    <a:pt x="2429" y="5118"/>
                    <a:pt x="2420" y="5103"/>
                    <a:pt x="2436" y="5089"/>
                  </a:cubicBezTo>
                  <a:cubicBezTo>
                    <a:pt x="2452" y="5076"/>
                    <a:pt x="2468" y="5043"/>
                    <a:pt x="2468" y="5021"/>
                  </a:cubicBezTo>
                  <a:cubicBezTo>
                    <a:pt x="2479" y="5001"/>
                    <a:pt x="2481" y="5007"/>
                    <a:pt x="2481" y="5007"/>
                  </a:cubicBezTo>
                  <a:cubicBezTo>
                    <a:pt x="2482" y="5016"/>
                    <a:pt x="2482" y="5016"/>
                    <a:pt x="2482" y="5016"/>
                  </a:cubicBezTo>
                  <a:cubicBezTo>
                    <a:pt x="2478" y="5025"/>
                    <a:pt x="2478" y="5025"/>
                    <a:pt x="2478" y="5025"/>
                  </a:cubicBezTo>
                  <a:cubicBezTo>
                    <a:pt x="2494" y="5042"/>
                    <a:pt x="2494" y="5042"/>
                    <a:pt x="2494" y="5042"/>
                  </a:cubicBezTo>
                  <a:cubicBezTo>
                    <a:pt x="2494" y="5042"/>
                    <a:pt x="2485" y="5051"/>
                    <a:pt x="2489" y="5051"/>
                  </a:cubicBezTo>
                  <a:cubicBezTo>
                    <a:pt x="2492" y="5051"/>
                    <a:pt x="2509" y="5060"/>
                    <a:pt x="2509" y="5060"/>
                  </a:cubicBezTo>
                  <a:cubicBezTo>
                    <a:pt x="2523" y="5055"/>
                    <a:pt x="2523" y="5055"/>
                    <a:pt x="2523" y="5055"/>
                  </a:cubicBezTo>
                  <a:cubicBezTo>
                    <a:pt x="2523" y="5055"/>
                    <a:pt x="2535" y="5020"/>
                    <a:pt x="2547" y="5020"/>
                  </a:cubicBezTo>
                  <a:cubicBezTo>
                    <a:pt x="2559" y="5020"/>
                    <a:pt x="2538" y="5021"/>
                    <a:pt x="2581" y="5080"/>
                  </a:cubicBezTo>
                  <a:cubicBezTo>
                    <a:pt x="2559" y="5117"/>
                    <a:pt x="2559" y="5117"/>
                    <a:pt x="2559" y="5117"/>
                  </a:cubicBezTo>
                  <a:cubicBezTo>
                    <a:pt x="2553" y="5113"/>
                    <a:pt x="2553" y="5113"/>
                    <a:pt x="2553" y="5113"/>
                  </a:cubicBezTo>
                  <a:cubicBezTo>
                    <a:pt x="2529" y="5144"/>
                    <a:pt x="2529" y="5144"/>
                    <a:pt x="2529" y="5144"/>
                  </a:cubicBezTo>
                  <a:cubicBezTo>
                    <a:pt x="2536" y="5159"/>
                    <a:pt x="2536" y="5159"/>
                    <a:pt x="2536" y="5159"/>
                  </a:cubicBezTo>
                  <a:cubicBezTo>
                    <a:pt x="2536" y="5159"/>
                    <a:pt x="2533" y="5179"/>
                    <a:pt x="2535" y="5179"/>
                  </a:cubicBezTo>
                  <a:cubicBezTo>
                    <a:pt x="2537" y="5179"/>
                    <a:pt x="2539" y="5181"/>
                    <a:pt x="2539" y="5181"/>
                  </a:cubicBezTo>
                  <a:cubicBezTo>
                    <a:pt x="2546" y="5175"/>
                    <a:pt x="2546" y="5175"/>
                    <a:pt x="2546" y="5175"/>
                  </a:cubicBezTo>
                  <a:cubicBezTo>
                    <a:pt x="2546" y="5175"/>
                    <a:pt x="2557" y="5203"/>
                    <a:pt x="2546" y="5205"/>
                  </a:cubicBezTo>
                  <a:cubicBezTo>
                    <a:pt x="2535" y="5207"/>
                    <a:pt x="2519" y="5207"/>
                    <a:pt x="2519" y="5207"/>
                  </a:cubicBezTo>
                  <a:cubicBezTo>
                    <a:pt x="2519" y="5207"/>
                    <a:pt x="2499" y="5215"/>
                    <a:pt x="2496" y="5222"/>
                  </a:cubicBezTo>
                  <a:cubicBezTo>
                    <a:pt x="2493" y="5229"/>
                    <a:pt x="2471" y="5223"/>
                    <a:pt x="2471" y="5223"/>
                  </a:cubicBezTo>
                  <a:cubicBezTo>
                    <a:pt x="2466" y="5239"/>
                    <a:pt x="2466" y="5239"/>
                    <a:pt x="2466" y="5239"/>
                  </a:cubicBezTo>
                  <a:cubicBezTo>
                    <a:pt x="2466" y="5239"/>
                    <a:pt x="2469" y="5244"/>
                    <a:pt x="2470" y="5253"/>
                  </a:cubicBezTo>
                  <a:cubicBezTo>
                    <a:pt x="2471" y="5261"/>
                    <a:pt x="2439" y="5385"/>
                    <a:pt x="2531" y="5372"/>
                  </a:cubicBezTo>
                  <a:cubicBezTo>
                    <a:pt x="2533" y="5379"/>
                    <a:pt x="2532" y="5386"/>
                    <a:pt x="2532" y="5386"/>
                  </a:cubicBezTo>
                  <a:cubicBezTo>
                    <a:pt x="2514" y="5383"/>
                    <a:pt x="2514" y="5383"/>
                    <a:pt x="2514" y="5383"/>
                  </a:cubicBezTo>
                  <a:cubicBezTo>
                    <a:pt x="2473" y="5441"/>
                    <a:pt x="2473" y="5441"/>
                    <a:pt x="2473" y="5441"/>
                  </a:cubicBezTo>
                  <a:cubicBezTo>
                    <a:pt x="2470" y="5453"/>
                    <a:pt x="2470" y="5453"/>
                    <a:pt x="2470" y="5453"/>
                  </a:cubicBezTo>
                  <a:cubicBezTo>
                    <a:pt x="2470" y="5453"/>
                    <a:pt x="2446" y="5487"/>
                    <a:pt x="2447" y="5506"/>
                  </a:cubicBezTo>
                  <a:cubicBezTo>
                    <a:pt x="2447" y="5525"/>
                    <a:pt x="2467" y="5539"/>
                    <a:pt x="2465" y="5549"/>
                  </a:cubicBezTo>
                  <a:cubicBezTo>
                    <a:pt x="2474" y="5557"/>
                    <a:pt x="2476" y="5569"/>
                    <a:pt x="2476" y="5569"/>
                  </a:cubicBezTo>
                  <a:cubicBezTo>
                    <a:pt x="2471" y="5576"/>
                    <a:pt x="2471" y="5576"/>
                    <a:pt x="2471" y="5576"/>
                  </a:cubicBezTo>
                  <a:cubicBezTo>
                    <a:pt x="2471" y="5576"/>
                    <a:pt x="2493" y="5610"/>
                    <a:pt x="2493" y="5616"/>
                  </a:cubicBezTo>
                  <a:cubicBezTo>
                    <a:pt x="2493" y="5622"/>
                    <a:pt x="2492" y="5652"/>
                    <a:pt x="2523" y="5652"/>
                  </a:cubicBezTo>
                  <a:cubicBezTo>
                    <a:pt x="2541" y="5679"/>
                    <a:pt x="2541" y="5681"/>
                    <a:pt x="2543" y="5681"/>
                  </a:cubicBezTo>
                  <a:cubicBezTo>
                    <a:pt x="2545" y="5681"/>
                    <a:pt x="2585" y="5679"/>
                    <a:pt x="2585" y="5684"/>
                  </a:cubicBezTo>
                  <a:cubicBezTo>
                    <a:pt x="2586" y="5689"/>
                    <a:pt x="2597" y="5662"/>
                    <a:pt x="2600" y="5668"/>
                  </a:cubicBezTo>
                  <a:cubicBezTo>
                    <a:pt x="2603" y="5674"/>
                    <a:pt x="2599" y="5685"/>
                    <a:pt x="2599" y="5685"/>
                  </a:cubicBezTo>
                  <a:cubicBezTo>
                    <a:pt x="2600" y="5695"/>
                    <a:pt x="2600" y="5695"/>
                    <a:pt x="2600" y="5695"/>
                  </a:cubicBezTo>
                  <a:cubicBezTo>
                    <a:pt x="2583" y="5705"/>
                    <a:pt x="2583" y="5705"/>
                    <a:pt x="2583" y="5705"/>
                  </a:cubicBezTo>
                  <a:cubicBezTo>
                    <a:pt x="2583" y="5705"/>
                    <a:pt x="2579" y="5699"/>
                    <a:pt x="2566" y="5700"/>
                  </a:cubicBezTo>
                  <a:cubicBezTo>
                    <a:pt x="2553" y="5701"/>
                    <a:pt x="2559" y="5709"/>
                    <a:pt x="2545" y="5706"/>
                  </a:cubicBezTo>
                  <a:cubicBezTo>
                    <a:pt x="2531" y="5703"/>
                    <a:pt x="2515" y="5689"/>
                    <a:pt x="2515" y="5689"/>
                  </a:cubicBezTo>
                  <a:cubicBezTo>
                    <a:pt x="2515" y="5689"/>
                    <a:pt x="2507" y="5661"/>
                    <a:pt x="2497" y="5655"/>
                  </a:cubicBezTo>
                  <a:cubicBezTo>
                    <a:pt x="2488" y="5649"/>
                    <a:pt x="2489" y="5624"/>
                    <a:pt x="2489" y="5624"/>
                  </a:cubicBezTo>
                  <a:cubicBezTo>
                    <a:pt x="2469" y="5591"/>
                    <a:pt x="2469" y="5591"/>
                    <a:pt x="2469" y="5591"/>
                  </a:cubicBezTo>
                  <a:cubicBezTo>
                    <a:pt x="2469" y="5591"/>
                    <a:pt x="2449" y="5610"/>
                    <a:pt x="2407" y="5628"/>
                  </a:cubicBezTo>
                  <a:cubicBezTo>
                    <a:pt x="2401" y="5651"/>
                    <a:pt x="2414" y="5659"/>
                    <a:pt x="2433" y="5676"/>
                  </a:cubicBezTo>
                  <a:cubicBezTo>
                    <a:pt x="2443" y="5697"/>
                    <a:pt x="2450" y="5724"/>
                    <a:pt x="2450" y="5724"/>
                  </a:cubicBezTo>
                  <a:cubicBezTo>
                    <a:pt x="2441" y="5724"/>
                    <a:pt x="2441" y="5724"/>
                    <a:pt x="2441" y="5724"/>
                  </a:cubicBezTo>
                  <a:cubicBezTo>
                    <a:pt x="2445" y="5746"/>
                    <a:pt x="2445" y="5746"/>
                    <a:pt x="2445" y="5746"/>
                  </a:cubicBezTo>
                  <a:cubicBezTo>
                    <a:pt x="2445" y="5746"/>
                    <a:pt x="2407" y="5712"/>
                    <a:pt x="2404" y="5706"/>
                  </a:cubicBezTo>
                  <a:cubicBezTo>
                    <a:pt x="2401" y="5700"/>
                    <a:pt x="2354" y="5673"/>
                    <a:pt x="2353" y="5670"/>
                  </a:cubicBezTo>
                  <a:cubicBezTo>
                    <a:pt x="2353" y="5667"/>
                    <a:pt x="2360" y="5655"/>
                    <a:pt x="2349" y="5652"/>
                  </a:cubicBezTo>
                  <a:cubicBezTo>
                    <a:pt x="2337" y="5649"/>
                    <a:pt x="2251" y="5691"/>
                    <a:pt x="2234" y="5698"/>
                  </a:cubicBezTo>
                  <a:cubicBezTo>
                    <a:pt x="2201" y="5697"/>
                    <a:pt x="2165" y="5695"/>
                    <a:pt x="2165" y="5695"/>
                  </a:cubicBezTo>
                  <a:cubicBezTo>
                    <a:pt x="2138" y="5669"/>
                    <a:pt x="2138" y="5669"/>
                    <a:pt x="2138" y="5669"/>
                  </a:cubicBezTo>
                  <a:cubicBezTo>
                    <a:pt x="2124" y="5673"/>
                    <a:pt x="2124" y="5673"/>
                    <a:pt x="2124" y="5673"/>
                  </a:cubicBezTo>
                  <a:cubicBezTo>
                    <a:pt x="2112" y="5661"/>
                    <a:pt x="2112" y="5661"/>
                    <a:pt x="2112" y="5661"/>
                  </a:cubicBezTo>
                  <a:cubicBezTo>
                    <a:pt x="2093" y="5661"/>
                    <a:pt x="2093" y="5661"/>
                    <a:pt x="2093" y="5661"/>
                  </a:cubicBezTo>
                  <a:cubicBezTo>
                    <a:pt x="2093" y="5671"/>
                    <a:pt x="2093" y="5671"/>
                    <a:pt x="2093" y="5671"/>
                  </a:cubicBezTo>
                  <a:cubicBezTo>
                    <a:pt x="2093" y="5671"/>
                    <a:pt x="2117" y="5681"/>
                    <a:pt x="2113" y="5689"/>
                  </a:cubicBezTo>
                  <a:cubicBezTo>
                    <a:pt x="2108" y="5697"/>
                    <a:pt x="2074" y="5716"/>
                    <a:pt x="2074" y="5716"/>
                  </a:cubicBezTo>
                  <a:cubicBezTo>
                    <a:pt x="2074" y="5716"/>
                    <a:pt x="2065" y="5708"/>
                    <a:pt x="2021" y="5741"/>
                  </a:cubicBezTo>
                  <a:cubicBezTo>
                    <a:pt x="1974" y="5743"/>
                    <a:pt x="1978" y="5739"/>
                    <a:pt x="1978" y="5737"/>
                  </a:cubicBezTo>
                  <a:cubicBezTo>
                    <a:pt x="1978" y="5735"/>
                    <a:pt x="2001" y="5725"/>
                    <a:pt x="2001" y="5705"/>
                  </a:cubicBezTo>
                  <a:cubicBezTo>
                    <a:pt x="2021" y="5685"/>
                    <a:pt x="2023" y="5679"/>
                    <a:pt x="2023" y="5679"/>
                  </a:cubicBezTo>
                  <a:cubicBezTo>
                    <a:pt x="1996" y="5679"/>
                    <a:pt x="1996" y="5679"/>
                    <a:pt x="1996" y="5679"/>
                  </a:cubicBezTo>
                  <a:cubicBezTo>
                    <a:pt x="1996" y="5679"/>
                    <a:pt x="1999" y="5672"/>
                    <a:pt x="1992" y="5671"/>
                  </a:cubicBezTo>
                  <a:cubicBezTo>
                    <a:pt x="1985" y="5671"/>
                    <a:pt x="1948" y="5694"/>
                    <a:pt x="1948" y="5692"/>
                  </a:cubicBezTo>
                  <a:cubicBezTo>
                    <a:pt x="1948" y="5690"/>
                    <a:pt x="1931" y="5650"/>
                    <a:pt x="1931" y="5650"/>
                  </a:cubicBezTo>
                  <a:cubicBezTo>
                    <a:pt x="1936" y="5645"/>
                    <a:pt x="1936" y="5645"/>
                    <a:pt x="1936" y="5645"/>
                  </a:cubicBezTo>
                  <a:cubicBezTo>
                    <a:pt x="1936" y="5645"/>
                    <a:pt x="1919" y="5652"/>
                    <a:pt x="1916" y="5617"/>
                  </a:cubicBezTo>
                  <a:cubicBezTo>
                    <a:pt x="1917" y="5613"/>
                    <a:pt x="1907" y="5591"/>
                    <a:pt x="1907" y="5591"/>
                  </a:cubicBezTo>
                  <a:cubicBezTo>
                    <a:pt x="1897" y="5600"/>
                    <a:pt x="1897" y="5600"/>
                    <a:pt x="1897" y="5600"/>
                  </a:cubicBezTo>
                  <a:cubicBezTo>
                    <a:pt x="1867" y="5583"/>
                    <a:pt x="1867" y="5583"/>
                    <a:pt x="1867" y="5583"/>
                  </a:cubicBezTo>
                  <a:cubicBezTo>
                    <a:pt x="1833" y="5586"/>
                    <a:pt x="1833" y="5586"/>
                    <a:pt x="1833" y="5586"/>
                  </a:cubicBezTo>
                  <a:cubicBezTo>
                    <a:pt x="1827" y="5599"/>
                    <a:pt x="1827" y="5599"/>
                    <a:pt x="1827" y="5599"/>
                  </a:cubicBezTo>
                  <a:cubicBezTo>
                    <a:pt x="1822" y="5593"/>
                    <a:pt x="1822" y="5593"/>
                    <a:pt x="1822" y="5593"/>
                  </a:cubicBezTo>
                  <a:cubicBezTo>
                    <a:pt x="1811" y="5600"/>
                    <a:pt x="1811" y="5600"/>
                    <a:pt x="1811" y="5600"/>
                  </a:cubicBezTo>
                  <a:cubicBezTo>
                    <a:pt x="1806" y="5591"/>
                    <a:pt x="1806" y="5591"/>
                    <a:pt x="1806" y="5591"/>
                  </a:cubicBezTo>
                  <a:cubicBezTo>
                    <a:pt x="1793" y="5605"/>
                    <a:pt x="1793" y="5605"/>
                    <a:pt x="1793" y="5605"/>
                  </a:cubicBezTo>
                  <a:cubicBezTo>
                    <a:pt x="1776" y="5604"/>
                    <a:pt x="1776" y="5604"/>
                    <a:pt x="1776" y="5604"/>
                  </a:cubicBezTo>
                  <a:cubicBezTo>
                    <a:pt x="1776" y="5604"/>
                    <a:pt x="1782" y="5621"/>
                    <a:pt x="1783" y="5630"/>
                  </a:cubicBezTo>
                  <a:cubicBezTo>
                    <a:pt x="1783" y="5639"/>
                    <a:pt x="1778" y="5657"/>
                    <a:pt x="1778" y="5657"/>
                  </a:cubicBezTo>
                  <a:cubicBezTo>
                    <a:pt x="1771" y="5661"/>
                    <a:pt x="1771" y="5661"/>
                    <a:pt x="1771" y="5661"/>
                  </a:cubicBezTo>
                  <a:cubicBezTo>
                    <a:pt x="1776" y="5670"/>
                    <a:pt x="1776" y="5670"/>
                    <a:pt x="1776" y="5670"/>
                  </a:cubicBezTo>
                  <a:cubicBezTo>
                    <a:pt x="1773" y="5693"/>
                    <a:pt x="1773" y="5693"/>
                    <a:pt x="1773" y="5693"/>
                  </a:cubicBezTo>
                  <a:cubicBezTo>
                    <a:pt x="1773" y="5693"/>
                    <a:pt x="1753" y="5665"/>
                    <a:pt x="1737" y="5665"/>
                  </a:cubicBezTo>
                  <a:cubicBezTo>
                    <a:pt x="1721" y="5666"/>
                    <a:pt x="1718" y="5681"/>
                    <a:pt x="1718" y="5681"/>
                  </a:cubicBezTo>
                  <a:cubicBezTo>
                    <a:pt x="1726" y="5683"/>
                    <a:pt x="1726" y="5683"/>
                    <a:pt x="1726" y="5683"/>
                  </a:cubicBezTo>
                  <a:cubicBezTo>
                    <a:pt x="1727" y="5697"/>
                    <a:pt x="1727" y="5697"/>
                    <a:pt x="1727" y="5697"/>
                  </a:cubicBezTo>
                  <a:cubicBezTo>
                    <a:pt x="1751" y="5701"/>
                    <a:pt x="1751" y="5701"/>
                    <a:pt x="1751" y="5701"/>
                  </a:cubicBezTo>
                  <a:cubicBezTo>
                    <a:pt x="1758" y="5713"/>
                    <a:pt x="1758" y="5713"/>
                    <a:pt x="1758" y="5713"/>
                  </a:cubicBezTo>
                  <a:cubicBezTo>
                    <a:pt x="1758" y="5713"/>
                    <a:pt x="1754" y="5730"/>
                    <a:pt x="1765" y="5730"/>
                  </a:cubicBezTo>
                  <a:cubicBezTo>
                    <a:pt x="1775" y="5730"/>
                    <a:pt x="1784" y="5724"/>
                    <a:pt x="1784" y="5724"/>
                  </a:cubicBezTo>
                  <a:cubicBezTo>
                    <a:pt x="1784" y="5724"/>
                    <a:pt x="1809" y="5752"/>
                    <a:pt x="1807" y="5775"/>
                  </a:cubicBezTo>
                  <a:cubicBezTo>
                    <a:pt x="1817" y="5779"/>
                    <a:pt x="1817" y="5779"/>
                    <a:pt x="1817" y="5779"/>
                  </a:cubicBezTo>
                  <a:cubicBezTo>
                    <a:pt x="1829" y="5775"/>
                    <a:pt x="1829" y="5775"/>
                    <a:pt x="1829" y="5775"/>
                  </a:cubicBezTo>
                  <a:cubicBezTo>
                    <a:pt x="1835" y="5797"/>
                    <a:pt x="1835" y="5797"/>
                    <a:pt x="1835" y="5797"/>
                  </a:cubicBezTo>
                  <a:cubicBezTo>
                    <a:pt x="1835" y="5797"/>
                    <a:pt x="1855" y="5772"/>
                    <a:pt x="1859" y="5776"/>
                  </a:cubicBezTo>
                  <a:cubicBezTo>
                    <a:pt x="1864" y="5780"/>
                    <a:pt x="1845" y="5795"/>
                    <a:pt x="1847" y="5800"/>
                  </a:cubicBezTo>
                  <a:cubicBezTo>
                    <a:pt x="1850" y="5805"/>
                    <a:pt x="1867" y="5809"/>
                    <a:pt x="1867" y="5809"/>
                  </a:cubicBezTo>
                  <a:cubicBezTo>
                    <a:pt x="1867" y="5809"/>
                    <a:pt x="1863" y="5823"/>
                    <a:pt x="1875" y="5821"/>
                  </a:cubicBezTo>
                  <a:cubicBezTo>
                    <a:pt x="1886" y="5818"/>
                    <a:pt x="1920" y="5786"/>
                    <a:pt x="1923" y="5783"/>
                  </a:cubicBezTo>
                  <a:cubicBezTo>
                    <a:pt x="1923" y="5783"/>
                    <a:pt x="1933" y="5778"/>
                    <a:pt x="1909" y="5813"/>
                  </a:cubicBezTo>
                  <a:cubicBezTo>
                    <a:pt x="1880" y="5832"/>
                    <a:pt x="1875" y="5832"/>
                    <a:pt x="1875" y="5832"/>
                  </a:cubicBezTo>
                  <a:cubicBezTo>
                    <a:pt x="1875" y="5832"/>
                    <a:pt x="1898" y="5872"/>
                    <a:pt x="1857" y="5911"/>
                  </a:cubicBezTo>
                  <a:cubicBezTo>
                    <a:pt x="1837" y="5915"/>
                    <a:pt x="1827" y="5935"/>
                    <a:pt x="1827" y="5941"/>
                  </a:cubicBezTo>
                  <a:cubicBezTo>
                    <a:pt x="1815" y="5942"/>
                    <a:pt x="1803" y="5956"/>
                    <a:pt x="1803" y="5959"/>
                  </a:cubicBezTo>
                  <a:cubicBezTo>
                    <a:pt x="1802" y="5963"/>
                    <a:pt x="1787" y="5971"/>
                    <a:pt x="1785" y="5957"/>
                  </a:cubicBezTo>
                  <a:cubicBezTo>
                    <a:pt x="1772" y="5952"/>
                    <a:pt x="1769" y="5969"/>
                    <a:pt x="1769" y="5969"/>
                  </a:cubicBezTo>
                  <a:cubicBezTo>
                    <a:pt x="1769" y="5969"/>
                    <a:pt x="1743" y="5974"/>
                    <a:pt x="1719" y="6022"/>
                  </a:cubicBezTo>
                  <a:cubicBezTo>
                    <a:pt x="1708" y="6023"/>
                    <a:pt x="1708" y="6023"/>
                    <a:pt x="1708" y="6023"/>
                  </a:cubicBezTo>
                  <a:cubicBezTo>
                    <a:pt x="1708" y="6023"/>
                    <a:pt x="1703" y="6050"/>
                    <a:pt x="1697" y="6050"/>
                  </a:cubicBezTo>
                  <a:cubicBezTo>
                    <a:pt x="1691" y="6050"/>
                    <a:pt x="1688" y="6074"/>
                    <a:pt x="1688" y="6074"/>
                  </a:cubicBezTo>
                  <a:cubicBezTo>
                    <a:pt x="1688" y="6074"/>
                    <a:pt x="1692" y="6083"/>
                    <a:pt x="1699" y="6084"/>
                  </a:cubicBezTo>
                  <a:cubicBezTo>
                    <a:pt x="1707" y="6085"/>
                    <a:pt x="1712" y="6068"/>
                    <a:pt x="1717" y="6068"/>
                  </a:cubicBezTo>
                  <a:cubicBezTo>
                    <a:pt x="1723" y="6068"/>
                    <a:pt x="1723" y="6075"/>
                    <a:pt x="1723" y="6075"/>
                  </a:cubicBezTo>
                  <a:cubicBezTo>
                    <a:pt x="1746" y="6069"/>
                    <a:pt x="1746" y="6069"/>
                    <a:pt x="1746" y="6069"/>
                  </a:cubicBezTo>
                  <a:cubicBezTo>
                    <a:pt x="1759" y="6047"/>
                    <a:pt x="1759" y="6047"/>
                    <a:pt x="1759" y="6047"/>
                  </a:cubicBezTo>
                  <a:cubicBezTo>
                    <a:pt x="1787" y="6065"/>
                    <a:pt x="1787" y="6065"/>
                    <a:pt x="1787" y="6065"/>
                  </a:cubicBezTo>
                  <a:cubicBezTo>
                    <a:pt x="1787" y="6065"/>
                    <a:pt x="1784" y="6085"/>
                    <a:pt x="1797" y="6086"/>
                  </a:cubicBezTo>
                  <a:cubicBezTo>
                    <a:pt x="1811" y="6087"/>
                    <a:pt x="1819" y="6077"/>
                    <a:pt x="1817" y="6069"/>
                  </a:cubicBezTo>
                  <a:cubicBezTo>
                    <a:pt x="1815" y="6061"/>
                    <a:pt x="1806" y="6051"/>
                    <a:pt x="1807" y="6049"/>
                  </a:cubicBezTo>
                  <a:cubicBezTo>
                    <a:pt x="1807" y="6047"/>
                    <a:pt x="1821" y="6035"/>
                    <a:pt x="1821" y="6035"/>
                  </a:cubicBezTo>
                  <a:cubicBezTo>
                    <a:pt x="1817" y="6027"/>
                    <a:pt x="1817" y="6027"/>
                    <a:pt x="1817" y="6027"/>
                  </a:cubicBezTo>
                  <a:cubicBezTo>
                    <a:pt x="1817" y="6027"/>
                    <a:pt x="1849" y="6002"/>
                    <a:pt x="1888" y="6003"/>
                  </a:cubicBezTo>
                  <a:cubicBezTo>
                    <a:pt x="1890" y="5992"/>
                    <a:pt x="1890" y="5992"/>
                    <a:pt x="1890" y="5992"/>
                  </a:cubicBezTo>
                  <a:cubicBezTo>
                    <a:pt x="1890" y="5992"/>
                    <a:pt x="1915" y="5983"/>
                    <a:pt x="1930" y="5983"/>
                  </a:cubicBezTo>
                  <a:cubicBezTo>
                    <a:pt x="1945" y="5983"/>
                    <a:pt x="1965" y="5982"/>
                    <a:pt x="1966" y="6009"/>
                  </a:cubicBezTo>
                  <a:cubicBezTo>
                    <a:pt x="1978" y="6030"/>
                    <a:pt x="1985" y="6029"/>
                    <a:pt x="1985" y="6029"/>
                  </a:cubicBezTo>
                  <a:cubicBezTo>
                    <a:pt x="1983" y="6055"/>
                    <a:pt x="1983" y="6055"/>
                    <a:pt x="1983" y="6055"/>
                  </a:cubicBezTo>
                  <a:cubicBezTo>
                    <a:pt x="1970" y="6056"/>
                    <a:pt x="1970" y="6056"/>
                    <a:pt x="1970" y="6056"/>
                  </a:cubicBezTo>
                  <a:cubicBezTo>
                    <a:pt x="1970" y="6056"/>
                    <a:pt x="1953" y="6052"/>
                    <a:pt x="2008" y="6133"/>
                  </a:cubicBezTo>
                  <a:cubicBezTo>
                    <a:pt x="2005" y="6159"/>
                    <a:pt x="2009" y="6159"/>
                    <a:pt x="2009" y="6159"/>
                  </a:cubicBezTo>
                  <a:cubicBezTo>
                    <a:pt x="2009" y="6159"/>
                    <a:pt x="1977" y="6187"/>
                    <a:pt x="1975" y="6215"/>
                  </a:cubicBezTo>
                  <a:cubicBezTo>
                    <a:pt x="1996" y="6239"/>
                    <a:pt x="1995" y="6251"/>
                    <a:pt x="1995" y="6251"/>
                  </a:cubicBezTo>
                  <a:cubicBezTo>
                    <a:pt x="1994" y="6264"/>
                    <a:pt x="1994" y="6264"/>
                    <a:pt x="1994" y="6264"/>
                  </a:cubicBezTo>
                  <a:cubicBezTo>
                    <a:pt x="2006" y="6274"/>
                    <a:pt x="2006" y="6274"/>
                    <a:pt x="2006" y="6274"/>
                  </a:cubicBezTo>
                  <a:cubicBezTo>
                    <a:pt x="2009" y="6326"/>
                    <a:pt x="2009" y="6326"/>
                    <a:pt x="2009" y="6326"/>
                  </a:cubicBezTo>
                  <a:cubicBezTo>
                    <a:pt x="1997" y="6351"/>
                    <a:pt x="1997" y="6351"/>
                    <a:pt x="1997" y="6351"/>
                  </a:cubicBezTo>
                  <a:cubicBezTo>
                    <a:pt x="1990" y="6397"/>
                    <a:pt x="1990" y="6397"/>
                    <a:pt x="1990" y="6397"/>
                  </a:cubicBezTo>
                  <a:cubicBezTo>
                    <a:pt x="1990" y="6397"/>
                    <a:pt x="1971" y="6414"/>
                    <a:pt x="1977" y="6428"/>
                  </a:cubicBezTo>
                  <a:cubicBezTo>
                    <a:pt x="1971" y="6437"/>
                    <a:pt x="1936" y="6499"/>
                    <a:pt x="1929" y="6499"/>
                  </a:cubicBezTo>
                  <a:cubicBezTo>
                    <a:pt x="1921" y="6499"/>
                    <a:pt x="1914" y="6499"/>
                    <a:pt x="1914" y="6499"/>
                  </a:cubicBezTo>
                  <a:cubicBezTo>
                    <a:pt x="1907" y="6512"/>
                    <a:pt x="1907" y="6512"/>
                    <a:pt x="1907" y="6512"/>
                  </a:cubicBezTo>
                  <a:cubicBezTo>
                    <a:pt x="1899" y="6512"/>
                    <a:pt x="1899" y="6512"/>
                    <a:pt x="1899" y="6512"/>
                  </a:cubicBezTo>
                  <a:cubicBezTo>
                    <a:pt x="1899" y="6512"/>
                    <a:pt x="1891" y="6528"/>
                    <a:pt x="1881" y="6527"/>
                  </a:cubicBezTo>
                  <a:cubicBezTo>
                    <a:pt x="1872" y="6527"/>
                    <a:pt x="1868" y="6519"/>
                    <a:pt x="1868" y="6519"/>
                  </a:cubicBezTo>
                  <a:cubicBezTo>
                    <a:pt x="1868" y="6519"/>
                    <a:pt x="1801" y="6589"/>
                    <a:pt x="1793" y="6589"/>
                  </a:cubicBezTo>
                  <a:cubicBezTo>
                    <a:pt x="1784" y="6589"/>
                    <a:pt x="1781" y="6579"/>
                    <a:pt x="1761" y="6579"/>
                  </a:cubicBezTo>
                  <a:cubicBezTo>
                    <a:pt x="1741" y="6579"/>
                    <a:pt x="1720" y="6582"/>
                    <a:pt x="1719" y="6607"/>
                  </a:cubicBezTo>
                  <a:cubicBezTo>
                    <a:pt x="1709" y="6606"/>
                    <a:pt x="1708" y="6596"/>
                    <a:pt x="1703" y="6596"/>
                  </a:cubicBezTo>
                  <a:cubicBezTo>
                    <a:pt x="1697" y="6596"/>
                    <a:pt x="1692" y="6629"/>
                    <a:pt x="1692" y="6629"/>
                  </a:cubicBezTo>
                  <a:cubicBezTo>
                    <a:pt x="1692" y="6629"/>
                    <a:pt x="1678" y="6626"/>
                    <a:pt x="1679" y="6641"/>
                  </a:cubicBezTo>
                  <a:cubicBezTo>
                    <a:pt x="1659" y="6647"/>
                    <a:pt x="1650" y="6641"/>
                    <a:pt x="1650" y="6667"/>
                  </a:cubicBezTo>
                  <a:cubicBezTo>
                    <a:pt x="1631" y="6667"/>
                    <a:pt x="1631" y="6667"/>
                    <a:pt x="1631" y="6667"/>
                  </a:cubicBezTo>
                  <a:cubicBezTo>
                    <a:pt x="1631" y="6667"/>
                    <a:pt x="1624" y="6660"/>
                    <a:pt x="1622" y="6660"/>
                  </a:cubicBezTo>
                  <a:cubicBezTo>
                    <a:pt x="1620" y="6660"/>
                    <a:pt x="1609" y="6681"/>
                    <a:pt x="1600" y="6681"/>
                  </a:cubicBezTo>
                  <a:cubicBezTo>
                    <a:pt x="1591" y="6680"/>
                    <a:pt x="1586" y="6667"/>
                    <a:pt x="1584" y="6667"/>
                  </a:cubicBezTo>
                  <a:cubicBezTo>
                    <a:pt x="1582" y="6667"/>
                    <a:pt x="1551" y="6673"/>
                    <a:pt x="1553" y="6658"/>
                  </a:cubicBezTo>
                  <a:cubicBezTo>
                    <a:pt x="1538" y="6670"/>
                    <a:pt x="1538" y="6670"/>
                    <a:pt x="1538" y="6670"/>
                  </a:cubicBezTo>
                  <a:cubicBezTo>
                    <a:pt x="1542" y="6687"/>
                    <a:pt x="1542" y="6687"/>
                    <a:pt x="1542" y="6687"/>
                  </a:cubicBezTo>
                  <a:cubicBezTo>
                    <a:pt x="1534" y="6691"/>
                    <a:pt x="1534" y="6691"/>
                    <a:pt x="1534" y="6691"/>
                  </a:cubicBezTo>
                  <a:cubicBezTo>
                    <a:pt x="1540" y="6709"/>
                    <a:pt x="1540" y="6709"/>
                    <a:pt x="1540" y="6709"/>
                  </a:cubicBezTo>
                  <a:cubicBezTo>
                    <a:pt x="1540" y="6709"/>
                    <a:pt x="1503" y="6723"/>
                    <a:pt x="1491" y="6723"/>
                  </a:cubicBezTo>
                  <a:cubicBezTo>
                    <a:pt x="1478" y="6723"/>
                    <a:pt x="1462" y="6747"/>
                    <a:pt x="1462" y="6747"/>
                  </a:cubicBezTo>
                  <a:cubicBezTo>
                    <a:pt x="1462" y="6747"/>
                    <a:pt x="1437" y="6750"/>
                    <a:pt x="1432" y="6759"/>
                  </a:cubicBezTo>
                  <a:cubicBezTo>
                    <a:pt x="1441" y="6762"/>
                    <a:pt x="1441" y="6766"/>
                    <a:pt x="1441" y="6766"/>
                  </a:cubicBezTo>
                  <a:cubicBezTo>
                    <a:pt x="1432" y="6773"/>
                    <a:pt x="1432" y="6773"/>
                    <a:pt x="1432" y="6773"/>
                  </a:cubicBezTo>
                  <a:cubicBezTo>
                    <a:pt x="1435" y="6779"/>
                    <a:pt x="1435" y="6779"/>
                    <a:pt x="1435" y="6779"/>
                  </a:cubicBezTo>
                  <a:cubicBezTo>
                    <a:pt x="1430" y="6785"/>
                    <a:pt x="1430" y="6785"/>
                    <a:pt x="1430" y="6785"/>
                  </a:cubicBezTo>
                  <a:cubicBezTo>
                    <a:pt x="1424" y="6776"/>
                    <a:pt x="1424" y="6776"/>
                    <a:pt x="1424" y="6776"/>
                  </a:cubicBezTo>
                  <a:cubicBezTo>
                    <a:pt x="1412" y="6792"/>
                    <a:pt x="1412" y="6792"/>
                    <a:pt x="1412" y="6792"/>
                  </a:cubicBezTo>
                  <a:cubicBezTo>
                    <a:pt x="1423" y="6800"/>
                    <a:pt x="1423" y="6800"/>
                    <a:pt x="1423" y="6800"/>
                  </a:cubicBezTo>
                  <a:cubicBezTo>
                    <a:pt x="1432" y="6791"/>
                    <a:pt x="1432" y="6791"/>
                    <a:pt x="1432" y="6791"/>
                  </a:cubicBezTo>
                  <a:cubicBezTo>
                    <a:pt x="1443" y="6798"/>
                    <a:pt x="1443" y="6798"/>
                    <a:pt x="1443" y="6798"/>
                  </a:cubicBezTo>
                  <a:cubicBezTo>
                    <a:pt x="1443" y="6798"/>
                    <a:pt x="1456" y="6788"/>
                    <a:pt x="1468" y="6789"/>
                  </a:cubicBezTo>
                  <a:cubicBezTo>
                    <a:pt x="1480" y="6789"/>
                    <a:pt x="1525" y="6785"/>
                    <a:pt x="1525" y="6828"/>
                  </a:cubicBezTo>
                  <a:cubicBezTo>
                    <a:pt x="1531" y="6847"/>
                    <a:pt x="1535" y="6857"/>
                    <a:pt x="1523" y="6861"/>
                  </a:cubicBezTo>
                  <a:cubicBezTo>
                    <a:pt x="1511" y="6864"/>
                    <a:pt x="1482" y="6866"/>
                    <a:pt x="1483" y="6884"/>
                  </a:cubicBezTo>
                  <a:cubicBezTo>
                    <a:pt x="1471" y="6895"/>
                    <a:pt x="1480" y="6891"/>
                    <a:pt x="1472" y="6890"/>
                  </a:cubicBezTo>
                  <a:cubicBezTo>
                    <a:pt x="1464" y="6889"/>
                    <a:pt x="1459" y="6881"/>
                    <a:pt x="1459" y="6881"/>
                  </a:cubicBezTo>
                  <a:cubicBezTo>
                    <a:pt x="1458" y="6895"/>
                    <a:pt x="1458" y="6895"/>
                    <a:pt x="1458" y="6895"/>
                  </a:cubicBezTo>
                  <a:cubicBezTo>
                    <a:pt x="1458" y="6895"/>
                    <a:pt x="1463" y="6884"/>
                    <a:pt x="1465" y="6906"/>
                  </a:cubicBezTo>
                  <a:cubicBezTo>
                    <a:pt x="1465" y="6906"/>
                    <a:pt x="1475" y="6902"/>
                    <a:pt x="1481" y="6902"/>
                  </a:cubicBezTo>
                  <a:cubicBezTo>
                    <a:pt x="1486" y="6902"/>
                    <a:pt x="1483" y="6933"/>
                    <a:pt x="1497" y="6934"/>
                  </a:cubicBezTo>
                  <a:cubicBezTo>
                    <a:pt x="1511" y="6935"/>
                    <a:pt x="1508" y="6910"/>
                    <a:pt x="1508" y="6910"/>
                  </a:cubicBezTo>
                  <a:cubicBezTo>
                    <a:pt x="1529" y="6904"/>
                    <a:pt x="1529" y="6904"/>
                    <a:pt x="1529" y="6904"/>
                  </a:cubicBezTo>
                  <a:cubicBezTo>
                    <a:pt x="1529" y="6904"/>
                    <a:pt x="1531" y="6917"/>
                    <a:pt x="1549" y="6917"/>
                  </a:cubicBezTo>
                  <a:cubicBezTo>
                    <a:pt x="1551" y="6923"/>
                    <a:pt x="1551" y="6925"/>
                    <a:pt x="1552" y="6926"/>
                  </a:cubicBezTo>
                  <a:cubicBezTo>
                    <a:pt x="1541" y="6933"/>
                    <a:pt x="1541" y="6933"/>
                    <a:pt x="1541" y="6933"/>
                  </a:cubicBezTo>
                  <a:cubicBezTo>
                    <a:pt x="1541" y="6933"/>
                    <a:pt x="1533" y="6925"/>
                    <a:pt x="1525" y="6925"/>
                  </a:cubicBezTo>
                  <a:cubicBezTo>
                    <a:pt x="1518" y="6926"/>
                    <a:pt x="1513" y="6934"/>
                    <a:pt x="1513" y="6934"/>
                  </a:cubicBezTo>
                  <a:cubicBezTo>
                    <a:pt x="1513" y="6934"/>
                    <a:pt x="1521" y="6949"/>
                    <a:pt x="1545" y="6952"/>
                  </a:cubicBezTo>
                  <a:cubicBezTo>
                    <a:pt x="1561" y="6971"/>
                    <a:pt x="1553" y="6966"/>
                    <a:pt x="1553" y="6966"/>
                  </a:cubicBezTo>
                  <a:cubicBezTo>
                    <a:pt x="1543" y="6974"/>
                    <a:pt x="1543" y="6974"/>
                    <a:pt x="1543" y="6974"/>
                  </a:cubicBezTo>
                  <a:cubicBezTo>
                    <a:pt x="1543" y="6974"/>
                    <a:pt x="1548" y="6994"/>
                    <a:pt x="1592" y="6993"/>
                  </a:cubicBezTo>
                  <a:cubicBezTo>
                    <a:pt x="1601" y="7002"/>
                    <a:pt x="1601" y="7002"/>
                    <a:pt x="1601" y="7002"/>
                  </a:cubicBezTo>
                  <a:cubicBezTo>
                    <a:pt x="1624" y="6993"/>
                    <a:pt x="1624" y="6993"/>
                    <a:pt x="1624" y="6993"/>
                  </a:cubicBezTo>
                  <a:cubicBezTo>
                    <a:pt x="1624" y="6993"/>
                    <a:pt x="1612" y="6971"/>
                    <a:pt x="1647" y="6967"/>
                  </a:cubicBezTo>
                  <a:cubicBezTo>
                    <a:pt x="1664" y="6974"/>
                    <a:pt x="1673" y="6977"/>
                    <a:pt x="1673" y="6977"/>
                  </a:cubicBezTo>
                  <a:cubicBezTo>
                    <a:pt x="1683" y="6961"/>
                    <a:pt x="1683" y="6961"/>
                    <a:pt x="1683" y="6961"/>
                  </a:cubicBezTo>
                  <a:cubicBezTo>
                    <a:pt x="1710" y="6961"/>
                    <a:pt x="1710" y="6961"/>
                    <a:pt x="1710" y="6961"/>
                  </a:cubicBezTo>
                  <a:cubicBezTo>
                    <a:pt x="1709" y="6951"/>
                    <a:pt x="1709" y="6951"/>
                    <a:pt x="1709" y="6951"/>
                  </a:cubicBezTo>
                  <a:cubicBezTo>
                    <a:pt x="1717" y="6949"/>
                    <a:pt x="1717" y="6949"/>
                    <a:pt x="1717" y="6949"/>
                  </a:cubicBezTo>
                  <a:cubicBezTo>
                    <a:pt x="1712" y="6939"/>
                    <a:pt x="1712" y="6939"/>
                    <a:pt x="1712" y="6939"/>
                  </a:cubicBezTo>
                  <a:cubicBezTo>
                    <a:pt x="1721" y="6929"/>
                    <a:pt x="1721" y="6929"/>
                    <a:pt x="1721" y="6929"/>
                  </a:cubicBezTo>
                  <a:cubicBezTo>
                    <a:pt x="1721" y="6929"/>
                    <a:pt x="1713" y="6918"/>
                    <a:pt x="1719" y="6911"/>
                  </a:cubicBezTo>
                  <a:cubicBezTo>
                    <a:pt x="1737" y="6884"/>
                    <a:pt x="1793" y="6901"/>
                    <a:pt x="1793" y="6901"/>
                  </a:cubicBezTo>
                  <a:cubicBezTo>
                    <a:pt x="1793" y="6901"/>
                    <a:pt x="1830" y="6905"/>
                    <a:pt x="1830" y="6903"/>
                  </a:cubicBezTo>
                  <a:cubicBezTo>
                    <a:pt x="1830" y="6901"/>
                    <a:pt x="1839" y="6893"/>
                    <a:pt x="1839" y="6893"/>
                  </a:cubicBezTo>
                  <a:cubicBezTo>
                    <a:pt x="1827" y="6879"/>
                    <a:pt x="1827" y="6879"/>
                    <a:pt x="1827" y="6879"/>
                  </a:cubicBezTo>
                  <a:cubicBezTo>
                    <a:pt x="1833" y="6873"/>
                    <a:pt x="1833" y="6873"/>
                    <a:pt x="1833" y="6873"/>
                  </a:cubicBezTo>
                  <a:cubicBezTo>
                    <a:pt x="1833" y="6873"/>
                    <a:pt x="1835" y="6883"/>
                    <a:pt x="1844" y="6881"/>
                  </a:cubicBezTo>
                  <a:cubicBezTo>
                    <a:pt x="1853" y="6880"/>
                    <a:pt x="1863" y="6860"/>
                    <a:pt x="1863" y="6860"/>
                  </a:cubicBezTo>
                  <a:cubicBezTo>
                    <a:pt x="1868" y="6865"/>
                    <a:pt x="1868" y="6865"/>
                    <a:pt x="1868" y="6865"/>
                  </a:cubicBezTo>
                  <a:cubicBezTo>
                    <a:pt x="1855" y="6884"/>
                    <a:pt x="1855" y="6884"/>
                    <a:pt x="1855" y="6884"/>
                  </a:cubicBezTo>
                  <a:cubicBezTo>
                    <a:pt x="1855" y="6884"/>
                    <a:pt x="1878" y="6903"/>
                    <a:pt x="1869" y="6906"/>
                  </a:cubicBezTo>
                  <a:cubicBezTo>
                    <a:pt x="1859" y="6909"/>
                    <a:pt x="1857" y="6901"/>
                    <a:pt x="1857" y="6901"/>
                  </a:cubicBezTo>
                  <a:cubicBezTo>
                    <a:pt x="1853" y="6906"/>
                    <a:pt x="1853" y="6906"/>
                    <a:pt x="1853" y="6906"/>
                  </a:cubicBezTo>
                  <a:cubicBezTo>
                    <a:pt x="1889" y="6957"/>
                    <a:pt x="1889" y="6957"/>
                    <a:pt x="1889" y="6957"/>
                  </a:cubicBezTo>
                  <a:cubicBezTo>
                    <a:pt x="1915" y="6955"/>
                    <a:pt x="1915" y="6955"/>
                    <a:pt x="1915" y="6955"/>
                  </a:cubicBezTo>
                  <a:cubicBezTo>
                    <a:pt x="1916" y="6945"/>
                    <a:pt x="1916" y="6945"/>
                    <a:pt x="1916" y="6945"/>
                  </a:cubicBezTo>
                  <a:cubicBezTo>
                    <a:pt x="1949" y="6947"/>
                    <a:pt x="1949" y="6947"/>
                    <a:pt x="1949" y="6947"/>
                  </a:cubicBezTo>
                  <a:cubicBezTo>
                    <a:pt x="1949" y="6947"/>
                    <a:pt x="1956" y="6968"/>
                    <a:pt x="1963" y="6968"/>
                  </a:cubicBezTo>
                  <a:cubicBezTo>
                    <a:pt x="1969" y="6968"/>
                    <a:pt x="1981" y="6953"/>
                    <a:pt x="1982" y="6961"/>
                  </a:cubicBezTo>
                  <a:cubicBezTo>
                    <a:pt x="1983" y="6970"/>
                    <a:pt x="1973" y="6971"/>
                    <a:pt x="1973" y="6971"/>
                  </a:cubicBezTo>
                  <a:cubicBezTo>
                    <a:pt x="1966" y="6982"/>
                    <a:pt x="1966" y="6982"/>
                    <a:pt x="1966" y="6982"/>
                  </a:cubicBezTo>
                  <a:cubicBezTo>
                    <a:pt x="1927" y="6984"/>
                    <a:pt x="1927" y="6984"/>
                    <a:pt x="1927" y="6984"/>
                  </a:cubicBezTo>
                  <a:cubicBezTo>
                    <a:pt x="1926" y="6971"/>
                    <a:pt x="1926" y="6971"/>
                    <a:pt x="1926" y="6971"/>
                  </a:cubicBezTo>
                  <a:cubicBezTo>
                    <a:pt x="1890" y="6998"/>
                    <a:pt x="1890" y="6998"/>
                    <a:pt x="1890" y="6998"/>
                  </a:cubicBezTo>
                  <a:cubicBezTo>
                    <a:pt x="1901" y="7011"/>
                    <a:pt x="1901" y="7011"/>
                    <a:pt x="1901" y="7011"/>
                  </a:cubicBezTo>
                  <a:cubicBezTo>
                    <a:pt x="1902" y="7028"/>
                    <a:pt x="1902" y="7028"/>
                    <a:pt x="1902" y="7028"/>
                  </a:cubicBezTo>
                  <a:cubicBezTo>
                    <a:pt x="1902" y="7028"/>
                    <a:pt x="1888" y="7034"/>
                    <a:pt x="1890" y="7035"/>
                  </a:cubicBezTo>
                  <a:cubicBezTo>
                    <a:pt x="1892" y="7037"/>
                    <a:pt x="1904" y="7039"/>
                    <a:pt x="1904" y="7039"/>
                  </a:cubicBezTo>
                  <a:cubicBezTo>
                    <a:pt x="1904" y="7039"/>
                    <a:pt x="1921" y="7061"/>
                    <a:pt x="1932" y="7061"/>
                  </a:cubicBezTo>
                  <a:cubicBezTo>
                    <a:pt x="1943" y="7061"/>
                    <a:pt x="1951" y="7057"/>
                    <a:pt x="1962" y="7057"/>
                  </a:cubicBezTo>
                  <a:cubicBezTo>
                    <a:pt x="1973" y="7057"/>
                    <a:pt x="1971" y="7053"/>
                    <a:pt x="1971" y="7053"/>
                  </a:cubicBezTo>
                  <a:cubicBezTo>
                    <a:pt x="1963" y="7043"/>
                    <a:pt x="1963" y="7043"/>
                    <a:pt x="1963" y="7043"/>
                  </a:cubicBezTo>
                  <a:cubicBezTo>
                    <a:pt x="1963" y="7043"/>
                    <a:pt x="1967" y="7029"/>
                    <a:pt x="1977" y="7029"/>
                  </a:cubicBezTo>
                  <a:cubicBezTo>
                    <a:pt x="1987" y="7030"/>
                    <a:pt x="1987" y="7037"/>
                    <a:pt x="1987" y="7037"/>
                  </a:cubicBezTo>
                  <a:cubicBezTo>
                    <a:pt x="2048" y="7041"/>
                    <a:pt x="2048" y="7041"/>
                    <a:pt x="2048" y="7041"/>
                  </a:cubicBezTo>
                  <a:cubicBezTo>
                    <a:pt x="2048" y="7041"/>
                    <a:pt x="2032" y="7027"/>
                    <a:pt x="2036" y="7020"/>
                  </a:cubicBezTo>
                  <a:cubicBezTo>
                    <a:pt x="2040" y="7013"/>
                    <a:pt x="2049" y="6999"/>
                    <a:pt x="2059" y="6997"/>
                  </a:cubicBezTo>
                  <a:cubicBezTo>
                    <a:pt x="2070" y="6996"/>
                    <a:pt x="2105" y="6997"/>
                    <a:pt x="2105" y="6997"/>
                  </a:cubicBezTo>
                  <a:cubicBezTo>
                    <a:pt x="2131" y="7036"/>
                    <a:pt x="2131" y="7036"/>
                    <a:pt x="2131" y="7036"/>
                  </a:cubicBezTo>
                  <a:cubicBezTo>
                    <a:pt x="2131" y="7036"/>
                    <a:pt x="2149" y="7093"/>
                    <a:pt x="2151" y="7093"/>
                  </a:cubicBezTo>
                  <a:cubicBezTo>
                    <a:pt x="2153" y="7093"/>
                    <a:pt x="2160" y="7093"/>
                    <a:pt x="2160" y="7093"/>
                  </a:cubicBezTo>
                  <a:cubicBezTo>
                    <a:pt x="2162" y="7113"/>
                    <a:pt x="2162" y="7113"/>
                    <a:pt x="2162" y="7113"/>
                  </a:cubicBezTo>
                  <a:cubicBezTo>
                    <a:pt x="2183" y="7115"/>
                    <a:pt x="2183" y="7115"/>
                    <a:pt x="2183" y="7115"/>
                  </a:cubicBezTo>
                  <a:cubicBezTo>
                    <a:pt x="2187" y="7107"/>
                    <a:pt x="2187" y="7107"/>
                    <a:pt x="2187" y="7107"/>
                  </a:cubicBezTo>
                  <a:cubicBezTo>
                    <a:pt x="2187" y="7107"/>
                    <a:pt x="2198" y="7108"/>
                    <a:pt x="2201" y="7128"/>
                  </a:cubicBezTo>
                  <a:cubicBezTo>
                    <a:pt x="2212" y="7135"/>
                    <a:pt x="2240" y="7159"/>
                    <a:pt x="2242" y="7173"/>
                  </a:cubicBezTo>
                  <a:cubicBezTo>
                    <a:pt x="2282" y="7178"/>
                    <a:pt x="2282" y="7178"/>
                    <a:pt x="2282" y="7178"/>
                  </a:cubicBezTo>
                  <a:cubicBezTo>
                    <a:pt x="2289" y="7185"/>
                    <a:pt x="2289" y="7185"/>
                    <a:pt x="2289" y="7185"/>
                  </a:cubicBezTo>
                  <a:cubicBezTo>
                    <a:pt x="2289" y="7185"/>
                    <a:pt x="2347" y="7190"/>
                    <a:pt x="2348" y="7187"/>
                  </a:cubicBezTo>
                  <a:cubicBezTo>
                    <a:pt x="2349" y="7185"/>
                    <a:pt x="2353" y="7178"/>
                    <a:pt x="2353" y="7178"/>
                  </a:cubicBezTo>
                  <a:cubicBezTo>
                    <a:pt x="2353" y="7178"/>
                    <a:pt x="2359" y="7187"/>
                    <a:pt x="2368" y="7186"/>
                  </a:cubicBezTo>
                  <a:cubicBezTo>
                    <a:pt x="2377" y="7185"/>
                    <a:pt x="2392" y="7173"/>
                    <a:pt x="2392" y="7173"/>
                  </a:cubicBezTo>
                  <a:cubicBezTo>
                    <a:pt x="2406" y="7175"/>
                    <a:pt x="2406" y="7175"/>
                    <a:pt x="2406" y="7175"/>
                  </a:cubicBezTo>
                  <a:cubicBezTo>
                    <a:pt x="2409" y="7183"/>
                    <a:pt x="2409" y="7183"/>
                    <a:pt x="2409" y="7183"/>
                  </a:cubicBezTo>
                  <a:cubicBezTo>
                    <a:pt x="2416" y="7174"/>
                    <a:pt x="2416" y="7174"/>
                    <a:pt x="2416" y="7174"/>
                  </a:cubicBezTo>
                  <a:cubicBezTo>
                    <a:pt x="2416" y="7174"/>
                    <a:pt x="2413" y="7135"/>
                    <a:pt x="2435" y="7128"/>
                  </a:cubicBezTo>
                  <a:cubicBezTo>
                    <a:pt x="2437" y="7115"/>
                    <a:pt x="2432" y="7117"/>
                    <a:pt x="2434" y="7115"/>
                  </a:cubicBezTo>
                  <a:cubicBezTo>
                    <a:pt x="2436" y="7113"/>
                    <a:pt x="2499" y="7071"/>
                    <a:pt x="2499" y="7071"/>
                  </a:cubicBezTo>
                  <a:cubicBezTo>
                    <a:pt x="2499" y="7071"/>
                    <a:pt x="2497" y="7059"/>
                    <a:pt x="2500" y="7058"/>
                  </a:cubicBezTo>
                  <a:cubicBezTo>
                    <a:pt x="2503" y="7057"/>
                    <a:pt x="2509" y="7071"/>
                    <a:pt x="2509" y="7071"/>
                  </a:cubicBezTo>
                  <a:cubicBezTo>
                    <a:pt x="2509" y="7071"/>
                    <a:pt x="2536" y="7069"/>
                    <a:pt x="2536" y="7074"/>
                  </a:cubicBezTo>
                  <a:cubicBezTo>
                    <a:pt x="2539" y="7077"/>
                    <a:pt x="2571" y="7066"/>
                    <a:pt x="2571" y="7066"/>
                  </a:cubicBezTo>
                  <a:cubicBezTo>
                    <a:pt x="2571" y="7059"/>
                    <a:pt x="2571" y="7059"/>
                    <a:pt x="2571" y="7059"/>
                  </a:cubicBezTo>
                  <a:cubicBezTo>
                    <a:pt x="2608" y="7037"/>
                    <a:pt x="2608" y="7037"/>
                    <a:pt x="2608" y="7037"/>
                  </a:cubicBezTo>
                  <a:cubicBezTo>
                    <a:pt x="2626" y="7039"/>
                    <a:pt x="2626" y="7039"/>
                    <a:pt x="2626" y="7039"/>
                  </a:cubicBezTo>
                  <a:cubicBezTo>
                    <a:pt x="2640" y="7018"/>
                    <a:pt x="2640" y="7018"/>
                    <a:pt x="2640" y="7018"/>
                  </a:cubicBezTo>
                  <a:cubicBezTo>
                    <a:pt x="2654" y="7019"/>
                    <a:pt x="2654" y="7019"/>
                    <a:pt x="2654" y="7019"/>
                  </a:cubicBezTo>
                  <a:cubicBezTo>
                    <a:pt x="2654" y="7019"/>
                    <a:pt x="2650" y="7001"/>
                    <a:pt x="2656" y="6997"/>
                  </a:cubicBezTo>
                  <a:cubicBezTo>
                    <a:pt x="2662" y="6994"/>
                    <a:pt x="2666" y="6983"/>
                    <a:pt x="2666" y="6983"/>
                  </a:cubicBezTo>
                  <a:cubicBezTo>
                    <a:pt x="2666" y="6983"/>
                    <a:pt x="2663" y="6969"/>
                    <a:pt x="2666" y="6969"/>
                  </a:cubicBezTo>
                  <a:cubicBezTo>
                    <a:pt x="2669" y="6969"/>
                    <a:pt x="2677" y="6956"/>
                    <a:pt x="2688" y="6956"/>
                  </a:cubicBezTo>
                  <a:cubicBezTo>
                    <a:pt x="2699" y="6956"/>
                    <a:pt x="2707" y="6949"/>
                    <a:pt x="2707" y="6949"/>
                  </a:cubicBezTo>
                  <a:cubicBezTo>
                    <a:pt x="2707" y="6949"/>
                    <a:pt x="2726" y="6917"/>
                    <a:pt x="2737" y="6913"/>
                  </a:cubicBezTo>
                  <a:cubicBezTo>
                    <a:pt x="2749" y="6905"/>
                    <a:pt x="2748" y="6903"/>
                    <a:pt x="2748" y="6903"/>
                  </a:cubicBezTo>
                  <a:cubicBezTo>
                    <a:pt x="2759" y="6901"/>
                    <a:pt x="2759" y="6901"/>
                    <a:pt x="2759" y="6901"/>
                  </a:cubicBezTo>
                  <a:cubicBezTo>
                    <a:pt x="2759" y="6901"/>
                    <a:pt x="2762" y="6885"/>
                    <a:pt x="2767" y="6888"/>
                  </a:cubicBezTo>
                  <a:cubicBezTo>
                    <a:pt x="2773" y="6891"/>
                    <a:pt x="2777" y="6898"/>
                    <a:pt x="2777" y="6898"/>
                  </a:cubicBezTo>
                  <a:cubicBezTo>
                    <a:pt x="2777" y="6898"/>
                    <a:pt x="2756" y="6909"/>
                    <a:pt x="2755" y="6914"/>
                  </a:cubicBezTo>
                  <a:cubicBezTo>
                    <a:pt x="2755" y="6919"/>
                    <a:pt x="2731" y="6921"/>
                    <a:pt x="2731" y="6934"/>
                  </a:cubicBezTo>
                  <a:cubicBezTo>
                    <a:pt x="2731" y="6947"/>
                    <a:pt x="2719" y="6959"/>
                    <a:pt x="2719" y="6959"/>
                  </a:cubicBezTo>
                  <a:cubicBezTo>
                    <a:pt x="2719" y="6959"/>
                    <a:pt x="2693" y="6963"/>
                    <a:pt x="2685" y="6997"/>
                  </a:cubicBezTo>
                  <a:cubicBezTo>
                    <a:pt x="2659" y="7029"/>
                    <a:pt x="2655" y="7037"/>
                    <a:pt x="2655" y="7037"/>
                  </a:cubicBezTo>
                  <a:cubicBezTo>
                    <a:pt x="2643" y="7041"/>
                    <a:pt x="2643" y="7041"/>
                    <a:pt x="2643" y="7041"/>
                  </a:cubicBezTo>
                  <a:cubicBezTo>
                    <a:pt x="2643" y="7041"/>
                    <a:pt x="2636" y="7103"/>
                    <a:pt x="2615" y="7104"/>
                  </a:cubicBezTo>
                  <a:cubicBezTo>
                    <a:pt x="2593" y="7105"/>
                    <a:pt x="2577" y="7110"/>
                    <a:pt x="2571" y="7129"/>
                  </a:cubicBezTo>
                  <a:cubicBezTo>
                    <a:pt x="2554" y="7147"/>
                    <a:pt x="2539" y="7180"/>
                    <a:pt x="2539" y="7180"/>
                  </a:cubicBezTo>
                  <a:cubicBezTo>
                    <a:pt x="2539" y="7180"/>
                    <a:pt x="2511" y="7176"/>
                    <a:pt x="2507" y="7181"/>
                  </a:cubicBezTo>
                  <a:cubicBezTo>
                    <a:pt x="2503" y="7187"/>
                    <a:pt x="2509" y="7207"/>
                    <a:pt x="2509" y="7207"/>
                  </a:cubicBezTo>
                  <a:cubicBezTo>
                    <a:pt x="2496" y="7206"/>
                    <a:pt x="2496" y="7206"/>
                    <a:pt x="2496" y="7206"/>
                  </a:cubicBezTo>
                  <a:cubicBezTo>
                    <a:pt x="2496" y="7206"/>
                    <a:pt x="2506" y="7232"/>
                    <a:pt x="2497" y="7233"/>
                  </a:cubicBezTo>
                  <a:cubicBezTo>
                    <a:pt x="2489" y="7235"/>
                    <a:pt x="2481" y="7227"/>
                    <a:pt x="2481" y="7227"/>
                  </a:cubicBezTo>
                  <a:cubicBezTo>
                    <a:pt x="2481" y="7227"/>
                    <a:pt x="2480" y="7243"/>
                    <a:pt x="2487" y="7243"/>
                  </a:cubicBezTo>
                  <a:cubicBezTo>
                    <a:pt x="2486" y="7245"/>
                    <a:pt x="2489" y="7270"/>
                    <a:pt x="2489" y="7270"/>
                  </a:cubicBezTo>
                  <a:cubicBezTo>
                    <a:pt x="2484" y="7274"/>
                    <a:pt x="2484" y="7274"/>
                    <a:pt x="2484" y="7274"/>
                  </a:cubicBezTo>
                  <a:cubicBezTo>
                    <a:pt x="2484" y="7274"/>
                    <a:pt x="2494" y="7314"/>
                    <a:pt x="2494" y="7320"/>
                  </a:cubicBezTo>
                  <a:cubicBezTo>
                    <a:pt x="2494" y="7326"/>
                    <a:pt x="2470" y="7315"/>
                    <a:pt x="2469" y="7332"/>
                  </a:cubicBezTo>
                  <a:cubicBezTo>
                    <a:pt x="2457" y="7334"/>
                    <a:pt x="2451" y="7324"/>
                    <a:pt x="2439" y="7324"/>
                  </a:cubicBezTo>
                  <a:cubicBezTo>
                    <a:pt x="2428" y="7324"/>
                    <a:pt x="2379" y="7343"/>
                    <a:pt x="2379" y="7343"/>
                  </a:cubicBezTo>
                  <a:cubicBezTo>
                    <a:pt x="2306" y="7343"/>
                    <a:pt x="2306" y="7343"/>
                    <a:pt x="2306" y="7343"/>
                  </a:cubicBezTo>
                  <a:cubicBezTo>
                    <a:pt x="2306" y="7343"/>
                    <a:pt x="2272" y="7307"/>
                    <a:pt x="2256" y="7307"/>
                  </a:cubicBezTo>
                  <a:cubicBezTo>
                    <a:pt x="2251" y="7300"/>
                    <a:pt x="2223" y="7291"/>
                    <a:pt x="2219" y="7313"/>
                  </a:cubicBezTo>
                  <a:cubicBezTo>
                    <a:pt x="2209" y="7314"/>
                    <a:pt x="2207" y="7314"/>
                    <a:pt x="2206" y="7314"/>
                  </a:cubicBezTo>
                  <a:cubicBezTo>
                    <a:pt x="2205" y="7314"/>
                    <a:pt x="2196" y="7306"/>
                    <a:pt x="2175" y="7306"/>
                  </a:cubicBezTo>
                  <a:cubicBezTo>
                    <a:pt x="2168" y="7307"/>
                    <a:pt x="2177" y="7295"/>
                    <a:pt x="2148" y="7297"/>
                  </a:cubicBezTo>
                  <a:cubicBezTo>
                    <a:pt x="2137" y="7297"/>
                    <a:pt x="2135" y="7290"/>
                    <a:pt x="2135" y="7290"/>
                  </a:cubicBezTo>
                  <a:cubicBezTo>
                    <a:pt x="2097" y="7304"/>
                    <a:pt x="2097" y="7304"/>
                    <a:pt x="2097" y="7304"/>
                  </a:cubicBezTo>
                  <a:cubicBezTo>
                    <a:pt x="2076" y="7305"/>
                    <a:pt x="2076" y="7305"/>
                    <a:pt x="2076" y="7305"/>
                  </a:cubicBezTo>
                  <a:cubicBezTo>
                    <a:pt x="2072" y="7293"/>
                    <a:pt x="2072" y="7293"/>
                    <a:pt x="2072" y="7293"/>
                  </a:cubicBezTo>
                  <a:cubicBezTo>
                    <a:pt x="2053" y="7310"/>
                    <a:pt x="2053" y="7310"/>
                    <a:pt x="2053" y="7310"/>
                  </a:cubicBezTo>
                  <a:cubicBezTo>
                    <a:pt x="2011" y="7319"/>
                    <a:pt x="2011" y="7319"/>
                    <a:pt x="2011" y="7319"/>
                  </a:cubicBezTo>
                  <a:cubicBezTo>
                    <a:pt x="1996" y="7309"/>
                    <a:pt x="1996" y="7309"/>
                    <a:pt x="1996" y="7309"/>
                  </a:cubicBezTo>
                  <a:cubicBezTo>
                    <a:pt x="1973" y="7312"/>
                    <a:pt x="1973" y="7312"/>
                    <a:pt x="1973" y="7312"/>
                  </a:cubicBezTo>
                  <a:cubicBezTo>
                    <a:pt x="1929" y="7331"/>
                    <a:pt x="1929" y="7331"/>
                    <a:pt x="1929" y="7331"/>
                  </a:cubicBezTo>
                  <a:cubicBezTo>
                    <a:pt x="1929" y="7331"/>
                    <a:pt x="1945" y="7349"/>
                    <a:pt x="1935" y="7359"/>
                  </a:cubicBezTo>
                  <a:cubicBezTo>
                    <a:pt x="1924" y="7369"/>
                    <a:pt x="1915" y="7364"/>
                    <a:pt x="1915" y="7364"/>
                  </a:cubicBezTo>
                  <a:cubicBezTo>
                    <a:pt x="1915" y="7364"/>
                    <a:pt x="1917" y="7392"/>
                    <a:pt x="1929" y="7392"/>
                  </a:cubicBezTo>
                  <a:cubicBezTo>
                    <a:pt x="1937" y="7405"/>
                    <a:pt x="1931" y="7418"/>
                    <a:pt x="1931" y="7418"/>
                  </a:cubicBezTo>
                  <a:cubicBezTo>
                    <a:pt x="1931" y="7418"/>
                    <a:pt x="1954" y="7435"/>
                    <a:pt x="1945" y="7437"/>
                  </a:cubicBezTo>
                  <a:cubicBezTo>
                    <a:pt x="1937" y="7439"/>
                    <a:pt x="1933" y="7430"/>
                    <a:pt x="1933" y="7430"/>
                  </a:cubicBezTo>
                  <a:cubicBezTo>
                    <a:pt x="1933" y="7430"/>
                    <a:pt x="1921" y="7450"/>
                    <a:pt x="1911" y="7450"/>
                  </a:cubicBezTo>
                  <a:cubicBezTo>
                    <a:pt x="1903" y="7465"/>
                    <a:pt x="1888" y="7481"/>
                    <a:pt x="1888" y="7481"/>
                  </a:cubicBezTo>
                  <a:cubicBezTo>
                    <a:pt x="1851" y="7481"/>
                    <a:pt x="1851" y="7481"/>
                    <a:pt x="1851" y="7481"/>
                  </a:cubicBezTo>
                  <a:cubicBezTo>
                    <a:pt x="1842" y="7467"/>
                    <a:pt x="1842" y="7467"/>
                    <a:pt x="1842" y="7467"/>
                  </a:cubicBezTo>
                  <a:cubicBezTo>
                    <a:pt x="1842" y="7467"/>
                    <a:pt x="1825" y="7458"/>
                    <a:pt x="1811" y="7458"/>
                  </a:cubicBezTo>
                  <a:cubicBezTo>
                    <a:pt x="1771" y="7457"/>
                    <a:pt x="1786" y="7506"/>
                    <a:pt x="1786" y="7506"/>
                  </a:cubicBezTo>
                  <a:cubicBezTo>
                    <a:pt x="1769" y="7555"/>
                    <a:pt x="1769" y="7555"/>
                    <a:pt x="1769" y="7555"/>
                  </a:cubicBezTo>
                  <a:cubicBezTo>
                    <a:pt x="1772" y="7565"/>
                    <a:pt x="1772" y="7565"/>
                    <a:pt x="1772" y="7565"/>
                  </a:cubicBezTo>
                  <a:cubicBezTo>
                    <a:pt x="1767" y="7570"/>
                    <a:pt x="1767" y="7570"/>
                    <a:pt x="1767" y="7570"/>
                  </a:cubicBezTo>
                  <a:cubicBezTo>
                    <a:pt x="1777" y="7601"/>
                    <a:pt x="1777" y="7601"/>
                    <a:pt x="1777" y="7601"/>
                  </a:cubicBezTo>
                  <a:cubicBezTo>
                    <a:pt x="1772" y="7610"/>
                    <a:pt x="1772" y="7610"/>
                    <a:pt x="1772" y="7610"/>
                  </a:cubicBezTo>
                  <a:cubicBezTo>
                    <a:pt x="1771" y="7650"/>
                    <a:pt x="1771" y="7650"/>
                    <a:pt x="1771" y="7650"/>
                  </a:cubicBezTo>
                  <a:cubicBezTo>
                    <a:pt x="1733" y="7679"/>
                    <a:pt x="1733" y="7679"/>
                    <a:pt x="1733" y="7679"/>
                  </a:cubicBezTo>
                  <a:cubicBezTo>
                    <a:pt x="1731" y="7705"/>
                    <a:pt x="1731" y="7705"/>
                    <a:pt x="1731" y="7705"/>
                  </a:cubicBezTo>
                  <a:cubicBezTo>
                    <a:pt x="1731" y="7705"/>
                    <a:pt x="1691" y="7723"/>
                    <a:pt x="1695" y="7737"/>
                  </a:cubicBezTo>
                  <a:cubicBezTo>
                    <a:pt x="1681" y="7739"/>
                    <a:pt x="1681" y="7739"/>
                    <a:pt x="1681" y="7739"/>
                  </a:cubicBezTo>
                  <a:cubicBezTo>
                    <a:pt x="1675" y="7777"/>
                    <a:pt x="1675" y="7777"/>
                    <a:pt x="1675" y="7777"/>
                  </a:cubicBezTo>
                  <a:cubicBezTo>
                    <a:pt x="1665" y="7796"/>
                    <a:pt x="1665" y="7796"/>
                    <a:pt x="1665" y="7796"/>
                  </a:cubicBezTo>
                  <a:cubicBezTo>
                    <a:pt x="1631" y="7794"/>
                    <a:pt x="1631" y="7794"/>
                    <a:pt x="1631" y="7794"/>
                  </a:cubicBezTo>
                  <a:cubicBezTo>
                    <a:pt x="1620" y="7807"/>
                    <a:pt x="1620" y="7807"/>
                    <a:pt x="1620" y="7807"/>
                  </a:cubicBezTo>
                  <a:cubicBezTo>
                    <a:pt x="1617" y="7797"/>
                    <a:pt x="1617" y="7797"/>
                    <a:pt x="1617" y="7797"/>
                  </a:cubicBezTo>
                  <a:cubicBezTo>
                    <a:pt x="1601" y="7797"/>
                    <a:pt x="1601" y="7797"/>
                    <a:pt x="1601" y="7797"/>
                  </a:cubicBezTo>
                  <a:cubicBezTo>
                    <a:pt x="1601" y="7797"/>
                    <a:pt x="1604" y="7806"/>
                    <a:pt x="1604" y="7811"/>
                  </a:cubicBezTo>
                  <a:cubicBezTo>
                    <a:pt x="1604" y="7817"/>
                    <a:pt x="1602" y="7824"/>
                    <a:pt x="1602" y="7824"/>
                  </a:cubicBezTo>
                  <a:cubicBezTo>
                    <a:pt x="1602" y="7824"/>
                    <a:pt x="1610" y="7836"/>
                    <a:pt x="1604" y="7837"/>
                  </a:cubicBezTo>
                  <a:cubicBezTo>
                    <a:pt x="1598" y="7837"/>
                    <a:pt x="1593" y="7815"/>
                    <a:pt x="1593" y="7815"/>
                  </a:cubicBezTo>
                  <a:cubicBezTo>
                    <a:pt x="1575" y="7833"/>
                    <a:pt x="1575" y="7833"/>
                    <a:pt x="1575" y="7833"/>
                  </a:cubicBezTo>
                  <a:cubicBezTo>
                    <a:pt x="1575" y="7833"/>
                    <a:pt x="1560" y="7834"/>
                    <a:pt x="1559" y="7829"/>
                  </a:cubicBezTo>
                  <a:cubicBezTo>
                    <a:pt x="1557" y="7823"/>
                    <a:pt x="1550" y="7835"/>
                    <a:pt x="1550" y="7835"/>
                  </a:cubicBezTo>
                  <a:cubicBezTo>
                    <a:pt x="1557" y="7846"/>
                    <a:pt x="1557" y="7846"/>
                    <a:pt x="1557" y="7846"/>
                  </a:cubicBezTo>
                  <a:cubicBezTo>
                    <a:pt x="1557" y="7846"/>
                    <a:pt x="1559" y="7871"/>
                    <a:pt x="1549" y="7871"/>
                  </a:cubicBezTo>
                  <a:cubicBezTo>
                    <a:pt x="1540" y="7871"/>
                    <a:pt x="1554" y="7877"/>
                    <a:pt x="1554" y="7877"/>
                  </a:cubicBezTo>
                  <a:cubicBezTo>
                    <a:pt x="1554" y="7877"/>
                    <a:pt x="1553" y="7937"/>
                    <a:pt x="1539" y="7935"/>
                  </a:cubicBezTo>
                  <a:cubicBezTo>
                    <a:pt x="1526" y="7934"/>
                    <a:pt x="1522" y="7933"/>
                    <a:pt x="1522" y="7933"/>
                  </a:cubicBezTo>
                  <a:cubicBezTo>
                    <a:pt x="1509" y="7947"/>
                    <a:pt x="1509" y="7947"/>
                    <a:pt x="1509" y="7947"/>
                  </a:cubicBezTo>
                  <a:cubicBezTo>
                    <a:pt x="1506" y="7941"/>
                    <a:pt x="1506" y="7941"/>
                    <a:pt x="1506" y="7941"/>
                  </a:cubicBezTo>
                  <a:cubicBezTo>
                    <a:pt x="1494" y="7959"/>
                    <a:pt x="1494" y="7959"/>
                    <a:pt x="1494" y="7959"/>
                  </a:cubicBezTo>
                  <a:cubicBezTo>
                    <a:pt x="1494" y="7959"/>
                    <a:pt x="1499" y="7971"/>
                    <a:pt x="1500" y="7981"/>
                  </a:cubicBezTo>
                  <a:cubicBezTo>
                    <a:pt x="1501" y="7991"/>
                    <a:pt x="1479" y="7997"/>
                    <a:pt x="1479" y="8007"/>
                  </a:cubicBezTo>
                  <a:cubicBezTo>
                    <a:pt x="1468" y="8013"/>
                    <a:pt x="1457" y="8009"/>
                    <a:pt x="1457" y="8009"/>
                  </a:cubicBezTo>
                  <a:cubicBezTo>
                    <a:pt x="1457" y="8037"/>
                    <a:pt x="1457" y="8037"/>
                    <a:pt x="1457" y="8037"/>
                  </a:cubicBezTo>
                  <a:cubicBezTo>
                    <a:pt x="1457" y="8037"/>
                    <a:pt x="1415" y="8056"/>
                    <a:pt x="1419" y="8073"/>
                  </a:cubicBezTo>
                  <a:cubicBezTo>
                    <a:pt x="1381" y="8075"/>
                    <a:pt x="1381" y="8075"/>
                    <a:pt x="1381" y="8075"/>
                  </a:cubicBezTo>
                  <a:cubicBezTo>
                    <a:pt x="1386" y="8085"/>
                    <a:pt x="1386" y="8085"/>
                    <a:pt x="1386" y="8085"/>
                  </a:cubicBezTo>
                  <a:cubicBezTo>
                    <a:pt x="1386" y="8085"/>
                    <a:pt x="1376" y="8111"/>
                    <a:pt x="1363" y="8109"/>
                  </a:cubicBezTo>
                  <a:cubicBezTo>
                    <a:pt x="1349" y="8107"/>
                    <a:pt x="1346" y="8088"/>
                    <a:pt x="1346" y="8088"/>
                  </a:cubicBezTo>
                  <a:cubicBezTo>
                    <a:pt x="1335" y="8089"/>
                    <a:pt x="1335" y="8089"/>
                    <a:pt x="1335" y="8089"/>
                  </a:cubicBezTo>
                  <a:cubicBezTo>
                    <a:pt x="1335" y="8089"/>
                    <a:pt x="1334" y="8093"/>
                    <a:pt x="1332" y="8093"/>
                  </a:cubicBezTo>
                  <a:cubicBezTo>
                    <a:pt x="1330" y="8093"/>
                    <a:pt x="1307" y="8093"/>
                    <a:pt x="1308" y="8109"/>
                  </a:cubicBezTo>
                  <a:cubicBezTo>
                    <a:pt x="1308" y="8109"/>
                    <a:pt x="1268" y="8119"/>
                    <a:pt x="1279" y="8129"/>
                  </a:cubicBezTo>
                  <a:cubicBezTo>
                    <a:pt x="1263" y="8128"/>
                    <a:pt x="1243" y="8137"/>
                    <a:pt x="1243" y="8157"/>
                  </a:cubicBezTo>
                  <a:cubicBezTo>
                    <a:pt x="1233" y="8168"/>
                    <a:pt x="1237" y="8177"/>
                    <a:pt x="1242" y="8179"/>
                  </a:cubicBezTo>
                  <a:cubicBezTo>
                    <a:pt x="1243" y="8181"/>
                    <a:pt x="1244" y="8180"/>
                    <a:pt x="1243" y="8189"/>
                  </a:cubicBezTo>
                  <a:cubicBezTo>
                    <a:pt x="1243" y="8199"/>
                    <a:pt x="1234" y="8205"/>
                    <a:pt x="1234" y="8210"/>
                  </a:cubicBezTo>
                  <a:cubicBezTo>
                    <a:pt x="1234" y="8215"/>
                    <a:pt x="1252" y="8242"/>
                    <a:pt x="1252" y="8242"/>
                  </a:cubicBezTo>
                  <a:cubicBezTo>
                    <a:pt x="1252" y="8242"/>
                    <a:pt x="1267" y="8231"/>
                    <a:pt x="1279" y="8230"/>
                  </a:cubicBezTo>
                  <a:cubicBezTo>
                    <a:pt x="1292" y="8229"/>
                    <a:pt x="1323" y="8221"/>
                    <a:pt x="1318" y="8208"/>
                  </a:cubicBezTo>
                  <a:cubicBezTo>
                    <a:pt x="1313" y="8195"/>
                    <a:pt x="1310" y="8183"/>
                    <a:pt x="1312" y="8183"/>
                  </a:cubicBezTo>
                  <a:cubicBezTo>
                    <a:pt x="1314" y="8183"/>
                    <a:pt x="1329" y="8171"/>
                    <a:pt x="1329" y="8171"/>
                  </a:cubicBezTo>
                  <a:cubicBezTo>
                    <a:pt x="1329" y="8171"/>
                    <a:pt x="1366" y="8168"/>
                    <a:pt x="1367" y="8191"/>
                  </a:cubicBezTo>
                  <a:cubicBezTo>
                    <a:pt x="1367" y="8189"/>
                    <a:pt x="1385" y="8173"/>
                    <a:pt x="1397" y="8199"/>
                  </a:cubicBezTo>
                  <a:cubicBezTo>
                    <a:pt x="1397" y="8199"/>
                    <a:pt x="1429" y="8197"/>
                    <a:pt x="1438" y="8237"/>
                  </a:cubicBezTo>
                  <a:cubicBezTo>
                    <a:pt x="1444" y="8240"/>
                    <a:pt x="1444" y="8240"/>
                    <a:pt x="1444" y="8240"/>
                  </a:cubicBezTo>
                  <a:cubicBezTo>
                    <a:pt x="1444" y="8273"/>
                    <a:pt x="1444" y="8273"/>
                    <a:pt x="1444" y="8273"/>
                  </a:cubicBezTo>
                  <a:cubicBezTo>
                    <a:pt x="1444" y="8273"/>
                    <a:pt x="1463" y="8308"/>
                    <a:pt x="1472" y="8306"/>
                  </a:cubicBezTo>
                  <a:cubicBezTo>
                    <a:pt x="1481" y="8304"/>
                    <a:pt x="1486" y="8271"/>
                    <a:pt x="1486" y="8271"/>
                  </a:cubicBezTo>
                  <a:cubicBezTo>
                    <a:pt x="1519" y="8271"/>
                    <a:pt x="1519" y="8271"/>
                    <a:pt x="1519" y="8271"/>
                  </a:cubicBezTo>
                  <a:cubicBezTo>
                    <a:pt x="1519" y="8271"/>
                    <a:pt x="1525" y="8257"/>
                    <a:pt x="1524" y="8251"/>
                  </a:cubicBezTo>
                  <a:cubicBezTo>
                    <a:pt x="1523" y="8244"/>
                    <a:pt x="1547" y="8235"/>
                    <a:pt x="1542" y="8227"/>
                  </a:cubicBezTo>
                  <a:cubicBezTo>
                    <a:pt x="1537" y="8218"/>
                    <a:pt x="1533" y="8208"/>
                    <a:pt x="1533" y="8200"/>
                  </a:cubicBezTo>
                  <a:cubicBezTo>
                    <a:pt x="1529" y="8203"/>
                    <a:pt x="1517" y="8197"/>
                    <a:pt x="1517" y="8197"/>
                  </a:cubicBezTo>
                  <a:cubicBezTo>
                    <a:pt x="1532" y="8184"/>
                    <a:pt x="1532" y="8184"/>
                    <a:pt x="1532" y="8184"/>
                  </a:cubicBezTo>
                  <a:cubicBezTo>
                    <a:pt x="1527" y="8174"/>
                    <a:pt x="1527" y="8174"/>
                    <a:pt x="1527" y="8174"/>
                  </a:cubicBezTo>
                  <a:cubicBezTo>
                    <a:pt x="1547" y="8163"/>
                    <a:pt x="1547" y="8163"/>
                    <a:pt x="1547" y="8163"/>
                  </a:cubicBezTo>
                  <a:cubicBezTo>
                    <a:pt x="1547" y="8163"/>
                    <a:pt x="1536" y="8113"/>
                    <a:pt x="1544" y="8111"/>
                  </a:cubicBezTo>
                  <a:cubicBezTo>
                    <a:pt x="1552" y="8110"/>
                    <a:pt x="1552" y="8146"/>
                    <a:pt x="1555" y="8149"/>
                  </a:cubicBezTo>
                  <a:cubicBezTo>
                    <a:pt x="1559" y="8153"/>
                    <a:pt x="1563" y="8165"/>
                    <a:pt x="1563" y="8165"/>
                  </a:cubicBezTo>
                  <a:cubicBezTo>
                    <a:pt x="1584" y="8140"/>
                    <a:pt x="1584" y="8140"/>
                    <a:pt x="1584" y="8140"/>
                  </a:cubicBezTo>
                  <a:cubicBezTo>
                    <a:pt x="1584" y="8140"/>
                    <a:pt x="1586" y="8089"/>
                    <a:pt x="1605" y="8121"/>
                  </a:cubicBezTo>
                  <a:cubicBezTo>
                    <a:pt x="1603" y="8114"/>
                    <a:pt x="1628" y="8093"/>
                    <a:pt x="1628" y="8093"/>
                  </a:cubicBezTo>
                  <a:cubicBezTo>
                    <a:pt x="1653" y="8091"/>
                    <a:pt x="1653" y="8091"/>
                    <a:pt x="1653" y="8091"/>
                  </a:cubicBezTo>
                  <a:cubicBezTo>
                    <a:pt x="1657" y="8097"/>
                    <a:pt x="1657" y="8097"/>
                    <a:pt x="1657" y="8097"/>
                  </a:cubicBezTo>
                  <a:cubicBezTo>
                    <a:pt x="1678" y="8074"/>
                    <a:pt x="1678" y="8074"/>
                    <a:pt x="1678" y="8074"/>
                  </a:cubicBezTo>
                  <a:cubicBezTo>
                    <a:pt x="1667" y="8045"/>
                    <a:pt x="1667" y="8045"/>
                    <a:pt x="1667" y="8045"/>
                  </a:cubicBezTo>
                  <a:cubicBezTo>
                    <a:pt x="1687" y="8034"/>
                    <a:pt x="1687" y="8034"/>
                    <a:pt x="1687" y="8034"/>
                  </a:cubicBezTo>
                  <a:cubicBezTo>
                    <a:pt x="1675" y="8014"/>
                    <a:pt x="1675" y="8014"/>
                    <a:pt x="1675" y="8014"/>
                  </a:cubicBezTo>
                  <a:cubicBezTo>
                    <a:pt x="1712" y="7999"/>
                    <a:pt x="1712" y="7999"/>
                    <a:pt x="1712" y="7999"/>
                  </a:cubicBezTo>
                  <a:cubicBezTo>
                    <a:pt x="1714" y="8023"/>
                    <a:pt x="1714" y="8023"/>
                    <a:pt x="1714" y="8023"/>
                  </a:cubicBezTo>
                  <a:cubicBezTo>
                    <a:pt x="1714" y="8023"/>
                    <a:pt x="1730" y="8015"/>
                    <a:pt x="1739" y="8015"/>
                  </a:cubicBezTo>
                  <a:cubicBezTo>
                    <a:pt x="1740" y="8013"/>
                    <a:pt x="1741" y="8017"/>
                    <a:pt x="1741" y="8020"/>
                  </a:cubicBezTo>
                  <a:cubicBezTo>
                    <a:pt x="1742" y="8017"/>
                    <a:pt x="1752" y="8014"/>
                    <a:pt x="1796" y="8016"/>
                  </a:cubicBezTo>
                  <a:cubicBezTo>
                    <a:pt x="1797" y="8007"/>
                    <a:pt x="1797" y="8007"/>
                    <a:pt x="1797" y="8007"/>
                  </a:cubicBezTo>
                  <a:cubicBezTo>
                    <a:pt x="1818" y="8010"/>
                    <a:pt x="1818" y="8010"/>
                    <a:pt x="1818" y="8010"/>
                  </a:cubicBezTo>
                  <a:cubicBezTo>
                    <a:pt x="1829" y="7989"/>
                    <a:pt x="1829" y="7989"/>
                    <a:pt x="1829" y="7989"/>
                  </a:cubicBezTo>
                  <a:cubicBezTo>
                    <a:pt x="1885" y="7989"/>
                    <a:pt x="1885" y="7989"/>
                    <a:pt x="1885" y="7989"/>
                  </a:cubicBezTo>
                  <a:cubicBezTo>
                    <a:pt x="1921" y="8009"/>
                    <a:pt x="1921" y="8009"/>
                    <a:pt x="1921" y="8009"/>
                  </a:cubicBezTo>
                  <a:cubicBezTo>
                    <a:pt x="1925" y="8033"/>
                    <a:pt x="1925" y="8033"/>
                    <a:pt x="1925" y="8033"/>
                  </a:cubicBezTo>
                  <a:cubicBezTo>
                    <a:pt x="1939" y="8024"/>
                    <a:pt x="1939" y="8024"/>
                    <a:pt x="1939" y="8024"/>
                  </a:cubicBezTo>
                  <a:cubicBezTo>
                    <a:pt x="1939" y="8013"/>
                    <a:pt x="1939" y="8013"/>
                    <a:pt x="1939" y="8013"/>
                  </a:cubicBezTo>
                  <a:cubicBezTo>
                    <a:pt x="1939" y="8013"/>
                    <a:pt x="1949" y="8013"/>
                    <a:pt x="1959" y="7993"/>
                  </a:cubicBezTo>
                  <a:cubicBezTo>
                    <a:pt x="1969" y="7993"/>
                    <a:pt x="1969" y="7993"/>
                    <a:pt x="1969" y="7993"/>
                  </a:cubicBezTo>
                  <a:cubicBezTo>
                    <a:pt x="1973" y="8026"/>
                    <a:pt x="1973" y="8026"/>
                    <a:pt x="1973" y="8026"/>
                  </a:cubicBezTo>
                  <a:cubicBezTo>
                    <a:pt x="1991" y="8026"/>
                    <a:pt x="1991" y="8026"/>
                    <a:pt x="1991" y="8026"/>
                  </a:cubicBezTo>
                  <a:cubicBezTo>
                    <a:pt x="2010" y="8049"/>
                    <a:pt x="2010" y="8049"/>
                    <a:pt x="2010" y="8049"/>
                  </a:cubicBezTo>
                  <a:cubicBezTo>
                    <a:pt x="2021" y="8049"/>
                    <a:pt x="2021" y="8049"/>
                    <a:pt x="2021" y="8049"/>
                  </a:cubicBezTo>
                  <a:cubicBezTo>
                    <a:pt x="2037" y="8035"/>
                    <a:pt x="2037" y="8035"/>
                    <a:pt x="2037" y="8035"/>
                  </a:cubicBezTo>
                  <a:cubicBezTo>
                    <a:pt x="2037" y="8035"/>
                    <a:pt x="2119" y="8068"/>
                    <a:pt x="2092" y="8089"/>
                  </a:cubicBezTo>
                  <a:cubicBezTo>
                    <a:pt x="2092" y="8089"/>
                    <a:pt x="2113" y="8117"/>
                    <a:pt x="2120" y="8117"/>
                  </a:cubicBezTo>
                  <a:cubicBezTo>
                    <a:pt x="2127" y="8117"/>
                    <a:pt x="2133" y="8105"/>
                    <a:pt x="2139" y="8105"/>
                  </a:cubicBezTo>
                  <a:cubicBezTo>
                    <a:pt x="2146" y="8105"/>
                    <a:pt x="2158" y="8126"/>
                    <a:pt x="2158" y="8126"/>
                  </a:cubicBezTo>
                  <a:cubicBezTo>
                    <a:pt x="2158" y="8126"/>
                    <a:pt x="2185" y="8109"/>
                    <a:pt x="2193" y="8109"/>
                  </a:cubicBezTo>
                  <a:cubicBezTo>
                    <a:pt x="2200" y="8109"/>
                    <a:pt x="2173" y="8047"/>
                    <a:pt x="2223" y="8026"/>
                  </a:cubicBezTo>
                  <a:cubicBezTo>
                    <a:pt x="2272" y="8005"/>
                    <a:pt x="2259" y="7993"/>
                    <a:pt x="2260" y="7986"/>
                  </a:cubicBezTo>
                  <a:cubicBezTo>
                    <a:pt x="2261" y="7979"/>
                    <a:pt x="2274" y="7970"/>
                    <a:pt x="2273" y="7965"/>
                  </a:cubicBezTo>
                  <a:cubicBezTo>
                    <a:pt x="2273" y="7959"/>
                    <a:pt x="2240" y="7961"/>
                    <a:pt x="2240" y="7961"/>
                  </a:cubicBezTo>
                  <a:cubicBezTo>
                    <a:pt x="2240" y="7961"/>
                    <a:pt x="2236" y="7897"/>
                    <a:pt x="2252" y="7925"/>
                  </a:cubicBezTo>
                  <a:cubicBezTo>
                    <a:pt x="2269" y="7916"/>
                    <a:pt x="2276" y="7916"/>
                    <a:pt x="2276" y="7916"/>
                  </a:cubicBezTo>
                  <a:cubicBezTo>
                    <a:pt x="2259" y="7898"/>
                    <a:pt x="2259" y="7898"/>
                    <a:pt x="2259" y="7898"/>
                  </a:cubicBezTo>
                  <a:cubicBezTo>
                    <a:pt x="2259" y="7898"/>
                    <a:pt x="2242" y="7875"/>
                    <a:pt x="2297" y="7803"/>
                  </a:cubicBezTo>
                  <a:cubicBezTo>
                    <a:pt x="2283" y="7790"/>
                    <a:pt x="2287" y="7789"/>
                    <a:pt x="2287" y="7789"/>
                  </a:cubicBezTo>
                  <a:cubicBezTo>
                    <a:pt x="2288" y="7762"/>
                    <a:pt x="2288" y="7762"/>
                    <a:pt x="2288" y="7762"/>
                  </a:cubicBezTo>
                  <a:cubicBezTo>
                    <a:pt x="2277" y="7751"/>
                    <a:pt x="2277" y="7751"/>
                    <a:pt x="2277" y="7751"/>
                  </a:cubicBezTo>
                  <a:cubicBezTo>
                    <a:pt x="2282" y="7745"/>
                    <a:pt x="2282" y="7745"/>
                    <a:pt x="2282" y="7745"/>
                  </a:cubicBezTo>
                  <a:cubicBezTo>
                    <a:pt x="2282" y="7745"/>
                    <a:pt x="2295" y="7751"/>
                    <a:pt x="2300" y="7789"/>
                  </a:cubicBezTo>
                  <a:cubicBezTo>
                    <a:pt x="2324" y="7813"/>
                    <a:pt x="2324" y="7806"/>
                    <a:pt x="2324" y="7806"/>
                  </a:cubicBezTo>
                  <a:cubicBezTo>
                    <a:pt x="2333" y="7790"/>
                    <a:pt x="2333" y="7790"/>
                    <a:pt x="2333" y="7790"/>
                  </a:cubicBezTo>
                  <a:cubicBezTo>
                    <a:pt x="2351" y="7786"/>
                    <a:pt x="2351" y="7786"/>
                    <a:pt x="2351" y="7786"/>
                  </a:cubicBezTo>
                  <a:cubicBezTo>
                    <a:pt x="2377" y="7751"/>
                    <a:pt x="2377" y="7751"/>
                    <a:pt x="2377" y="7751"/>
                  </a:cubicBezTo>
                  <a:cubicBezTo>
                    <a:pt x="2449" y="7743"/>
                    <a:pt x="2449" y="7743"/>
                    <a:pt x="2449" y="7743"/>
                  </a:cubicBezTo>
                  <a:cubicBezTo>
                    <a:pt x="2451" y="7729"/>
                    <a:pt x="2451" y="7729"/>
                    <a:pt x="2451" y="7729"/>
                  </a:cubicBezTo>
                  <a:cubicBezTo>
                    <a:pt x="2503" y="7731"/>
                    <a:pt x="2503" y="7731"/>
                    <a:pt x="2503" y="7731"/>
                  </a:cubicBezTo>
                  <a:cubicBezTo>
                    <a:pt x="2527" y="7710"/>
                    <a:pt x="2527" y="7710"/>
                    <a:pt x="2527" y="7710"/>
                  </a:cubicBezTo>
                  <a:cubicBezTo>
                    <a:pt x="2527" y="7710"/>
                    <a:pt x="2610" y="7693"/>
                    <a:pt x="2735" y="7837"/>
                  </a:cubicBezTo>
                  <a:cubicBezTo>
                    <a:pt x="2747" y="7845"/>
                    <a:pt x="2747" y="7845"/>
                    <a:pt x="2747" y="7845"/>
                  </a:cubicBezTo>
                  <a:cubicBezTo>
                    <a:pt x="2748" y="7856"/>
                    <a:pt x="2748" y="7856"/>
                    <a:pt x="2748" y="7856"/>
                  </a:cubicBezTo>
                  <a:cubicBezTo>
                    <a:pt x="2743" y="7857"/>
                    <a:pt x="2743" y="7857"/>
                    <a:pt x="2743" y="7857"/>
                  </a:cubicBezTo>
                  <a:cubicBezTo>
                    <a:pt x="2743" y="7885"/>
                    <a:pt x="2743" y="7885"/>
                    <a:pt x="2743" y="7885"/>
                  </a:cubicBezTo>
                  <a:cubicBezTo>
                    <a:pt x="2765" y="7853"/>
                    <a:pt x="2765" y="7853"/>
                    <a:pt x="2765" y="7853"/>
                  </a:cubicBezTo>
                  <a:cubicBezTo>
                    <a:pt x="2755" y="7835"/>
                    <a:pt x="2755" y="7835"/>
                    <a:pt x="2755" y="7835"/>
                  </a:cubicBezTo>
                  <a:cubicBezTo>
                    <a:pt x="2741" y="7835"/>
                    <a:pt x="2741" y="7835"/>
                    <a:pt x="2741" y="7835"/>
                  </a:cubicBezTo>
                  <a:cubicBezTo>
                    <a:pt x="2741" y="7835"/>
                    <a:pt x="2737" y="7820"/>
                    <a:pt x="2755" y="7794"/>
                  </a:cubicBezTo>
                  <a:cubicBezTo>
                    <a:pt x="2761" y="7779"/>
                    <a:pt x="2761" y="7782"/>
                    <a:pt x="2761" y="7782"/>
                  </a:cubicBezTo>
                  <a:cubicBezTo>
                    <a:pt x="2770" y="7792"/>
                    <a:pt x="2770" y="7792"/>
                    <a:pt x="2770" y="7792"/>
                  </a:cubicBezTo>
                  <a:cubicBezTo>
                    <a:pt x="2776" y="7784"/>
                    <a:pt x="2776" y="7784"/>
                    <a:pt x="2776" y="7784"/>
                  </a:cubicBezTo>
                  <a:cubicBezTo>
                    <a:pt x="2781" y="7793"/>
                    <a:pt x="2781" y="7793"/>
                    <a:pt x="2781" y="7793"/>
                  </a:cubicBezTo>
                  <a:cubicBezTo>
                    <a:pt x="2781" y="7793"/>
                    <a:pt x="2821" y="7803"/>
                    <a:pt x="2869" y="7801"/>
                  </a:cubicBezTo>
                  <a:cubicBezTo>
                    <a:pt x="2871" y="7803"/>
                    <a:pt x="2870" y="7806"/>
                    <a:pt x="2870" y="7806"/>
                  </a:cubicBezTo>
                  <a:cubicBezTo>
                    <a:pt x="2893" y="7807"/>
                    <a:pt x="2893" y="7807"/>
                    <a:pt x="2893" y="7807"/>
                  </a:cubicBezTo>
                  <a:cubicBezTo>
                    <a:pt x="2905" y="7821"/>
                    <a:pt x="2905" y="7821"/>
                    <a:pt x="2905" y="7821"/>
                  </a:cubicBezTo>
                  <a:cubicBezTo>
                    <a:pt x="2923" y="7823"/>
                    <a:pt x="2923" y="7823"/>
                    <a:pt x="2923" y="7823"/>
                  </a:cubicBezTo>
                  <a:cubicBezTo>
                    <a:pt x="2923" y="7823"/>
                    <a:pt x="2925" y="7838"/>
                    <a:pt x="2931" y="7838"/>
                  </a:cubicBezTo>
                  <a:cubicBezTo>
                    <a:pt x="2938" y="7838"/>
                    <a:pt x="2950" y="7827"/>
                    <a:pt x="2950" y="7827"/>
                  </a:cubicBezTo>
                  <a:cubicBezTo>
                    <a:pt x="2979" y="7826"/>
                    <a:pt x="2979" y="7826"/>
                    <a:pt x="2979" y="7826"/>
                  </a:cubicBezTo>
                  <a:cubicBezTo>
                    <a:pt x="2980" y="7799"/>
                    <a:pt x="2980" y="7799"/>
                    <a:pt x="2980" y="7799"/>
                  </a:cubicBezTo>
                  <a:cubicBezTo>
                    <a:pt x="2980" y="7799"/>
                    <a:pt x="2991" y="7793"/>
                    <a:pt x="2991" y="7787"/>
                  </a:cubicBezTo>
                  <a:cubicBezTo>
                    <a:pt x="2991" y="7780"/>
                    <a:pt x="2980" y="7780"/>
                    <a:pt x="2980" y="7780"/>
                  </a:cubicBezTo>
                  <a:cubicBezTo>
                    <a:pt x="2980" y="7780"/>
                    <a:pt x="2975" y="7739"/>
                    <a:pt x="3022" y="7727"/>
                  </a:cubicBezTo>
                  <a:cubicBezTo>
                    <a:pt x="3069" y="7715"/>
                    <a:pt x="3073" y="7735"/>
                    <a:pt x="3073" y="7735"/>
                  </a:cubicBezTo>
                  <a:cubicBezTo>
                    <a:pt x="3073" y="7735"/>
                    <a:pt x="3079" y="7712"/>
                    <a:pt x="3100" y="7712"/>
                  </a:cubicBezTo>
                  <a:cubicBezTo>
                    <a:pt x="3121" y="7712"/>
                    <a:pt x="3165" y="7739"/>
                    <a:pt x="3165" y="7739"/>
                  </a:cubicBezTo>
                  <a:cubicBezTo>
                    <a:pt x="3177" y="7701"/>
                    <a:pt x="3177" y="7701"/>
                    <a:pt x="3177" y="7701"/>
                  </a:cubicBezTo>
                  <a:cubicBezTo>
                    <a:pt x="3210" y="7702"/>
                    <a:pt x="3210" y="7702"/>
                    <a:pt x="3210" y="7702"/>
                  </a:cubicBezTo>
                  <a:cubicBezTo>
                    <a:pt x="3210" y="7691"/>
                    <a:pt x="3210" y="7691"/>
                    <a:pt x="3210" y="7691"/>
                  </a:cubicBezTo>
                  <a:cubicBezTo>
                    <a:pt x="3234" y="7694"/>
                    <a:pt x="3234" y="7694"/>
                    <a:pt x="3234" y="7694"/>
                  </a:cubicBezTo>
                  <a:cubicBezTo>
                    <a:pt x="3236" y="7683"/>
                    <a:pt x="3236" y="7683"/>
                    <a:pt x="3236" y="7683"/>
                  </a:cubicBezTo>
                  <a:cubicBezTo>
                    <a:pt x="3263" y="7679"/>
                    <a:pt x="3263" y="7679"/>
                    <a:pt x="3263" y="7679"/>
                  </a:cubicBezTo>
                  <a:cubicBezTo>
                    <a:pt x="3276" y="7650"/>
                    <a:pt x="3276" y="7650"/>
                    <a:pt x="3276" y="7650"/>
                  </a:cubicBezTo>
                  <a:cubicBezTo>
                    <a:pt x="3276" y="7650"/>
                    <a:pt x="3263" y="7645"/>
                    <a:pt x="3263" y="7629"/>
                  </a:cubicBezTo>
                  <a:cubicBezTo>
                    <a:pt x="3251" y="7626"/>
                    <a:pt x="3251" y="7626"/>
                    <a:pt x="3251" y="7626"/>
                  </a:cubicBezTo>
                  <a:cubicBezTo>
                    <a:pt x="3238" y="7609"/>
                    <a:pt x="3238" y="7609"/>
                    <a:pt x="3238" y="7609"/>
                  </a:cubicBezTo>
                  <a:cubicBezTo>
                    <a:pt x="3240" y="7593"/>
                    <a:pt x="3240" y="7593"/>
                    <a:pt x="3240" y="7593"/>
                  </a:cubicBezTo>
                  <a:cubicBezTo>
                    <a:pt x="3285" y="7645"/>
                    <a:pt x="3285" y="7645"/>
                    <a:pt x="3285" y="7645"/>
                  </a:cubicBezTo>
                  <a:cubicBezTo>
                    <a:pt x="3300" y="7645"/>
                    <a:pt x="3300" y="7645"/>
                    <a:pt x="3300" y="7645"/>
                  </a:cubicBezTo>
                  <a:cubicBezTo>
                    <a:pt x="3334" y="7683"/>
                    <a:pt x="3334" y="7683"/>
                    <a:pt x="3334" y="7683"/>
                  </a:cubicBezTo>
                  <a:cubicBezTo>
                    <a:pt x="3348" y="7682"/>
                    <a:pt x="3348" y="7682"/>
                    <a:pt x="3348" y="7682"/>
                  </a:cubicBezTo>
                  <a:cubicBezTo>
                    <a:pt x="3355" y="7687"/>
                    <a:pt x="3355" y="7687"/>
                    <a:pt x="3355" y="7687"/>
                  </a:cubicBezTo>
                  <a:cubicBezTo>
                    <a:pt x="3366" y="7673"/>
                    <a:pt x="3366" y="7673"/>
                    <a:pt x="3366" y="7673"/>
                  </a:cubicBezTo>
                  <a:cubicBezTo>
                    <a:pt x="3351" y="7644"/>
                    <a:pt x="3351" y="7644"/>
                    <a:pt x="3351" y="7644"/>
                  </a:cubicBezTo>
                  <a:cubicBezTo>
                    <a:pt x="3371" y="7643"/>
                    <a:pt x="3371" y="7643"/>
                    <a:pt x="3371" y="7643"/>
                  </a:cubicBezTo>
                  <a:cubicBezTo>
                    <a:pt x="3371" y="7681"/>
                    <a:pt x="3371" y="7681"/>
                    <a:pt x="3371" y="7681"/>
                  </a:cubicBezTo>
                  <a:cubicBezTo>
                    <a:pt x="3371" y="7681"/>
                    <a:pt x="3379" y="7692"/>
                    <a:pt x="3385" y="7692"/>
                  </a:cubicBezTo>
                  <a:cubicBezTo>
                    <a:pt x="3391" y="7692"/>
                    <a:pt x="3391" y="7685"/>
                    <a:pt x="3391" y="7685"/>
                  </a:cubicBezTo>
                  <a:cubicBezTo>
                    <a:pt x="3434" y="7685"/>
                    <a:pt x="3434" y="7685"/>
                    <a:pt x="3434" y="7685"/>
                  </a:cubicBezTo>
                  <a:cubicBezTo>
                    <a:pt x="3434" y="7685"/>
                    <a:pt x="3439" y="7699"/>
                    <a:pt x="3447" y="7690"/>
                  </a:cubicBezTo>
                  <a:cubicBezTo>
                    <a:pt x="3456" y="7681"/>
                    <a:pt x="3439" y="7679"/>
                    <a:pt x="3439" y="7679"/>
                  </a:cubicBezTo>
                  <a:cubicBezTo>
                    <a:pt x="3439" y="7679"/>
                    <a:pt x="3438" y="7652"/>
                    <a:pt x="3455" y="7667"/>
                  </a:cubicBezTo>
                  <a:cubicBezTo>
                    <a:pt x="3458" y="7669"/>
                    <a:pt x="3469" y="7669"/>
                    <a:pt x="3459" y="7652"/>
                  </a:cubicBezTo>
                  <a:cubicBezTo>
                    <a:pt x="3449" y="7635"/>
                    <a:pt x="3459" y="7640"/>
                    <a:pt x="3459" y="7640"/>
                  </a:cubicBezTo>
                  <a:cubicBezTo>
                    <a:pt x="3459" y="7640"/>
                    <a:pt x="3489" y="7669"/>
                    <a:pt x="3457" y="7681"/>
                  </a:cubicBezTo>
                  <a:cubicBezTo>
                    <a:pt x="3473" y="7701"/>
                    <a:pt x="3479" y="7707"/>
                    <a:pt x="3479" y="7707"/>
                  </a:cubicBezTo>
                  <a:cubicBezTo>
                    <a:pt x="3493" y="7706"/>
                    <a:pt x="3493" y="7706"/>
                    <a:pt x="3493" y="7706"/>
                  </a:cubicBezTo>
                  <a:cubicBezTo>
                    <a:pt x="3513" y="7737"/>
                    <a:pt x="3513" y="7737"/>
                    <a:pt x="3513" y="7737"/>
                  </a:cubicBezTo>
                  <a:cubicBezTo>
                    <a:pt x="3513" y="7737"/>
                    <a:pt x="3520" y="7743"/>
                    <a:pt x="3533" y="7705"/>
                  </a:cubicBezTo>
                  <a:cubicBezTo>
                    <a:pt x="3574" y="7689"/>
                    <a:pt x="3615" y="7675"/>
                    <a:pt x="3615" y="7675"/>
                  </a:cubicBezTo>
                  <a:cubicBezTo>
                    <a:pt x="3693" y="7678"/>
                    <a:pt x="3693" y="7678"/>
                    <a:pt x="3693" y="7678"/>
                  </a:cubicBezTo>
                  <a:cubicBezTo>
                    <a:pt x="3693" y="7678"/>
                    <a:pt x="3735" y="7655"/>
                    <a:pt x="3766" y="7655"/>
                  </a:cubicBezTo>
                  <a:cubicBezTo>
                    <a:pt x="3797" y="7655"/>
                    <a:pt x="3872" y="7680"/>
                    <a:pt x="3887" y="7694"/>
                  </a:cubicBezTo>
                  <a:cubicBezTo>
                    <a:pt x="3906" y="7693"/>
                    <a:pt x="3921" y="7693"/>
                    <a:pt x="3921" y="7693"/>
                  </a:cubicBezTo>
                  <a:cubicBezTo>
                    <a:pt x="3921" y="7693"/>
                    <a:pt x="3935" y="7717"/>
                    <a:pt x="3937" y="7717"/>
                  </a:cubicBezTo>
                  <a:cubicBezTo>
                    <a:pt x="3939" y="7717"/>
                    <a:pt x="3963" y="7717"/>
                    <a:pt x="3963" y="7717"/>
                  </a:cubicBezTo>
                  <a:cubicBezTo>
                    <a:pt x="3992" y="7737"/>
                    <a:pt x="3992" y="7737"/>
                    <a:pt x="3992" y="7737"/>
                  </a:cubicBezTo>
                  <a:cubicBezTo>
                    <a:pt x="4039" y="7695"/>
                    <a:pt x="4039" y="7695"/>
                    <a:pt x="4039" y="7695"/>
                  </a:cubicBezTo>
                  <a:cubicBezTo>
                    <a:pt x="4039" y="7695"/>
                    <a:pt x="4039" y="7661"/>
                    <a:pt x="4104" y="7657"/>
                  </a:cubicBezTo>
                  <a:cubicBezTo>
                    <a:pt x="4169" y="7653"/>
                    <a:pt x="4184" y="7632"/>
                    <a:pt x="4184" y="7632"/>
                  </a:cubicBezTo>
                  <a:cubicBezTo>
                    <a:pt x="4238" y="7585"/>
                    <a:pt x="4238" y="7585"/>
                    <a:pt x="4238" y="7585"/>
                  </a:cubicBezTo>
                  <a:cubicBezTo>
                    <a:pt x="4331" y="7604"/>
                    <a:pt x="4331" y="7604"/>
                    <a:pt x="4331" y="7604"/>
                  </a:cubicBezTo>
                  <a:cubicBezTo>
                    <a:pt x="4334" y="7579"/>
                    <a:pt x="4334" y="7579"/>
                    <a:pt x="4334" y="7579"/>
                  </a:cubicBezTo>
                  <a:cubicBezTo>
                    <a:pt x="4326" y="7577"/>
                    <a:pt x="4326" y="7577"/>
                    <a:pt x="4326" y="7577"/>
                  </a:cubicBezTo>
                  <a:cubicBezTo>
                    <a:pt x="4326" y="7577"/>
                    <a:pt x="4305" y="7475"/>
                    <a:pt x="4429" y="7477"/>
                  </a:cubicBezTo>
                  <a:cubicBezTo>
                    <a:pt x="4451" y="7455"/>
                    <a:pt x="4443" y="7455"/>
                    <a:pt x="4443" y="7455"/>
                  </a:cubicBezTo>
                  <a:cubicBezTo>
                    <a:pt x="4443" y="7455"/>
                    <a:pt x="4484" y="7454"/>
                    <a:pt x="4495" y="7441"/>
                  </a:cubicBezTo>
                  <a:cubicBezTo>
                    <a:pt x="4507" y="7427"/>
                    <a:pt x="4522" y="7424"/>
                    <a:pt x="4529" y="7409"/>
                  </a:cubicBezTo>
                  <a:cubicBezTo>
                    <a:pt x="4527" y="7393"/>
                    <a:pt x="4527" y="7343"/>
                    <a:pt x="4527" y="7343"/>
                  </a:cubicBezTo>
                  <a:cubicBezTo>
                    <a:pt x="4527" y="7343"/>
                    <a:pt x="4520" y="7319"/>
                    <a:pt x="4515" y="7316"/>
                  </a:cubicBezTo>
                  <a:cubicBezTo>
                    <a:pt x="4509" y="7313"/>
                    <a:pt x="4513" y="7292"/>
                    <a:pt x="4513" y="7292"/>
                  </a:cubicBezTo>
                  <a:cubicBezTo>
                    <a:pt x="4510" y="7283"/>
                    <a:pt x="4510" y="7283"/>
                    <a:pt x="4510" y="7283"/>
                  </a:cubicBezTo>
                  <a:cubicBezTo>
                    <a:pt x="4531" y="7279"/>
                    <a:pt x="4531" y="7279"/>
                    <a:pt x="4531" y="7279"/>
                  </a:cubicBezTo>
                  <a:cubicBezTo>
                    <a:pt x="4531" y="7279"/>
                    <a:pt x="4543" y="7260"/>
                    <a:pt x="4547" y="7241"/>
                  </a:cubicBezTo>
                  <a:cubicBezTo>
                    <a:pt x="4551" y="7221"/>
                    <a:pt x="4526" y="7221"/>
                    <a:pt x="4526" y="7221"/>
                  </a:cubicBezTo>
                  <a:cubicBezTo>
                    <a:pt x="4490" y="7233"/>
                    <a:pt x="4490" y="7233"/>
                    <a:pt x="4490" y="7233"/>
                  </a:cubicBezTo>
                  <a:cubicBezTo>
                    <a:pt x="4477" y="7233"/>
                    <a:pt x="4477" y="7233"/>
                    <a:pt x="4477" y="7233"/>
                  </a:cubicBezTo>
                  <a:cubicBezTo>
                    <a:pt x="4471" y="7226"/>
                    <a:pt x="4471" y="7226"/>
                    <a:pt x="4471" y="7226"/>
                  </a:cubicBezTo>
                  <a:cubicBezTo>
                    <a:pt x="4465" y="7231"/>
                    <a:pt x="4465" y="7231"/>
                    <a:pt x="4465" y="7231"/>
                  </a:cubicBezTo>
                  <a:cubicBezTo>
                    <a:pt x="4407" y="7234"/>
                    <a:pt x="4407" y="7234"/>
                    <a:pt x="4407" y="7234"/>
                  </a:cubicBezTo>
                  <a:cubicBezTo>
                    <a:pt x="4407" y="7244"/>
                    <a:pt x="4407" y="7244"/>
                    <a:pt x="4407" y="7244"/>
                  </a:cubicBezTo>
                  <a:cubicBezTo>
                    <a:pt x="4349" y="7239"/>
                    <a:pt x="4349" y="7239"/>
                    <a:pt x="4349" y="7239"/>
                  </a:cubicBezTo>
                  <a:cubicBezTo>
                    <a:pt x="4349" y="7239"/>
                    <a:pt x="4334" y="7260"/>
                    <a:pt x="4324" y="7259"/>
                  </a:cubicBezTo>
                  <a:cubicBezTo>
                    <a:pt x="4314" y="7259"/>
                    <a:pt x="4309" y="7252"/>
                    <a:pt x="4309" y="7252"/>
                  </a:cubicBezTo>
                  <a:cubicBezTo>
                    <a:pt x="4304" y="7257"/>
                    <a:pt x="4304" y="7257"/>
                    <a:pt x="4304" y="7257"/>
                  </a:cubicBezTo>
                  <a:cubicBezTo>
                    <a:pt x="4285" y="7256"/>
                    <a:pt x="4285" y="7256"/>
                    <a:pt x="4285" y="7256"/>
                  </a:cubicBezTo>
                  <a:cubicBezTo>
                    <a:pt x="4285" y="7249"/>
                    <a:pt x="4285" y="7249"/>
                    <a:pt x="4285" y="7249"/>
                  </a:cubicBezTo>
                  <a:cubicBezTo>
                    <a:pt x="4285" y="7249"/>
                    <a:pt x="4313" y="7245"/>
                    <a:pt x="4313" y="7240"/>
                  </a:cubicBezTo>
                  <a:cubicBezTo>
                    <a:pt x="4313" y="7235"/>
                    <a:pt x="4285" y="7195"/>
                    <a:pt x="4285" y="7195"/>
                  </a:cubicBezTo>
                  <a:cubicBezTo>
                    <a:pt x="4253" y="7193"/>
                    <a:pt x="4253" y="7193"/>
                    <a:pt x="4253" y="7193"/>
                  </a:cubicBezTo>
                  <a:cubicBezTo>
                    <a:pt x="4242" y="7181"/>
                    <a:pt x="4242" y="7181"/>
                    <a:pt x="4242" y="7181"/>
                  </a:cubicBezTo>
                  <a:cubicBezTo>
                    <a:pt x="4227" y="7180"/>
                    <a:pt x="4227" y="7180"/>
                    <a:pt x="4227" y="7180"/>
                  </a:cubicBezTo>
                  <a:cubicBezTo>
                    <a:pt x="4227" y="7180"/>
                    <a:pt x="4222" y="7169"/>
                    <a:pt x="4219" y="7175"/>
                  </a:cubicBezTo>
                  <a:cubicBezTo>
                    <a:pt x="4217" y="7181"/>
                    <a:pt x="4216" y="7184"/>
                    <a:pt x="4221" y="7184"/>
                  </a:cubicBezTo>
                  <a:cubicBezTo>
                    <a:pt x="4218" y="7187"/>
                    <a:pt x="4218" y="7195"/>
                    <a:pt x="4218" y="7195"/>
                  </a:cubicBezTo>
                  <a:cubicBezTo>
                    <a:pt x="4209" y="7194"/>
                    <a:pt x="4209" y="7194"/>
                    <a:pt x="4209" y="7194"/>
                  </a:cubicBezTo>
                  <a:cubicBezTo>
                    <a:pt x="4205" y="7184"/>
                    <a:pt x="4205" y="7184"/>
                    <a:pt x="4205" y="7184"/>
                  </a:cubicBezTo>
                  <a:cubicBezTo>
                    <a:pt x="4205" y="7184"/>
                    <a:pt x="4219" y="7176"/>
                    <a:pt x="4210" y="7166"/>
                  </a:cubicBezTo>
                  <a:cubicBezTo>
                    <a:pt x="4201" y="7156"/>
                    <a:pt x="4195" y="7151"/>
                    <a:pt x="4195" y="7151"/>
                  </a:cubicBezTo>
                  <a:cubicBezTo>
                    <a:pt x="4159" y="7149"/>
                    <a:pt x="4159" y="7149"/>
                    <a:pt x="4159" y="7149"/>
                  </a:cubicBezTo>
                  <a:cubicBezTo>
                    <a:pt x="4153" y="7143"/>
                    <a:pt x="4153" y="7143"/>
                    <a:pt x="4153" y="7143"/>
                  </a:cubicBezTo>
                  <a:cubicBezTo>
                    <a:pt x="4146" y="7147"/>
                    <a:pt x="4146" y="7147"/>
                    <a:pt x="4146" y="7147"/>
                  </a:cubicBezTo>
                  <a:cubicBezTo>
                    <a:pt x="4141" y="7143"/>
                    <a:pt x="4141" y="7143"/>
                    <a:pt x="4141" y="7143"/>
                  </a:cubicBezTo>
                  <a:cubicBezTo>
                    <a:pt x="4096" y="7142"/>
                    <a:pt x="4096" y="7142"/>
                    <a:pt x="4096" y="7142"/>
                  </a:cubicBezTo>
                  <a:cubicBezTo>
                    <a:pt x="4096" y="7142"/>
                    <a:pt x="4085" y="7151"/>
                    <a:pt x="4088" y="7170"/>
                  </a:cubicBezTo>
                  <a:cubicBezTo>
                    <a:pt x="4075" y="7169"/>
                    <a:pt x="4075" y="7169"/>
                    <a:pt x="4075" y="7169"/>
                  </a:cubicBezTo>
                  <a:cubicBezTo>
                    <a:pt x="4075" y="7161"/>
                    <a:pt x="4075" y="7161"/>
                    <a:pt x="4075" y="7161"/>
                  </a:cubicBezTo>
                  <a:cubicBezTo>
                    <a:pt x="4081" y="7158"/>
                    <a:pt x="4081" y="7158"/>
                    <a:pt x="4081" y="7158"/>
                  </a:cubicBezTo>
                  <a:cubicBezTo>
                    <a:pt x="4081" y="7158"/>
                    <a:pt x="4071" y="7131"/>
                    <a:pt x="4107" y="7132"/>
                  </a:cubicBezTo>
                  <a:cubicBezTo>
                    <a:pt x="4128" y="7120"/>
                    <a:pt x="4126" y="7116"/>
                    <a:pt x="4126" y="7116"/>
                  </a:cubicBezTo>
                  <a:cubicBezTo>
                    <a:pt x="4136" y="7126"/>
                    <a:pt x="4136" y="7126"/>
                    <a:pt x="4136" y="7126"/>
                  </a:cubicBezTo>
                  <a:cubicBezTo>
                    <a:pt x="4164" y="7127"/>
                    <a:pt x="4164" y="7127"/>
                    <a:pt x="4164" y="7127"/>
                  </a:cubicBezTo>
                  <a:cubicBezTo>
                    <a:pt x="4170" y="7107"/>
                    <a:pt x="4170" y="7107"/>
                    <a:pt x="4170" y="7107"/>
                  </a:cubicBezTo>
                  <a:cubicBezTo>
                    <a:pt x="4192" y="7107"/>
                    <a:pt x="4192" y="7107"/>
                    <a:pt x="4192" y="7107"/>
                  </a:cubicBezTo>
                  <a:cubicBezTo>
                    <a:pt x="4193" y="7113"/>
                    <a:pt x="4193" y="7113"/>
                    <a:pt x="4193" y="7113"/>
                  </a:cubicBezTo>
                  <a:cubicBezTo>
                    <a:pt x="4229" y="7114"/>
                    <a:pt x="4229" y="7114"/>
                    <a:pt x="4229" y="7114"/>
                  </a:cubicBezTo>
                  <a:cubicBezTo>
                    <a:pt x="4234" y="7117"/>
                    <a:pt x="4234" y="7117"/>
                    <a:pt x="4234" y="7117"/>
                  </a:cubicBezTo>
                  <a:cubicBezTo>
                    <a:pt x="4299" y="7071"/>
                    <a:pt x="4299" y="7071"/>
                    <a:pt x="4299" y="7071"/>
                  </a:cubicBezTo>
                  <a:cubicBezTo>
                    <a:pt x="4299" y="7061"/>
                    <a:pt x="4299" y="7061"/>
                    <a:pt x="4299" y="7061"/>
                  </a:cubicBezTo>
                  <a:cubicBezTo>
                    <a:pt x="4312" y="7061"/>
                    <a:pt x="4312" y="7061"/>
                    <a:pt x="4312" y="7061"/>
                  </a:cubicBezTo>
                  <a:cubicBezTo>
                    <a:pt x="4313" y="7042"/>
                    <a:pt x="4313" y="7042"/>
                    <a:pt x="4313" y="7042"/>
                  </a:cubicBezTo>
                  <a:cubicBezTo>
                    <a:pt x="4299" y="7041"/>
                    <a:pt x="4299" y="7041"/>
                    <a:pt x="4299" y="7041"/>
                  </a:cubicBezTo>
                  <a:cubicBezTo>
                    <a:pt x="4299" y="7033"/>
                    <a:pt x="4299" y="7033"/>
                    <a:pt x="4299" y="7033"/>
                  </a:cubicBezTo>
                  <a:cubicBezTo>
                    <a:pt x="4307" y="7032"/>
                    <a:pt x="4307" y="7032"/>
                    <a:pt x="4307" y="7032"/>
                  </a:cubicBezTo>
                  <a:cubicBezTo>
                    <a:pt x="4307" y="6949"/>
                    <a:pt x="4307" y="6949"/>
                    <a:pt x="4307" y="6949"/>
                  </a:cubicBezTo>
                  <a:cubicBezTo>
                    <a:pt x="4307" y="6949"/>
                    <a:pt x="4279" y="6926"/>
                    <a:pt x="4275" y="6963"/>
                  </a:cubicBezTo>
                  <a:cubicBezTo>
                    <a:pt x="4236" y="6961"/>
                    <a:pt x="4235" y="6964"/>
                    <a:pt x="4235" y="6964"/>
                  </a:cubicBezTo>
                  <a:cubicBezTo>
                    <a:pt x="4235" y="6964"/>
                    <a:pt x="4232" y="6944"/>
                    <a:pt x="4261" y="6952"/>
                  </a:cubicBezTo>
                  <a:cubicBezTo>
                    <a:pt x="4279" y="6939"/>
                    <a:pt x="4285" y="6931"/>
                    <a:pt x="4285" y="6931"/>
                  </a:cubicBezTo>
                  <a:cubicBezTo>
                    <a:pt x="4279" y="6925"/>
                    <a:pt x="4279" y="6925"/>
                    <a:pt x="4279" y="6925"/>
                  </a:cubicBezTo>
                  <a:cubicBezTo>
                    <a:pt x="4283" y="6920"/>
                    <a:pt x="4283" y="6920"/>
                    <a:pt x="4283" y="6920"/>
                  </a:cubicBezTo>
                  <a:cubicBezTo>
                    <a:pt x="4283" y="6920"/>
                    <a:pt x="4287" y="6926"/>
                    <a:pt x="4289" y="6926"/>
                  </a:cubicBezTo>
                  <a:cubicBezTo>
                    <a:pt x="4291" y="6926"/>
                    <a:pt x="4306" y="6928"/>
                    <a:pt x="4306" y="6928"/>
                  </a:cubicBezTo>
                  <a:cubicBezTo>
                    <a:pt x="4306" y="6928"/>
                    <a:pt x="4305" y="6919"/>
                    <a:pt x="4307" y="6919"/>
                  </a:cubicBezTo>
                  <a:cubicBezTo>
                    <a:pt x="4309" y="6919"/>
                    <a:pt x="4325" y="6919"/>
                    <a:pt x="4325" y="6919"/>
                  </a:cubicBezTo>
                  <a:cubicBezTo>
                    <a:pt x="4335" y="6899"/>
                    <a:pt x="4335" y="6899"/>
                    <a:pt x="4335" y="6899"/>
                  </a:cubicBezTo>
                  <a:cubicBezTo>
                    <a:pt x="4349" y="6910"/>
                    <a:pt x="4349" y="6910"/>
                    <a:pt x="4349" y="6910"/>
                  </a:cubicBezTo>
                  <a:cubicBezTo>
                    <a:pt x="4341" y="6917"/>
                    <a:pt x="4341" y="6917"/>
                    <a:pt x="4341" y="6917"/>
                  </a:cubicBezTo>
                  <a:cubicBezTo>
                    <a:pt x="4351" y="6927"/>
                    <a:pt x="4351" y="6927"/>
                    <a:pt x="4351" y="6927"/>
                  </a:cubicBezTo>
                  <a:cubicBezTo>
                    <a:pt x="4391" y="6927"/>
                    <a:pt x="4391" y="6927"/>
                    <a:pt x="4391" y="6927"/>
                  </a:cubicBezTo>
                  <a:cubicBezTo>
                    <a:pt x="4391" y="6927"/>
                    <a:pt x="4437" y="6904"/>
                    <a:pt x="4469" y="6848"/>
                  </a:cubicBezTo>
                  <a:cubicBezTo>
                    <a:pt x="4456" y="6835"/>
                    <a:pt x="4453" y="6835"/>
                    <a:pt x="4453" y="6835"/>
                  </a:cubicBezTo>
                  <a:cubicBezTo>
                    <a:pt x="4453" y="6835"/>
                    <a:pt x="4447" y="6843"/>
                    <a:pt x="4442" y="6838"/>
                  </a:cubicBezTo>
                  <a:cubicBezTo>
                    <a:pt x="4437" y="6833"/>
                    <a:pt x="4460" y="6804"/>
                    <a:pt x="4460" y="6804"/>
                  </a:cubicBezTo>
                  <a:cubicBezTo>
                    <a:pt x="4459" y="6789"/>
                    <a:pt x="4459" y="6789"/>
                    <a:pt x="4459" y="6789"/>
                  </a:cubicBezTo>
                  <a:cubicBezTo>
                    <a:pt x="4439" y="6791"/>
                    <a:pt x="4439" y="6791"/>
                    <a:pt x="4439" y="6791"/>
                  </a:cubicBezTo>
                  <a:cubicBezTo>
                    <a:pt x="4438" y="6781"/>
                    <a:pt x="4438" y="6781"/>
                    <a:pt x="4438" y="6781"/>
                  </a:cubicBezTo>
                  <a:cubicBezTo>
                    <a:pt x="4455" y="6779"/>
                    <a:pt x="4455" y="6779"/>
                    <a:pt x="4455" y="6779"/>
                  </a:cubicBezTo>
                  <a:cubicBezTo>
                    <a:pt x="4455" y="6762"/>
                    <a:pt x="4455" y="6762"/>
                    <a:pt x="4455" y="6762"/>
                  </a:cubicBezTo>
                  <a:cubicBezTo>
                    <a:pt x="4462" y="6761"/>
                    <a:pt x="4462" y="6761"/>
                    <a:pt x="4462" y="6761"/>
                  </a:cubicBezTo>
                  <a:cubicBezTo>
                    <a:pt x="4462" y="6761"/>
                    <a:pt x="4460" y="6783"/>
                    <a:pt x="4469" y="6783"/>
                  </a:cubicBezTo>
                  <a:cubicBezTo>
                    <a:pt x="4472" y="6797"/>
                    <a:pt x="4474" y="6805"/>
                    <a:pt x="4474" y="6805"/>
                  </a:cubicBezTo>
                  <a:cubicBezTo>
                    <a:pt x="4489" y="6784"/>
                    <a:pt x="4489" y="6784"/>
                    <a:pt x="4489" y="6784"/>
                  </a:cubicBezTo>
                  <a:cubicBezTo>
                    <a:pt x="4498" y="6784"/>
                    <a:pt x="4498" y="6784"/>
                    <a:pt x="4498" y="6784"/>
                  </a:cubicBezTo>
                  <a:cubicBezTo>
                    <a:pt x="4533" y="6738"/>
                    <a:pt x="4533" y="6738"/>
                    <a:pt x="4533" y="6738"/>
                  </a:cubicBezTo>
                  <a:cubicBezTo>
                    <a:pt x="4533" y="6738"/>
                    <a:pt x="4540" y="6695"/>
                    <a:pt x="4586" y="6695"/>
                  </a:cubicBezTo>
                  <a:cubicBezTo>
                    <a:pt x="4594" y="6687"/>
                    <a:pt x="4603" y="6657"/>
                    <a:pt x="4604" y="6627"/>
                  </a:cubicBezTo>
                  <a:cubicBezTo>
                    <a:pt x="4602" y="6625"/>
                    <a:pt x="4611" y="6620"/>
                    <a:pt x="4611" y="6620"/>
                  </a:cubicBezTo>
                  <a:cubicBezTo>
                    <a:pt x="4611" y="6537"/>
                    <a:pt x="4611" y="6537"/>
                    <a:pt x="4611" y="6537"/>
                  </a:cubicBezTo>
                  <a:cubicBezTo>
                    <a:pt x="4635" y="6507"/>
                    <a:pt x="4635" y="6507"/>
                    <a:pt x="4635" y="6507"/>
                  </a:cubicBezTo>
                  <a:cubicBezTo>
                    <a:pt x="4639" y="6485"/>
                    <a:pt x="4639" y="6485"/>
                    <a:pt x="4639" y="6485"/>
                  </a:cubicBezTo>
                  <a:cubicBezTo>
                    <a:pt x="4653" y="6465"/>
                    <a:pt x="4653" y="6465"/>
                    <a:pt x="4653" y="6465"/>
                  </a:cubicBezTo>
                  <a:cubicBezTo>
                    <a:pt x="4653" y="6453"/>
                    <a:pt x="4653" y="6453"/>
                    <a:pt x="4653" y="6453"/>
                  </a:cubicBezTo>
                  <a:cubicBezTo>
                    <a:pt x="4663" y="6444"/>
                    <a:pt x="4663" y="6444"/>
                    <a:pt x="4663" y="6444"/>
                  </a:cubicBezTo>
                  <a:lnTo>
                    <a:pt x="4657" y="6435"/>
                  </a:lnTo>
                  <a:close/>
                  <a:moveTo>
                    <a:pt x="2708" y="3147"/>
                  </a:moveTo>
                  <a:cubicBezTo>
                    <a:pt x="2720" y="3160"/>
                    <a:pt x="2720" y="3160"/>
                    <a:pt x="2720" y="3160"/>
                  </a:cubicBezTo>
                  <a:cubicBezTo>
                    <a:pt x="2720" y="3160"/>
                    <a:pt x="2704" y="3161"/>
                    <a:pt x="2701" y="3162"/>
                  </a:cubicBezTo>
                  <a:lnTo>
                    <a:pt x="2708" y="3147"/>
                  </a:lnTo>
                  <a:close/>
                  <a:moveTo>
                    <a:pt x="2037" y="2252"/>
                  </a:moveTo>
                  <a:cubicBezTo>
                    <a:pt x="2038" y="2259"/>
                    <a:pt x="2025" y="2257"/>
                    <a:pt x="2025" y="2250"/>
                  </a:cubicBezTo>
                  <a:cubicBezTo>
                    <a:pt x="2025" y="2250"/>
                    <a:pt x="2035" y="2245"/>
                    <a:pt x="2037" y="2252"/>
                  </a:cubicBezTo>
                  <a:close/>
                  <a:moveTo>
                    <a:pt x="1014" y="2681"/>
                  </a:moveTo>
                  <a:cubicBezTo>
                    <a:pt x="1006" y="2687"/>
                    <a:pt x="1000" y="2666"/>
                    <a:pt x="1000" y="2666"/>
                  </a:cubicBezTo>
                  <a:cubicBezTo>
                    <a:pt x="1000" y="2666"/>
                    <a:pt x="1022" y="2676"/>
                    <a:pt x="1014" y="2681"/>
                  </a:cubicBezTo>
                  <a:close/>
                  <a:moveTo>
                    <a:pt x="1249" y="3062"/>
                  </a:moveTo>
                  <a:cubicBezTo>
                    <a:pt x="1245" y="3067"/>
                    <a:pt x="1244" y="3055"/>
                    <a:pt x="1244" y="3055"/>
                  </a:cubicBezTo>
                  <a:cubicBezTo>
                    <a:pt x="1245" y="3050"/>
                    <a:pt x="1252" y="3057"/>
                    <a:pt x="1249" y="3062"/>
                  </a:cubicBezTo>
                  <a:close/>
                  <a:moveTo>
                    <a:pt x="1229" y="3064"/>
                  </a:moveTo>
                  <a:cubicBezTo>
                    <a:pt x="1235" y="3063"/>
                    <a:pt x="1240" y="3069"/>
                    <a:pt x="1233" y="3069"/>
                  </a:cubicBezTo>
                  <a:cubicBezTo>
                    <a:pt x="1225" y="3069"/>
                    <a:pt x="1229" y="3064"/>
                    <a:pt x="1229" y="3064"/>
                  </a:cubicBezTo>
                  <a:close/>
                  <a:moveTo>
                    <a:pt x="1218" y="3080"/>
                  </a:moveTo>
                  <a:cubicBezTo>
                    <a:pt x="1224" y="3080"/>
                    <a:pt x="1229" y="3091"/>
                    <a:pt x="1222" y="3090"/>
                  </a:cubicBezTo>
                  <a:cubicBezTo>
                    <a:pt x="1218" y="3090"/>
                    <a:pt x="1212" y="3080"/>
                    <a:pt x="1218" y="3080"/>
                  </a:cubicBezTo>
                  <a:close/>
                  <a:moveTo>
                    <a:pt x="1211" y="3169"/>
                  </a:moveTo>
                  <a:cubicBezTo>
                    <a:pt x="1205" y="3169"/>
                    <a:pt x="1203" y="3158"/>
                    <a:pt x="1203" y="3158"/>
                  </a:cubicBezTo>
                  <a:cubicBezTo>
                    <a:pt x="1203" y="3158"/>
                    <a:pt x="1187" y="3149"/>
                    <a:pt x="1198" y="3141"/>
                  </a:cubicBezTo>
                  <a:cubicBezTo>
                    <a:pt x="1198" y="3141"/>
                    <a:pt x="1209" y="3140"/>
                    <a:pt x="1205" y="3155"/>
                  </a:cubicBezTo>
                  <a:cubicBezTo>
                    <a:pt x="1209" y="3161"/>
                    <a:pt x="1218" y="3169"/>
                    <a:pt x="1211" y="3169"/>
                  </a:cubicBezTo>
                  <a:close/>
                  <a:moveTo>
                    <a:pt x="1254" y="3132"/>
                  </a:moveTo>
                  <a:cubicBezTo>
                    <a:pt x="1252" y="3139"/>
                    <a:pt x="1247" y="3145"/>
                    <a:pt x="1245" y="3145"/>
                  </a:cubicBezTo>
                  <a:cubicBezTo>
                    <a:pt x="1243" y="3144"/>
                    <a:pt x="1230" y="3157"/>
                    <a:pt x="1230" y="3157"/>
                  </a:cubicBezTo>
                  <a:cubicBezTo>
                    <a:pt x="1230" y="3157"/>
                    <a:pt x="1213" y="3149"/>
                    <a:pt x="1213" y="3144"/>
                  </a:cubicBezTo>
                  <a:cubicBezTo>
                    <a:pt x="1213" y="3139"/>
                    <a:pt x="1220" y="3145"/>
                    <a:pt x="1226" y="3144"/>
                  </a:cubicBezTo>
                  <a:cubicBezTo>
                    <a:pt x="1232" y="3143"/>
                    <a:pt x="1255" y="3126"/>
                    <a:pt x="1255" y="3124"/>
                  </a:cubicBezTo>
                  <a:cubicBezTo>
                    <a:pt x="1255" y="3122"/>
                    <a:pt x="1267" y="3112"/>
                    <a:pt x="1269" y="3123"/>
                  </a:cubicBezTo>
                  <a:cubicBezTo>
                    <a:pt x="1269" y="3129"/>
                    <a:pt x="1256" y="3125"/>
                    <a:pt x="1254" y="3132"/>
                  </a:cubicBezTo>
                  <a:close/>
                  <a:moveTo>
                    <a:pt x="1297" y="3139"/>
                  </a:moveTo>
                  <a:cubicBezTo>
                    <a:pt x="1295" y="3147"/>
                    <a:pt x="1294" y="3132"/>
                    <a:pt x="1289" y="3132"/>
                  </a:cubicBezTo>
                  <a:cubicBezTo>
                    <a:pt x="1285" y="3132"/>
                    <a:pt x="1283" y="3125"/>
                    <a:pt x="1283" y="3125"/>
                  </a:cubicBezTo>
                  <a:cubicBezTo>
                    <a:pt x="1283" y="3119"/>
                    <a:pt x="1291" y="3127"/>
                    <a:pt x="1291" y="3127"/>
                  </a:cubicBezTo>
                  <a:cubicBezTo>
                    <a:pt x="1291" y="3127"/>
                    <a:pt x="1299" y="3132"/>
                    <a:pt x="1297" y="3139"/>
                  </a:cubicBezTo>
                  <a:close/>
                  <a:moveTo>
                    <a:pt x="1394" y="2623"/>
                  </a:moveTo>
                  <a:cubicBezTo>
                    <a:pt x="1403" y="2608"/>
                    <a:pt x="1403" y="2608"/>
                    <a:pt x="1403" y="2608"/>
                  </a:cubicBezTo>
                  <a:cubicBezTo>
                    <a:pt x="1403" y="2608"/>
                    <a:pt x="1404" y="2610"/>
                    <a:pt x="1408" y="2620"/>
                  </a:cubicBezTo>
                  <a:cubicBezTo>
                    <a:pt x="1412" y="2630"/>
                    <a:pt x="1379" y="2650"/>
                    <a:pt x="1371" y="2649"/>
                  </a:cubicBezTo>
                  <a:cubicBezTo>
                    <a:pt x="1366" y="2649"/>
                    <a:pt x="1394" y="2623"/>
                    <a:pt x="1394" y="2623"/>
                  </a:cubicBezTo>
                  <a:close/>
                  <a:moveTo>
                    <a:pt x="1319" y="2533"/>
                  </a:moveTo>
                  <a:cubicBezTo>
                    <a:pt x="1319" y="2533"/>
                    <a:pt x="1301" y="2517"/>
                    <a:pt x="1301" y="2510"/>
                  </a:cubicBezTo>
                  <a:cubicBezTo>
                    <a:pt x="1301" y="2500"/>
                    <a:pt x="1321" y="2522"/>
                    <a:pt x="1321" y="2522"/>
                  </a:cubicBezTo>
                  <a:lnTo>
                    <a:pt x="1319" y="2533"/>
                  </a:lnTo>
                  <a:close/>
                  <a:moveTo>
                    <a:pt x="1325" y="2520"/>
                  </a:moveTo>
                  <a:cubicBezTo>
                    <a:pt x="1325" y="2513"/>
                    <a:pt x="1325" y="2513"/>
                    <a:pt x="1325" y="2513"/>
                  </a:cubicBezTo>
                  <a:cubicBezTo>
                    <a:pt x="1376" y="2514"/>
                    <a:pt x="1376" y="2514"/>
                    <a:pt x="1376" y="2514"/>
                  </a:cubicBezTo>
                  <a:cubicBezTo>
                    <a:pt x="1375" y="2522"/>
                    <a:pt x="1375" y="2522"/>
                    <a:pt x="1375" y="2522"/>
                  </a:cubicBezTo>
                  <a:lnTo>
                    <a:pt x="1325" y="2520"/>
                  </a:lnTo>
                  <a:close/>
                  <a:moveTo>
                    <a:pt x="1351" y="2657"/>
                  </a:moveTo>
                  <a:cubicBezTo>
                    <a:pt x="1344" y="2657"/>
                    <a:pt x="1348" y="2649"/>
                    <a:pt x="1351" y="2649"/>
                  </a:cubicBezTo>
                  <a:cubicBezTo>
                    <a:pt x="1351" y="2649"/>
                    <a:pt x="1357" y="2657"/>
                    <a:pt x="1351" y="2657"/>
                  </a:cubicBezTo>
                  <a:close/>
                  <a:moveTo>
                    <a:pt x="1317" y="2739"/>
                  </a:moveTo>
                  <a:cubicBezTo>
                    <a:pt x="1317" y="2739"/>
                    <a:pt x="1313" y="2730"/>
                    <a:pt x="1321" y="2733"/>
                  </a:cubicBezTo>
                  <a:cubicBezTo>
                    <a:pt x="1329" y="2737"/>
                    <a:pt x="1317" y="2739"/>
                    <a:pt x="1317" y="2739"/>
                  </a:cubicBezTo>
                  <a:close/>
                  <a:moveTo>
                    <a:pt x="1327" y="2725"/>
                  </a:moveTo>
                  <a:cubicBezTo>
                    <a:pt x="1325" y="2715"/>
                    <a:pt x="1299" y="2715"/>
                    <a:pt x="1299" y="2715"/>
                  </a:cubicBezTo>
                  <a:cubicBezTo>
                    <a:pt x="1295" y="2703"/>
                    <a:pt x="1295" y="2703"/>
                    <a:pt x="1295" y="2703"/>
                  </a:cubicBezTo>
                  <a:cubicBezTo>
                    <a:pt x="1328" y="2704"/>
                    <a:pt x="1328" y="2704"/>
                    <a:pt x="1328" y="2704"/>
                  </a:cubicBezTo>
                  <a:cubicBezTo>
                    <a:pt x="1331" y="2712"/>
                    <a:pt x="1331" y="2712"/>
                    <a:pt x="1331" y="2712"/>
                  </a:cubicBezTo>
                  <a:cubicBezTo>
                    <a:pt x="1331" y="2712"/>
                    <a:pt x="1349" y="2716"/>
                    <a:pt x="1354" y="2709"/>
                  </a:cubicBezTo>
                  <a:cubicBezTo>
                    <a:pt x="1359" y="2701"/>
                    <a:pt x="1369" y="2714"/>
                    <a:pt x="1369" y="2714"/>
                  </a:cubicBezTo>
                  <a:cubicBezTo>
                    <a:pt x="1359" y="2715"/>
                    <a:pt x="1359" y="2715"/>
                    <a:pt x="1359" y="2715"/>
                  </a:cubicBezTo>
                  <a:cubicBezTo>
                    <a:pt x="1359" y="2715"/>
                    <a:pt x="1331" y="2744"/>
                    <a:pt x="1327" y="2725"/>
                  </a:cubicBezTo>
                  <a:close/>
                  <a:moveTo>
                    <a:pt x="1335" y="3144"/>
                  </a:moveTo>
                  <a:cubicBezTo>
                    <a:pt x="1332" y="3149"/>
                    <a:pt x="1323" y="3152"/>
                    <a:pt x="1326" y="3137"/>
                  </a:cubicBezTo>
                  <a:cubicBezTo>
                    <a:pt x="1326" y="3137"/>
                    <a:pt x="1337" y="3139"/>
                    <a:pt x="1335" y="3144"/>
                  </a:cubicBezTo>
                  <a:close/>
                  <a:moveTo>
                    <a:pt x="1373" y="2848"/>
                  </a:moveTo>
                  <a:cubicBezTo>
                    <a:pt x="1342" y="2822"/>
                    <a:pt x="1342" y="2822"/>
                    <a:pt x="1342" y="2822"/>
                  </a:cubicBezTo>
                  <a:cubicBezTo>
                    <a:pt x="1342" y="2822"/>
                    <a:pt x="1312" y="2823"/>
                    <a:pt x="1324" y="2808"/>
                  </a:cubicBezTo>
                  <a:cubicBezTo>
                    <a:pt x="1331" y="2804"/>
                    <a:pt x="1366" y="2832"/>
                    <a:pt x="1366" y="2832"/>
                  </a:cubicBezTo>
                  <a:cubicBezTo>
                    <a:pt x="1375" y="2839"/>
                    <a:pt x="1375" y="2839"/>
                    <a:pt x="1375" y="2839"/>
                  </a:cubicBezTo>
                  <a:lnTo>
                    <a:pt x="1373" y="2848"/>
                  </a:lnTo>
                  <a:close/>
                  <a:moveTo>
                    <a:pt x="1419" y="2759"/>
                  </a:moveTo>
                  <a:cubicBezTo>
                    <a:pt x="1412" y="2767"/>
                    <a:pt x="1412" y="2743"/>
                    <a:pt x="1401" y="2743"/>
                  </a:cubicBezTo>
                  <a:cubicBezTo>
                    <a:pt x="1391" y="2743"/>
                    <a:pt x="1388" y="2726"/>
                    <a:pt x="1388" y="2726"/>
                  </a:cubicBezTo>
                  <a:cubicBezTo>
                    <a:pt x="1388" y="2715"/>
                    <a:pt x="1404" y="2737"/>
                    <a:pt x="1411" y="2737"/>
                  </a:cubicBezTo>
                  <a:cubicBezTo>
                    <a:pt x="1417" y="2738"/>
                    <a:pt x="1425" y="2750"/>
                    <a:pt x="1419" y="2759"/>
                  </a:cubicBezTo>
                  <a:close/>
                  <a:moveTo>
                    <a:pt x="1323" y="3481"/>
                  </a:moveTo>
                  <a:cubicBezTo>
                    <a:pt x="1317" y="3481"/>
                    <a:pt x="1319" y="3474"/>
                    <a:pt x="1324" y="3475"/>
                  </a:cubicBezTo>
                  <a:cubicBezTo>
                    <a:pt x="1324" y="3475"/>
                    <a:pt x="1330" y="3481"/>
                    <a:pt x="1323" y="3481"/>
                  </a:cubicBezTo>
                  <a:close/>
                  <a:moveTo>
                    <a:pt x="1328" y="3447"/>
                  </a:moveTo>
                  <a:cubicBezTo>
                    <a:pt x="1325" y="3441"/>
                    <a:pt x="1334" y="3437"/>
                    <a:pt x="1338" y="3436"/>
                  </a:cubicBezTo>
                  <a:cubicBezTo>
                    <a:pt x="1338" y="3436"/>
                    <a:pt x="1331" y="3453"/>
                    <a:pt x="1328" y="3447"/>
                  </a:cubicBezTo>
                  <a:close/>
                  <a:moveTo>
                    <a:pt x="1340" y="3427"/>
                  </a:moveTo>
                  <a:cubicBezTo>
                    <a:pt x="1333" y="3425"/>
                    <a:pt x="1333" y="3425"/>
                    <a:pt x="1335" y="3420"/>
                  </a:cubicBezTo>
                  <a:cubicBezTo>
                    <a:pt x="1336" y="3414"/>
                    <a:pt x="1347" y="3429"/>
                    <a:pt x="1340" y="3427"/>
                  </a:cubicBezTo>
                  <a:close/>
                  <a:moveTo>
                    <a:pt x="1370" y="3508"/>
                  </a:moveTo>
                  <a:cubicBezTo>
                    <a:pt x="1370" y="3508"/>
                    <a:pt x="1377" y="3519"/>
                    <a:pt x="1371" y="3517"/>
                  </a:cubicBezTo>
                  <a:cubicBezTo>
                    <a:pt x="1366" y="3516"/>
                    <a:pt x="1365" y="3508"/>
                    <a:pt x="1370" y="3508"/>
                  </a:cubicBezTo>
                  <a:close/>
                  <a:moveTo>
                    <a:pt x="1400" y="3757"/>
                  </a:moveTo>
                  <a:cubicBezTo>
                    <a:pt x="1401" y="3764"/>
                    <a:pt x="1401" y="3764"/>
                    <a:pt x="1401" y="3764"/>
                  </a:cubicBezTo>
                  <a:cubicBezTo>
                    <a:pt x="1389" y="3776"/>
                    <a:pt x="1389" y="3776"/>
                    <a:pt x="1389" y="3776"/>
                  </a:cubicBezTo>
                  <a:cubicBezTo>
                    <a:pt x="1389" y="3776"/>
                    <a:pt x="1390" y="3785"/>
                    <a:pt x="1390" y="3787"/>
                  </a:cubicBezTo>
                  <a:cubicBezTo>
                    <a:pt x="1390" y="3789"/>
                    <a:pt x="1359" y="3812"/>
                    <a:pt x="1352" y="3810"/>
                  </a:cubicBezTo>
                  <a:cubicBezTo>
                    <a:pt x="1343" y="3807"/>
                    <a:pt x="1383" y="3780"/>
                    <a:pt x="1383" y="3778"/>
                  </a:cubicBezTo>
                  <a:cubicBezTo>
                    <a:pt x="1383" y="3776"/>
                    <a:pt x="1384" y="3769"/>
                    <a:pt x="1384" y="3769"/>
                  </a:cubicBezTo>
                  <a:lnTo>
                    <a:pt x="1400" y="3757"/>
                  </a:lnTo>
                  <a:close/>
                  <a:moveTo>
                    <a:pt x="1439" y="3267"/>
                  </a:moveTo>
                  <a:cubicBezTo>
                    <a:pt x="1434" y="3271"/>
                    <a:pt x="1428" y="3253"/>
                    <a:pt x="1428" y="3253"/>
                  </a:cubicBezTo>
                  <a:cubicBezTo>
                    <a:pt x="1434" y="3253"/>
                    <a:pt x="1443" y="3263"/>
                    <a:pt x="1439" y="3267"/>
                  </a:cubicBezTo>
                  <a:close/>
                  <a:moveTo>
                    <a:pt x="1448" y="3258"/>
                  </a:moveTo>
                  <a:cubicBezTo>
                    <a:pt x="1448" y="3258"/>
                    <a:pt x="1462" y="3235"/>
                    <a:pt x="1473" y="3240"/>
                  </a:cubicBezTo>
                  <a:cubicBezTo>
                    <a:pt x="1483" y="3245"/>
                    <a:pt x="1451" y="3263"/>
                    <a:pt x="1448" y="3258"/>
                  </a:cubicBezTo>
                  <a:close/>
                  <a:moveTo>
                    <a:pt x="1514" y="3675"/>
                  </a:moveTo>
                  <a:cubicBezTo>
                    <a:pt x="1514" y="3675"/>
                    <a:pt x="1521" y="3691"/>
                    <a:pt x="1515" y="3690"/>
                  </a:cubicBezTo>
                  <a:cubicBezTo>
                    <a:pt x="1509" y="3689"/>
                    <a:pt x="1514" y="3675"/>
                    <a:pt x="1514" y="3675"/>
                  </a:cubicBezTo>
                  <a:close/>
                  <a:moveTo>
                    <a:pt x="1511" y="3699"/>
                  </a:moveTo>
                  <a:cubicBezTo>
                    <a:pt x="1511" y="3699"/>
                    <a:pt x="1517" y="3697"/>
                    <a:pt x="1519" y="3703"/>
                  </a:cubicBezTo>
                  <a:cubicBezTo>
                    <a:pt x="1520" y="3709"/>
                    <a:pt x="1511" y="3709"/>
                    <a:pt x="1511" y="3699"/>
                  </a:cubicBezTo>
                  <a:close/>
                  <a:moveTo>
                    <a:pt x="1546" y="3649"/>
                  </a:moveTo>
                  <a:cubicBezTo>
                    <a:pt x="1553" y="3649"/>
                    <a:pt x="1549" y="3655"/>
                    <a:pt x="1549" y="3655"/>
                  </a:cubicBezTo>
                  <a:cubicBezTo>
                    <a:pt x="1543" y="3655"/>
                    <a:pt x="1539" y="3649"/>
                    <a:pt x="1546" y="3649"/>
                  </a:cubicBezTo>
                  <a:close/>
                  <a:moveTo>
                    <a:pt x="1550" y="3673"/>
                  </a:moveTo>
                  <a:cubicBezTo>
                    <a:pt x="1542" y="3673"/>
                    <a:pt x="1543" y="3662"/>
                    <a:pt x="1551" y="3663"/>
                  </a:cubicBezTo>
                  <a:cubicBezTo>
                    <a:pt x="1559" y="3663"/>
                    <a:pt x="1553" y="3673"/>
                    <a:pt x="1550" y="3673"/>
                  </a:cubicBezTo>
                  <a:close/>
                  <a:moveTo>
                    <a:pt x="1538" y="2268"/>
                  </a:moveTo>
                  <a:cubicBezTo>
                    <a:pt x="1550" y="2267"/>
                    <a:pt x="1551" y="2276"/>
                    <a:pt x="1548" y="2281"/>
                  </a:cubicBezTo>
                  <a:cubicBezTo>
                    <a:pt x="1545" y="2285"/>
                    <a:pt x="1543" y="2273"/>
                    <a:pt x="1535" y="2272"/>
                  </a:cubicBezTo>
                  <a:cubicBezTo>
                    <a:pt x="1535" y="2281"/>
                    <a:pt x="1519" y="2259"/>
                    <a:pt x="1519" y="2253"/>
                  </a:cubicBezTo>
                  <a:cubicBezTo>
                    <a:pt x="1519" y="2245"/>
                    <a:pt x="1525" y="2255"/>
                    <a:pt x="1538" y="2268"/>
                  </a:cubicBezTo>
                  <a:close/>
                  <a:moveTo>
                    <a:pt x="1523" y="2226"/>
                  </a:moveTo>
                  <a:cubicBezTo>
                    <a:pt x="1531" y="2226"/>
                    <a:pt x="1525" y="2241"/>
                    <a:pt x="1522" y="2240"/>
                  </a:cubicBezTo>
                  <a:cubicBezTo>
                    <a:pt x="1519" y="2239"/>
                    <a:pt x="1509" y="2227"/>
                    <a:pt x="1523" y="2226"/>
                  </a:cubicBezTo>
                  <a:close/>
                  <a:moveTo>
                    <a:pt x="1499" y="3114"/>
                  </a:moveTo>
                  <a:cubicBezTo>
                    <a:pt x="1494" y="3115"/>
                    <a:pt x="1494" y="3106"/>
                    <a:pt x="1494" y="3106"/>
                  </a:cubicBezTo>
                  <a:cubicBezTo>
                    <a:pt x="1505" y="3091"/>
                    <a:pt x="1505" y="3091"/>
                    <a:pt x="1505" y="3091"/>
                  </a:cubicBezTo>
                  <a:cubicBezTo>
                    <a:pt x="1498" y="3087"/>
                    <a:pt x="1498" y="3087"/>
                    <a:pt x="1498" y="3087"/>
                  </a:cubicBezTo>
                  <a:cubicBezTo>
                    <a:pt x="1505" y="3081"/>
                    <a:pt x="1505" y="3081"/>
                    <a:pt x="1505" y="3081"/>
                  </a:cubicBezTo>
                  <a:cubicBezTo>
                    <a:pt x="1507" y="3087"/>
                    <a:pt x="1507" y="3087"/>
                    <a:pt x="1507" y="3087"/>
                  </a:cubicBezTo>
                  <a:cubicBezTo>
                    <a:pt x="1557" y="3039"/>
                    <a:pt x="1557" y="3039"/>
                    <a:pt x="1557" y="3039"/>
                  </a:cubicBezTo>
                  <a:cubicBezTo>
                    <a:pt x="1559" y="3045"/>
                    <a:pt x="1559" y="3045"/>
                    <a:pt x="1559" y="3045"/>
                  </a:cubicBezTo>
                  <a:cubicBezTo>
                    <a:pt x="1559" y="3045"/>
                    <a:pt x="1503" y="3113"/>
                    <a:pt x="1499" y="3114"/>
                  </a:cubicBezTo>
                  <a:close/>
                  <a:moveTo>
                    <a:pt x="1581" y="2319"/>
                  </a:moveTo>
                  <a:cubicBezTo>
                    <a:pt x="1579" y="2319"/>
                    <a:pt x="1575" y="2319"/>
                    <a:pt x="1575" y="2319"/>
                  </a:cubicBezTo>
                  <a:cubicBezTo>
                    <a:pt x="1575" y="2319"/>
                    <a:pt x="1546" y="2285"/>
                    <a:pt x="1561" y="2286"/>
                  </a:cubicBezTo>
                  <a:cubicBezTo>
                    <a:pt x="1568" y="2286"/>
                    <a:pt x="1583" y="2319"/>
                    <a:pt x="1581" y="2319"/>
                  </a:cubicBezTo>
                  <a:close/>
                  <a:moveTo>
                    <a:pt x="1577" y="1914"/>
                  </a:moveTo>
                  <a:cubicBezTo>
                    <a:pt x="1579" y="1900"/>
                    <a:pt x="1579" y="1900"/>
                    <a:pt x="1579" y="1900"/>
                  </a:cubicBezTo>
                  <a:cubicBezTo>
                    <a:pt x="1588" y="1912"/>
                    <a:pt x="1588" y="1912"/>
                    <a:pt x="1588" y="1912"/>
                  </a:cubicBezTo>
                  <a:lnTo>
                    <a:pt x="1577" y="1914"/>
                  </a:lnTo>
                  <a:close/>
                  <a:moveTo>
                    <a:pt x="1588" y="3474"/>
                  </a:moveTo>
                  <a:cubicBezTo>
                    <a:pt x="1588" y="3474"/>
                    <a:pt x="1601" y="3470"/>
                    <a:pt x="1602" y="3478"/>
                  </a:cubicBezTo>
                  <a:cubicBezTo>
                    <a:pt x="1603" y="3486"/>
                    <a:pt x="1588" y="3480"/>
                    <a:pt x="1588" y="3474"/>
                  </a:cubicBezTo>
                  <a:close/>
                  <a:moveTo>
                    <a:pt x="1609" y="3474"/>
                  </a:moveTo>
                  <a:cubicBezTo>
                    <a:pt x="1605" y="3474"/>
                    <a:pt x="1603" y="3467"/>
                    <a:pt x="1609" y="3467"/>
                  </a:cubicBezTo>
                  <a:cubicBezTo>
                    <a:pt x="1615" y="3467"/>
                    <a:pt x="1609" y="3474"/>
                    <a:pt x="1609" y="3474"/>
                  </a:cubicBezTo>
                  <a:close/>
                  <a:moveTo>
                    <a:pt x="1623" y="3660"/>
                  </a:moveTo>
                  <a:cubicBezTo>
                    <a:pt x="1616" y="3660"/>
                    <a:pt x="1618" y="3653"/>
                    <a:pt x="1622" y="3653"/>
                  </a:cubicBezTo>
                  <a:cubicBezTo>
                    <a:pt x="1622" y="3653"/>
                    <a:pt x="1631" y="3660"/>
                    <a:pt x="1623" y="3660"/>
                  </a:cubicBezTo>
                  <a:close/>
                  <a:moveTo>
                    <a:pt x="1625" y="2032"/>
                  </a:moveTo>
                  <a:cubicBezTo>
                    <a:pt x="1619" y="2037"/>
                    <a:pt x="1619" y="2030"/>
                    <a:pt x="1622" y="2024"/>
                  </a:cubicBezTo>
                  <a:cubicBezTo>
                    <a:pt x="1622" y="2024"/>
                    <a:pt x="1632" y="2027"/>
                    <a:pt x="1625" y="2032"/>
                  </a:cubicBezTo>
                  <a:close/>
                  <a:moveTo>
                    <a:pt x="1659" y="3589"/>
                  </a:moveTo>
                  <a:cubicBezTo>
                    <a:pt x="1659" y="3589"/>
                    <a:pt x="1638" y="3576"/>
                    <a:pt x="1642" y="3561"/>
                  </a:cubicBezTo>
                  <a:cubicBezTo>
                    <a:pt x="1646" y="3547"/>
                    <a:pt x="1648" y="3541"/>
                    <a:pt x="1648" y="3541"/>
                  </a:cubicBezTo>
                  <a:cubicBezTo>
                    <a:pt x="1652" y="3549"/>
                    <a:pt x="1653" y="3553"/>
                    <a:pt x="1653" y="3553"/>
                  </a:cubicBezTo>
                  <a:cubicBezTo>
                    <a:pt x="1653" y="3553"/>
                    <a:pt x="1649" y="3557"/>
                    <a:pt x="1651" y="3568"/>
                  </a:cubicBezTo>
                  <a:cubicBezTo>
                    <a:pt x="1653" y="3579"/>
                    <a:pt x="1667" y="3573"/>
                    <a:pt x="1667" y="3573"/>
                  </a:cubicBezTo>
                  <a:lnTo>
                    <a:pt x="1659" y="3589"/>
                  </a:lnTo>
                  <a:close/>
                  <a:moveTo>
                    <a:pt x="1680" y="3541"/>
                  </a:moveTo>
                  <a:cubicBezTo>
                    <a:pt x="1680" y="3541"/>
                    <a:pt x="1687" y="3521"/>
                    <a:pt x="1695" y="3524"/>
                  </a:cubicBezTo>
                  <a:cubicBezTo>
                    <a:pt x="1704" y="3527"/>
                    <a:pt x="1681" y="3544"/>
                    <a:pt x="1680" y="3541"/>
                  </a:cubicBezTo>
                  <a:close/>
                  <a:moveTo>
                    <a:pt x="1695" y="1819"/>
                  </a:moveTo>
                  <a:cubicBezTo>
                    <a:pt x="1689" y="1821"/>
                    <a:pt x="1693" y="1813"/>
                    <a:pt x="1693" y="1813"/>
                  </a:cubicBezTo>
                  <a:cubicBezTo>
                    <a:pt x="1703" y="1807"/>
                    <a:pt x="1701" y="1817"/>
                    <a:pt x="1695" y="1819"/>
                  </a:cubicBezTo>
                  <a:close/>
                  <a:moveTo>
                    <a:pt x="1786" y="3705"/>
                  </a:moveTo>
                  <a:cubicBezTo>
                    <a:pt x="1786" y="3705"/>
                    <a:pt x="1800" y="3701"/>
                    <a:pt x="1800" y="3709"/>
                  </a:cubicBezTo>
                  <a:cubicBezTo>
                    <a:pt x="1800" y="3718"/>
                    <a:pt x="1787" y="3714"/>
                    <a:pt x="1786" y="3705"/>
                  </a:cubicBezTo>
                  <a:close/>
                  <a:moveTo>
                    <a:pt x="1996" y="2314"/>
                  </a:moveTo>
                  <a:cubicBezTo>
                    <a:pt x="1997" y="2320"/>
                    <a:pt x="1990" y="2313"/>
                    <a:pt x="1990" y="2313"/>
                  </a:cubicBezTo>
                  <a:cubicBezTo>
                    <a:pt x="1990" y="2308"/>
                    <a:pt x="1995" y="2308"/>
                    <a:pt x="1996" y="2314"/>
                  </a:cubicBezTo>
                  <a:close/>
                  <a:moveTo>
                    <a:pt x="1989" y="2299"/>
                  </a:moveTo>
                  <a:cubicBezTo>
                    <a:pt x="1989" y="2299"/>
                    <a:pt x="1989" y="2313"/>
                    <a:pt x="1983" y="2307"/>
                  </a:cubicBezTo>
                  <a:cubicBezTo>
                    <a:pt x="1977" y="2301"/>
                    <a:pt x="1989" y="2299"/>
                    <a:pt x="1989" y="2299"/>
                  </a:cubicBezTo>
                  <a:close/>
                  <a:moveTo>
                    <a:pt x="1982" y="2325"/>
                  </a:moveTo>
                  <a:cubicBezTo>
                    <a:pt x="1973" y="2329"/>
                    <a:pt x="1971" y="2311"/>
                    <a:pt x="1971" y="2311"/>
                  </a:cubicBezTo>
                  <a:cubicBezTo>
                    <a:pt x="1971" y="2311"/>
                    <a:pt x="1991" y="2322"/>
                    <a:pt x="1982" y="2325"/>
                  </a:cubicBezTo>
                  <a:close/>
                  <a:moveTo>
                    <a:pt x="1961" y="2302"/>
                  </a:moveTo>
                  <a:cubicBezTo>
                    <a:pt x="1961" y="2309"/>
                    <a:pt x="1945" y="2301"/>
                    <a:pt x="1945" y="2301"/>
                  </a:cubicBezTo>
                  <a:cubicBezTo>
                    <a:pt x="1945" y="2291"/>
                    <a:pt x="1961" y="2295"/>
                    <a:pt x="1961" y="2302"/>
                  </a:cubicBezTo>
                  <a:close/>
                  <a:moveTo>
                    <a:pt x="1929" y="2305"/>
                  </a:moveTo>
                  <a:cubicBezTo>
                    <a:pt x="1929" y="2305"/>
                    <a:pt x="1941" y="2306"/>
                    <a:pt x="1935" y="2309"/>
                  </a:cubicBezTo>
                  <a:cubicBezTo>
                    <a:pt x="1928" y="2311"/>
                    <a:pt x="1929" y="2305"/>
                    <a:pt x="1929" y="2305"/>
                  </a:cubicBezTo>
                  <a:close/>
                  <a:moveTo>
                    <a:pt x="1918" y="2303"/>
                  </a:moveTo>
                  <a:cubicBezTo>
                    <a:pt x="1913" y="2310"/>
                    <a:pt x="1909" y="2294"/>
                    <a:pt x="1909" y="2294"/>
                  </a:cubicBezTo>
                  <a:cubicBezTo>
                    <a:pt x="1909" y="2294"/>
                    <a:pt x="1923" y="2295"/>
                    <a:pt x="1918" y="2303"/>
                  </a:cubicBezTo>
                  <a:close/>
                  <a:moveTo>
                    <a:pt x="1903" y="2293"/>
                  </a:moveTo>
                  <a:cubicBezTo>
                    <a:pt x="1905" y="2300"/>
                    <a:pt x="1895" y="2295"/>
                    <a:pt x="1895" y="2290"/>
                  </a:cubicBezTo>
                  <a:cubicBezTo>
                    <a:pt x="1895" y="2290"/>
                    <a:pt x="1902" y="2287"/>
                    <a:pt x="1903" y="2293"/>
                  </a:cubicBezTo>
                  <a:close/>
                  <a:moveTo>
                    <a:pt x="1910" y="2575"/>
                  </a:moveTo>
                  <a:cubicBezTo>
                    <a:pt x="1898" y="2573"/>
                    <a:pt x="1898" y="2569"/>
                    <a:pt x="1898" y="2569"/>
                  </a:cubicBezTo>
                  <a:cubicBezTo>
                    <a:pt x="1898" y="2569"/>
                    <a:pt x="1893" y="2581"/>
                    <a:pt x="1882" y="2576"/>
                  </a:cubicBezTo>
                  <a:cubicBezTo>
                    <a:pt x="1871" y="2571"/>
                    <a:pt x="1868" y="2562"/>
                    <a:pt x="1868" y="2562"/>
                  </a:cubicBezTo>
                  <a:cubicBezTo>
                    <a:pt x="1868" y="2562"/>
                    <a:pt x="1879" y="2553"/>
                    <a:pt x="1885" y="2553"/>
                  </a:cubicBezTo>
                  <a:cubicBezTo>
                    <a:pt x="1892" y="2553"/>
                    <a:pt x="1894" y="2557"/>
                    <a:pt x="1894" y="2557"/>
                  </a:cubicBezTo>
                  <a:cubicBezTo>
                    <a:pt x="1933" y="2564"/>
                    <a:pt x="1933" y="2564"/>
                    <a:pt x="1933" y="2564"/>
                  </a:cubicBezTo>
                  <a:cubicBezTo>
                    <a:pt x="1933" y="2564"/>
                    <a:pt x="1922" y="2576"/>
                    <a:pt x="1910" y="2575"/>
                  </a:cubicBezTo>
                  <a:close/>
                  <a:moveTo>
                    <a:pt x="1909" y="2463"/>
                  </a:moveTo>
                  <a:cubicBezTo>
                    <a:pt x="1895" y="2472"/>
                    <a:pt x="1867" y="2513"/>
                    <a:pt x="1865" y="2494"/>
                  </a:cubicBezTo>
                  <a:cubicBezTo>
                    <a:pt x="1865" y="2487"/>
                    <a:pt x="1901" y="2457"/>
                    <a:pt x="1908" y="2455"/>
                  </a:cubicBezTo>
                  <a:cubicBezTo>
                    <a:pt x="1915" y="2454"/>
                    <a:pt x="1922" y="2429"/>
                    <a:pt x="1922" y="2429"/>
                  </a:cubicBezTo>
                  <a:cubicBezTo>
                    <a:pt x="1922" y="2429"/>
                    <a:pt x="1925" y="2434"/>
                    <a:pt x="1927" y="2435"/>
                  </a:cubicBezTo>
                  <a:cubicBezTo>
                    <a:pt x="1929" y="2435"/>
                    <a:pt x="1960" y="2421"/>
                    <a:pt x="1964" y="2425"/>
                  </a:cubicBezTo>
                  <a:cubicBezTo>
                    <a:pt x="1968" y="2429"/>
                    <a:pt x="1954" y="2439"/>
                    <a:pt x="1954" y="2439"/>
                  </a:cubicBezTo>
                  <a:cubicBezTo>
                    <a:pt x="1954" y="2439"/>
                    <a:pt x="1924" y="2455"/>
                    <a:pt x="1909" y="2463"/>
                  </a:cubicBezTo>
                  <a:close/>
                  <a:moveTo>
                    <a:pt x="2145" y="3602"/>
                  </a:moveTo>
                  <a:cubicBezTo>
                    <a:pt x="2140" y="3608"/>
                    <a:pt x="2140" y="3594"/>
                    <a:pt x="2140" y="3594"/>
                  </a:cubicBezTo>
                  <a:cubicBezTo>
                    <a:pt x="2140" y="3594"/>
                    <a:pt x="2150" y="3595"/>
                    <a:pt x="2145" y="3602"/>
                  </a:cubicBezTo>
                  <a:close/>
                  <a:moveTo>
                    <a:pt x="2178" y="3641"/>
                  </a:moveTo>
                  <a:cubicBezTo>
                    <a:pt x="2176" y="3645"/>
                    <a:pt x="2175" y="3649"/>
                    <a:pt x="2168" y="3637"/>
                  </a:cubicBezTo>
                  <a:cubicBezTo>
                    <a:pt x="2167" y="3619"/>
                    <a:pt x="2157" y="3613"/>
                    <a:pt x="2157" y="3613"/>
                  </a:cubicBezTo>
                  <a:cubicBezTo>
                    <a:pt x="2157" y="3613"/>
                    <a:pt x="2155" y="3605"/>
                    <a:pt x="2159" y="3605"/>
                  </a:cubicBezTo>
                  <a:cubicBezTo>
                    <a:pt x="2162" y="3605"/>
                    <a:pt x="2174" y="3628"/>
                    <a:pt x="2174" y="3628"/>
                  </a:cubicBezTo>
                  <a:cubicBezTo>
                    <a:pt x="2174" y="3628"/>
                    <a:pt x="2181" y="3637"/>
                    <a:pt x="2178" y="3641"/>
                  </a:cubicBezTo>
                  <a:close/>
                  <a:moveTo>
                    <a:pt x="1974" y="5998"/>
                  </a:moveTo>
                  <a:cubicBezTo>
                    <a:pt x="1959" y="5990"/>
                    <a:pt x="1982" y="5981"/>
                    <a:pt x="1982" y="5981"/>
                  </a:cubicBezTo>
                  <a:cubicBezTo>
                    <a:pt x="1995" y="5987"/>
                    <a:pt x="1995" y="5987"/>
                    <a:pt x="1995" y="5987"/>
                  </a:cubicBezTo>
                  <a:cubicBezTo>
                    <a:pt x="1995" y="5987"/>
                    <a:pt x="1989" y="6006"/>
                    <a:pt x="1974" y="5998"/>
                  </a:cubicBezTo>
                  <a:close/>
                  <a:moveTo>
                    <a:pt x="1570" y="6926"/>
                  </a:moveTo>
                  <a:cubicBezTo>
                    <a:pt x="1563" y="6932"/>
                    <a:pt x="1563" y="6918"/>
                    <a:pt x="1563" y="6918"/>
                  </a:cubicBezTo>
                  <a:cubicBezTo>
                    <a:pt x="1563" y="6918"/>
                    <a:pt x="1577" y="6920"/>
                    <a:pt x="1570" y="6926"/>
                  </a:cubicBezTo>
                  <a:close/>
                  <a:moveTo>
                    <a:pt x="1594" y="6943"/>
                  </a:moveTo>
                  <a:cubicBezTo>
                    <a:pt x="1580" y="6944"/>
                    <a:pt x="1577" y="6936"/>
                    <a:pt x="1587" y="6934"/>
                  </a:cubicBezTo>
                  <a:cubicBezTo>
                    <a:pt x="1597" y="6932"/>
                    <a:pt x="1594" y="6943"/>
                    <a:pt x="1594" y="6943"/>
                  </a:cubicBezTo>
                  <a:close/>
                  <a:moveTo>
                    <a:pt x="1584" y="6923"/>
                  </a:moveTo>
                  <a:cubicBezTo>
                    <a:pt x="1584" y="6923"/>
                    <a:pt x="1593" y="6915"/>
                    <a:pt x="1598" y="6920"/>
                  </a:cubicBezTo>
                  <a:cubicBezTo>
                    <a:pt x="1603" y="6925"/>
                    <a:pt x="1584" y="6923"/>
                    <a:pt x="1584" y="6923"/>
                  </a:cubicBezTo>
                  <a:close/>
                  <a:moveTo>
                    <a:pt x="2038" y="6124"/>
                  </a:moveTo>
                  <a:cubicBezTo>
                    <a:pt x="2038" y="6124"/>
                    <a:pt x="2031" y="6144"/>
                    <a:pt x="2027" y="6135"/>
                  </a:cubicBezTo>
                  <a:cubicBezTo>
                    <a:pt x="2023" y="6126"/>
                    <a:pt x="2038" y="6124"/>
                    <a:pt x="2038" y="6124"/>
                  </a:cubicBezTo>
                  <a:close/>
                  <a:moveTo>
                    <a:pt x="2019" y="6142"/>
                  </a:moveTo>
                  <a:cubicBezTo>
                    <a:pt x="2019" y="6142"/>
                    <a:pt x="2022" y="6156"/>
                    <a:pt x="2017" y="6149"/>
                  </a:cubicBezTo>
                  <a:cubicBezTo>
                    <a:pt x="2012" y="6142"/>
                    <a:pt x="2019" y="6142"/>
                    <a:pt x="2019" y="6142"/>
                  </a:cubicBezTo>
                  <a:close/>
                  <a:moveTo>
                    <a:pt x="2037" y="6278"/>
                  </a:moveTo>
                  <a:cubicBezTo>
                    <a:pt x="2032" y="6285"/>
                    <a:pt x="2032" y="6285"/>
                    <a:pt x="2032" y="6285"/>
                  </a:cubicBezTo>
                  <a:cubicBezTo>
                    <a:pt x="2020" y="6285"/>
                    <a:pt x="2020" y="6285"/>
                    <a:pt x="2020" y="6285"/>
                  </a:cubicBezTo>
                  <a:cubicBezTo>
                    <a:pt x="2017" y="6274"/>
                    <a:pt x="2017" y="6274"/>
                    <a:pt x="2017" y="6274"/>
                  </a:cubicBezTo>
                  <a:cubicBezTo>
                    <a:pt x="2030" y="6274"/>
                    <a:pt x="2030" y="6274"/>
                    <a:pt x="2030" y="6274"/>
                  </a:cubicBezTo>
                  <a:cubicBezTo>
                    <a:pt x="2030" y="6274"/>
                    <a:pt x="2042" y="6265"/>
                    <a:pt x="2050" y="6274"/>
                  </a:cubicBezTo>
                  <a:cubicBezTo>
                    <a:pt x="2058" y="6283"/>
                    <a:pt x="2037" y="6278"/>
                    <a:pt x="2037" y="6278"/>
                  </a:cubicBezTo>
                  <a:close/>
                  <a:moveTo>
                    <a:pt x="2124" y="5722"/>
                  </a:moveTo>
                  <a:cubicBezTo>
                    <a:pt x="2119" y="5727"/>
                    <a:pt x="2123" y="5712"/>
                    <a:pt x="2123" y="5712"/>
                  </a:cubicBezTo>
                  <a:cubicBezTo>
                    <a:pt x="2123" y="5712"/>
                    <a:pt x="2129" y="5717"/>
                    <a:pt x="2124" y="5722"/>
                  </a:cubicBezTo>
                  <a:close/>
                  <a:moveTo>
                    <a:pt x="1938" y="7940"/>
                  </a:moveTo>
                  <a:cubicBezTo>
                    <a:pt x="1949" y="7938"/>
                    <a:pt x="1936" y="7949"/>
                    <a:pt x="1936" y="7949"/>
                  </a:cubicBezTo>
                  <a:cubicBezTo>
                    <a:pt x="1936" y="7949"/>
                    <a:pt x="1927" y="7942"/>
                    <a:pt x="1938" y="7940"/>
                  </a:cubicBezTo>
                  <a:close/>
                  <a:moveTo>
                    <a:pt x="1933" y="7984"/>
                  </a:moveTo>
                  <a:cubicBezTo>
                    <a:pt x="1933" y="7984"/>
                    <a:pt x="1943" y="7973"/>
                    <a:pt x="1943" y="7985"/>
                  </a:cubicBezTo>
                  <a:cubicBezTo>
                    <a:pt x="1943" y="7997"/>
                    <a:pt x="1933" y="7993"/>
                    <a:pt x="1933" y="7984"/>
                  </a:cubicBezTo>
                  <a:close/>
                  <a:moveTo>
                    <a:pt x="2957" y="7710"/>
                  </a:moveTo>
                  <a:cubicBezTo>
                    <a:pt x="2968" y="7711"/>
                    <a:pt x="2961" y="7723"/>
                    <a:pt x="2961" y="7723"/>
                  </a:cubicBezTo>
                  <a:cubicBezTo>
                    <a:pt x="2961" y="7723"/>
                    <a:pt x="2946" y="7709"/>
                    <a:pt x="2957" y="7710"/>
                  </a:cubicBezTo>
                  <a:close/>
                  <a:moveTo>
                    <a:pt x="2926" y="7745"/>
                  </a:moveTo>
                  <a:cubicBezTo>
                    <a:pt x="2920" y="7745"/>
                    <a:pt x="2927" y="7727"/>
                    <a:pt x="2927" y="7727"/>
                  </a:cubicBezTo>
                  <a:cubicBezTo>
                    <a:pt x="2940" y="7726"/>
                    <a:pt x="2940" y="7726"/>
                    <a:pt x="2940" y="7726"/>
                  </a:cubicBezTo>
                  <a:cubicBezTo>
                    <a:pt x="2940" y="7726"/>
                    <a:pt x="2932" y="7745"/>
                    <a:pt x="2926" y="7745"/>
                  </a:cubicBezTo>
                  <a:close/>
                  <a:moveTo>
                    <a:pt x="2973" y="7762"/>
                  </a:moveTo>
                  <a:cubicBezTo>
                    <a:pt x="2966" y="7766"/>
                    <a:pt x="2969" y="7753"/>
                    <a:pt x="2969" y="7753"/>
                  </a:cubicBezTo>
                  <a:cubicBezTo>
                    <a:pt x="2969" y="7753"/>
                    <a:pt x="2980" y="7758"/>
                    <a:pt x="2973" y="7762"/>
                  </a:cubicBezTo>
                  <a:close/>
                  <a:moveTo>
                    <a:pt x="2962" y="7738"/>
                  </a:moveTo>
                  <a:cubicBezTo>
                    <a:pt x="2957" y="7738"/>
                    <a:pt x="2957" y="7751"/>
                    <a:pt x="2957" y="7751"/>
                  </a:cubicBezTo>
                  <a:cubicBezTo>
                    <a:pt x="2948" y="7736"/>
                    <a:pt x="2948" y="7736"/>
                    <a:pt x="2948" y="7736"/>
                  </a:cubicBezTo>
                  <a:cubicBezTo>
                    <a:pt x="2948" y="7729"/>
                    <a:pt x="2981" y="7737"/>
                    <a:pt x="2981" y="7737"/>
                  </a:cubicBezTo>
                  <a:cubicBezTo>
                    <a:pt x="2981" y="7737"/>
                    <a:pt x="2967" y="7738"/>
                    <a:pt x="2962" y="7738"/>
                  </a:cubicBezTo>
                  <a:close/>
                  <a:moveTo>
                    <a:pt x="3312" y="4714"/>
                  </a:moveTo>
                  <a:cubicBezTo>
                    <a:pt x="3311" y="4717"/>
                    <a:pt x="3302" y="4708"/>
                    <a:pt x="3302" y="4708"/>
                  </a:cubicBezTo>
                  <a:cubicBezTo>
                    <a:pt x="3303" y="4700"/>
                    <a:pt x="3313" y="4711"/>
                    <a:pt x="3312" y="4714"/>
                  </a:cubicBezTo>
                  <a:close/>
                  <a:moveTo>
                    <a:pt x="3426" y="7669"/>
                  </a:moveTo>
                  <a:cubicBezTo>
                    <a:pt x="3426" y="7669"/>
                    <a:pt x="3412" y="7666"/>
                    <a:pt x="3404" y="7666"/>
                  </a:cubicBezTo>
                  <a:cubicBezTo>
                    <a:pt x="3404" y="7666"/>
                    <a:pt x="3395" y="7650"/>
                    <a:pt x="3405" y="7649"/>
                  </a:cubicBezTo>
                  <a:cubicBezTo>
                    <a:pt x="3415" y="7648"/>
                    <a:pt x="3417" y="7631"/>
                    <a:pt x="3417" y="7631"/>
                  </a:cubicBezTo>
                  <a:cubicBezTo>
                    <a:pt x="3428" y="7645"/>
                    <a:pt x="3428" y="7645"/>
                    <a:pt x="3428" y="7645"/>
                  </a:cubicBezTo>
                  <a:lnTo>
                    <a:pt x="3426" y="7669"/>
                  </a:lnTo>
                  <a:close/>
                  <a:moveTo>
                    <a:pt x="3448" y="7645"/>
                  </a:moveTo>
                  <a:cubicBezTo>
                    <a:pt x="3448" y="7645"/>
                    <a:pt x="3438" y="7640"/>
                    <a:pt x="3445" y="7634"/>
                  </a:cubicBezTo>
                  <a:cubicBezTo>
                    <a:pt x="3452" y="7628"/>
                    <a:pt x="3448" y="7645"/>
                    <a:pt x="3448" y="7645"/>
                  </a:cubicBezTo>
                  <a:close/>
                  <a:moveTo>
                    <a:pt x="4049" y="7171"/>
                  </a:moveTo>
                  <a:cubicBezTo>
                    <a:pt x="4049" y="7171"/>
                    <a:pt x="4055" y="7165"/>
                    <a:pt x="4055" y="7171"/>
                  </a:cubicBezTo>
                  <a:cubicBezTo>
                    <a:pt x="4055" y="7177"/>
                    <a:pt x="4049" y="7171"/>
                    <a:pt x="4049" y="7171"/>
                  </a:cubicBezTo>
                  <a:close/>
                  <a:moveTo>
                    <a:pt x="4275" y="7246"/>
                  </a:moveTo>
                  <a:cubicBezTo>
                    <a:pt x="4275" y="7253"/>
                    <a:pt x="4252" y="7245"/>
                    <a:pt x="4252" y="7245"/>
                  </a:cubicBezTo>
                  <a:cubicBezTo>
                    <a:pt x="4252" y="7245"/>
                    <a:pt x="4275" y="7239"/>
                    <a:pt x="4275" y="7246"/>
                  </a:cubicBezTo>
                  <a:close/>
                  <a:moveTo>
                    <a:pt x="4202" y="7227"/>
                  </a:moveTo>
                  <a:cubicBezTo>
                    <a:pt x="4196" y="7227"/>
                    <a:pt x="4198" y="7219"/>
                    <a:pt x="4198" y="7219"/>
                  </a:cubicBezTo>
                  <a:cubicBezTo>
                    <a:pt x="4198" y="7219"/>
                    <a:pt x="4208" y="7227"/>
                    <a:pt x="4202" y="7227"/>
                  </a:cubicBezTo>
                  <a:close/>
                  <a:moveTo>
                    <a:pt x="4193" y="7189"/>
                  </a:moveTo>
                  <a:cubicBezTo>
                    <a:pt x="4203" y="7190"/>
                    <a:pt x="4202" y="7200"/>
                    <a:pt x="4194" y="7203"/>
                  </a:cubicBezTo>
                  <a:cubicBezTo>
                    <a:pt x="4186" y="7206"/>
                    <a:pt x="4193" y="7189"/>
                    <a:pt x="4193" y="7189"/>
                  </a:cubicBezTo>
                  <a:close/>
                  <a:moveTo>
                    <a:pt x="4162" y="7195"/>
                  </a:moveTo>
                  <a:cubicBezTo>
                    <a:pt x="4173" y="7197"/>
                    <a:pt x="4173" y="7197"/>
                    <a:pt x="4173" y="7197"/>
                  </a:cubicBezTo>
                  <a:cubicBezTo>
                    <a:pt x="4168" y="7180"/>
                    <a:pt x="4168" y="7180"/>
                    <a:pt x="4168" y="7180"/>
                  </a:cubicBezTo>
                  <a:cubicBezTo>
                    <a:pt x="4176" y="7188"/>
                    <a:pt x="4176" y="7188"/>
                    <a:pt x="4176" y="7188"/>
                  </a:cubicBezTo>
                  <a:cubicBezTo>
                    <a:pt x="4190" y="7181"/>
                    <a:pt x="4190" y="7181"/>
                    <a:pt x="4190" y="7181"/>
                  </a:cubicBezTo>
                  <a:cubicBezTo>
                    <a:pt x="4190" y="7181"/>
                    <a:pt x="4183" y="7189"/>
                    <a:pt x="4183" y="7199"/>
                  </a:cubicBezTo>
                  <a:cubicBezTo>
                    <a:pt x="4183" y="7209"/>
                    <a:pt x="4189" y="7225"/>
                    <a:pt x="4189" y="7225"/>
                  </a:cubicBezTo>
                  <a:cubicBezTo>
                    <a:pt x="4175" y="7212"/>
                    <a:pt x="4175" y="7212"/>
                    <a:pt x="4175" y="7212"/>
                  </a:cubicBezTo>
                  <a:cubicBezTo>
                    <a:pt x="4158" y="7225"/>
                    <a:pt x="4158" y="7225"/>
                    <a:pt x="4158" y="7225"/>
                  </a:cubicBezTo>
                  <a:cubicBezTo>
                    <a:pt x="4163" y="7218"/>
                    <a:pt x="4162" y="7195"/>
                    <a:pt x="4162" y="7195"/>
                  </a:cubicBezTo>
                  <a:close/>
                  <a:moveTo>
                    <a:pt x="4156" y="7208"/>
                  </a:moveTo>
                  <a:cubicBezTo>
                    <a:pt x="4159" y="7214"/>
                    <a:pt x="4144" y="7218"/>
                    <a:pt x="4144" y="7218"/>
                  </a:cubicBezTo>
                  <a:cubicBezTo>
                    <a:pt x="4144" y="7218"/>
                    <a:pt x="4153" y="7202"/>
                    <a:pt x="4156" y="7208"/>
                  </a:cubicBezTo>
                  <a:close/>
                  <a:moveTo>
                    <a:pt x="4131" y="7203"/>
                  </a:moveTo>
                  <a:cubicBezTo>
                    <a:pt x="4131" y="7203"/>
                    <a:pt x="4142" y="7205"/>
                    <a:pt x="4135" y="7210"/>
                  </a:cubicBezTo>
                  <a:cubicBezTo>
                    <a:pt x="4128" y="7215"/>
                    <a:pt x="4131" y="7203"/>
                    <a:pt x="4131" y="7203"/>
                  </a:cubicBezTo>
                  <a:close/>
                  <a:moveTo>
                    <a:pt x="4068" y="7172"/>
                  </a:moveTo>
                  <a:cubicBezTo>
                    <a:pt x="4059" y="7172"/>
                    <a:pt x="4065" y="7168"/>
                    <a:pt x="4065" y="7168"/>
                  </a:cubicBezTo>
                  <a:cubicBezTo>
                    <a:pt x="4065" y="7168"/>
                    <a:pt x="4077" y="7172"/>
                    <a:pt x="4068" y="7172"/>
                  </a:cubicBezTo>
                  <a:close/>
                  <a:moveTo>
                    <a:pt x="4208" y="6964"/>
                  </a:moveTo>
                  <a:cubicBezTo>
                    <a:pt x="4208" y="6964"/>
                    <a:pt x="4222" y="6953"/>
                    <a:pt x="4225" y="6963"/>
                  </a:cubicBezTo>
                  <a:cubicBezTo>
                    <a:pt x="4228" y="6973"/>
                    <a:pt x="4208" y="6964"/>
                    <a:pt x="4208" y="6964"/>
                  </a:cubicBezTo>
                  <a:close/>
                  <a:moveTo>
                    <a:pt x="4225" y="6951"/>
                  </a:moveTo>
                  <a:cubicBezTo>
                    <a:pt x="4220" y="6955"/>
                    <a:pt x="4225" y="6941"/>
                    <a:pt x="4225" y="6941"/>
                  </a:cubicBezTo>
                  <a:cubicBezTo>
                    <a:pt x="4225" y="6941"/>
                    <a:pt x="4230" y="6947"/>
                    <a:pt x="4225" y="6951"/>
                  </a:cubicBezTo>
                  <a:close/>
                  <a:moveTo>
                    <a:pt x="4323" y="6893"/>
                  </a:moveTo>
                  <a:cubicBezTo>
                    <a:pt x="4319" y="6899"/>
                    <a:pt x="4321" y="6882"/>
                    <a:pt x="4321" y="6882"/>
                  </a:cubicBezTo>
                  <a:cubicBezTo>
                    <a:pt x="4321" y="6882"/>
                    <a:pt x="4327" y="6887"/>
                    <a:pt x="4323" y="6893"/>
                  </a:cubicBezTo>
                  <a:close/>
                  <a:moveTo>
                    <a:pt x="4376" y="6784"/>
                  </a:moveTo>
                  <a:cubicBezTo>
                    <a:pt x="4376" y="6784"/>
                    <a:pt x="4365" y="6797"/>
                    <a:pt x="4365" y="6789"/>
                  </a:cubicBezTo>
                  <a:cubicBezTo>
                    <a:pt x="4365" y="6781"/>
                    <a:pt x="4382" y="6766"/>
                    <a:pt x="4376" y="6784"/>
                  </a:cubicBezTo>
                  <a:close/>
                  <a:moveTo>
                    <a:pt x="4411" y="6790"/>
                  </a:moveTo>
                  <a:cubicBezTo>
                    <a:pt x="4407" y="6792"/>
                    <a:pt x="4404" y="6785"/>
                    <a:pt x="4404" y="6785"/>
                  </a:cubicBezTo>
                  <a:cubicBezTo>
                    <a:pt x="4390" y="6787"/>
                    <a:pt x="4390" y="6787"/>
                    <a:pt x="4390" y="6787"/>
                  </a:cubicBezTo>
                  <a:cubicBezTo>
                    <a:pt x="4390" y="6783"/>
                    <a:pt x="4402" y="6771"/>
                    <a:pt x="4402" y="6771"/>
                  </a:cubicBezTo>
                  <a:cubicBezTo>
                    <a:pt x="4402" y="6771"/>
                    <a:pt x="4415" y="6788"/>
                    <a:pt x="4411" y="6790"/>
                  </a:cubicBezTo>
                  <a:close/>
                  <a:moveTo>
                    <a:pt x="4413" y="6743"/>
                  </a:moveTo>
                  <a:cubicBezTo>
                    <a:pt x="4406" y="6749"/>
                    <a:pt x="4408" y="6732"/>
                    <a:pt x="4408" y="6732"/>
                  </a:cubicBezTo>
                  <a:cubicBezTo>
                    <a:pt x="4408" y="6732"/>
                    <a:pt x="4420" y="6737"/>
                    <a:pt x="4413" y="6743"/>
                  </a:cubicBezTo>
                  <a:close/>
                  <a:moveTo>
                    <a:pt x="4422" y="6841"/>
                  </a:moveTo>
                  <a:cubicBezTo>
                    <a:pt x="4419" y="6840"/>
                    <a:pt x="4425" y="6834"/>
                    <a:pt x="4425" y="6834"/>
                  </a:cubicBezTo>
                  <a:cubicBezTo>
                    <a:pt x="4425" y="6834"/>
                    <a:pt x="4425" y="6842"/>
                    <a:pt x="4422" y="6841"/>
                  </a:cubicBezTo>
                  <a:close/>
                  <a:moveTo>
                    <a:pt x="1442" y="6883"/>
                  </a:moveTo>
                  <a:cubicBezTo>
                    <a:pt x="1435" y="6883"/>
                    <a:pt x="1427" y="6889"/>
                    <a:pt x="1427" y="6889"/>
                  </a:cubicBezTo>
                  <a:cubicBezTo>
                    <a:pt x="1450" y="6890"/>
                    <a:pt x="1450" y="6890"/>
                    <a:pt x="1450" y="6890"/>
                  </a:cubicBezTo>
                  <a:cubicBezTo>
                    <a:pt x="1450" y="6890"/>
                    <a:pt x="1449" y="6883"/>
                    <a:pt x="1442" y="6883"/>
                  </a:cubicBezTo>
                  <a:close/>
                  <a:moveTo>
                    <a:pt x="1452" y="6912"/>
                  </a:moveTo>
                  <a:cubicBezTo>
                    <a:pt x="1441" y="6923"/>
                    <a:pt x="1441" y="6923"/>
                    <a:pt x="1441" y="6923"/>
                  </a:cubicBezTo>
                  <a:cubicBezTo>
                    <a:pt x="1453" y="6924"/>
                    <a:pt x="1453" y="6924"/>
                    <a:pt x="1453" y="6924"/>
                  </a:cubicBezTo>
                  <a:lnTo>
                    <a:pt x="1452" y="6912"/>
                  </a:lnTo>
                  <a:close/>
                  <a:moveTo>
                    <a:pt x="818" y="3227"/>
                  </a:moveTo>
                  <a:cubicBezTo>
                    <a:pt x="817" y="3235"/>
                    <a:pt x="797" y="3229"/>
                    <a:pt x="791" y="3229"/>
                  </a:cubicBezTo>
                  <a:cubicBezTo>
                    <a:pt x="785" y="3229"/>
                    <a:pt x="779" y="3240"/>
                    <a:pt x="771" y="3243"/>
                  </a:cubicBezTo>
                  <a:cubicBezTo>
                    <a:pt x="762" y="3247"/>
                    <a:pt x="769" y="3237"/>
                    <a:pt x="748" y="3233"/>
                  </a:cubicBezTo>
                  <a:cubicBezTo>
                    <a:pt x="727" y="3230"/>
                    <a:pt x="716" y="3258"/>
                    <a:pt x="716" y="3258"/>
                  </a:cubicBezTo>
                  <a:cubicBezTo>
                    <a:pt x="722" y="3259"/>
                    <a:pt x="722" y="3259"/>
                    <a:pt x="722" y="3259"/>
                  </a:cubicBezTo>
                  <a:cubicBezTo>
                    <a:pt x="722" y="3259"/>
                    <a:pt x="720" y="3289"/>
                    <a:pt x="729" y="3289"/>
                  </a:cubicBezTo>
                  <a:cubicBezTo>
                    <a:pt x="737" y="3289"/>
                    <a:pt x="749" y="3306"/>
                    <a:pt x="749" y="3306"/>
                  </a:cubicBezTo>
                  <a:cubicBezTo>
                    <a:pt x="749" y="3306"/>
                    <a:pt x="766" y="3300"/>
                    <a:pt x="764" y="3293"/>
                  </a:cubicBezTo>
                  <a:cubicBezTo>
                    <a:pt x="753" y="3290"/>
                    <a:pt x="773" y="3266"/>
                    <a:pt x="779" y="3266"/>
                  </a:cubicBezTo>
                  <a:cubicBezTo>
                    <a:pt x="785" y="3266"/>
                    <a:pt x="787" y="3273"/>
                    <a:pt x="787" y="3273"/>
                  </a:cubicBezTo>
                  <a:cubicBezTo>
                    <a:pt x="801" y="3268"/>
                    <a:pt x="801" y="3268"/>
                    <a:pt x="801" y="3268"/>
                  </a:cubicBezTo>
                  <a:cubicBezTo>
                    <a:pt x="804" y="3245"/>
                    <a:pt x="804" y="3245"/>
                    <a:pt x="804" y="3245"/>
                  </a:cubicBezTo>
                  <a:cubicBezTo>
                    <a:pt x="811" y="3242"/>
                    <a:pt x="811" y="3242"/>
                    <a:pt x="811" y="3242"/>
                  </a:cubicBezTo>
                  <a:cubicBezTo>
                    <a:pt x="817" y="3248"/>
                    <a:pt x="817" y="3248"/>
                    <a:pt x="817" y="3248"/>
                  </a:cubicBezTo>
                  <a:cubicBezTo>
                    <a:pt x="820" y="3242"/>
                    <a:pt x="820" y="3242"/>
                    <a:pt x="820" y="3242"/>
                  </a:cubicBezTo>
                  <a:cubicBezTo>
                    <a:pt x="820" y="3242"/>
                    <a:pt x="835" y="3242"/>
                    <a:pt x="840" y="3242"/>
                  </a:cubicBezTo>
                  <a:cubicBezTo>
                    <a:pt x="845" y="3242"/>
                    <a:pt x="823" y="3215"/>
                    <a:pt x="823" y="3215"/>
                  </a:cubicBezTo>
                  <a:cubicBezTo>
                    <a:pt x="823" y="3215"/>
                    <a:pt x="819" y="3219"/>
                    <a:pt x="818" y="3227"/>
                  </a:cubicBezTo>
                  <a:close/>
                  <a:moveTo>
                    <a:pt x="959" y="8308"/>
                  </a:moveTo>
                  <a:cubicBezTo>
                    <a:pt x="962" y="8316"/>
                    <a:pt x="941" y="8322"/>
                    <a:pt x="948" y="8336"/>
                  </a:cubicBezTo>
                  <a:cubicBezTo>
                    <a:pt x="955" y="8350"/>
                    <a:pt x="968" y="8331"/>
                    <a:pt x="971" y="8322"/>
                  </a:cubicBezTo>
                  <a:cubicBezTo>
                    <a:pt x="974" y="8313"/>
                    <a:pt x="953" y="8293"/>
                    <a:pt x="959" y="8308"/>
                  </a:cubicBezTo>
                  <a:close/>
                  <a:moveTo>
                    <a:pt x="1391" y="2225"/>
                  </a:moveTo>
                  <a:cubicBezTo>
                    <a:pt x="1402" y="2222"/>
                    <a:pt x="1385" y="2213"/>
                    <a:pt x="1385" y="2213"/>
                  </a:cubicBezTo>
                  <a:cubicBezTo>
                    <a:pt x="1385" y="2213"/>
                    <a:pt x="1381" y="2227"/>
                    <a:pt x="1391" y="2225"/>
                  </a:cubicBezTo>
                  <a:close/>
                  <a:moveTo>
                    <a:pt x="1343" y="4183"/>
                  </a:moveTo>
                  <a:cubicBezTo>
                    <a:pt x="1344" y="4172"/>
                    <a:pt x="1338" y="4170"/>
                    <a:pt x="1332" y="4174"/>
                  </a:cubicBezTo>
                  <a:cubicBezTo>
                    <a:pt x="1332" y="4174"/>
                    <a:pt x="1342" y="4194"/>
                    <a:pt x="1343" y="4183"/>
                  </a:cubicBezTo>
                  <a:close/>
                  <a:moveTo>
                    <a:pt x="963" y="8284"/>
                  </a:moveTo>
                  <a:cubicBezTo>
                    <a:pt x="953" y="8289"/>
                    <a:pt x="965" y="8301"/>
                    <a:pt x="970" y="8301"/>
                  </a:cubicBezTo>
                  <a:cubicBezTo>
                    <a:pt x="975" y="8301"/>
                    <a:pt x="980" y="8284"/>
                    <a:pt x="980" y="8284"/>
                  </a:cubicBezTo>
                  <a:cubicBezTo>
                    <a:pt x="969" y="8287"/>
                    <a:pt x="969" y="8287"/>
                    <a:pt x="969" y="8287"/>
                  </a:cubicBezTo>
                  <a:lnTo>
                    <a:pt x="963" y="8284"/>
                  </a:lnTo>
                  <a:close/>
                  <a:moveTo>
                    <a:pt x="3324" y="7716"/>
                  </a:moveTo>
                  <a:cubicBezTo>
                    <a:pt x="3318" y="7716"/>
                    <a:pt x="3294" y="7690"/>
                    <a:pt x="3281" y="7688"/>
                  </a:cubicBezTo>
                  <a:cubicBezTo>
                    <a:pt x="3268" y="7686"/>
                    <a:pt x="3257" y="7715"/>
                    <a:pt x="3236" y="7723"/>
                  </a:cubicBezTo>
                  <a:cubicBezTo>
                    <a:pt x="3215" y="7731"/>
                    <a:pt x="3202" y="7739"/>
                    <a:pt x="3202" y="7739"/>
                  </a:cubicBezTo>
                  <a:cubicBezTo>
                    <a:pt x="3202" y="7739"/>
                    <a:pt x="3190" y="7737"/>
                    <a:pt x="3179" y="7736"/>
                  </a:cubicBezTo>
                  <a:cubicBezTo>
                    <a:pt x="3168" y="7735"/>
                    <a:pt x="3149" y="7776"/>
                    <a:pt x="3152" y="7776"/>
                  </a:cubicBezTo>
                  <a:cubicBezTo>
                    <a:pt x="3171" y="7778"/>
                    <a:pt x="3175" y="7767"/>
                    <a:pt x="3196" y="7767"/>
                  </a:cubicBezTo>
                  <a:cubicBezTo>
                    <a:pt x="3217" y="7767"/>
                    <a:pt x="3208" y="7790"/>
                    <a:pt x="3221" y="7791"/>
                  </a:cubicBezTo>
                  <a:cubicBezTo>
                    <a:pt x="3234" y="7792"/>
                    <a:pt x="3249" y="7817"/>
                    <a:pt x="3262" y="7819"/>
                  </a:cubicBezTo>
                  <a:cubicBezTo>
                    <a:pt x="3275" y="7821"/>
                    <a:pt x="3274" y="7842"/>
                    <a:pt x="3274" y="7842"/>
                  </a:cubicBezTo>
                  <a:cubicBezTo>
                    <a:pt x="3274" y="7842"/>
                    <a:pt x="3297" y="7845"/>
                    <a:pt x="3302" y="7845"/>
                  </a:cubicBezTo>
                  <a:cubicBezTo>
                    <a:pt x="3307" y="7845"/>
                    <a:pt x="3331" y="7832"/>
                    <a:pt x="3340" y="7829"/>
                  </a:cubicBezTo>
                  <a:cubicBezTo>
                    <a:pt x="3349" y="7826"/>
                    <a:pt x="3345" y="7783"/>
                    <a:pt x="3354" y="7782"/>
                  </a:cubicBezTo>
                  <a:cubicBezTo>
                    <a:pt x="3363" y="7781"/>
                    <a:pt x="3390" y="7760"/>
                    <a:pt x="3390" y="7760"/>
                  </a:cubicBezTo>
                  <a:cubicBezTo>
                    <a:pt x="3355" y="7720"/>
                    <a:pt x="3355" y="7720"/>
                    <a:pt x="3355" y="7720"/>
                  </a:cubicBezTo>
                  <a:cubicBezTo>
                    <a:pt x="3355" y="7720"/>
                    <a:pt x="3330" y="7716"/>
                    <a:pt x="3324" y="7716"/>
                  </a:cubicBezTo>
                  <a:close/>
                  <a:moveTo>
                    <a:pt x="1718" y="6977"/>
                  </a:moveTo>
                  <a:cubicBezTo>
                    <a:pt x="1727" y="6972"/>
                    <a:pt x="1727" y="6972"/>
                    <a:pt x="1727" y="6972"/>
                  </a:cubicBezTo>
                  <a:cubicBezTo>
                    <a:pt x="1713" y="6966"/>
                    <a:pt x="1713" y="6966"/>
                    <a:pt x="1713" y="6966"/>
                  </a:cubicBezTo>
                  <a:cubicBezTo>
                    <a:pt x="1707" y="6973"/>
                    <a:pt x="1718" y="6977"/>
                    <a:pt x="1718" y="6977"/>
                  </a:cubicBezTo>
                  <a:close/>
                  <a:moveTo>
                    <a:pt x="1341" y="3303"/>
                  </a:moveTo>
                  <a:cubicBezTo>
                    <a:pt x="1348" y="3306"/>
                    <a:pt x="1410" y="3230"/>
                    <a:pt x="1410" y="3230"/>
                  </a:cubicBezTo>
                  <a:cubicBezTo>
                    <a:pt x="1392" y="3229"/>
                    <a:pt x="1376" y="3265"/>
                    <a:pt x="1359" y="3269"/>
                  </a:cubicBezTo>
                  <a:cubicBezTo>
                    <a:pt x="1343" y="3273"/>
                    <a:pt x="1335" y="3299"/>
                    <a:pt x="1341" y="3303"/>
                  </a:cubicBezTo>
                  <a:close/>
                  <a:moveTo>
                    <a:pt x="1071" y="2977"/>
                  </a:moveTo>
                  <a:cubicBezTo>
                    <a:pt x="1072" y="2990"/>
                    <a:pt x="1081" y="3001"/>
                    <a:pt x="1091" y="2999"/>
                  </a:cubicBezTo>
                  <a:cubicBezTo>
                    <a:pt x="1102" y="2997"/>
                    <a:pt x="1113" y="2985"/>
                    <a:pt x="1111" y="2983"/>
                  </a:cubicBezTo>
                  <a:cubicBezTo>
                    <a:pt x="1110" y="2981"/>
                    <a:pt x="1108" y="2975"/>
                    <a:pt x="1108" y="2975"/>
                  </a:cubicBezTo>
                  <a:cubicBezTo>
                    <a:pt x="1113" y="2970"/>
                    <a:pt x="1113" y="2970"/>
                    <a:pt x="1113" y="2970"/>
                  </a:cubicBezTo>
                  <a:cubicBezTo>
                    <a:pt x="1112" y="2953"/>
                    <a:pt x="1112" y="2953"/>
                    <a:pt x="1112" y="2953"/>
                  </a:cubicBezTo>
                  <a:cubicBezTo>
                    <a:pt x="1100" y="2946"/>
                    <a:pt x="1100" y="2946"/>
                    <a:pt x="1100" y="2946"/>
                  </a:cubicBezTo>
                  <a:cubicBezTo>
                    <a:pt x="1089" y="2950"/>
                    <a:pt x="1089" y="2950"/>
                    <a:pt x="1089" y="2950"/>
                  </a:cubicBezTo>
                  <a:cubicBezTo>
                    <a:pt x="1092" y="2961"/>
                    <a:pt x="1092" y="2961"/>
                    <a:pt x="1092" y="2961"/>
                  </a:cubicBezTo>
                  <a:cubicBezTo>
                    <a:pt x="1092" y="2961"/>
                    <a:pt x="1070" y="2969"/>
                    <a:pt x="1071" y="2977"/>
                  </a:cubicBezTo>
                  <a:close/>
                  <a:moveTo>
                    <a:pt x="1454" y="2207"/>
                  </a:moveTo>
                  <a:cubicBezTo>
                    <a:pt x="1456" y="2207"/>
                    <a:pt x="1463" y="2207"/>
                    <a:pt x="1463" y="2207"/>
                  </a:cubicBezTo>
                  <a:cubicBezTo>
                    <a:pt x="1455" y="2193"/>
                    <a:pt x="1455" y="2193"/>
                    <a:pt x="1455" y="2193"/>
                  </a:cubicBezTo>
                  <a:lnTo>
                    <a:pt x="1454" y="2207"/>
                  </a:lnTo>
                  <a:close/>
                  <a:moveTo>
                    <a:pt x="2693" y="3550"/>
                  </a:moveTo>
                  <a:cubicBezTo>
                    <a:pt x="2702" y="3544"/>
                    <a:pt x="2683" y="3536"/>
                    <a:pt x="2683" y="3536"/>
                  </a:cubicBezTo>
                  <a:cubicBezTo>
                    <a:pt x="2681" y="3541"/>
                    <a:pt x="2684" y="3556"/>
                    <a:pt x="2693" y="3550"/>
                  </a:cubicBezTo>
                  <a:close/>
                  <a:moveTo>
                    <a:pt x="1614" y="3861"/>
                  </a:moveTo>
                  <a:cubicBezTo>
                    <a:pt x="1627" y="3861"/>
                    <a:pt x="1627" y="3861"/>
                    <a:pt x="1627" y="3861"/>
                  </a:cubicBezTo>
                  <a:cubicBezTo>
                    <a:pt x="1631" y="3836"/>
                    <a:pt x="1631" y="3836"/>
                    <a:pt x="1631" y="3836"/>
                  </a:cubicBezTo>
                  <a:cubicBezTo>
                    <a:pt x="1631" y="3836"/>
                    <a:pt x="1631" y="3836"/>
                    <a:pt x="1640" y="3844"/>
                  </a:cubicBezTo>
                  <a:cubicBezTo>
                    <a:pt x="1665" y="3822"/>
                    <a:pt x="1640" y="3799"/>
                    <a:pt x="1640" y="3799"/>
                  </a:cubicBezTo>
                  <a:cubicBezTo>
                    <a:pt x="1623" y="3800"/>
                    <a:pt x="1632" y="3821"/>
                    <a:pt x="1621" y="3825"/>
                  </a:cubicBezTo>
                  <a:cubicBezTo>
                    <a:pt x="1610" y="3829"/>
                    <a:pt x="1624" y="3851"/>
                    <a:pt x="1624" y="3851"/>
                  </a:cubicBezTo>
                  <a:cubicBezTo>
                    <a:pt x="1614" y="3853"/>
                    <a:pt x="1614" y="3853"/>
                    <a:pt x="1614" y="3853"/>
                  </a:cubicBezTo>
                  <a:lnTo>
                    <a:pt x="1614" y="3861"/>
                  </a:lnTo>
                  <a:close/>
                  <a:moveTo>
                    <a:pt x="1459" y="3864"/>
                  </a:moveTo>
                  <a:cubicBezTo>
                    <a:pt x="1446" y="3868"/>
                    <a:pt x="1425" y="3911"/>
                    <a:pt x="1425" y="3911"/>
                  </a:cubicBezTo>
                  <a:cubicBezTo>
                    <a:pt x="1417" y="3922"/>
                    <a:pt x="1417" y="3922"/>
                    <a:pt x="1417" y="3922"/>
                  </a:cubicBezTo>
                  <a:cubicBezTo>
                    <a:pt x="1418" y="3938"/>
                    <a:pt x="1443" y="3957"/>
                    <a:pt x="1446" y="3972"/>
                  </a:cubicBezTo>
                  <a:cubicBezTo>
                    <a:pt x="1449" y="3987"/>
                    <a:pt x="1438" y="3985"/>
                    <a:pt x="1436" y="3998"/>
                  </a:cubicBezTo>
                  <a:cubicBezTo>
                    <a:pt x="1434" y="4011"/>
                    <a:pt x="1436" y="3998"/>
                    <a:pt x="1451" y="4023"/>
                  </a:cubicBezTo>
                  <a:cubicBezTo>
                    <a:pt x="1455" y="4089"/>
                    <a:pt x="1554" y="4060"/>
                    <a:pt x="1554" y="4060"/>
                  </a:cubicBezTo>
                  <a:cubicBezTo>
                    <a:pt x="1566" y="4049"/>
                    <a:pt x="1566" y="4049"/>
                    <a:pt x="1566" y="4049"/>
                  </a:cubicBezTo>
                  <a:cubicBezTo>
                    <a:pt x="1556" y="4024"/>
                    <a:pt x="1556" y="4024"/>
                    <a:pt x="1556" y="4024"/>
                  </a:cubicBezTo>
                  <a:cubicBezTo>
                    <a:pt x="1560" y="4013"/>
                    <a:pt x="1560" y="4013"/>
                    <a:pt x="1560" y="4013"/>
                  </a:cubicBezTo>
                  <a:cubicBezTo>
                    <a:pt x="1560" y="4013"/>
                    <a:pt x="1546" y="4007"/>
                    <a:pt x="1546" y="3990"/>
                  </a:cubicBezTo>
                  <a:cubicBezTo>
                    <a:pt x="1546" y="3973"/>
                    <a:pt x="1559" y="3988"/>
                    <a:pt x="1562" y="3978"/>
                  </a:cubicBezTo>
                  <a:cubicBezTo>
                    <a:pt x="1565" y="3968"/>
                    <a:pt x="1544" y="3959"/>
                    <a:pt x="1544" y="3959"/>
                  </a:cubicBezTo>
                  <a:cubicBezTo>
                    <a:pt x="1534" y="3952"/>
                    <a:pt x="1534" y="3952"/>
                    <a:pt x="1534" y="3952"/>
                  </a:cubicBezTo>
                  <a:cubicBezTo>
                    <a:pt x="1534" y="3952"/>
                    <a:pt x="1542" y="3943"/>
                    <a:pt x="1543" y="3932"/>
                  </a:cubicBezTo>
                  <a:cubicBezTo>
                    <a:pt x="1544" y="3921"/>
                    <a:pt x="1529" y="3884"/>
                    <a:pt x="1529" y="3884"/>
                  </a:cubicBezTo>
                  <a:cubicBezTo>
                    <a:pt x="1529" y="3884"/>
                    <a:pt x="1488" y="3845"/>
                    <a:pt x="1473" y="3845"/>
                  </a:cubicBezTo>
                  <a:cubicBezTo>
                    <a:pt x="1458" y="3845"/>
                    <a:pt x="1472" y="3860"/>
                    <a:pt x="1459" y="3864"/>
                  </a:cubicBezTo>
                  <a:close/>
                  <a:moveTo>
                    <a:pt x="1677" y="5102"/>
                  </a:moveTo>
                  <a:cubicBezTo>
                    <a:pt x="1665" y="5102"/>
                    <a:pt x="1674" y="5122"/>
                    <a:pt x="1674" y="5122"/>
                  </a:cubicBezTo>
                  <a:cubicBezTo>
                    <a:pt x="1674" y="5122"/>
                    <a:pt x="1688" y="5118"/>
                    <a:pt x="1686" y="5106"/>
                  </a:cubicBezTo>
                  <a:cubicBezTo>
                    <a:pt x="1707" y="5106"/>
                    <a:pt x="1715" y="5085"/>
                    <a:pt x="1725" y="5085"/>
                  </a:cubicBezTo>
                  <a:cubicBezTo>
                    <a:pt x="1735" y="5085"/>
                    <a:pt x="1738" y="5102"/>
                    <a:pt x="1738" y="5102"/>
                  </a:cubicBezTo>
                  <a:cubicBezTo>
                    <a:pt x="1756" y="5096"/>
                    <a:pt x="1756" y="5096"/>
                    <a:pt x="1756" y="5096"/>
                  </a:cubicBezTo>
                  <a:cubicBezTo>
                    <a:pt x="1756" y="5096"/>
                    <a:pt x="1755" y="5108"/>
                    <a:pt x="1763" y="5109"/>
                  </a:cubicBezTo>
                  <a:cubicBezTo>
                    <a:pt x="1771" y="5110"/>
                    <a:pt x="1756" y="5088"/>
                    <a:pt x="1756" y="5088"/>
                  </a:cubicBezTo>
                  <a:cubicBezTo>
                    <a:pt x="1763" y="5093"/>
                    <a:pt x="1763" y="5093"/>
                    <a:pt x="1763" y="5093"/>
                  </a:cubicBezTo>
                  <a:cubicBezTo>
                    <a:pt x="1776" y="5076"/>
                    <a:pt x="1776" y="5076"/>
                    <a:pt x="1776" y="5076"/>
                  </a:cubicBezTo>
                  <a:cubicBezTo>
                    <a:pt x="1797" y="5076"/>
                    <a:pt x="1797" y="5076"/>
                    <a:pt x="1797" y="5076"/>
                  </a:cubicBezTo>
                  <a:cubicBezTo>
                    <a:pt x="1809" y="5055"/>
                    <a:pt x="1809" y="5055"/>
                    <a:pt x="1809" y="5055"/>
                  </a:cubicBezTo>
                  <a:cubicBezTo>
                    <a:pt x="1832" y="5045"/>
                    <a:pt x="1832" y="5045"/>
                    <a:pt x="1832" y="5045"/>
                  </a:cubicBezTo>
                  <a:cubicBezTo>
                    <a:pt x="1832" y="5045"/>
                    <a:pt x="1819" y="5030"/>
                    <a:pt x="1832" y="5030"/>
                  </a:cubicBezTo>
                  <a:cubicBezTo>
                    <a:pt x="1845" y="5030"/>
                    <a:pt x="1865" y="5005"/>
                    <a:pt x="1865" y="5005"/>
                  </a:cubicBezTo>
                  <a:cubicBezTo>
                    <a:pt x="1859" y="4985"/>
                    <a:pt x="1859" y="4985"/>
                    <a:pt x="1859" y="4985"/>
                  </a:cubicBezTo>
                  <a:cubicBezTo>
                    <a:pt x="1867" y="4984"/>
                    <a:pt x="1867" y="4984"/>
                    <a:pt x="1867" y="4984"/>
                  </a:cubicBezTo>
                  <a:cubicBezTo>
                    <a:pt x="1905" y="4925"/>
                    <a:pt x="1905" y="4925"/>
                    <a:pt x="1905" y="4925"/>
                  </a:cubicBezTo>
                  <a:cubicBezTo>
                    <a:pt x="1905" y="4925"/>
                    <a:pt x="1901" y="4918"/>
                    <a:pt x="1876" y="4918"/>
                  </a:cubicBezTo>
                  <a:cubicBezTo>
                    <a:pt x="1851" y="4918"/>
                    <a:pt x="1872" y="4876"/>
                    <a:pt x="1878" y="4870"/>
                  </a:cubicBezTo>
                  <a:cubicBezTo>
                    <a:pt x="1884" y="4864"/>
                    <a:pt x="1878" y="4842"/>
                    <a:pt x="1878" y="4842"/>
                  </a:cubicBezTo>
                  <a:cubicBezTo>
                    <a:pt x="1792" y="4846"/>
                    <a:pt x="1788" y="4905"/>
                    <a:pt x="1769" y="4941"/>
                  </a:cubicBezTo>
                  <a:cubicBezTo>
                    <a:pt x="1750" y="4977"/>
                    <a:pt x="1724" y="4975"/>
                    <a:pt x="1724" y="4975"/>
                  </a:cubicBezTo>
                  <a:cubicBezTo>
                    <a:pt x="1724" y="4975"/>
                    <a:pt x="1716" y="4987"/>
                    <a:pt x="1712" y="4992"/>
                  </a:cubicBezTo>
                  <a:cubicBezTo>
                    <a:pt x="1708" y="4997"/>
                    <a:pt x="1720" y="4996"/>
                    <a:pt x="1720" y="4996"/>
                  </a:cubicBezTo>
                  <a:cubicBezTo>
                    <a:pt x="1703" y="5024"/>
                    <a:pt x="1703" y="5024"/>
                    <a:pt x="1703" y="5024"/>
                  </a:cubicBezTo>
                  <a:cubicBezTo>
                    <a:pt x="1703" y="5024"/>
                    <a:pt x="1712" y="5049"/>
                    <a:pt x="1704" y="5062"/>
                  </a:cubicBezTo>
                  <a:cubicBezTo>
                    <a:pt x="1695" y="5062"/>
                    <a:pt x="1689" y="5102"/>
                    <a:pt x="1677" y="5102"/>
                  </a:cubicBezTo>
                  <a:close/>
                  <a:moveTo>
                    <a:pt x="1535" y="3816"/>
                  </a:moveTo>
                  <a:cubicBezTo>
                    <a:pt x="1536" y="3806"/>
                    <a:pt x="1527" y="3793"/>
                    <a:pt x="1527" y="3793"/>
                  </a:cubicBezTo>
                  <a:cubicBezTo>
                    <a:pt x="1527" y="3793"/>
                    <a:pt x="1524" y="3821"/>
                    <a:pt x="1535" y="3816"/>
                  </a:cubicBezTo>
                  <a:close/>
                  <a:moveTo>
                    <a:pt x="1736" y="7349"/>
                  </a:moveTo>
                  <a:cubicBezTo>
                    <a:pt x="1735" y="7333"/>
                    <a:pt x="1735" y="7333"/>
                    <a:pt x="1735" y="7333"/>
                  </a:cubicBezTo>
                  <a:cubicBezTo>
                    <a:pt x="1735" y="7333"/>
                    <a:pt x="1727" y="7340"/>
                    <a:pt x="1726" y="7318"/>
                  </a:cubicBezTo>
                  <a:cubicBezTo>
                    <a:pt x="1728" y="7349"/>
                    <a:pt x="1728" y="7349"/>
                    <a:pt x="1728" y="7349"/>
                  </a:cubicBezTo>
                  <a:lnTo>
                    <a:pt x="1736" y="7349"/>
                  </a:lnTo>
                  <a:close/>
                  <a:moveTo>
                    <a:pt x="1546" y="4208"/>
                  </a:moveTo>
                  <a:cubicBezTo>
                    <a:pt x="1553" y="4203"/>
                    <a:pt x="1542" y="4197"/>
                    <a:pt x="1542" y="4197"/>
                  </a:cubicBezTo>
                  <a:cubicBezTo>
                    <a:pt x="1542" y="4197"/>
                    <a:pt x="1539" y="4213"/>
                    <a:pt x="1546" y="4208"/>
                  </a:cubicBezTo>
                  <a:close/>
                  <a:moveTo>
                    <a:pt x="1559" y="3990"/>
                  </a:moveTo>
                  <a:cubicBezTo>
                    <a:pt x="1559" y="3990"/>
                    <a:pt x="1569" y="4011"/>
                    <a:pt x="1574" y="4008"/>
                  </a:cubicBezTo>
                  <a:cubicBezTo>
                    <a:pt x="1579" y="4005"/>
                    <a:pt x="1562" y="3982"/>
                    <a:pt x="1559" y="3990"/>
                  </a:cubicBezTo>
                  <a:close/>
                  <a:moveTo>
                    <a:pt x="947" y="8309"/>
                  </a:moveTo>
                  <a:cubicBezTo>
                    <a:pt x="954" y="8297"/>
                    <a:pt x="954" y="8297"/>
                    <a:pt x="954" y="8297"/>
                  </a:cubicBezTo>
                  <a:cubicBezTo>
                    <a:pt x="939" y="8284"/>
                    <a:pt x="939" y="8284"/>
                    <a:pt x="939" y="8284"/>
                  </a:cubicBezTo>
                  <a:cubicBezTo>
                    <a:pt x="939" y="8284"/>
                    <a:pt x="920" y="8306"/>
                    <a:pt x="930" y="8307"/>
                  </a:cubicBezTo>
                  <a:cubicBezTo>
                    <a:pt x="930" y="8307"/>
                    <a:pt x="930" y="8297"/>
                    <a:pt x="934" y="8297"/>
                  </a:cubicBezTo>
                  <a:cubicBezTo>
                    <a:pt x="938" y="8297"/>
                    <a:pt x="947" y="8309"/>
                    <a:pt x="947" y="8309"/>
                  </a:cubicBezTo>
                  <a:close/>
                  <a:moveTo>
                    <a:pt x="1076" y="3587"/>
                  </a:moveTo>
                  <a:cubicBezTo>
                    <a:pt x="1076" y="3587"/>
                    <a:pt x="1090" y="3551"/>
                    <a:pt x="1095" y="3548"/>
                  </a:cubicBezTo>
                  <a:cubicBezTo>
                    <a:pt x="1083" y="3526"/>
                    <a:pt x="1077" y="3559"/>
                    <a:pt x="1077" y="3559"/>
                  </a:cubicBezTo>
                  <a:cubicBezTo>
                    <a:pt x="1071" y="3563"/>
                    <a:pt x="1071" y="3563"/>
                    <a:pt x="1071" y="3563"/>
                  </a:cubicBezTo>
                  <a:cubicBezTo>
                    <a:pt x="1071" y="3563"/>
                    <a:pt x="1071" y="3558"/>
                    <a:pt x="1063" y="3552"/>
                  </a:cubicBezTo>
                  <a:cubicBezTo>
                    <a:pt x="1046" y="3553"/>
                    <a:pt x="1032" y="3622"/>
                    <a:pt x="1032" y="3622"/>
                  </a:cubicBezTo>
                  <a:cubicBezTo>
                    <a:pt x="1032" y="3622"/>
                    <a:pt x="1041" y="3636"/>
                    <a:pt x="1047" y="3636"/>
                  </a:cubicBezTo>
                  <a:cubicBezTo>
                    <a:pt x="1052" y="3636"/>
                    <a:pt x="1050" y="3623"/>
                    <a:pt x="1050" y="3623"/>
                  </a:cubicBezTo>
                  <a:cubicBezTo>
                    <a:pt x="1063" y="3624"/>
                    <a:pt x="1063" y="3624"/>
                    <a:pt x="1063" y="3624"/>
                  </a:cubicBezTo>
                  <a:cubicBezTo>
                    <a:pt x="1060" y="3615"/>
                    <a:pt x="1060" y="3615"/>
                    <a:pt x="1060" y="3615"/>
                  </a:cubicBezTo>
                  <a:cubicBezTo>
                    <a:pt x="1073" y="3604"/>
                    <a:pt x="1073" y="3604"/>
                    <a:pt x="1073" y="3604"/>
                  </a:cubicBezTo>
                  <a:lnTo>
                    <a:pt x="1076" y="3587"/>
                  </a:lnTo>
                  <a:close/>
                  <a:moveTo>
                    <a:pt x="938" y="2655"/>
                  </a:moveTo>
                  <a:cubicBezTo>
                    <a:pt x="942" y="2659"/>
                    <a:pt x="942" y="2659"/>
                    <a:pt x="942" y="2659"/>
                  </a:cubicBezTo>
                  <a:cubicBezTo>
                    <a:pt x="951" y="2647"/>
                    <a:pt x="951" y="2647"/>
                    <a:pt x="951" y="2647"/>
                  </a:cubicBezTo>
                  <a:lnTo>
                    <a:pt x="938" y="2655"/>
                  </a:lnTo>
                  <a:close/>
                  <a:moveTo>
                    <a:pt x="1303" y="3510"/>
                  </a:moveTo>
                  <a:cubicBezTo>
                    <a:pt x="1306" y="3503"/>
                    <a:pt x="1293" y="3471"/>
                    <a:pt x="1293" y="3471"/>
                  </a:cubicBezTo>
                  <a:cubicBezTo>
                    <a:pt x="1294" y="3483"/>
                    <a:pt x="1275" y="3488"/>
                    <a:pt x="1275" y="3488"/>
                  </a:cubicBezTo>
                  <a:cubicBezTo>
                    <a:pt x="1284" y="3498"/>
                    <a:pt x="1284" y="3498"/>
                    <a:pt x="1284" y="3498"/>
                  </a:cubicBezTo>
                  <a:cubicBezTo>
                    <a:pt x="1263" y="3513"/>
                    <a:pt x="1263" y="3513"/>
                    <a:pt x="1263" y="3513"/>
                  </a:cubicBezTo>
                  <a:cubicBezTo>
                    <a:pt x="1270" y="3523"/>
                    <a:pt x="1270" y="3523"/>
                    <a:pt x="1270" y="3523"/>
                  </a:cubicBezTo>
                  <a:cubicBezTo>
                    <a:pt x="1281" y="3523"/>
                    <a:pt x="1281" y="3523"/>
                    <a:pt x="1281" y="3523"/>
                  </a:cubicBezTo>
                  <a:cubicBezTo>
                    <a:pt x="1285" y="3533"/>
                    <a:pt x="1285" y="3533"/>
                    <a:pt x="1285" y="3533"/>
                  </a:cubicBezTo>
                  <a:cubicBezTo>
                    <a:pt x="1274" y="3535"/>
                    <a:pt x="1274" y="3535"/>
                    <a:pt x="1274" y="3535"/>
                  </a:cubicBezTo>
                  <a:cubicBezTo>
                    <a:pt x="1227" y="3574"/>
                    <a:pt x="1227" y="3574"/>
                    <a:pt x="1227" y="3574"/>
                  </a:cubicBezTo>
                  <a:cubicBezTo>
                    <a:pt x="1227" y="3574"/>
                    <a:pt x="1201" y="3598"/>
                    <a:pt x="1181" y="3607"/>
                  </a:cubicBezTo>
                  <a:cubicBezTo>
                    <a:pt x="1160" y="3615"/>
                    <a:pt x="1151" y="3658"/>
                    <a:pt x="1151" y="3658"/>
                  </a:cubicBezTo>
                  <a:cubicBezTo>
                    <a:pt x="1151" y="3658"/>
                    <a:pt x="1170" y="3672"/>
                    <a:pt x="1170" y="3678"/>
                  </a:cubicBezTo>
                  <a:cubicBezTo>
                    <a:pt x="1170" y="3684"/>
                    <a:pt x="1145" y="3670"/>
                    <a:pt x="1145" y="3670"/>
                  </a:cubicBezTo>
                  <a:cubicBezTo>
                    <a:pt x="1125" y="3690"/>
                    <a:pt x="1125" y="3690"/>
                    <a:pt x="1125" y="3690"/>
                  </a:cubicBezTo>
                  <a:cubicBezTo>
                    <a:pt x="1125" y="3699"/>
                    <a:pt x="1125" y="3699"/>
                    <a:pt x="1125" y="3699"/>
                  </a:cubicBezTo>
                  <a:cubicBezTo>
                    <a:pt x="1125" y="3699"/>
                    <a:pt x="1114" y="3708"/>
                    <a:pt x="1110" y="3724"/>
                  </a:cubicBezTo>
                  <a:cubicBezTo>
                    <a:pt x="1106" y="3740"/>
                    <a:pt x="1115" y="3743"/>
                    <a:pt x="1105" y="3744"/>
                  </a:cubicBezTo>
                  <a:cubicBezTo>
                    <a:pt x="1095" y="3745"/>
                    <a:pt x="1094" y="3720"/>
                    <a:pt x="1094" y="3713"/>
                  </a:cubicBezTo>
                  <a:cubicBezTo>
                    <a:pt x="1094" y="3707"/>
                    <a:pt x="1098" y="3685"/>
                    <a:pt x="1097" y="3681"/>
                  </a:cubicBezTo>
                  <a:cubicBezTo>
                    <a:pt x="1097" y="3677"/>
                    <a:pt x="1093" y="3686"/>
                    <a:pt x="1093" y="3686"/>
                  </a:cubicBezTo>
                  <a:cubicBezTo>
                    <a:pt x="1093" y="3686"/>
                    <a:pt x="1082" y="3686"/>
                    <a:pt x="1067" y="3686"/>
                  </a:cubicBezTo>
                  <a:cubicBezTo>
                    <a:pt x="1053" y="3686"/>
                    <a:pt x="1047" y="3713"/>
                    <a:pt x="1036" y="3713"/>
                  </a:cubicBezTo>
                  <a:cubicBezTo>
                    <a:pt x="1025" y="3713"/>
                    <a:pt x="1031" y="3724"/>
                    <a:pt x="1031" y="3724"/>
                  </a:cubicBezTo>
                  <a:cubicBezTo>
                    <a:pt x="1013" y="3725"/>
                    <a:pt x="1013" y="3725"/>
                    <a:pt x="1013" y="3725"/>
                  </a:cubicBezTo>
                  <a:cubicBezTo>
                    <a:pt x="1009" y="3744"/>
                    <a:pt x="1009" y="3744"/>
                    <a:pt x="1009" y="3744"/>
                  </a:cubicBezTo>
                  <a:cubicBezTo>
                    <a:pt x="1009" y="3744"/>
                    <a:pt x="1009" y="3753"/>
                    <a:pt x="1001" y="3761"/>
                  </a:cubicBezTo>
                  <a:cubicBezTo>
                    <a:pt x="993" y="3751"/>
                    <a:pt x="1013" y="3717"/>
                    <a:pt x="1013" y="3717"/>
                  </a:cubicBezTo>
                  <a:cubicBezTo>
                    <a:pt x="1004" y="3710"/>
                    <a:pt x="1004" y="3710"/>
                    <a:pt x="1004" y="3710"/>
                  </a:cubicBezTo>
                  <a:cubicBezTo>
                    <a:pt x="1004" y="3710"/>
                    <a:pt x="991" y="3718"/>
                    <a:pt x="975" y="3738"/>
                  </a:cubicBezTo>
                  <a:cubicBezTo>
                    <a:pt x="946" y="3735"/>
                    <a:pt x="943" y="3759"/>
                    <a:pt x="943" y="3759"/>
                  </a:cubicBezTo>
                  <a:cubicBezTo>
                    <a:pt x="943" y="3759"/>
                    <a:pt x="946" y="3765"/>
                    <a:pt x="947" y="3772"/>
                  </a:cubicBezTo>
                  <a:cubicBezTo>
                    <a:pt x="936" y="3772"/>
                    <a:pt x="938" y="3790"/>
                    <a:pt x="938" y="3790"/>
                  </a:cubicBezTo>
                  <a:cubicBezTo>
                    <a:pt x="948" y="3799"/>
                    <a:pt x="948" y="3799"/>
                    <a:pt x="948" y="3799"/>
                  </a:cubicBezTo>
                  <a:cubicBezTo>
                    <a:pt x="925" y="3837"/>
                    <a:pt x="925" y="3837"/>
                    <a:pt x="925" y="3837"/>
                  </a:cubicBezTo>
                  <a:cubicBezTo>
                    <a:pt x="925" y="3837"/>
                    <a:pt x="927" y="3841"/>
                    <a:pt x="927" y="3844"/>
                  </a:cubicBezTo>
                  <a:cubicBezTo>
                    <a:pt x="927" y="3847"/>
                    <a:pt x="919" y="3847"/>
                    <a:pt x="918" y="3855"/>
                  </a:cubicBezTo>
                  <a:cubicBezTo>
                    <a:pt x="917" y="3862"/>
                    <a:pt x="931" y="3881"/>
                    <a:pt x="931" y="3881"/>
                  </a:cubicBezTo>
                  <a:cubicBezTo>
                    <a:pt x="931" y="3881"/>
                    <a:pt x="935" y="3871"/>
                    <a:pt x="936" y="3866"/>
                  </a:cubicBezTo>
                  <a:cubicBezTo>
                    <a:pt x="974" y="3864"/>
                    <a:pt x="995" y="3793"/>
                    <a:pt x="995" y="3793"/>
                  </a:cubicBezTo>
                  <a:cubicBezTo>
                    <a:pt x="1035" y="3796"/>
                    <a:pt x="1035" y="3796"/>
                    <a:pt x="1035" y="3796"/>
                  </a:cubicBezTo>
                  <a:cubicBezTo>
                    <a:pt x="1035" y="3796"/>
                    <a:pt x="1038" y="3793"/>
                    <a:pt x="1038" y="3809"/>
                  </a:cubicBezTo>
                  <a:cubicBezTo>
                    <a:pt x="1019" y="3813"/>
                    <a:pt x="993" y="3833"/>
                    <a:pt x="1001" y="3843"/>
                  </a:cubicBezTo>
                  <a:cubicBezTo>
                    <a:pt x="1029" y="3844"/>
                    <a:pt x="1033" y="3865"/>
                    <a:pt x="1034" y="3894"/>
                  </a:cubicBezTo>
                  <a:cubicBezTo>
                    <a:pt x="998" y="3895"/>
                    <a:pt x="999" y="3937"/>
                    <a:pt x="999" y="3937"/>
                  </a:cubicBezTo>
                  <a:cubicBezTo>
                    <a:pt x="999" y="3937"/>
                    <a:pt x="1009" y="3943"/>
                    <a:pt x="1026" y="3949"/>
                  </a:cubicBezTo>
                  <a:cubicBezTo>
                    <a:pt x="1043" y="3954"/>
                    <a:pt x="1061" y="3909"/>
                    <a:pt x="1061" y="3909"/>
                  </a:cubicBezTo>
                  <a:cubicBezTo>
                    <a:pt x="1069" y="3916"/>
                    <a:pt x="1069" y="3916"/>
                    <a:pt x="1069" y="3916"/>
                  </a:cubicBezTo>
                  <a:cubicBezTo>
                    <a:pt x="1079" y="3908"/>
                    <a:pt x="1079" y="3908"/>
                    <a:pt x="1079" y="3908"/>
                  </a:cubicBezTo>
                  <a:cubicBezTo>
                    <a:pt x="1085" y="3922"/>
                    <a:pt x="1085" y="3922"/>
                    <a:pt x="1085" y="3922"/>
                  </a:cubicBezTo>
                  <a:cubicBezTo>
                    <a:pt x="1085" y="3922"/>
                    <a:pt x="1089" y="3919"/>
                    <a:pt x="1100" y="3905"/>
                  </a:cubicBezTo>
                  <a:cubicBezTo>
                    <a:pt x="1113" y="3907"/>
                    <a:pt x="1140" y="3873"/>
                    <a:pt x="1141" y="3867"/>
                  </a:cubicBezTo>
                  <a:cubicBezTo>
                    <a:pt x="1141" y="3861"/>
                    <a:pt x="1136" y="3812"/>
                    <a:pt x="1124" y="3800"/>
                  </a:cubicBezTo>
                  <a:cubicBezTo>
                    <a:pt x="1107" y="3800"/>
                    <a:pt x="1105" y="3756"/>
                    <a:pt x="1105" y="3756"/>
                  </a:cubicBezTo>
                  <a:cubicBezTo>
                    <a:pt x="1105" y="3756"/>
                    <a:pt x="1101" y="3742"/>
                    <a:pt x="1112" y="3757"/>
                  </a:cubicBezTo>
                  <a:cubicBezTo>
                    <a:pt x="1130" y="3813"/>
                    <a:pt x="1169" y="3789"/>
                    <a:pt x="1169" y="3789"/>
                  </a:cubicBezTo>
                  <a:cubicBezTo>
                    <a:pt x="1179" y="3775"/>
                    <a:pt x="1179" y="3775"/>
                    <a:pt x="1179" y="3775"/>
                  </a:cubicBezTo>
                  <a:cubicBezTo>
                    <a:pt x="1179" y="3747"/>
                    <a:pt x="1179" y="3747"/>
                    <a:pt x="1179" y="3747"/>
                  </a:cubicBezTo>
                  <a:cubicBezTo>
                    <a:pt x="1189" y="3733"/>
                    <a:pt x="1189" y="3733"/>
                    <a:pt x="1189" y="3733"/>
                  </a:cubicBezTo>
                  <a:cubicBezTo>
                    <a:pt x="1189" y="3733"/>
                    <a:pt x="1191" y="3740"/>
                    <a:pt x="1198" y="3742"/>
                  </a:cubicBezTo>
                  <a:cubicBezTo>
                    <a:pt x="1205" y="3744"/>
                    <a:pt x="1200" y="3718"/>
                    <a:pt x="1200" y="3718"/>
                  </a:cubicBezTo>
                  <a:cubicBezTo>
                    <a:pt x="1209" y="3725"/>
                    <a:pt x="1209" y="3725"/>
                    <a:pt x="1209" y="3725"/>
                  </a:cubicBezTo>
                  <a:cubicBezTo>
                    <a:pt x="1213" y="3719"/>
                    <a:pt x="1213" y="3719"/>
                    <a:pt x="1213" y="3719"/>
                  </a:cubicBezTo>
                  <a:cubicBezTo>
                    <a:pt x="1213" y="3719"/>
                    <a:pt x="1207" y="3711"/>
                    <a:pt x="1208" y="3708"/>
                  </a:cubicBezTo>
                  <a:cubicBezTo>
                    <a:pt x="1209" y="3705"/>
                    <a:pt x="1219" y="3687"/>
                    <a:pt x="1219" y="3687"/>
                  </a:cubicBezTo>
                  <a:cubicBezTo>
                    <a:pt x="1238" y="3655"/>
                    <a:pt x="1238" y="3655"/>
                    <a:pt x="1238" y="3655"/>
                  </a:cubicBezTo>
                  <a:cubicBezTo>
                    <a:pt x="1247" y="3629"/>
                    <a:pt x="1247" y="3629"/>
                    <a:pt x="1247" y="3629"/>
                  </a:cubicBezTo>
                  <a:cubicBezTo>
                    <a:pt x="1257" y="3630"/>
                    <a:pt x="1257" y="3630"/>
                    <a:pt x="1257" y="3630"/>
                  </a:cubicBezTo>
                  <a:cubicBezTo>
                    <a:pt x="1257" y="3630"/>
                    <a:pt x="1295" y="3556"/>
                    <a:pt x="1297" y="3547"/>
                  </a:cubicBezTo>
                  <a:cubicBezTo>
                    <a:pt x="1299" y="3539"/>
                    <a:pt x="1286" y="3533"/>
                    <a:pt x="1286" y="3527"/>
                  </a:cubicBezTo>
                  <a:cubicBezTo>
                    <a:pt x="1286" y="3521"/>
                    <a:pt x="1301" y="3517"/>
                    <a:pt x="1303" y="3510"/>
                  </a:cubicBezTo>
                  <a:close/>
                  <a:moveTo>
                    <a:pt x="1192" y="3667"/>
                  </a:moveTo>
                  <a:cubicBezTo>
                    <a:pt x="1185" y="3663"/>
                    <a:pt x="1195" y="3653"/>
                    <a:pt x="1198" y="3662"/>
                  </a:cubicBezTo>
                  <a:cubicBezTo>
                    <a:pt x="1201" y="3671"/>
                    <a:pt x="1192" y="3667"/>
                    <a:pt x="1192" y="3667"/>
                  </a:cubicBezTo>
                  <a:close/>
                  <a:moveTo>
                    <a:pt x="1268" y="3843"/>
                  </a:moveTo>
                  <a:cubicBezTo>
                    <a:pt x="1268" y="3855"/>
                    <a:pt x="1250" y="3878"/>
                    <a:pt x="1250" y="3878"/>
                  </a:cubicBezTo>
                  <a:cubicBezTo>
                    <a:pt x="1258" y="3885"/>
                    <a:pt x="1258" y="3885"/>
                    <a:pt x="1258" y="3885"/>
                  </a:cubicBezTo>
                  <a:cubicBezTo>
                    <a:pt x="1259" y="3915"/>
                    <a:pt x="1259" y="3915"/>
                    <a:pt x="1259" y="3915"/>
                  </a:cubicBezTo>
                  <a:cubicBezTo>
                    <a:pt x="1266" y="3912"/>
                    <a:pt x="1266" y="3912"/>
                    <a:pt x="1266" y="3912"/>
                  </a:cubicBezTo>
                  <a:cubicBezTo>
                    <a:pt x="1261" y="3896"/>
                    <a:pt x="1261" y="3896"/>
                    <a:pt x="1261" y="3896"/>
                  </a:cubicBezTo>
                  <a:cubicBezTo>
                    <a:pt x="1271" y="3896"/>
                    <a:pt x="1271" y="3896"/>
                    <a:pt x="1271" y="3896"/>
                  </a:cubicBezTo>
                  <a:cubicBezTo>
                    <a:pt x="1283" y="3866"/>
                    <a:pt x="1283" y="3866"/>
                    <a:pt x="1283" y="3866"/>
                  </a:cubicBezTo>
                  <a:cubicBezTo>
                    <a:pt x="1272" y="3861"/>
                    <a:pt x="1272" y="3861"/>
                    <a:pt x="1272" y="3861"/>
                  </a:cubicBezTo>
                  <a:cubicBezTo>
                    <a:pt x="1283" y="3843"/>
                    <a:pt x="1283" y="3843"/>
                    <a:pt x="1283" y="3843"/>
                  </a:cubicBezTo>
                  <a:cubicBezTo>
                    <a:pt x="1283" y="3843"/>
                    <a:pt x="1268" y="3838"/>
                    <a:pt x="1268" y="3843"/>
                  </a:cubicBezTo>
                  <a:close/>
                  <a:moveTo>
                    <a:pt x="864" y="3191"/>
                  </a:moveTo>
                  <a:cubicBezTo>
                    <a:pt x="836" y="3215"/>
                    <a:pt x="836" y="3215"/>
                    <a:pt x="836" y="3215"/>
                  </a:cubicBezTo>
                  <a:cubicBezTo>
                    <a:pt x="851" y="3208"/>
                    <a:pt x="851" y="3208"/>
                    <a:pt x="851" y="3208"/>
                  </a:cubicBezTo>
                  <a:cubicBezTo>
                    <a:pt x="853" y="3213"/>
                    <a:pt x="853" y="3213"/>
                    <a:pt x="853" y="3213"/>
                  </a:cubicBezTo>
                  <a:cubicBezTo>
                    <a:pt x="853" y="3213"/>
                    <a:pt x="856" y="3202"/>
                    <a:pt x="867" y="3203"/>
                  </a:cubicBezTo>
                  <a:cubicBezTo>
                    <a:pt x="873" y="3203"/>
                    <a:pt x="875" y="3206"/>
                    <a:pt x="876" y="3208"/>
                  </a:cubicBezTo>
                  <a:cubicBezTo>
                    <a:pt x="877" y="3207"/>
                    <a:pt x="879" y="3205"/>
                    <a:pt x="884" y="3205"/>
                  </a:cubicBezTo>
                  <a:cubicBezTo>
                    <a:pt x="895" y="3204"/>
                    <a:pt x="906" y="3204"/>
                    <a:pt x="955" y="3152"/>
                  </a:cubicBezTo>
                  <a:cubicBezTo>
                    <a:pt x="963" y="3123"/>
                    <a:pt x="958" y="3122"/>
                    <a:pt x="958" y="3122"/>
                  </a:cubicBezTo>
                  <a:cubicBezTo>
                    <a:pt x="958" y="3122"/>
                    <a:pt x="917" y="3132"/>
                    <a:pt x="915" y="3145"/>
                  </a:cubicBezTo>
                  <a:cubicBezTo>
                    <a:pt x="912" y="3145"/>
                    <a:pt x="910" y="3141"/>
                    <a:pt x="910" y="3141"/>
                  </a:cubicBezTo>
                  <a:cubicBezTo>
                    <a:pt x="910" y="3141"/>
                    <a:pt x="883" y="3156"/>
                    <a:pt x="885" y="3167"/>
                  </a:cubicBezTo>
                  <a:cubicBezTo>
                    <a:pt x="881" y="3170"/>
                    <a:pt x="864" y="3191"/>
                    <a:pt x="864" y="3191"/>
                  </a:cubicBezTo>
                  <a:close/>
                  <a:moveTo>
                    <a:pt x="893" y="2863"/>
                  </a:moveTo>
                  <a:cubicBezTo>
                    <a:pt x="893" y="2863"/>
                    <a:pt x="900" y="2874"/>
                    <a:pt x="906" y="2872"/>
                  </a:cubicBezTo>
                  <a:cubicBezTo>
                    <a:pt x="912" y="2870"/>
                    <a:pt x="912" y="2858"/>
                    <a:pt x="919" y="2858"/>
                  </a:cubicBezTo>
                  <a:cubicBezTo>
                    <a:pt x="925" y="2858"/>
                    <a:pt x="919" y="2865"/>
                    <a:pt x="928" y="2865"/>
                  </a:cubicBezTo>
                  <a:cubicBezTo>
                    <a:pt x="937" y="2865"/>
                    <a:pt x="945" y="2865"/>
                    <a:pt x="945" y="2865"/>
                  </a:cubicBezTo>
                  <a:cubicBezTo>
                    <a:pt x="945" y="2865"/>
                    <a:pt x="941" y="2872"/>
                    <a:pt x="949" y="2872"/>
                  </a:cubicBezTo>
                  <a:cubicBezTo>
                    <a:pt x="956" y="2872"/>
                    <a:pt x="959" y="2872"/>
                    <a:pt x="959" y="2872"/>
                  </a:cubicBezTo>
                  <a:cubicBezTo>
                    <a:pt x="956" y="2861"/>
                    <a:pt x="956" y="2861"/>
                    <a:pt x="956" y="2861"/>
                  </a:cubicBezTo>
                  <a:cubicBezTo>
                    <a:pt x="956" y="2861"/>
                    <a:pt x="956" y="2846"/>
                    <a:pt x="946" y="2845"/>
                  </a:cubicBezTo>
                  <a:cubicBezTo>
                    <a:pt x="936" y="2845"/>
                    <a:pt x="922" y="2849"/>
                    <a:pt x="915" y="2849"/>
                  </a:cubicBezTo>
                  <a:cubicBezTo>
                    <a:pt x="907" y="2849"/>
                    <a:pt x="894" y="2848"/>
                    <a:pt x="893" y="2863"/>
                  </a:cubicBezTo>
                  <a:close/>
                  <a:moveTo>
                    <a:pt x="1247" y="2664"/>
                  </a:moveTo>
                  <a:cubicBezTo>
                    <a:pt x="1235" y="2649"/>
                    <a:pt x="1235" y="2649"/>
                    <a:pt x="1235" y="2649"/>
                  </a:cubicBezTo>
                  <a:cubicBezTo>
                    <a:pt x="1231" y="2656"/>
                    <a:pt x="1231" y="2656"/>
                    <a:pt x="1231" y="2656"/>
                  </a:cubicBezTo>
                  <a:cubicBezTo>
                    <a:pt x="1231" y="2656"/>
                    <a:pt x="1227" y="2667"/>
                    <a:pt x="1239" y="2667"/>
                  </a:cubicBezTo>
                  <a:cubicBezTo>
                    <a:pt x="1251" y="2667"/>
                    <a:pt x="1247" y="2664"/>
                    <a:pt x="1247" y="2664"/>
                  </a:cubicBezTo>
                  <a:close/>
                  <a:moveTo>
                    <a:pt x="877" y="3211"/>
                  </a:moveTo>
                  <a:cubicBezTo>
                    <a:pt x="877" y="3211"/>
                    <a:pt x="877" y="3210"/>
                    <a:pt x="876" y="3208"/>
                  </a:cubicBezTo>
                  <a:cubicBezTo>
                    <a:pt x="876" y="3210"/>
                    <a:pt x="877" y="3211"/>
                    <a:pt x="877" y="3211"/>
                  </a:cubicBezTo>
                  <a:close/>
                  <a:moveTo>
                    <a:pt x="1219" y="2706"/>
                  </a:moveTo>
                  <a:cubicBezTo>
                    <a:pt x="1222" y="2713"/>
                    <a:pt x="1222" y="2713"/>
                    <a:pt x="1222" y="2713"/>
                  </a:cubicBezTo>
                  <a:cubicBezTo>
                    <a:pt x="1234" y="2708"/>
                    <a:pt x="1234" y="2708"/>
                    <a:pt x="1234" y="2708"/>
                  </a:cubicBezTo>
                  <a:cubicBezTo>
                    <a:pt x="1229" y="2696"/>
                    <a:pt x="1229" y="2696"/>
                    <a:pt x="1229" y="2696"/>
                  </a:cubicBezTo>
                  <a:lnTo>
                    <a:pt x="1219" y="2706"/>
                  </a:lnTo>
                  <a:close/>
                  <a:moveTo>
                    <a:pt x="1132" y="2619"/>
                  </a:moveTo>
                  <a:cubicBezTo>
                    <a:pt x="1126" y="2641"/>
                    <a:pt x="1126" y="2641"/>
                    <a:pt x="1126" y="2641"/>
                  </a:cubicBezTo>
                  <a:cubicBezTo>
                    <a:pt x="1126" y="2641"/>
                    <a:pt x="1143" y="2666"/>
                    <a:pt x="1147" y="2667"/>
                  </a:cubicBezTo>
                  <a:cubicBezTo>
                    <a:pt x="1152" y="2667"/>
                    <a:pt x="1170" y="2638"/>
                    <a:pt x="1170" y="2638"/>
                  </a:cubicBezTo>
                  <a:cubicBezTo>
                    <a:pt x="1163" y="2629"/>
                    <a:pt x="1163" y="2629"/>
                    <a:pt x="1163" y="2629"/>
                  </a:cubicBezTo>
                  <a:cubicBezTo>
                    <a:pt x="1154" y="2597"/>
                    <a:pt x="1154" y="2597"/>
                    <a:pt x="1154" y="2597"/>
                  </a:cubicBezTo>
                  <a:cubicBezTo>
                    <a:pt x="1154" y="2597"/>
                    <a:pt x="1149" y="2594"/>
                    <a:pt x="1156" y="2587"/>
                  </a:cubicBezTo>
                  <a:cubicBezTo>
                    <a:pt x="1163" y="2587"/>
                    <a:pt x="1171" y="2574"/>
                    <a:pt x="1172" y="2566"/>
                  </a:cubicBezTo>
                  <a:cubicBezTo>
                    <a:pt x="1181" y="2557"/>
                    <a:pt x="1173" y="2540"/>
                    <a:pt x="1173" y="2540"/>
                  </a:cubicBezTo>
                  <a:cubicBezTo>
                    <a:pt x="1173" y="2540"/>
                    <a:pt x="1169" y="2534"/>
                    <a:pt x="1175" y="2533"/>
                  </a:cubicBezTo>
                  <a:cubicBezTo>
                    <a:pt x="1180" y="2533"/>
                    <a:pt x="1189" y="2491"/>
                    <a:pt x="1189" y="2491"/>
                  </a:cubicBezTo>
                  <a:cubicBezTo>
                    <a:pt x="1180" y="2482"/>
                    <a:pt x="1180" y="2482"/>
                    <a:pt x="1180" y="2482"/>
                  </a:cubicBezTo>
                  <a:cubicBezTo>
                    <a:pt x="1168" y="2482"/>
                    <a:pt x="1168" y="2528"/>
                    <a:pt x="1168" y="2528"/>
                  </a:cubicBezTo>
                  <a:cubicBezTo>
                    <a:pt x="1159" y="2528"/>
                    <a:pt x="1159" y="2528"/>
                    <a:pt x="1159" y="2528"/>
                  </a:cubicBezTo>
                  <a:cubicBezTo>
                    <a:pt x="1159" y="2528"/>
                    <a:pt x="1163" y="2538"/>
                    <a:pt x="1164" y="2547"/>
                  </a:cubicBezTo>
                  <a:cubicBezTo>
                    <a:pt x="1165" y="2557"/>
                    <a:pt x="1160" y="2541"/>
                    <a:pt x="1155" y="2541"/>
                  </a:cubicBezTo>
                  <a:cubicBezTo>
                    <a:pt x="1149" y="2540"/>
                    <a:pt x="1155" y="2557"/>
                    <a:pt x="1155" y="2557"/>
                  </a:cubicBezTo>
                  <a:cubicBezTo>
                    <a:pt x="1155" y="2557"/>
                    <a:pt x="1173" y="2568"/>
                    <a:pt x="1153" y="2564"/>
                  </a:cubicBezTo>
                  <a:cubicBezTo>
                    <a:pt x="1132" y="2560"/>
                    <a:pt x="1128" y="2593"/>
                    <a:pt x="1126" y="2597"/>
                  </a:cubicBezTo>
                  <a:cubicBezTo>
                    <a:pt x="1124" y="2600"/>
                    <a:pt x="1131" y="2603"/>
                    <a:pt x="1131" y="2603"/>
                  </a:cubicBezTo>
                  <a:cubicBezTo>
                    <a:pt x="1124" y="2613"/>
                    <a:pt x="1124" y="2613"/>
                    <a:pt x="1124" y="2613"/>
                  </a:cubicBezTo>
                  <a:lnTo>
                    <a:pt x="1132" y="2619"/>
                  </a:lnTo>
                  <a:close/>
                  <a:moveTo>
                    <a:pt x="924" y="2465"/>
                  </a:moveTo>
                  <a:cubicBezTo>
                    <a:pt x="924" y="2465"/>
                    <a:pt x="936" y="2473"/>
                    <a:pt x="935" y="2467"/>
                  </a:cubicBezTo>
                  <a:cubicBezTo>
                    <a:pt x="933" y="2460"/>
                    <a:pt x="924" y="2465"/>
                    <a:pt x="924" y="2465"/>
                  </a:cubicBezTo>
                  <a:close/>
                  <a:moveTo>
                    <a:pt x="1063" y="3015"/>
                  </a:moveTo>
                  <a:cubicBezTo>
                    <a:pt x="1063" y="3015"/>
                    <a:pt x="1041" y="3011"/>
                    <a:pt x="1039" y="3023"/>
                  </a:cubicBezTo>
                  <a:cubicBezTo>
                    <a:pt x="1042" y="3030"/>
                    <a:pt x="1042" y="3030"/>
                    <a:pt x="1042" y="3030"/>
                  </a:cubicBezTo>
                  <a:cubicBezTo>
                    <a:pt x="1050" y="3023"/>
                    <a:pt x="1050" y="3023"/>
                    <a:pt x="1050" y="3023"/>
                  </a:cubicBezTo>
                  <a:cubicBezTo>
                    <a:pt x="1055" y="3031"/>
                    <a:pt x="1055" y="3031"/>
                    <a:pt x="1055" y="3031"/>
                  </a:cubicBezTo>
                  <a:lnTo>
                    <a:pt x="1063" y="3015"/>
                  </a:lnTo>
                  <a:close/>
                  <a:moveTo>
                    <a:pt x="1246" y="3465"/>
                  </a:moveTo>
                  <a:cubicBezTo>
                    <a:pt x="1246" y="3466"/>
                    <a:pt x="1246" y="3466"/>
                    <a:pt x="1246" y="3466"/>
                  </a:cubicBezTo>
                  <a:cubicBezTo>
                    <a:pt x="1246" y="3466"/>
                    <a:pt x="1246" y="3466"/>
                    <a:pt x="1246" y="3465"/>
                  </a:cubicBezTo>
                  <a:close/>
                  <a:moveTo>
                    <a:pt x="1042" y="3297"/>
                  </a:moveTo>
                  <a:cubicBezTo>
                    <a:pt x="1037" y="3297"/>
                    <a:pt x="1039" y="3306"/>
                    <a:pt x="1039" y="3306"/>
                  </a:cubicBezTo>
                  <a:cubicBezTo>
                    <a:pt x="1039" y="3306"/>
                    <a:pt x="1047" y="3297"/>
                    <a:pt x="1042" y="3297"/>
                  </a:cubicBezTo>
                  <a:close/>
                  <a:moveTo>
                    <a:pt x="1081" y="3313"/>
                  </a:moveTo>
                  <a:cubicBezTo>
                    <a:pt x="1087" y="3314"/>
                    <a:pt x="1087" y="3314"/>
                    <a:pt x="1087" y="3314"/>
                  </a:cubicBezTo>
                  <a:cubicBezTo>
                    <a:pt x="1089" y="3307"/>
                    <a:pt x="1089" y="3307"/>
                    <a:pt x="1089" y="3307"/>
                  </a:cubicBezTo>
                  <a:lnTo>
                    <a:pt x="1081" y="3313"/>
                  </a:lnTo>
                  <a:close/>
                  <a:moveTo>
                    <a:pt x="1019" y="2855"/>
                  </a:moveTo>
                  <a:cubicBezTo>
                    <a:pt x="1009" y="2863"/>
                    <a:pt x="1009" y="2863"/>
                    <a:pt x="1009" y="2863"/>
                  </a:cubicBezTo>
                  <a:cubicBezTo>
                    <a:pt x="992" y="2862"/>
                    <a:pt x="992" y="2862"/>
                    <a:pt x="992" y="2862"/>
                  </a:cubicBezTo>
                  <a:cubicBezTo>
                    <a:pt x="961" y="2896"/>
                    <a:pt x="961" y="2896"/>
                    <a:pt x="961" y="2896"/>
                  </a:cubicBezTo>
                  <a:cubicBezTo>
                    <a:pt x="961" y="2896"/>
                    <a:pt x="993" y="2919"/>
                    <a:pt x="994" y="2938"/>
                  </a:cubicBezTo>
                  <a:cubicBezTo>
                    <a:pt x="1008" y="2941"/>
                    <a:pt x="1013" y="2943"/>
                    <a:pt x="1013" y="2951"/>
                  </a:cubicBezTo>
                  <a:cubicBezTo>
                    <a:pt x="1018" y="2953"/>
                    <a:pt x="1021" y="2951"/>
                    <a:pt x="1021" y="2951"/>
                  </a:cubicBezTo>
                  <a:cubicBezTo>
                    <a:pt x="1022" y="2949"/>
                    <a:pt x="1054" y="2934"/>
                    <a:pt x="1053" y="2929"/>
                  </a:cubicBezTo>
                  <a:cubicBezTo>
                    <a:pt x="1053" y="2923"/>
                    <a:pt x="1055" y="2896"/>
                    <a:pt x="1055" y="2896"/>
                  </a:cubicBezTo>
                  <a:cubicBezTo>
                    <a:pt x="1047" y="2887"/>
                    <a:pt x="1047" y="2887"/>
                    <a:pt x="1047" y="2887"/>
                  </a:cubicBezTo>
                  <a:cubicBezTo>
                    <a:pt x="1055" y="2884"/>
                    <a:pt x="1055" y="2884"/>
                    <a:pt x="1055" y="2884"/>
                  </a:cubicBezTo>
                  <a:lnTo>
                    <a:pt x="1019" y="2855"/>
                  </a:lnTo>
                  <a:close/>
                  <a:moveTo>
                    <a:pt x="963" y="3279"/>
                  </a:moveTo>
                  <a:cubicBezTo>
                    <a:pt x="967" y="3284"/>
                    <a:pt x="973" y="3270"/>
                    <a:pt x="973" y="3270"/>
                  </a:cubicBezTo>
                  <a:cubicBezTo>
                    <a:pt x="970" y="3269"/>
                    <a:pt x="959" y="3275"/>
                    <a:pt x="963" y="3279"/>
                  </a:cubicBezTo>
                  <a:close/>
                  <a:moveTo>
                    <a:pt x="969" y="3407"/>
                  </a:moveTo>
                  <a:cubicBezTo>
                    <a:pt x="969" y="3407"/>
                    <a:pt x="988" y="3387"/>
                    <a:pt x="987" y="3381"/>
                  </a:cubicBezTo>
                  <a:cubicBezTo>
                    <a:pt x="987" y="3374"/>
                    <a:pt x="967" y="3380"/>
                    <a:pt x="967" y="3380"/>
                  </a:cubicBezTo>
                  <a:cubicBezTo>
                    <a:pt x="967" y="3380"/>
                    <a:pt x="969" y="3401"/>
                    <a:pt x="958" y="3401"/>
                  </a:cubicBezTo>
                  <a:lnTo>
                    <a:pt x="969" y="3407"/>
                  </a:lnTo>
                  <a:close/>
                  <a:moveTo>
                    <a:pt x="1311" y="3306"/>
                  </a:moveTo>
                  <a:cubicBezTo>
                    <a:pt x="1311" y="3306"/>
                    <a:pt x="1306" y="3311"/>
                    <a:pt x="1301" y="3312"/>
                  </a:cubicBezTo>
                  <a:cubicBezTo>
                    <a:pt x="1297" y="3313"/>
                    <a:pt x="1283" y="3282"/>
                    <a:pt x="1283" y="3282"/>
                  </a:cubicBezTo>
                  <a:cubicBezTo>
                    <a:pt x="1267" y="3284"/>
                    <a:pt x="1267" y="3284"/>
                    <a:pt x="1267" y="3284"/>
                  </a:cubicBezTo>
                  <a:cubicBezTo>
                    <a:pt x="1267" y="3284"/>
                    <a:pt x="1247" y="3257"/>
                    <a:pt x="1243" y="3254"/>
                  </a:cubicBezTo>
                  <a:cubicBezTo>
                    <a:pt x="1240" y="3251"/>
                    <a:pt x="1232" y="3259"/>
                    <a:pt x="1232" y="3259"/>
                  </a:cubicBezTo>
                  <a:cubicBezTo>
                    <a:pt x="1225" y="3254"/>
                    <a:pt x="1225" y="3254"/>
                    <a:pt x="1225" y="3254"/>
                  </a:cubicBezTo>
                  <a:cubicBezTo>
                    <a:pt x="1225" y="3254"/>
                    <a:pt x="1221" y="3259"/>
                    <a:pt x="1177" y="3246"/>
                  </a:cubicBezTo>
                  <a:cubicBezTo>
                    <a:pt x="1151" y="3178"/>
                    <a:pt x="1110" y="3148"/>
                    <a:pt x="1098" y="3154"/>
                  </a:cubicBezTo>
                  <a:cubicBezTo>
                    <a:pt x="1065" y="3170"/>
                    <a:pt x="1039" y="3189"/>
                    <a:pt x="1037" y="3191"/>
                  </a:cubicBezTo>
                  <a:cubicBezTo>
                    <a:pt x="1035" y="3193"/>
                    <a:pt x="1027" y="3183"/>
                    <a:pt x="1027" y="3183"/>
                  </a:cubicBezTo>
                  <a:cubicBezTo>
                    <a:pt x="1027" y="3183"/>
                    <a:pt x="1015" y="3189"/>
                    <a:pt x="1013" y="3189"/>
                  </a:cubicBezTo>
                  <a:cubicBezTo>
                    <a:pt x="1011" y="3189"/>
                    <a:pt x="1024" y="3221"/>
                    <a:pt x="1024" y="3221"/>
                  </a:cubicBezTo>
                  <a:cubicBezTo>
                    <a:pt x="1024" y="3221"/>
                    <a:pt x="1007" y="3226"/>
                    <a:pt x="1010" y="3236"/>
                  </a:cubicBezTo>
                  <a:cubicBezTo>
                    <a:pt x="1013" y="3246"/>
                    <a:pt x="1035" y="3254"/>
                    <a:pt x="1035" y="3254"/>
                  </a:cubicBezTo>
                  <a:cubicBezTo>
                    <a:pt x="1035" y="3254"/>
                    <a:pt x="1047" y="3247"/>
                    <a:pt x="1055" y="3247"/>
                  </a:cubicBezTo>
                  <a:cubicBezTo>
                    <a:pt x="1062" y="3247"/>
                    <a:pt x="1091" y="3279"/>
                    <a:pt x="1091" y="3279"/>
                  </a:cubicBezTo>
                  <a:cubicBezTo>
                    <a:pt x="1091" y="3279"/>
                    <a:pt x="1077" y="3277"/>
                    <a:pt x="1073" y="3277"/>
                  </a:cubicBezTo>
                  <a:cubicBezTo>
                    <a:pt x="1069" y="3277"/>
                    <a:pt x="1056" y="3267"/>
                    <a:pt x="1056" y="3267"/>
                  </a:cubicBezTo>
                  <a:cubicBezTo>
                    <a:pt x="1018" y="3264"/>
                    <a:pt x="1018" y="3264"/>
                    <a:pt x="1018" y="3264"/>
                  </a:cubicBezTo>
                  <a:cubicBezTo>
                    <a:pt x="1018" y="3264"/>
                    <a:pt x="1023" y="3285"/>
                    <a:pt x="1029" y="3287"/>
                  </a:cubicBezTo>
                  <a:cubicBezTo>
                    <a:pt x="1035" y="3289"/>
                    <a:pt x="1067" y="3299"/>
                    <a:pt x="1069" y="3299"/>
                  </a:cubicBezTo>
                  <a:cubicBezTo>
                    <a:pt x="1072" y="3299"/>
                    <a:pt x="1090" y="3287"/>
                    <a:pt x="1099" y="3289"/>
                  </a:cubicBezTo>
                  <a:cubicBezTo>
                    <a:pt x="1109" y="3292"/>
                    <a:pt x="1123" y="3291"/>
                    <a:pt x="1125" y="3291"/>
                  </a:cubicBezTo>
                  <a:cubicBezTo>
                    <a:pt x="1127" y="3291"/>
                    <a:pt x="1111" y="3283"/>
                    <a:pt x="1123" y="3283"/>
                  </a:cubicBezTo>
                  <a:cubicBezTo>
                    <a:pt x="1135" y="3283"/>
                    <a:pt x="1157" y="3267"/>
                    <a:pt x="1157" y="3267"/>
                  </a:cubicBezTo>
                  <a:cubicBezTo>
                    <a:pt x="1158" y="3283"/>
                    <a:pt x="1158" y="3283"/>
                    <a:pt x="1158" y="3283"/>
                  </a:cubicBezTo>
                  <a:cubicBezTo>
                    <a:pt x="1158" y="3283"/>
                    <a:pt x="1131" y="3303"/>
                    <a:pt x="1131" y="3305"/>
                  </a:cubicBezTo>
                  <a:cubicBezTo>
                    <a:pt x="1131" y="3307"/>
                    <a:pt x="1104" y="3305"/>
                    <a:pt x="1104" y="3305"/>
                  </a:cubicBezTo>
                  <a:cubicBezTo>
                    <a:pt x="1081" y="3334"/>
                    <a:pt x="1081" y="3334"/>
                    <a:pt x="1081" y="3334"/>
                  </a:cubicBezTo>
                  <a:cubicBezTo>
                    <a:pt x="1081" y="3334"/>
                    <a:pt x="1053" y="3363"/>
                    <a:pt x="1074" y="3373"/>
                  </a:cubicBezTo>
                  <a:cubicBezTo>
                    <a:pt x="1095" y="3384"/>
                    <a:pt x="1143" y="3347"/>
                    <a:pt x="1143" y="3347"/>
                  </a:cubicBezTo>
                  <a:cubicBezTo>
                    <a:pt x="1143" y="3347"/>
                    <a:pt x="1150" y="3351"/>
                    <a:pt x="1150" y="3360"/>
                  </a:cubicBezTo>
                  <a:cubicBezTo>
                    <a:pt x="1150" y="3369"/>
                    <a:pt x="1087" y="3391"/>
                    <a:pt x="1068" y="3389"/>
                  </a:cubicBezTo>
                  <a:cubicBezTo>
                    <a:pt x="1049" y="3388"/>
                    <a:pt x="1048" y="3381"/>
                    <a:pt x="1048" y="3381"/>
                  </a:cubicBezTo>
                  <a:cubicBezTo>
                    <a:pt x="1045" y="3400"/>
                    <a:pt x="1045" y="3400"/>
                    <a:pt x="1045" y="3400"/>
                  </a:cubicBezTo>
                  <a:cubicBezTo>
                    <a:pt x="1045" y="3400"/>
                    <a:pt x="1045" y="3400"/>
                    <a:pt x="1037" y="3398"/>
                  </a:cubicBezTo>
                  <a:cubicBezTo>
                    <a:pt x="1029" y="3374"/>
                    <a:pt x="1003" y="3374"/>
                    <a:pt x="1003" y="3374"/>
                  </a:cubicBezTo>
                  <a:cubicBezTo>
                    <a:pt x="986" y="3419"/>
                    <a:pt x="986" y="3419"/>
                    <a:pt x="986" y="3419"/>
                  </a:cubicBezTo>
                  <a:cubicBezTo>
                    <a:pt x="997" y="3415"/>
                    <a:pt x="997" y="3415"/>
                    <a:pt x="997" y="3415"/>
                  </a:cubicBezTo>
                  <a:cubicBezTo>
                    <a:pt x="997" y="3425"/>
                    <a:pt x="997" y="3425"/>
                    <a:pt x="997" y="3425"/>
                  </a:cubicBezTo>
                  <a:cubicBezTo>
                    <a:pt x="1007" y="3424"/>
                    <a:pt x="1007" y="3424"/>
                    <a:pt x="1007" y="3424"/>
                  </a:cubicBezTo>
                  <a:cubicBezTo>
                    <a:pt x="1009" y="3435"/>
                    <a:pt x="1009" y="3435"/>
                    <a:pt x="1009" y="3435"/>
                  </a:cubicBezTo>
                  <a:cubicBezTo>
                    <a:pt x="1037" y="3443"/>
                    <a:pt x="1037" y="3443"/>
                    <a:pt x="1037" y="3443"/>
                  </a:cubicBezTo>
                  <a:cubicBezTo>
                    <a:pt x="1042" y="3427"/>
                    <a:pt x="1042" y="3427"/>
                    <a:pt x="1042" y="3427"/>
                  </a:cubicBezTo>
                  <a:cubicBezTo>
                    <a:pt x="1096" y="3425"/>
                    <a:pt x="1096" y="3425"/>
                    <a:pt x="1096" y="3425"/>
                  </a:cubicBezTo>
                  <a:cubicBezTo>
                    <a:pt x="1125" y="3415"/>
                    <a:pt x="1125" y="3415"/>
                    <a:pt x="1125" y="3415"/>
                  </a:cubicBezTo>
                  <a:cubicBezTo>
                    <a:pt x="1125" y="3415"/>
                    <a:pt x="1127" y="3420"/>
                    <a:pt x="1136" y="3421"/>
                  </a:cubicBezTo>
                  <a:cubicBezTo>
                    <a:pt x="1145" y="3421"/>
                    <a:pt x="1162" y="3403"/>
                    <a:pt x="1162" y="3403"/>
                  </a:cubicBezTo>
                  <a:cubicBezTo>
                    <a:pt x="1185" y="3403"/>
                    <a:pt x="1185" y="3403"/>
                    <a:pt x="1185" y="3403"/>
                  </a:cubicBezTo>
                  <a:cubicBezTo>
                    <a:pt x="1211" y="3377"/>
                    <a:pt x="1211" y="3377"/>
                    <a:pt x="1211" y="3377"/>
                  </a:cubicBezTo>
                  <a:cubicBezTo>
                    <a:pt x="1223" y="3380"/>
                    <a:pt x="1223" y="3380"/>
                    <a:pt x="1223" y="3380"/>
                  </a:cubicBezTo>
                  <a:cubicBezTo>
                    <a:pt x="1205" y="3400"/>
                    <a:pt x="1205" y="3400"/>
                    <a:pt x="1205" y="3400"/>
                  </a:cubicBezTo>
                  <a:cubicBezTo>
                    <a:pt x="1205" y="3400"/>
                    <a:pt x="1199" y="3415"/>
                    <a:pt x="1239" y="3406"/>
                  </a:cubicBezTo>
                  <a:cubicBezTo>
                    <a:pt x="1323" y="3383"/>
                    <a:pt x="1311" y="3306"/>
                    <a:pt x="1311" y="3306"/>
                  </a:cubicBezTo>
                  <a:close/>
                  <a:moveTo>
                    <a:pt x="1268" y="3357"/>
                  </a:moveTo>
                  <a:cubicBezTo>
                    <a:pt x="1268" y="3357"/>
                    <a:pt x="1264" y="3339"/>
                    <a:pt x="1281" y="3347"/>
                  </a:cubicBezTo>
                  <a:cubicBezTo>
                    <a:pt x="1282" y="3354"/>
                    <a:pt x="1269" y="3360"/>
                    <a:pt x="1268" y="3357"/>
                  </a:cubicBezTo>
                  <a:close/>
                  <a:moveTo>
                    <a:pt x="1246" y="3475"/>
                  </a:moveTo>
                  <a:cubicBezTo>
                    <a:pt x="1246" y="3466"/>
                    <a:pt x="1246" y="3466"/>
                    <a:pt x="1246" y="3466"/>
                  </a:cubicBezTo>
                  <a:cubicBezTo>
                    <a:pt x="1245" y="3470"/>
                    <a:pt x="1235" y="3479"/>
                    <a:pt x="1239" y="3485"/>
                  </a:cubicBezTo>
                  <a:cubicBezTo>
                    <a:pt x="1243" y="3492"/>
                    <a:pt x="1246" y="3475"/>
                    <a:pt x="1246" y="3475"/>
                  </a:cubicBezTo>
                  <a:close/>
                  <a:moveTo>
                    <a:pt x="1264" y="3453"/>
                  </a:moveTo>
                  <a:cubicBezTo>
                    <a:pt x="1263" y="3443"/>
                    <a:pt x="1256" y="3469"/>
                    <a:pt x="1256" y="3469"/>
                  </a:cubicBezTo>
                  <a:cubicBezTo>
                    <a:pt x="1256" y="3469"/>
                    <a:pt x="1265" y="3462"/>
                    <a:pt x="1264" y="3453"/>
                  </a:cubicBezTo>
                  <a:close/>
                  <a:moveTo>
                    <a:pt x="1278" y="3469"/>
                  </a:moveTo>
                  <a:cubicBezTo>
                    <a:pt x="1279" y="3476"/>
                    <a:pt x="1279" y="3476"/>
                    <a:pt x="1279" y="3476"/>
                  </a:cubicBezTo>
                  <a:cubicBezTo>
                    <a:pt x="1285" y="3467"/>
                    <a:pt x="1285" y="3467"/>
                    <a:pt x="1285" y="3467"/>
                  </a:cubicBezTo>
                  <a:lnTo>
                    <a:pt x="1278" y="3469"/>
                  </a:lnTo>
                  <a:close/>
                </a:path>
              </a:pathLst>
            </a:custGeom>
            <a:blipFill dpi="0" rotWithShape="1">
              <a:blip r:embed="rId8"/>
              <a:srcRect/>
              <a:stretch>
                <a:fillRect/>
              </a:stretch>
            </a:blipFill>
            <a:ln w="6350" cap="flat" cmpd="sng">
              <a:solidFill>
                <a:schemeClr val="bg1"/>
              </a:solidFill>
              <a:prstDash val="solid"/>
              <a:round/>
              <a:headEnd type="none" w="med" len="med"/>
              <a:tailEnd type="none" w="med" len="med"/>
            </a:ln>
            <a:effectLst>
              <a:outerShdw dist="63500" dir="2212194" algn="ctr" rotWithShape="0">
                <a:srgbClr val="808080"/>
              </a:outerShdw>
            </a:effectLst>
          </p:spPr>
          <p:txBody>
            <a:bodyPr/>
            <a:lstStyle/>
            <a:p>
              <a:endParaRPr lang="en-US"/>
            </a:p>
          </p:txBody>
        </p:sp>
      </p:grpSp>
      <p:grpSp>
        <p:nvGrpSpPr>
          <p:cNvPr id="105" name="Group 45"/>
          <p:cNvGrpSpPr>
            <a:grpSpLocks/>
          </p:cNvGrpSpPr>
          <p:nvPr/>
        </p:nvGrpSpPr>
        <p:grpSpPr bwMode="auto">
          <a:xfrm rot="20287264">
            <a:off x="2519317" y="3702300"/>
            <a:ext cx="374712" cy="609369"/>
            <a:chOff x="1950" y="1045"/>
            <a:chExt cx="568" cy="928"/>
          </a:xfrm>
        </p:grpSpPr>
        <p:sp>
          <p:nvSpPr>
            <p:cNvPr id="106"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en-US" noProof="1">
                <a:latin typeface="Myriad Pro" pitchFamily="34" charset="0"/>
              </a:endParaRPr>
            </a:p>
          </p:txBody>
        </p:sp>
        <p:sp>
          <p:nvSpPr>
            <p:cNvPr id="107" name="Freeform 47"/>
            <p:cNvSpPr>
              <a:spLocks/>
            </p:cNvSpPr>
            <p:nvPr/>
          </p:nvSpPr>
          <p:spPr bwMode="gray">
            <a:xfrm>
              <a:off x="2014" y="1052"/>
              <a:ext cx="221" cy="326"/>
            </a:xfrm>
            <a:custGeom>
              <a:avLst/>
              <a:gdLst>
                <a:gd name="T0" fmla="*/ 1024880 w 150"/>
                <a:gd name="T1" fmla="*/ 0 h 222"/>
                <a:gd name="T2" fmla="*/ 1003064 w 150"/>
                <a:gd name="T3" fmla="*/ 0 h 222"/>
                <a:gd name="T4" fmla="*/ 952206 w 150"/>
                <a:gd name="T5" fmla="*/ 0 h 222"/>
                <a:gd name="T6" fmla="*/ 913135 w 150"/>
                <a:gd name="T7" fmla="*/ 0 h 222"/>
                <a:gd name="T8" fmla="*/ 866622 w 150"/>
                <a:gd name="T9" fmla="*/ 1 h 222"/>
                <a:gd name="T10" fmla="*/ 839209 w 150"/>
                <a:gd name="T11" fmla="*/ 1 h 222"/>
                <a:gd name="T12" fmla="*/ 800771 w 150"/>
                <a:gd name="T13" fmla="*/ 12956 h 222"/>
                <a:gd name="T14" fmla="*/ 766286 w 150"/>
                <a:gd name="T15" fmla="*/ 19025 h 222"/>
                <a:gd name="T16" fmla="*/ 725805 w 150"/>
                <a:gd name="T17" fmla="*/ 19025 h 222"/>
                <a:gd name="T18" fmla="*/ 695620 w 150"/>
                <a:gd name="T19" fmla="*/ 27938 h 222"/>
                <a:gd name="T20" fmla="*/ 659513 w 150"/>
                <a:gd name="T21" fmla="*/ 32041 h 222"/>
                <a:gd name="T22" fmla="*/ 629045 w 150"/>
                <a:gd name="T23" fmla="*/ 41026 h 222"/>
                <a:gd name="T24" fmla="*/ 598830 w 150"/>
                <a:gd name="T25" fmla="*/ 47051 h 222"/>
                <a:gd name="T26" fmla="*/ 563369 w 150"/>
                <a:gd name="T27" fmla="*/ 60245 h 222"/>
                <a:gd name="T28" fmla="*/ 543510 w 150"/>
                <a:gd name="T29" fmla="*/ 60245 h 222"/>
                <a:gd name="T30" fmla="*/ 503887 w 150"/>
                <a:gd name="T31" fmla="*/ 73482 h 222"/>
                <a:gd name="T32" fmla="*/ 489799 w 150"/>
                <a:gd name="T33" fmla="*/ 82237 h 222"/>
                <a:gd name="T34" fmla="*/ 446050 w 150"/>
                <a:gd name="T35" fmla="*/ 100940 h 222"/>
                <a:gd name="T36" fmla="*/ 446050 w 150"/>
                <a:gd name="T37" fmla="*/ 100940 h 222"/>
                <a:gd name="T38" fmla="*/ 178101 w 150"/>
                <a:gd name="T39" fmla="*/ 239281 h 222"/>
                <a:gd name="T40" fmla="*/ 171898 w 150"/>
                <a:gd name="T41" fmla="*/ 239281 h 222"/>
                <a:gd name="T42" fmla="*/ 178101 w 150"/>
                <a:gd name="T43" fmla="*/ 239281 h 222"/>
                <a:gd name="T44" fmla="*/ 0 w 150"/>
                <a:gd name="T45" fmla="*/ 1071857 h 222"/>
                <a:gd name="T46" fmla="*/ 74013 w 150"/>
                <a:gd name="T47" fmla="*/ 1527345 h 222"/>
                <a:gd name="T48" fmla="*/ 768968 w 150"/>
                <a:gd name="T49" fmla="*/ 1391177 h 222"/>
                <a:gd name="T50" fmla="*/ 768968 w 150"/>
                <a:gd name="T51" fmla="*/ 1391177 h 222"/>
                <a:gd name="T52" fmla="*/ 795957 w 150"/>
                <a:gd name="T53" fmla="*/ 1452879 h 222"/>
                <a:gd name="T54" fmla="*/ 710450 w 150"/>
                <a:gd name="T55" fmla="*/ 942015 h 222"/>
                <a:gd name="T56" fmla="*/ 1115359 w 150"/>
                <a:gd name="T57" fmla="*/ 82237 h 222"/>
                <a:gd name="T58" fmla="*/ 1115359 w 150"/>
                <a:gd name="T59" fmla="*/ 82237 h 222"/>
                <a:gd name="T60" fmla="*/ 1115359 w 150"/>
                <a:gd name="T61" fmla="*/ 0 h 222"/>
                <a:gd name="T62" fmla="*/ 102488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en-US" noProof="1">
                <a:latin typeface="Myriad Pro" pitchFamily="34" charset="0"/>
              </a:endParaRPr>
            </a:p>
          </p:txBody>
        </p:sp>
        <p:sp>
          <p:nvSpPr>
            <p:cNvPr id="108" name="Freeform 48"/>
            <p:cNvSpPr>
              <a:spLocks/>
            </p:cNvSpPr>
            <p:nvPr/>
          </p:nvSpPr>
          <p:spPr bwMode="gray">
            <a:xfrm>
              <a:off x="2032" y="1358"/>
              <a:ext cx="190" cy="199"/>
            </a:xfrm>
            <a:custGeom>
              <a:avLst/>
              <a:gdLst>
                <a:gd name="T0" fmla="*/ 595931 w 129"/>
                <a:gd name="T1" fmla="*/ 861973 h 136"/>
                <a:gd name="T2" fmla="*/ 795720 w 129"/>
                <a:gd name="T3" fmla="*/ 230651 h 136"/>
                <a:gd name="T4" fmla="*/ 752068 w 129"/>
                <a:gd name="T5" fmla="*/ 148697 h 136"/>
                <a:gd name="T6" fmla="*/ 752068 w 129"/>
                <a:gd name="T7" fmla="*/ 140257 h 136"/>
                <a:gd name="T8" fmla="*/ 699334 w 129"/>
                <a:gd name="T9" fmla="*/ 18239 h 136"/>
                <a:gd name="T10" fmla="*/ 688946 w 129"/>
                <a:gd name="T11" fmla="*/ 0 h 136"/>
                <a:gd name="T12" fmla="*/ 0 w 129"/>
                <a:gd name="T13" fmla="*/ 134306 h 136"/>
                <a:gd name="T14" fmla="*/ 33958 w 129"/>
                <a:gd name="T15" fmla="*/ 230651 h 136"/>
                <a:gd name="T16" fmla="*/ 595931 w 129"/>
                <a:gd name="T17" fmla="*/ 861973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en-US" noProof="1">
                <a:latin typeface="Myriad Pro" pitchFamily="34" charset="0"/>
              </a:endParaRPr>
            </a:p>
          </p:txBody>
        </p:sp>
        <p:sp>
          <p:nvSpPr>
            <p:cNvPr id="109" name="Freeform 49"/>
            <p:cNvSpPr>
              <a:spLocks/>
            </p:cNvSpPr>
            <p:nvPr/>
          </p:nvSpPr>
          <p:spPr bwMode="gray">
            <a:xfrm>
              <a:off x="1991" y="1388"/>
              <a:ext cx="486" cy="530"/>
            </a:xfrm>
            <a:custGeom>
              <a:avLst/>
              <a:gdLst>
                <a:gd name="T0" fmla="*/ 2115377 w 331"/>
                <a:gd name="T1" fmla="*/ 1 h 361"/>
                <a:gd name="T2" fmla="*/ 2079349 w 331"/>
                <a:gd name="T3" fmla="*/ 0 h 361"/>
                <a:gd name="T4" fmla="*/ 2079349 w 331"/>
                <a:gd name="T5" fmla="*/ 0 h 361"/>
                <a:gd name="T6" fmla="*/ 2052920 w 331"/>
                <a:gd name="T7" fmla="*/ 101157 h 361"/>
                <a:gd name="T8" fmla="*/ 1528988 w 331"/>
                <a:gd name="T9" fmla="*/ 787197 h 361"/>
                <a:gd name="T10" fmla="*/ 1338165 w 331"/>
                <a:gd name="T11" fmla="*/ 101157 h 361"/>
                <a:gd name="T12" fmla="*/ 1379083 w 331"/>
                <a:gd name="T13" fmla="*/ 12909 h 361"/>
                <a:gd name="T14" fmla="*/ 1379083 w 331"/>
                <a:gd name="T15" fmla="*/ 1 h 361"/>
                <a:gd name="T16" fmla="*/ 1325174 w 331"/>
                <a:gd name="T17" fmla="*/ 101157 h 361"/>
                <a:gd name="T18" fmla="*/ 1140746 w 331"/>
                <a:gd name="T19" fmla="*/ 222983 h 361"/>
                <a:gd name="T20" fmla="*/ 1140746 w 331"/>
                <a:gd name="T21" fmla="*/ 222983 h 361"/>
                <a:gd name="T22" fmla="*/ 1140746 w 331"/>
                <a:gd name="T23" fmla="*/ 222983 h 361"/>
                <a:gd name="T24" fmla="*/ 1140746 w 331"/>
                <a:gd name="T25" fmla="*/ 222983 h 361"/>
                <a:gd name="T26" fmla="*/ 949481 w 331"/>
                <a:gd name="T27" fmla="*/ 101157 h 361"/>
                <a:gd name="T28" fmla="*/ 889752 w 331"/>
                <a:gd name="T29" fmla="*/ 1 h 361"/>
                <a:gd name="T30" fmla="*/ 889752 w 331"/>
                <a:gd name="T31" fmla="*/ 12909 h 361"/>
                <a:gd name="T32" fmla="*/ 936482 w 331"/>
                <a:gd name="T33" fmla="*/ 101157 h 361"/>
                <a:gd name="T34" fmla="*/ 747923 w 331"/>
                <a:gd name="T35" fmla="*/ 787197 h 361"/>
                <a:gd name="T36" fmla="*/ 223250 w 331"/>
                <a:gd name="T37" fmla="*/ 101157 h 361"/>
                <a:gd name="T38" fmla="*/ 190371 w 331"/>
                <a:gd name="T39" fmla="*/ 0 h 361"/>
                <a:gd name="T40" fmla="*/ 190371 w 331"/>
                <a:gd name="T41" fmla="*/ 0 h 361"/>
                <a:gd name="T42" fmla="*/ 158142 w 331"/>
                <a:gd name="T43" fmla="*/ 1 h 361"/>
                <a:gd name="T44" fmla="*/ 0 w 331"/>
                <a:gd name="T45" fmla="*/ 157400 h 361"/>
                <a:gd name="T46" fmla="*/ 40961 w 331"/>
                <a:gd name="T47" fmla="*/ 419801 h 361"/>
                <a:gd name="T48" fmla="*/ 259333 w 331"/>
                <a:gd name="T49" fmla="*/ 1316532 h 361"/>
                <a:gd name="T50" fmla="*/ 1103277 w 331"/>
                <a:gd name="T51" fmla="*/ 2472443 h 361"/>
                <a:gd name="T52" fmla="*/ 1110682 w 331"/>
                <a:gd name="T53" fmla="*/ 2472443 h 361"/>
                <a:gd name="T54" fmla="*/ 1110682 w 331"/>
                <a:gd name="T55" fmla="*/ 2472443 h 361"/>
                <a:gd name="T56" fmla="*/ 1140746 w 331"/>
                <a:gd name="T57" fmla="*/ 2472443 h 361"/>
                <a:gd name="T58" fmla="*/ 1140746 w 331"/>
                <a:gd name="T59" fmla="*/ 2472443 h 361"/>
                <a:gd name="T60" fmla="*/ 1157725 w 331"/>
                <a:gd name="T61" fmla="*/ 2472443 h 361"/>
                <a:gd name="T62" fmla="*/ 1157725 w 331"/>
                <a:gd name="T63" fmla="*/ 2472443 h 361"/>
                <a:gd name="T64" fmla="*/ 1167804 w 331"/>
                <a:gd name="T65" fmla="*/ 2472443 h 361"/>
                <a:gd name="T66" fmla="*/ 2008635 w 331"/>
                <a:gd name="T67" fmla="*/ 1316532 h 361"/>
                <a:gd name="T68" fmla="*/ 2229169 w 331"/>
                <a:gd name="T69" fmla="*/ 419801 h 361"/>
                <a:gd name="T70" fmla="*/ 2273094 w 331"/>
                <a:gd name="T71" fmla="*/ 157400 h 361"/>
                <a:gd name="T72" fmla="*/ 2115377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en-US" noProof="1">
                <a:latin typeface="Myriad Pro" pitchFamily="34" charset="0"/>
              </a:endParaRPr>
            </a:p>
          </p:txBody>
        </p:sp>
        <p:sp>
          <p:nvSpPr>
            <p:cNvPr id="110" name="Freeform 50"/>
            <p:cNvSpPr>
              <a:spLocks/>
            </p:cNvSpPr>
            <p:nvPr/>
          </p:nvSpPr>
          <p:spPr bwMode="gray">
            <a:xfrm>
              <a:off x="2246" y="1358"/>
              <a:ext cx="190" cy="199"/>
            </a:xfrm>
            <a:custGeom>
              <a:avLst/>
              <a:gdLst>
                <a:gd name="T0" fmla="*/ 360624 w 129"/>
                <a:gd name="T1" fmla="*/ 861973 h 136"/>
                <a:gd name="T2" fmla="*/ 156863 w 129"/>
                <a:gd name="T3" fmla="*/ 230651 h 136"/>
                <a:gd name="T4" fmla="*/ 200544 w 129"/>
                <a:gd name="T5" fmla="*/ 148697 h 136"/>
                <a:gd name="T6" fmla="*/ 200544 w 129"/>
                <a:gd name="T7" fmla="*/ 140257 h 136"/>
                <a:gd name="T8" fmla="*/ 251975 w 129"/>
                <a:gd name="T9" fmla="*/ 18239 h 136"/>
                <a:gd name="T10" fmla="*/ 259291 w 129"/>
                <a:gd name="T11" fmla="*/ 0 h 136"/>
                <a:gd name="T12" fmla="*/ 951473 w 129"/>
                <a:gd name="T13" fmla="*/ 134306 h 136"/>
                <a:gd name="T14" fmla="*/ 921934 w 129"/>
                <a:gd name="T15" fmla="*/ 230651 h 136"/>
                <a:gd name="T16" fmla="*/ 360624 w 129"/>
                <a:gd name="T17" fmla="*/ 861973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en-US" noProof="1">
                <a:latin typeface="Myriad Pro" pitchFamily="34" charset="0"/>
              </a:endParaRPr>
            </a:p>
          </p:txBody>
        </p:sp>
        <p:sp>
          <p:nvSpPr>
            <p:cNvPr id="116" name="Freeform 51"/>
            <p:cNvSpPr>
              <a:spLocks noEditPoints="1"/>
            </p:cNvSpPr>
            <p:nvPr/>
          </p:nvSpPr>
          <p:spPr bwMode="gray">
            <a:xfrm>
              <a:off x="2179" y="1094"/>
              <a:ext cx="110" cy="316"/>
            </a:xfrm>
            <a:custGeom>
              <a:avLst/>
              <a:gdLst>
                <a:gd name="T0" fmla="*/ 254050 w 75"/>
                <a:gd name="T1" fmla="*/ 0 h 216"/>
                <a:gd name="T2" fmla="*/ 254050 w 75"/>
                <a:gd name="T3" fmla="*/ 0 h 216"/>
                <a:gd name="T4" fmla="*/ 254050 w 75"/>
                <a:gd name="T5" fmla="*/ 0 h 216"/>
                <a:gd name="T6" fmla="*/ 0 w 75"/>
                <a:gd name="T7" fmla="*/ 681630 h 216"/>
                <a:gd name="T8" fmla="*/ 0 w 75"/>
                <a:gd name="T9" fmla="*/ 735000 h 216"/>
                <a:gd name="T10" fmla="*/ 0 w 75"/>
                <a:gd name="T11" fmla="*/ 752849 h 216"/>
                <a:gd name="T12" fmla="*/ 1 w 75"/>
                <a:gd name="T13" fmla="*/ 783335 h 216"/>
                <a:gd name="T14" fmla="*/ 1 w 75"/>
                <a:gd name="T15" fmla="*/ 809477 h 216"/>
                <a:gd name="T16" fmla="*/ 1 w 75"/>
                <a:gd name="T17" fmla="*/ 833067 h 216"/>
                <a:gd name="T18" fmla="*/ 1 w 75"/>
                <a:gd name="T19" fmla="*/ 858600 h 216"/>
                <a:gd name="T20" fmla="*/ 12739 w 75"/>
                <a:gd name="T21" fmla="*/ 885118 h 216"/>
                <a:gd name="T22" fmla="*/ 12739 w 75"/>
                <a:gd name="T23" fmla="*/ 911250 h 216"/>
                <a:gd name="T24" fmla="*/ 18684 w 75"/>
                <a:gd name="T25" fmla="*/ 929078 h 216"/>
                <a:gd name="T26" fmla="*/ 18684 w 75"/>
                <a:gd name="T27" fmla="*/ 954041 h 216"/>
                <a:gd name="T28" fmla="*/ 27403 w 75"/>
                <a:gd name="T29" fmla="*/ 967297 h 216"/>
                <a:gd name="T30" fmla="*/ 40191 w 75"/>
                <a:gd name="T31" fmla="*/ 1041527 h 216"/>
                <a:gd name="T32" fmla="*/ 46160 w 75"/>
                <a:gd name="T33" fmla="*/ 1089148 h 216"/>
                <a:gd name="T34" fmla="*/ 86456 w 75"/>
                <a:gd name="T35" fmla="*/ 1196625 h 216"/>
                <a:gd name="T36" fmla="*/ 118102 w 75"/>
                <a:gd name="T37" fmla="*/ 1268452 h 216"/>
                <a:gd name="T38" fmla="*/ 254050 w 75"/>
                <a:gd name="T39" fmla="*/ 1363765 h 216"/>
                <a:gd name="T40" fmla="*/ 254050 w 75"/>
                <a:gd name="T41" fmla="*/ 1363765 h 216"/>
                <a:gd name="T42" fmla="*/ 254050 w 75"/>
                <a:gd name="T43" fmla="*/ 1363765 h 216"/>
                <a:gd name="T44" fmla="*/ 381880 w 75"/>
                <a:gd name="T45" fmla="*/ 1268452 h 216"/>
                <a:gd name="T46" fmla="*/ 419172 w 75"/>
                <a:gd name="T47" fmla="*/ 1196625 h 216"/>
                <a:gd name="T48" fmla="*/ 458624 w 75"/>
                <a:gd name="T49" fmla="*/ 1089148 h 216"/>
                <a:gd name="T50" fmla="*/ 468613 w 75"/>
                <a:gd name="T51" fmla="*/ 1041527 h 216"/>
                <a:gd name="T52" fmla="*/ 481445 w 75"/>
                <a:gd name="T53" fmla="*/ 967297 h 216"/>
                <a:gd name="T54" fmla="*/ 481445 w 75"/>
                <a:gd name="T55" fmla="*/ 954041 h 216"/>
                <a:gd name="T56" fmla="*/ 487401 w 75"/>
                <a:gd name="T57" fmla="*/ 929078 h 216"/>
                <a:gd name="T58" fmla="*/ 487401 w 75"/>
                <a:gd name="T59" fmla="*/ 911250 h 216"/>
                <a:gd name="T60" fmla="*/ 487401 w 75"/>
                <a:gd name="T61" fmla="*/ 885118 h 216"/>
                <a:gd name="T62" fmla="*/ 498840 w 75"/>
                <a:gd name="T63" fmla="*/ 858600 h 216"/>
                <a:gd name="T64" fmla="*/ 498840 w 75"/>
                <a:gd name="T65" fmla="*/ 833067 h 216"/>
                <a:gd name="T66" fmla="*/ 498840 w 75"/>
                <a:gd name="T67" fmla="*/ 809477 h 216"/>
                <a:gd name="T68" fmla="*/ 500171 w 75"/>
                <a:gd name="T69" fmla="*/ 783335 h 216"/>
                <a:gd name="T70" fmla="*/ 500171 w 75"/>
                <a:gd name="T71" fmla="*/ 752849 h 216"/>
                <a:gd name="T72" fmla="*/ 500171 w 75"/>
                <a:gd name="T73" fmla="*/ 735000 h 216"/>
                <a:gd name="T74" fmla="*/ 500171 w 75"/>
                <a:gd name="T75" fmla="*/ 681630 h 216"/>
                <a:gd name="T76" fmla="*/ 254050 w 75"/>
                <a:gd name="T77" fmla="*/ 0 h 216"/>
                <a:gd name="T78" fmla="*/ 254050 w 75"/>
                <a:gd name="T79" fmla="*/ 738362 h 216"/>
                <a:gd name="T80" fmla="*/ 254050 w 75"/>
                <a:gd name="T81" fmla="*/ 738362 h 216"/>
                <a:gd name="T82" fmla="*/ 254050 w 75"/>
                <a:gd name="T83" fmla="*/ 738362 h 216"/>
                <a:gd name="T84" fmla="*/ 254050 w 75"/>
                <a:gd name="T85" fmla="*/ 738362 h 216"/>
                <a:gd name="T86" fmla="*/ 114020 w 75"/>
                <a:gd name="T87" fmla="*/ 453678 h 216"/>
                <a:gd name="T88" fmla="*/ 254050 w 75"/>
                <a:gd name="T89" fmla="*/ 173370 h 216"/>
                <a:gd name="T90" fmla="*/ 254050 w 75"/>
                <a:gd name="T91" fmla="*/ 173370 h 216"/>
                <a:gd name="T92" fmla="*/ 254050 w 75"/>
                <a:gd name="T93" fmla="*/ 173370 h 216"/>
                <a:gd name="T94" fmla="*/ 254050 w 75"/>
                <a:gd name="T95" fmla="*/ 173370 h 216"/>
                <a:gd name="T96" fmla="*/ 399203 w 75"/>
                <a:gd name="T97" fmla="*/ 453678 h 216"/>
                <a:gd name="T98" fmla="*/ 254050 w 75"/>
                <a:gd name="T99" fmla="*/ 738362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en-US" noProof="1">
                <a:latin typeface="Myriad Pro" pitchFamily="34" charset="0"/>
              </a:endParaRPr>
            </a:p>
          </p:txBody>
        </p:sp>
        <p:sp>
          <p:nvSpPr>
            <p:cNvPr id="117" name="Freeform 52"/>
            <p:cNvSpPr>
              <a:spLocks/>
            </p:cNvSpPr>
            <p:nvPr/>
          </p:nvSpPr>
          <p:spPr bwMode="gray">
            <a:xfrm>
              <a:off x="2204" y="1133"/>
              <a:ext cx="62" cy="132"/>
            </a:xfrm>
            <a:custGeom>
              <a:avLst/>
              <a:gdLst>
                <a:gd name="T0" fmla="*/ 163640 w 42"/>
                <a:gd name="T1" fmla="*/ 0 h 90"/>
                <a:gd name="T2" fmla="*/ 163640 w 42"/>
                <a:gd name="T3" fmla="*/ 0 h 90"/>
                <a:gd name="T4" fmla="*/ 163640 w 42"/>
                <a:gd name="T5" fmla="*/ 0 h 90"/>
                <a:gd name="T6" fmla="*/ 0 w 42"/>
                <a:gd name="T7" fmla="*/ 300661 h 90"/>
                <a:gd name="T8" fmla="*/ 163640 w 42"/>
                <a:gd name="T9" fmla="*/ 604821 h 90"/>
                <a:gd name="T10" fmla="*/ 163640 w 42"/>
                <a:gd name="T11" fmla="*/ 604821 h 90"/>
                <a:gd name="T12" fmla="*/ 163640 w 42"/>
                <a:gd name="T13" fmla="*/ 604821 h 90"/>
                <a:gd name="T14" fmla="*/ 328978 w 42"/>
                <a:gd name="T15" fmla="*/ 300661 h 90"/>
                <a:gd name="T16" fmla="*/ 163640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en-US" noProof="1">
                <a:latin typeface="Myriad Pro" pitchFamily="34" charset="0"/>
              </a:endParaRPr>
            </a:p>
          </p:txBody>
        </p:sp>
        <p:sp>
          <p:nvSpPr>
            <p:cNvPr id="118"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en-US" noProof="1">
                <a:latin typeface="Myriad Pro" pitchFamily="34" charset="0"/>
              </a:endParaRPr>
            </a:p>
          </p:txBody>
        </p:sp>
        <p:sp>
          <p:nvSpPr>
            <p:cNvPr id="120" name="Freeform 54"/>
            <p:cNvSpPr>
              <a:spLocks/>
            </p:cNvSpPr>
            <p:nvPr/>
          </p:nvSpPr>
          <p:spPr bwMode="gray">
            <a:xfrm>
              <a:off x="1978" y="1112"/>
              <a:ext cx="62" cy="296"/>
            </a:xfrm>
            <a:custGeom>
              <a:avLst/>
              <a:gdLst>
                <a:gd name="T0" fmla="*/ 328978 w 42"/>
                <a:gd name="T1" fmla="*/ 0 h 201"/>
                <a:gd name="T2" fmla="*/ 99600 w 42"/>
                <a:gd name="T3" fmla="*/ 277751 h 201"/>
                <a:gd name="T4" fmla="*/ 99600 w 42"/>
                <a:gd name="T5" fmla="*/ 285474 h 201"/>
                <a:gd name="T6" fmla="*/ 85340 w 42"/>
                <a:gd name="T7" fmla="*/ 324880 h 201"/>
                <a:gd name="T8" fmla="*/ 76756 w 42"/>
                <a:gd name="T9" fmla="*/ 329860 h 201"/>
                <a:gd name="T10" fmla="*/ 76756 w 42"/>
                <a:gd name="T11" fmla="*/ 329860 h 201"/>
                <a:gd name="T12" fmla="*/ 65150 w 42"/>
                <a:gd name="T13" fmla="*/ 370452 h 201"/>
                <a:gd name="T14" fmla="*/ 65150 w 42"/>
                <a:gd name="T15" fmla="*/ 373350 h 201"/>
                <a:gd name="T16" fmla="*/ 45706 w 42"/>
                <a:gd name="T17" fmla="*/ 409026 h 201"/>
                <a:gd name="T18" fmla="*/ 45706 w 42"/>
                <a:gd name="T19" fmla="*/ 423714 h 201"/>
                <a:gd name="T20" fmla="*/ 30962 w 42"/>
                <a:gd name="T21" fmla="*/ 453347 h 201"/>
                <a:gd name="T22" fmla="*/ 30962 w 42"/>
                <a:gd name="T23" fmla="*/ 466771 h 201"/>
                <a:gd name="T24" fmla="*/ 20974 w 42"/>
                <a:gd name="T25" fmla="*/ 496809 h 201"/>
                <a:gd name="T26" fmla="*/ 20974 w 42"/>
                <a:gd name="T27" fmla="*/ 515669 h 201"/>
                <a:gd name="T28" fmla="*/ 20974 w 42"/>
                <a:gd name="T29" fmla="*/ 515669 h 201"/>
                <a:gd name="T30" fmla="*/ 20974 w 42"/>
                <a:gd name="T31" fmla="*/ 515669 h 201"/>
                <a:gd name="T32" fmla="*/ 14208 w 42"/>
                <a:gd name="T33" fmla="*/ 539260 h 201"/>
                <a:gd name="T34" fmla="*/ 1 w 42"/>
                <a:gd name="T35" fmla="*/ 559020 h 201"/>
                <a:gd name="T36" fmla="*/ 1 w 42"/>
                <a:gd name="T37" fmla="*/ 559020 h 201"/>
                <a:gd name="T38" fmla="*/ 1 w 42"/>
                <a:gd name="T39" fmla="*/ 559020 h 201"/>
                <a:gd name="T40" fmla="*/ 1 w 42"/>
                <a:gd name="T41" fmla="*/ 588925 h 201"/>
                <a:gd name="T42" fmla="*/ 1 w 42"/>
                <a:gd name="T43" fmla="*/ 588925 h 201"/>
                <a:gd name="T44" fmla="*/ 1 w 42"/>
                <a:gd name="T45" fmla="*/ 594434 h 201"/>
                <a:gd name="T46" fmla="*/ 0 w 42"/>
                <a:gd name="T47" fmla="*/ 637584 h 201"/>
                <a:gd name="T48" fmla="*/ 0 w 42"/>
                <a:gd name="T49" fmla="*/ 748083 h 201"/>
                <a:gd name="T50" fmla="*/ 65150 w 42"/>
                <a:gd name="T51" fmla="*/ 1476935 h 201"/>
                <a:gd name="T52" fmla="*/ 217043 w 42"/>
                <a:gd name="T53" fmla="*/ 1338444 h 201"/>
                <a:gd name="T54" fmla="*/ 217043 w 42"/>
                <a:gd name="T55" fmla="*/ 1338444 h 201"/>
                <a:gd name="T56" fmla="*/ 223974 w 42"/>
                <a:gd name="T57" fmla="*/ 1338444 h 201"/>
                <a:gd name="T58" fmla="*/ 263532 w 42"/>
                <a:gd name="T59" fmla="*/ 1332571 h 201"/>
                <a:gd name="T60" fmla="*/ 185968 w 42"/>
                <a:gd name="T61" fmla="*/ 843418 h 201"/>
                <a:gd name="T62" fmla="*/ 217043 w 42"/>
                <a:gd name="T63" fmla="*/ 271562 h 201"/>
                <a:gd name="T64" fmla="*/ 328978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en-US" noProof="1">
                <a:latin typeface="Myriad Pro" pitchFamily="34" charset="0"/>
              </a:endParaRPr>
            </a:p>
          </p:txBody>
        </p:sp>
        <p:sp>
          <p:nvSpPr>
            <p:cNvPr id="122" name="Freeform 55"/>
            <p:cNvSpPr>
              <a:spLocks/>
            </p:cNvSpPr>
            <p:nvPr/>
          </p:nvSpPr>
          <p:spPr bwMode="gray">
            <a:xfrm>
              <a:off x="2430" y="1112"/>
              <a:ext cx="62" cy="296"/>
            </a:xfrm>
            <a:custGeom>
              <a:avLst/>
              <a:gdLst>
                <a:gd name="T0" fmla="*/ 0 w 42"/>
                <a:gd name="T1" fmla="*/ 0 h 201"/>
                <a:gd name="T2" fmla="*/ 99600 w 42"/>
                <a:gd name="T3" fmla="*/ 271562 h 201"/>
                <a:gd name="T4" fmla="*/ 132487 w 42"/>
                <a:gd name="T5" fmla="*/ 843418 h 201"/>
                <a:gd name="T6" fmla="*/ 51996 w 42"/>
                <a:gd name="T7" fmla="*/ 1332571 h 201"/>
                <a:gd name="T8" fmla="*/ 99600 w 42"/>
                <a:gd name="T9" fmla="*/ 1338444 h 201"/>
                <a:gd name="T10" fmla="*/ 99600 w 42"/>
                <a:gd name="T11" fmla="*/ 1338444 h 201"/>
                <a:gd name="T12" fmla="*/ 99600 w 42"/>
                <a:gd name="T13" fmla="*/ 1338444 h 201"/>
                <a:gd name="T14" fmla="*/ 255286 w 42"/>
                <a:gd name="T15" fmla="*/ 1476935 h 201"/>
                <a:gd name="T16" fmla="*/ 328978 w 42"/>
                <a:gd name="T17" fmla="*/ 748083 h 201"/>
                <a:gd name="T18" fmla="*/ 320397 w 42"/>
                <a:gd name="T19" fmla="*/ 637584 h 201"/>
                <a:gd name="T20" fmla="*/ 320397 w 42"/>
                <a:gd name="T21" fmla="*/ 594434 h 201"/>
                <a:gd name="T22" fmla="*/ 309374 w 42"/>
                <a:gd name="T23" fmla="*/ 588925 h 201"/>
                <a:gd name="T24" fmla="*/ 309374 w 42"/>
                <a:gd name="T25" fmla="*/ 559020 h 201"/>
                <a:gd name="T26" fmla="*/ 305424 w 42"/>
                <a:gd name="T27" fmla="*/ 539260 h 201"/>
                <a:gd name="T28" fmla="*/ 305424 w 42"/>
                <a:gd name="T29" fmla="*/ 515669 h 201"/>
                <a:gd name="T30" fmla="*/ 305424 w 42"/>
                <a:gd name="T31" fmla="*/ 515669 h 201"/>
                <a:gd name="T32" fmla="*/ 297997 w 42"/>
                <a:gd name="T33" fmla="*/ 496809 h 201"/>
                <a:gd name="T34" fmla="*/ 297997 w 42"/>
                <a:gd name="T35" fmla="*/ 496809 h 201"/>
                <a:gd name="T36" fmla="*/ 297997 w 42"/>
                <a:gd name="T37" fmla="*/ 496809 h 201"/>
                <a:gd name="T38" fmla="*/ 297997 w 42"/>
                <a:gd name="T39" fmla="*/ 496809 h 201"/>
                <a:gd name="T40" fmla="*/ 288707 w 42"/>
                <a:gd name="T41" fmla="*/ 466771 h 201"/>
                <a:gd name="T42" fmla="*/ 288707 w 42"/>
                <a:gd name="T43" fmla="*/ 453347 h 201"/>
                <a:gd name="T44" fmla="*/ 278764 w 42"/>
                <a:gd name="T45" fmla="*/ 423714 h 201"/>
                <a:gd name="T46" fmla="*/ 274524 w 42"/>
                <a:gd name="T47" fmla="*/ 409026 h 201"/>
                <a:gd name="T48" fmla="*/ 263532 w 42"/>
                <a:gd name="T49" fmla="*/ 373350 h 201"/>
                <a:gd name="T50" fmla="*/ 255286 w 42"/>
                <a:gd name="T51" fmla="*/ 370452 h 201"/>
                <a:gd name="T52" fmla="*/ 241564 w 42"/>
                <a:gd name="T53" fmla="*/ 329860 h 201"/>
                <a:gd name="T54" fmla="*/ 241564 w 42"/>
                <a:gd name="T55" fmla="*/ 324880 h 201"/>
                <a:gd name="T56" fmla="*/ 217043 w 42"/>
                <a:gd name="T57" fmla="*/ 285474 h 201"/>
                <a:gd name="T58" fmla="*/ 217043 w 42"/>
                <a:gd name="T59" fmla="*/ 277751 h 201"/>
                <a:gd name="T60" fmla="*/ 30962 w 42"/>
                <a:gd name="T61" fmla="*/ 29238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en-US" noProof="1">
                <a:latin typeface="Myriad Pro" pitchFamily="34" charset="0"/>
              </a:endParaRPr>
            </a:p>
          </p:txBody>
        </p:sp>
        <p:sp>
          <p:nvSpPr>
            <p:cNvPr id="123" name="Freeform 56"/>
            <p:cNvSpPr>
              <a:spLocks noEditPoints="1"/>
            </p:cNvSpPr>
            <p:nvPr/>
          </p:nvSpPr>
          <p:spPr bwMode="gray">
            <a:xfrm>
              <a:off x="1990" y="1349"/>
              <a:ext cx="490" cy="74"/>
            </a:xfrm>
            <a:custGeom>
              <a:avLst/>
              <a:gdLst>
                <a:gd name="T0" fmla="*/ 186389 w 334"/>
                <a:gd name="T1" fmla="*/ 164797 h 50"/>
                <a:gd name="T2" fmla="*/ 140262 w 334"/>
                <a:gd name="T3" fmla="*/ 185897 h 50"/>
                <a:gd name="T4" fmla="*/ 0 w 334"/>
                <a:gd name="T5" fmla="*/ 338751 h 50"/>
                <a:gd name="T6" fmla="*/ 0 w 334"/>
                <a:gd name="T7" fmla="*/ 344674 h 50"/>
                <a:gd name="T8" fmla="*/ 1 w 334"/>
                <a:gd name="T9" fmla="*/ 413863 h 50"/>
                <a:gd name="T10" fmla="*/ 159417 w 334"/>
                <a:gd name="T11" fmla="*/ 228886 h 50"/>
                <a:gd name="T12" fmla="*/ 195720 w 334"/>
                <a:gd name="T13" fmla="*/ 222071 h 50"/>
                <a:gd name="T14" fmla="*/ 825461 w 334"/>
                <a:gd name="T15" fmla="*/ 47706 h 50"/>
                <a:gd name="T16" fmla="*/ 817046 w 334"/>
                <a:gd name="T17" fmla="*/ 0 h 50"/>
                <a:gd name="T18" fmla="*/ 186389 w 334"/>
                <a:gd name="T19" fmla="*/ 164797 h 50"/>
                <a:gd name="T20" fmla="*/ 2104789 w 334"/>
                <a:gd name="T21" fmla="*/ 185897 h 50"/>
                <a:gd name="T22" fmla="*/ 2062827 w 334"/>
                <a:gd name="T23" fmla="*/ 164797 h 50"/>
                <a:gd name="T24" fmla="*/ 1426067 w 334"/>
                <a:gd name="T25" fmla="*/ 0 h 50"/>
                <a:gd name="T26" fmla="*/ 1414590 w 334"/>
                <a:gd name="T27" fmla="*/ 47706 h 50"/>
                <a:gd name="T28" fmla="*/ 2045578 w 334"/>
                <a:gd name="T29" fmla="*/ 222071 h 50"/>
                <a:gd name="T30" fmla="*/ 2081866 w 334"/>
                <a:gd name="T31" fmla="*/ 228886 h 50"/>
                <a:gd name="T32" fmla="*/ 2232961 w 334"/>
                <a:gd name="T33" fmla="*/ 413863 h 50"/>
                <a:gd name="T34" fmla="*/ 2250750 w 334"/>
                <a:gd name="T35" fmla="*/ 344674 h 50"/>
                <a:gd name="T36" fmla="*/ 2250750 w 334"/>
                <a:gd name="T37" fmla="*/ 338751 h 50"/>
                <a:gd name="T38" fmla="*/ 2104789 w 334"/>
                <a:gd name="T39" fmla="*/ 185897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en-US" noProof="1">
                <a:latin typeface="Myriad Pro" pitchFamily="34" charset="0"/>
              </a:endParaRPr>
            </a:p>
          </p:txBody>
        </p:sp>
        <p:sp>
          <p:nvSpPr>
            <p:cNvPr id="124" name="Freeform 57"/>
            <p:cNvSpPr>
              <a:spLocks/>
            </p:cNvSpPr>
            <p:nvPr/>
          </p:nvSpPr>
          <p:spPr bwMode="gray">
            <a:xfrm>
              <a:off x="2235" y="1052"/>
              <a:ext cx="219" cy="326"/>
            </a:xfrm>
            <a:custGeom>
              <a:avLst/>
              <a:gdLst>
                <a:gd name="T0" fmla="*/ 66614 w 150"/>
                <a:gd name="T1" fmla="*/ 0 h 222"/>
                <a:gd name="T2" fmla="*/ 80747 w 150"/>
                <a:gd name="T3" fmla="*/ 0 h 222"/>
                <a:gd name="T4" fmla="*/ 126875 w 150"/>
                <a:gd name="T5" fmla="*/ 0 h 222"/>
                <a:gd name="T6" fmla="*/ 155620 w 150"/>
                <a:gd name="T7" fmla="*/ 0 h 222"/>
                <a:gd name="T8" fmla="*/ 195284 w 150"/>
                <a:gd name="T9" fmla="*/ 1 h 222"/>
                <a:gd name="T10" fmla="*/ 217436 w 150"/>
                <a:gd name="T11" fmla="*/ 1 h 222"/>
                <a:gd name="T12" fmla="*/ 251297 w 150"/>
                <a:gd name="T13" fmla="*/ 12956 h 222"/>
                <a:gd name="T14" fmla="*/ 277155 w 150"/>
                <a:gd name="T15" fmla="*/ 19025 h 222"/>
                <a:gd name="T16" fmla="*/ 306032 w 150"/>
                <a:gd name="T17" fmla="*/ 19025 h 222"/>
                <a:gd name="T18" fmla="*/ 338172 w 150"/>
                <a:gd name="T19" fmla="*/ 27938 h 222"/>
                <a:gd name="T20" fmla="*/ 362585 w 150"/>
                <a:gd name="T21" fmla="*/ 32041 h 222"/>
                <a:gd name="T22" fmla="*/ 392718 w 150"/>
                <a:gd name="T23" fmla="*/ 41026 h 222"/>
                <a:gd name="T24" fmla="*/ 411254 w 150"/>
                <a:gd name="T25" fmla="*/ 47051 h 222"/>
                <a:gd name="T26" fmla="*/ 441904 w 150"/>
                <a:gd name="T27" fmla="*/ 60245 h 222"/>
                <a:gd name="T28" fmla="*/ 458688 w 150"/>
                <a:gd name="T29" fmla="*/ 60245 h 222"/>
                <a:gd name="T30" fmla="*/ 485536 w 150"/>
                <a:gd name="T31" fmla="*/ 73482 h 222"/>
                <a:gd name="T32" fmla="*/ 499495 w 150"/>
                <a:gd name="T33" fmla="*/ 82237 h 222"/>
                <a:gd name="T34" fmla="*/ 535665 w 150"/>
                <a:gd name="T35" fmla="*/ 100940 h 222"/>
                <a:gd name="T36" fmla="*/ 535665 w 150"/>
                <a:gd name="T37" fmla="*/ 100940 h 222"/>
                <a:gd name="T38" fmla="*/ 761505 w 150"/>
                <a:gd name="T39" fmla="*/ 239281 h 222"/>
                <a:gd name="T40" fmla="*/ 761505 w 150"/>
                <a:gd name="T41" fmla="*/ 239281 h 222"/>
                <a:gd name="T42" fmla="*/ 761505 w 150"/>
                <a:gd name="T43" fmla="*/ 239281 h 222"/>
                <a:gd name="T44" fmla="*/ 905041 w 150"/>
                <a:gd name="T45" fmla="*/ 1071857 h 222"/>
                <a:gd name="T46" fmla="*/ 837117 w 150"/>
                <a:gd name="T47" fmla="*/ 1527345 h 222"/>
                <a:gd name="T48" fmla="*/ 270446 w 150"/>
                <a:gd name="T49" fmla="*/ 1391177 h 222"/>
                <a:gd name="T50" fmla="*/ 270446 w 150"/>
                <a:gd name="T51" fmla="*/ 1391177 h 222"/>
                <a:gd name="T52" fmla="*/ 251297 w 150"/>
                <a:gd name="T53" fmla="*/ 1452879 h 222"/>
                <a:gd name="T54" fmla="*/ 317457 w 150"/>
                <a:gd name="T55" fmla="*/ 942015 h 222"/>
                <a:gd name="T56" fmla="*/ 0 w 150"/>
                <a:gd name="T57" fmla="*/ 82237 h 222"/>
                <a:gd name="T58" fmla="*/ 0 w 150"/>
                <a:gd name="T59" fmla="*/ 82237 h 222"/>
                <a:gd name="T60" fmla="*/ 0 w 150"/>
                <a:gd name="T61" fmla="*/ 0 h 222"/>
                <a:gd name="T62" fmla="*/ 66614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en-US" noProof="1">
                <a:latin typeface="Myriad Pro" pitchFamily="34" charset="0"/>
              </a:endParaRPr>
            </a:p>
          </p:txBody>
        </p:sp>
      </p:grpSp>
    </p:spTree>
    <p:extLst>
      <p:ext uri="{BB962C8B-B14F-4D97-AF65-F5344CB8AC3E}">
        <p14:creationId xmlns:p14="http://schemas.microsoft.com/office/powerpoint/2010/main" val="2124194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300"/>
                                        <p:tgtEl>
                                          <p:spTgt spid="37"/>
                                        </p:tgtEl>
                                      </p:cBhvr>
                                    </p:animEffect>
                                  </p:childTnLst>
                                </p:cTn>
                              </p:par>
                            </p:childTnLst>
                          </p:cTn>
                        </p:par>
                        <p:par>
                          <p:cTn id="8" fill="hold">
                            <p:stCondLst>
                              <p:cond delay="300"/>
                            </p:stCondLst>
                            <p:childTnLst>
                              <p:par>
                                <p:cTn id="9" presetID="10" presetClass="entr" presetSubtype="0" fill="hold" nodeType="afterEffect">
                                  <p:stCondLst>
                                    <p:cond delay="1000"/>
                                  </p:stCondLst>
                                  <p:childTnLst>
                                    <p:set>
                                      <p:cBhvr>
                                        <p:cTn id="10" dur="1" fill="hold">
                                          <p:stCondLst>
                                            <p:cond delay="0"/>
                                          </p:stCondLst>
                                        </p:cTn>
                                        <p:tgtEl>
                                          <p:spTgt spid="112"/>
                                        </p:tgtEl>
                                        <p:attrNameLst>
                                          <p:attrName>style.visibility</p:attrName>
                                        </p:attrNameLst>
                                      </p:cBhvr>
                                      <p:to>
                                        <p:strVal val="visible"/>
                                      </p:to>
                                    </p:set>
                                    <p:animEffect transition="in" filter="fade">
                                      <p:cBhvr>
                                        <p:cTn id="11" dur="300"/>
                                        <p:tgtEl>
                                          <p:spTgt spid="112"/>
                                        </p:tgtEl>
                                      </p:cBhvr>
                                    </p:animEffect>
                                  </p:childTnLst>
                                </p:cTn>
                              </p:par>
                            </p:childTnLst>
                          </p:cTn>
                        </p:par>
                        <p:par>
                          <p:cTn id="12" fill="hold">
                            <p:stCondLst>
                              <p:cond delay="1600"/>
                            </p:stCondLst>
                            <p:childTnLst>
                              <p:par>
                                <p:cTn id="13" presetID="10" presetClass="entr" presetSubtype="0" fill="hold" grpId="0" nodeType="afterEffect">
                                  <p:stCondLst>
                                    <p:cond delay="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300"/>
                                        <p:tgtEl>
                                          <p:spTgt spid="111"/>
                                        </p:tgtEl>
                                      </p:cBhvr>
                                    </p:animEffect>
                                  </p:childTnLst>
                                </p:cTn>
                              </p:par>
                            </p:childTnLst>
                          </p:cTn>
                        </p:par>
                        <p:par>
                          <p:cTn id="16" fill="hold">
                            <p:stCondLst>
                              <p:cond delay="1900"/>
                            </p:stCondLst>
                            <p:childTnLst>
                              <p:par>
                                <p:cTn id="17" presetID="10" presetClass="entr" presetSubtype="0" fill="hold" nodeType="afterEffect">
                                  <p:stCondLst>
                                    <p:cond delay="1000"/>
                                  </p:stCondLst>
                                  <p:childTnLst>
                                    <p:set>
                                      <p:cBhvr>
                                        <p:cTn id="18" dur="1" fill="hold">
                                          <p:stCondLst>
                                            <p:cond delay="0"/>
                                          </p:stCondLst>
                                        </p:cTn>
                                        <p:tgtEl>
                                          <p:spTgt spid="47"/>
                                        </p:tgtEl>
                                        <p:attrNameLst>
                                          <p:attrName>style.visibility</p:attrName>
                                        </p:attrNameLst>
                                      </p:cBhvr>
                                      <p:to>
                                        <p:strVal val="visible"/>
                                      </p:to>
                                    </p:set>
                                    <p:animEffect transition="in" filter="fade">
                                      <p:cBhvr>
                                        <p:cTn id="19" dur="300"/>
                                        <p:tgtEl>
                                          <p:spTgt spid="47"/>
                                        </p:tgtEl>
                                      </p:cBhvr>
                                    </p:animEffect>
                                  </p:childTnLst>
                                </p:cTn>
                              </p:par>
                            </p:childTnLst>
                          </p:cTn>
                        </p:par>
                        <p:par>
                          <p:cTn id="20" fill="hold">
                            <p:stCondLst>
                              <p:cond delay="3200"/>
                            </p:stCondLst>
                            <p:childTnLst>
                              <p:par>
                                <p:cTn id="21" presetID="10" presetClass="entr" presetSubtype="0" fill="hold" grpId="0" nodeType="afterEffect">
                                  <p:stCondLst>
                                    <p:cond delay="0"/>
                                  </p:stCondLst>
                                  <p:childTnLst>
                                    <p:set>
                                      <p:cBhvr>
                                        <p:cTn id="22" dur="1" fill="hold">
                                          <p:stCondLst>
                                            <p:cond delay="0"/>
                                          </p:stCondLst>
                                        </p:cTn>
                                        <p:tgtEl>
                                          <p:spTgt spid="82"/>
                                        </p:tgtEl>
                                        <p:attrNameLst>
                                          <p:attrName>style.visibility</p:attrName>
                                        </p:attrNameLst>
                                      </p:cBhvr>
                                      <p:to>
                                        <p:strVal val="visible"/>
                                      </p:to>
                                    </p:set>
                                    <p:animEffect transition="in" filter="fade">
                                      <p:cBhvr>
                                        <p:cTn id="23" dur="300"/>
                                        <p:tgtEl>
                                          <p:spTgt spid="82"/>
                                        </p:tgtEl>
                                      </p:cBhvr>
                                    </p:animEffect>
                                  </p:childTnLst>
                                </p:cTn>
                              </p:par>
                            </p:childTnLst>
                          </p:cTn>
                        </p:par>
                        <p:par>
                          <p:cTn id="24" fill="hold">
                            <p:stCondLst>
                              <p:cond delay="3500"/>
                            </p:stCondLst>
                            <p:childTnLst>
                              <p:par>
                                <p:cTn id="25" presetID="10" presetClass="entr" presetSubtype="0" fill="hold" nodeType="afterEffect">
                                  <p:stCondLst>
                                    <p:cond delay="200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300"/>
                                        <p:tgtEl>
                                          <p:spTgt spid="43"/>
                                        </p:tgtEl>
                                      </p:cBhvr>
                                    </p:animEffect>
                                  </p:childTnLst>
                                </p:cTn>
                              </p:par>
                            </p:childTnLst>
                          </p:cTn>
                        </p:par>
                        <p:par>
                          <p:cTn id="28" fill="hold">
                            <p:stCondLst>
                              <p:cond delay="5800"/>
                            </p:stCondLst>
                            <p:childTnLst>
                              <p:par>
                                <p:cTn id="29" presetID="10" presetClass="entr" presetSubtype="0" fill="hold" nodeType="afterEffect">
                                  <p:stCondLst>
                                    <p:cond delay="100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300"/>
                                        <p:tgtEl>
                                          <p:spTgt spid="50"/>
                                        </p:tgtEl>
                                      </p:cBhvr>
                                    </p:animEffect>
                                  </p:childTnLst>
                                </p:cTn>
                              </p:par>
                            </p:childTnLst>
                          </p:cTn>
                        </p:par>
                        <p:par>
                          <p:cTn id="32" fill="hold">
                            <p:stCondLst>
                              <p:cond delay="7100"/>
                            </p:stCondLst>
                            <p:childTnLst>
                              <p:par>
                                <p:cTn id="33" presetID="10" presetClass="entr" presetSubtype="0" fill="hold" grpId="0" nodeType="after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fade">
                                      <p:cBhvr>
                                        <p:cTn id="35" dur="300"/>
                                        <p:tgtEl>
                                          <p:spTgt spid="83"/>
                                        </p:tgtEl>
                                      </p:cBhvr>
                                    </p:animEffect>
                                  </p:childTnLst>
                                </p:cTn>
                              </p:par>
                            </p:childTnLst>
                          </p:cTn>
                        </p:par>
                        <p:par>
                          <p:cTn id="36" fill="hold">
                            <p:stCondLst>
                              <p:cond delay="7400"/>
                            </p:stCondLst>
                            <p:childTnLst>
                              <p:par>
                                <p:cTn id="37" presetID="10" presetClass="entr" presetSubtype="0" fill="hold" nodeType="afterEffect">
                                  <p:stCondLst>
                                    <p:cond delay="0"/>
                                  </p:stCondLst>
                                  <p:childTnLst>
                                    <p:set>
                                      <p:cBhvr>
                                        <p:cTn id="38" dur="1" fill="hold">
                                          <p:stCondLst>
                                            <p:cond delay="0"/>
                                          </p:stCondLst>
                                        </p:cTn>
                                        <p:tgtEl>
                                          <p:spTgt spid="89"/>
                                        </p:tgtEl>
                                        <p:attrNameLst>
                                          <p:attrName>style.visibility</p:attrName>
                                        </p:attrNameLst>
                                      </p:cBhvr>
                                      <p:to>
                                        <p:strVal val="visible"/>
                                      </p:to>
                                    </p:set>
                                    <p:animEffect transition="in" filter="fade">
                                      <p:cBhvr>
                                        <p:cTn id="39" dur="300"/>
                                        <p:tgtEl>
                                          <p:spTgt spid="89"/>
                                        </p:tgtEl>
                                      </p:cBhvr>
                                    </p:animEffect>
                                  </p:childTnLst>
                                </p:cTn>
                              </p:par>
                            </p:childTnLst>
                          </p:cTn>
                        </p:par>
                        <p:par>
                          <p:cTn id="40" fill="hold">
                            <p:stCondLst>
                              <p:cond delay="7700"/>
                            </p:stCondLst>
                            <p:childTnLst>
                              <p:par>
                                <p:cTn id="41" presetID="10" presetClass="entr" presetSubtype="0" fill="hold" nodeType="afterEffect">
                                  <p:stCondLst>
                                    <p:cond delay="0"/>
                                  </p:stCondLst>
                                  <p:childTnLst>
                                    <p:set>
                                      <p:cBhvr>
                                        <p:cTn id="42" dur="1" fill="hold">
                                          <p:stCondLst>
                                            <p:cond delay="0"/>
                                          </p:stCondLst>
                                        </p:cTn>
                                        <p:tgtEl>
                                          <p:spTgt spid="105"/>
                                        </p:tgtEl>
                                        <p:attrNameLst>
                                          <p:attrName>style.visibility</p:attrName>
                                        </p:attrNameLst>
                                      </p:cBhvr>
                                      <p:to>
                                        <p:strVal val="visible"/>
                                      </p:to>
                                    </p:set>
                                    <p:animEffect transition="in" filter="fade">
                                      <p:cBhvr>
                                        <p:cTn id="43"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83" grpId="0"/>
      <p:bldP spid="1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18"/>
          <a:srcRect/>
          <a:stretch>
            <a:fillRect/>
          </a:stretch>
        </p:blipFill>
        <p:spPr bwMode="auto">
          <a:xfrm>
            <a:off x="-12700" y="305435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0" i="0" u="none" strike="noStrike" kern="0" cap="none" spc="0" normalizeH="0" baseline="0" noProof="0" dirty="0" smtClean="0">
                <a:ln>
                  <a:noFill/>
                </a:ln>
                <a:solidFill>
                  <a:schemeClr val="tx2"/>
                </a:solidFill>
                <a:effectLst/>
                <a:uLnTx/>
                <a:uFillTx/>
                <a:latin typeface="Myriad Pro" pitchFamily="34" charset="0"/>
                <a:ea typeface="+mj-ea"/>
                <a:cs typeface="+mj-cs"/>
              </a:rPr>
              <a:t>Pins </a:t>
            </a:r>
            <a:r>
              <a:rPr lang="de-DE" sz="2800" kern="0" dirty="0" smtClean="0">
                <a:solidFill>
                  <a:schemeClr val="tx2"/>
                </a:solidFill>
                <a:latin typeface="Myriad Pro" pitchFamily="34" charset="0"/>
                <a:ea typeface="+mj-ea"/>
                <a:cs typeface="+mj-cs"/>
              </a:rPr>
              <a:t>verwenden</a:t>
            </a:r>
          </a:p>
        </p:txBody>
      </p:sp>
      <p:sp>
        <p:nvSpPr>
          <p:cNvPr id="4" name="Textfeld 3"/>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10</a:t>
            </a:r>
            <a:endParaRPr lang="de-DE" sz="900" dirty="0">
              <a:solidFill>
                <a:schemeClr val="bg1">
                  <a:lumMod val="50000"/>
                </a:schemeClr>
              </a:solidFill>
            </a:endParaRPr>
          </a:p>
        </p:txBody>
      </p:sp>
      <p:grpSp>
        <p:nvGrpSpPr>
          <p:cNvPr id="8" name="Group 19"/>
          <p:cNvGrpSpPr>
            <a:grpSpLocks/>
          </p:cNvGrpSpPr>
          <p:nvPr/>
        </p:nvGrpSpPr>
        <p:grpSpPr bwMode="auto">
          <a:xfrm>
            <a:off x="5586300" y="626982"/>
            <a:ext cx="2678442" cy="3626574"/>
            <a:chOff x="670" y="640"/>
            <a:chExt cx="2195" cy="2972"/>
          </a:xfrm>
          <a:effectLst>
            <a:reflection blurRad="6350" stA="52000" endA="300" endPos="35000" dir="5400000" sy="-100000" algn="bl" rotWithShape="0"/>
          </a:effectLst>
        </p:grpSpPr>
        <p:sp>
          <p:nvSpPr>
            <p:cNvPr id="89"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0"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1"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2"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3"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4"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5"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6"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7"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8"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9"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0"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1"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2"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3"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15" name="Gruppieren 77"/>
          <p:cNvGrpSpPr/>
          <p:nvPr/>
        </p:nvGrpSpPr>
        <p:grpSpPr>
          <a:xfrm>
            <a:off x="5357348" y="735996"/>
            <a:ext cx="347663" cy="338138"/>
            <a:chOff x="203518" y="4966018"/>
            <a:chExt cx="347663" cy="338138"/>
          </a:xfrm>
        </p:grpSpPr>
        <p:pic>
          <p:nvPicPr>
            <p:cNvPr id="141" name="Grafik 140" descr="schatten.png"/>
            <p:cNvPicPr>
              <a:picLocks noChangeAspect="1"/>
            </p:cNvPicPr>
            <p:nvPr/>
          </p:nvPicPr>
          <p:blipFill>
            <a:blip r:embed="rId19" cstate="print">
              <a:lum bright="30000"/>
            </a:blip>
            <a:srcRect l="17603" t="9404" r="15359" b="14528"/>
            <a:stretch>
              <a:fillRect/>
            </a:stretch>
          </p:blipFill>
          <p:spPr>
            <a:xfrm>
              <a:off x="203518" y="4966018"/>
              <a:ext cx="347663" cy="338138"/>
            </a:xfrm>
            <a:prstGeom prst="rect">
              <a:avLst/>
            </a:prstGeom>
          </p:spPr>
        </p:pic>
        <p:sp>
          <p:nvSpPr>
            <p:cNvPr id="142"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3</a:t>
              </a:r>
            </a:p>
          </p:txBody>
        </p:sp>
      </p:grpSp>
      <p:grpSp>
        <p:nvGrpSpPr>
          <p:cNvPr id="69" name="Group 96"/>
          <p:cNvGrpSpPr>
            <a:grpSpLocks noChangeAspect="1"/>
          </p:cNvGrpSpPr>
          <p:nvPr/>
        </p:nvGrpSpPr>
        <p:grpSpPr bwMode="auto">
          <a:xfrm>
            <a:off x="777946" y="1670718"/>
            <a:ext cx="1408113" cy="1460500"/>
            <a:chOff x="4062" y="700"/>
            <a:chExt cx="1522" cy="1578"/>
          </a:xfrm>
        </p:grpSpPr>
        <p:pic>
          <p:nvPicPr>
            <p:cNvPr id="70" name="Picture 97" descr="Europäische-Union"/>
            <p:cNvPicPr>
              <a:picLocks noChangeAspect="1" noChangeArrowheads="1"/>
            </p:cNvPicPr>
            <p:nvPr/>
          </p:nvPicPr>
          <p:blipFill>
            <a:blip r:embed="rId20"/>
            <a:srcRect/>
            <a:stretch>
              <a:fillRect/>
            </a:stretch>
          </p:blipFill>
          <p:spPr bwMode="auto">
            <a:xfrm>
              <a:off x="4062" y="700"/>
              <a:ext cx="987" cy="1578"/>
            </a:xfrm>
            <a:prstGeom prst="rect">
              <a:avLst/>
            </a:prstGeom>
            <a:noFill/>
          </p:spPr>
        </p:pic>
        <p:sp>
          <p:nvSpPr>
            <p:cNvPr id="71" name="Freeform 98"/>
            <p:cNvSpPr>
              <a:spLocks noChangeAspect="1"/>
            </p:cNvSpPr>
            <p:nvPr/>
          </p:nvSpPr>
          <p:spPr bwMode="auto">
            <a:xfrm>
              <a:off x="4219" y="1627"/>
              <a:ext cx="1365" cy="581"/>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119" name="Group 96"/>
          <p:cNvGrpSpPr>
            <a:grpSpLocks noChangeAspect="1"/>
          </p:cNvGrpSpPr>
          <p:nvPr/>
        </p:nvGrpSpPr>
        <p:grpSpPr bwMode="auto">
          <a:xfrm>
            <a:off x="3453965" y="2118360"/>
            <a:ext cx="976528" cy="1012858"/>
            <a:chOff x="4062" y="700"/>
            <a:chExt cx="1522" cy="1578"/>
          </a:xfrm>
        </p:grpSpPr>
        <p:pic>
          <p:nvPicPr>
            <p:cNvPr id="120" name="Picture 97" descr="Europäische-Union"/>
            <p:cNvPicPr>
              <a:picLocks noChangeAspect="1" noChangeArrowheads="1"/>
            </p:cNvPicPr>
            <p:nvPr/>
          </p:nvPicPr>
          <p:blipFill>
            <a:blip r:embed="rId20"/>
            <a:srcRect/>
            <a:stretch>
              <a:fillRect/>
            </a:stretch>
          </p:blipFill>
          <p:spPr bwMode="auto">
            <a:xfrm>
              <a:off x="4062" y="700"/>
              <a:ext cx="987" cy="1578"/>
            </a:xfrm>
            <a:prstGeom prst="rect">
              <a:avLst/>
            </a:prstGeom>
            <a:noFill/>
          </p:spPr>
        </p:pic>
        <p:sp>
          <p:nvSpPr>
            <p:cNvPr id="121" name="Freeform 98"/>
            <p:cNvSpPr>
              <a:spLocks noChangeAspect="1"/>
            </p:cNvSpPr>
            <p:nvPr/>
          </p:nvSpPr>
          <p:spPr bwMode="auto">
            <a:xfrm>
              <a:off x="4219" y="1627"/>
              <a:ext cx="1365" cy="581"/>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161" name="Gruppieren 77"/>
          <p:cNvGrpSpPr/>
          <p:nvPr/>
        </p:nvGrpSpPr>
        <p:grpSpPr>
          <a:xfrm>
            <a:off x="3032688" y="2124900"/>
            <a:ext cx="347663" cy="338138"/>
            <a:chOff x="203518" y="4966018"/>
            <a:chExt cx="347663" cy="338138"/>
          </a:xfrm>
        </p:grpSpPr>
        <p:pic>
          <p:nvPicPr>
            <p:cNvPr id="162" name="Grafik 161" descr="schatten.png"/>
            <p:cNvPicPr>
              <a:picLocks noChangeAspect="1"/>
            </p:cNvPicPr>
            <p:nvPr/>
          </p:nvPicPr>
          <p:blipFill>
            <a:blip r:embed="rId19" cstate="print">
              <a:lum bright="30000"/>
            </a:blip>
            <a:srcRect l="17603" t="9404" r="15359" b="14528"/>
            <a:stretch>
              <a:fillRect/>
            </a:stretch>
          </p:blipFill>
          <p:spPr>
            <a:xfrm>
              <a:off x="203518" y="4966018"/>
              <a:ext cx="347663" cy="338138"/>
            </a:xfrm>
            <a:prstGeom prst="rect">
              <a:avLst/>
            </a:prstGeom>
          </p:spPr>
        </p:pic>
        <p:sp>
          <p:nvSpPr>
            <p:cNvPr id="163"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64" name="Gruppieren 77"/>
          <p:cNvGrpSpPr/>
          <p:nvPr/>
        </p:nvGrpSpPr>
        <p:grpSpPr>
          <a:xfrm>
            <a:off x="434856" y="1678269"/>
            <a:ext cx="347663" cy="338138"/>
            <a:chOff x="203518" y="4966018"/>
            <a:chExt cx="347663" cy="338138"/>
          </a:xfrm>
        </p:grpSpPr>
        <p:pic>
          <p:nvPicPr>
            <p:cNvPr id="165" name="Grafik 164" descr="schatten.png"/>
            <p:cNvPicPr>
              <a:picLocks noChangeAspect="1"/>
            </p:cNvPicPr>
            <p:nvPr/>
          </p:nvPicPr>
          <p:blipFill>
            <a:blip r:embed="rId19" cstate="print">
              <a:lum bright="30000"/>
            </a:blip>
            <a:srcRect l="17603" t="9404" r="15359" b="14528"/>
            <a:stretch>
              <a:fillRect/>
            </a:stretch>
          </p:blipFill>
          <p:spPr>
            <a:xfrm>
              <a:off x="203518" y="4966018"/>
              <a:ext cx="347663" cy="338138"/>
            </a:xfrm>
            <a:prstGeom prst="rect">
              <a:avLst/>
            </a:prstGeom>
          </p:spPr>
        </p:pic>
        <p:sp>
          <p:nvSpPr>
            <p:cNvPr id="166"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1</a:t>
              </a:r>
            </a:p>
          </p:txBody>
        </p:sp>
      </p:grpSp>
      <p:sp>
        <p:nvSpPr>
          <p:cNvPr id="179" name="Rectangle 5"/>
          <p:cNvSpPr>
            <a:spLocks noChangeArrowheads="1"/>
          </p:cNvSpPr>
          <p:nvPr/>
        </p:nvSpPr>
        <p:spPr bwMode="gray">
          <a:xfrm>
            <a:off x="639763" y="4627750"/>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Markieren Sie zunächst mit der linken Maustaste die Pins , die sie verwenden möchten.</a:t>
            </a:r>
            <a:endParaRPr lang="de-DE" sz="1200" dirty="0">
              <a:latin typeface="Myriad Pro" pitchFamily="34" charset="0"/>
              <a:ea typeface="Arial Unicode MS" pitchFamily="34" charset="-128"/>
              <a:cs typeface="Arial" charset="0"/>
            </a:endParaRPr>
          </a:p>
        </p:txBody>
      </p:sp>
      <p:sp>
        <p:nvSpPr>
          <p:cNvPr id="180" name="PPTShape_5"/>
          <p:cNvSpPr>
            <a:spLocks noChangeArrowheads="1"/>
          </p:cNvSpPr>
          <p:nvPr/>
        </p:nvSpPr>
        <p:spPr bwMode="gray">
          <a:xfrm>
            <a:off x="639763" y="5244706"/>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Im 2. Schritt können sie die Pins kleiner und größer skalieren, indem sie mit gedrückter linker Maus- und Umschalt-Taste (</a:t>
            </a:r>
            <a:r>
              <a:rPr lang="de-DE" sz="1200" dirty="0" err="1" smtClean="0">
                <a:solidFill>
                  <a:srgbClr val="000000"/>
                </a:solidFill>
                <a:latin typeface="Myriad Pro" pitchFamily="34" charset="0"/>
                <a:ea typeface="Arial Unicode MS" pitchFamily="34" charset="-128"/>
                <a:cs typeface="Arial" charset="0"/>
              </a:rPr>
              <a:t>Shift</a:t>
            </a:r>
            <a:r>
              <a:rPr lang="de-DE" sz="1200" dirty="0" smtClean="0">
                <a:solidFill>
                  <a:srgbClr val="000000"/>
                </a:solidFill>
                <a:latin typeface="Myriad Pro" pitchFamily="34" charset="0"/>
                <a:ea typeface="Arial Unicode MS" pitchFamily="34" charset="-128"/>
                <a:cs typeface="Arial" charset="0"/>
              </a:rPr>
              <a:t>) die Pins  an einem der erschienenen Eckpunkte  auf die gewünschte Größe verändern. </a:t>
            </a:r>
            <a:endParaRPr lang="de-DE" dirty="0">
              <a:solidFill>
                <a:srgbClr val="000000"/>
              </a:solidFill>
              <a:ea typeface="Arial Unicode MS" pitchFamily="34" charset="-128"/>
              <a:cs typeface="Arial" charset="0"/>
            </a:endParaRPr>
          </a:p>
        </p:txBody>
      </p:sp>
      <p:sp>
        <p:nvSpPr>
          <p:cNvPr id="181" name="PPTShape_6"/>
          <p:cNvSpPr>
            <a:spLocks noChangeArrowheads="1"/>
          </p:cNvSpPr>
          <p:nvPr/>
        </p:nvSpPr>
        <p:spPr bwMode="gray">
          <a:xfrm>
            <a:off x="639763" y="5833668"/>
            <a:ext cx="8251825" cy="423862"/>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Hier können Sie die neuen Pins,  z.B. auf einer Deutschlandkarte platzieren, um Ihre Vertriebsstandorte zu kennzeichnen. </a:t>
            </a:r>
            <a:endParaRPr lang="de-DE" sz="1200" dirty="0">
              <a:solidFill>
                <a:srgbClr val="000000"/>
              </a:solidFill>
              <a:latin typeface="Myriad Pro" pitchFamily="34" charset="0"/>
              <a:ea typeface="Arial Unicode MS" pitchFamily="34" charset="-128"/>
              <a:cs typeface="Arial" charset="0"/>
            </a:endParaRPr>
          </a:p>
        </p:txBody>
      </p:sp>
      <p:grpSp>
        <p:nvGrpSpPr>
          <p:cNvPr id="182" name="Gruppieren 275"/>
          <p:cNvGrpSpPr/>
          <p:nvPr/>
        </p:nvGrpSpPr>
        <p:grpSpPr>
          <a:xfrm>
            <a:off x="203518" y="4627750"/>
            <a:ext cx="347663" cy="338138"/>
            <a:chOff x="203518" y="4378643"/>
            <a:chExt cx="347663" cy="338138"/>
          </a:xfrm>
        </p:grpSpPr>
        <p:pic>
          <p:nvPicPr>
            <p:cNvPr id="183" name="Grafik 182" descr="schatten.png"/>
            <p:cNvPicPr>
              <a:picLocks noChangeAspect="1"/>
            </p:cNvPicPr>
            <p:nvPr/>
          </p:nvPicPr>
          <p:blipFill>
            <a:blip r:embed="rId19" cstate="print">
              <a:lum bright="30000"/>
            </a:blip>
            <a:srcRect l="17603" t="9404" r="15359" b="14528"/>
            <a:stretch>
              <a:fillRect/>
            </a:stretch>
          </p:blipFill>
          <p:spPr>
            <a:xfrm>
              <a:off x="203518" y="4378643"/>
              <a:ext cx="347663" cy="338138"/>
            </a:xfrm>
            <a:prstGeom prst="rect">
              <a:avLst/>
            </a:prstGeom>
          </p:spPr>
        </p:pic>
        <p:sp>
          <p:nvSpPr>
            <p:cNvPr id="184"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85" name="Gruppieren 278"/>
          <p:cNvGrpSpPr/>
          <p:nvPr/>
        </p:nvGrpSpPr>
        <p:grpSpPr>
          <a:xfrm>
            <a:off x="203518" y="5244706"/>
            <a:ext cx="347663" cy="338138"/>
            <a:chOff x="203518" y="4966018"/>
            <a:chExt cx="347663" cy="338138"/>
          </a:xfrm>
        </p:grpSpPr>
        <p:pic>
          <p:nvPicPr>
            <p:cNvPr id="186" name="Grafik 185" descr="schatten.png"/>
            <p:cNvPicPr>
              <a:picLocks noChangeAspect="1"/>
            </p:cNvPicPr>
            <p:nvPr/>
          </p:nvPicPr>
          <p:blipFill>
            <a:blip r:embed="rId19" cstate="print">
              <a:lum bright="30000"/>
            </a:blip>
            <a:srcRect l="17603" t="9404" r="15359" b="14528"/>
            <a:stretch>
              <a:fillRect/>
            </a:stretch>
          </p:blipFill>
          <p:spPr>
            <a:xfrm>
              <a:off x="203518" y="4966018"/>
              <a:ext cx="347663" cy="338138"/>
            </a:xfrm>
            <a:prstGeom prst="rect">
              <a:avLst/>
            </a:prstGeom>
          </p:spPr>
        </p:pic>
        <p:sp>
          <p:nvSpPr>
            <p:cNvPr id="187"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88" name="Gruppieren 281"/>
          <p:cNvGrpSpPr/>
          <p:nvPr/>
        </p:nvGrpSpPr>
        <p:grpSpPr>
          <a:xfrm>
            <a:off x="203518" y="5833668"/>
            <a:ext cx="347663" cy="338138"/>
            <a:chOff x="203518" y="5554980"/>
            <a:chExt cx="347663" cy="338138"/>
          </a:xfrm>
        </p:grpSpPr>
        <p:pic>
          <p:nvPicPr>
            <p:cNvPr id="189" name="Grafik 188" descr="schatten.png"/>
            <p:cNvPicPr>
              <a:picLocks noChangeAspect="1"/>
            </p:cNvPicPr>
            <p:nvPr/>
          </p:nvPicPr>
          <p:blipFill>
            <a:blip r:embed="rId19" cstate="print">
              <a:lum bright="30000"/>
            </a:blip>
            <a:srcRect l="17603" t="9404" r="15359" b="14528"/>
            <a:stretch>
              <a:fillRect/>
            </a:stretch>
          </p:blipFill>
          <p:spPr>
            <a:xfrm>
              <a:off x="203518" y="5554980"/>
              <a:ext cx="347663" cy="338138"/>
            </a:xfrm>
            <a:prstGeom prst="rect">
              <a:avLst/>
            </a:prstGeom>
          </p:spPr>
        </p:pic>
        <p:sp>
          <p:nvSpPr>
            <p:cNvPr id="190"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191" name="Gruppieren 190"/>
          <p:cNvGrpSpPr/>
          <p:nvPr/>
        </p:nvGrpSpPr>
        <p:grpSpPr>
          <a:xfrm>
            <a:off x="3417837" y="1823650"/>
            <a:ext cx="1010206" cy="1351437"/>
            <a:chOff x="3417837" y="1823650"/>
            <a:chExt cx="1010206" cy="1351437"/>
          </a:xfrm>
        </p:grpSpPr>
        <p:sp>
          <p:nvSpPr>
            <p:cNvPr id="167" name="Rechteck 166"/>
            <p:cNvSpPr/>
            <p:nvPr/>
          </p:nvSpPr>
          <p:spPr>
            <a:xfrm>
              <a:off x="3452814" y="2050256"/>
              <a:ext cx="937526" cy="1091405"/>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8" name="Rechteck 167"/>
            <p:cNvSpPr/>
            <p:nvPr/>
          </p:nvSpPr>
          <p:spPr>
            <a:xfrm>
              <a:off x="3417837" y="255988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9" name="Rechteck 168"/>
            <p:cNvSpPr/>
            <p:nvPr/>
          </p:nvSpPr>
          <p:spPr>
            <a:xfrm>
              <a:off x="3892340" y="31138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0" name="Ellipse 169"/>
            <p:cNvSpPr/>
            <p:nvPr/>
          </p:nvSpPr>
          <p:spPr>
            <a:xfrm>
              <a:off x="4339743" y="20058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1" name="Ellipse 170"/>
            <p:cNvSpPr/>
            <p:nvPr/>
          </p:nvSpPr>
          <p:spPr>
            <a:xfrm>
              <a:off x="3417837" y="309948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Rechteck 171"/>
            <p:cNvSpPr/>
            <p:nvPr/>
          </p:nvSpPr>
          <p:spPr>
            <a:xfrm>
              <a:off x="4354143" y="255988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3" name="Ellipse 172"/>
            <p:cNvSpPr/>
            <p:nvPr/>
          </p:nvSpPr>
          <p:spPr>
            <a:xfrm>
              <a:off x="4352443" y="309948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74" name="Gruppieren 139"/>
            <p:cNvGrpSpPr/>
            <p:nvPr/>
          </p:nvGrpSpPr>
          <p:grpSpPr>
            <a:xfrm>
              <a:off x="3878790" y="1823650"/>
              <a:ext cx="75600" cy="257824"/>
              <a:chOff x="5656766" y="771104"/>
              <a:chExt cx="75600" cy="257824"/>
            </a:xfrm>
          </p:grpSpPr>
          <p:sp>
            <p:nvSpPr>
              <p:cNvPr id="176" name="Ellipse 175"/>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177" name="Rechteck 176"/>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78" name="Gerade Verbindung 177"/>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175" name="Ellipse 174"/>
            <p:cNvSpPr/>
            <p:nvPr/>
          </p:nvSpPr>
          <p:spPr>
            <a:xfrm>
              <a:off x="3417837" y="200587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31" name="Gruppieren 230"/>
          <p:cNvGrpSpPr/>
          <p:nvPr/>
        </p:nvGrpSpPr>
        <p:grpSpPr>
          <a:xfrm>
            <a:off x="811161" y="1385500"/>
            <a:ext cx="1435656" cy="1789587"/>
            <a:chOff x="811161" y="1385500"/>
            <a:chExt cx="1435656" cy="1789587"/>
          </a:xfrm>
        </p:grpSpPr>
        <p:sp>
          <p:nvSpPr>
            <p:cNvPr id="219" name="Rechteck 218"/>
            <p:cNvSpPr/>
            <p:nvPr/>
          </p:nvSpPr>
          <p:spPr>
            <a:xfrm>
              <a:off x="846138" y="1612900"/>
              <a:ext cx="1357312" cy="1528761"/>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20" name="Rechteck 219"/>
            <p:cNvSpPr/>
            <p:nvPr/>
          </p:nvSpPr>
          <p:spPr>
            <a:xfrm>
              <a:off x="811161" y="234080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1" name="Rechteck 220"/>
            <p:cNvSpPr/>
            <p:nvPr/>
          </p:nvSpPr>
          <p:spPr>
            <a:xfrm>
              <a:off x="1498389" y="3113887"/>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2" name="Ellipse 221"/>
            <p:cNvSpPr/>
            <p:nvPr/>
          </p:nvSpPr>
          <p:spPr>
            <a:xfrm>
              <a:off x="2158517" y="156772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3" name="Ellipse 222"/>
            <p:cNvSpPr/>
            <p:nvPr/>
          </p:nvSpPr>
          <p:spPr>
            <a:xfrm>
              <a:off x="811161" y="309948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4" name="Rechteck 223"/>
            <p:cNvSpPr/>
            <p:nvPr/>
          </p:nvSpPr>
          <p:spPr>
            <a:xfrm>
              <a:off x="2172917" y="2340805"/>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5" name="Ellipse 224"/>
            <p:cNvSpPr/>
            <p:nvPr/>
          </p:nvSpPr>
          <p:spPr>
            <a:xfrm>
              <a:off x="2171217" y="3099487"/>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26" name="Gruppieren 139"/>
            <p:cNvGrpSpPr/>
            <p:nvPr/>
          </p:nvGrpSpPr>
          <p:grpSpPr>
            <a:xfrm>
              <a:off x="1484839" y="1385500"/>
              <a:ext cx="75600" cy="257824"/>
              <a:chOff x="5656766" y="771104"/>
              <a:chExt cx="75600" cy="257824"/>
            </a:xfrm>
          </p:grpSpPr>
          <p:sp>
            <p:nvSpPr>
              <p:cNvPr id="228" name="Ellipse 227"/>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229" name="Rechteck 228"/>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30" name="Gerade Verbindung 229"/>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227" name="Ellipse 226"/>
            <p:cNvSpPr/>
            <p:nvPr/>
          </p:nvSpPr>
          <p:spPr>
            <a:xfrm>
              <a:off x="811161" y="1567724"/>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23" name="Gruppieren 122"/>
          <p:cNvGrpSpPr/>
          <p:nvPr/>
        </p:nvGrpSpPr>
        <p:grpSpPr>
          <a:xfrm>
            <a:off x="1823189" y="930007"/>
            <a:ext cx="6301402" cy="2901264"/>
            <a:chOff x="1823189" y="930007"/>
            <a:chExt cx="6301402" cy="2901264"/>
          </a:xfrm>
        </p:grpSpPr>
        <p:grpSp>
          <p:nvGrpSpPr>
            <p:cNvPr id="107" name="Group 96"/>
            <p:cNvGrpSpPr>
              <a:grpSpLocks noChangeAspect="1"/>
            </p:cNvGrpSpPr>
            <p:nvPr/>
          </p:nvGrpSpPr>
          <p:grpSpPr bwMode="auto">
            <a:xfrm>
              <a:off x="7674925" y="1410787"/>
              <a:ext cx="449666" cy="466395"/>
              <a:chOff x="4062" y="700"/>
              <a:chExt cx="1522" cy="1578"/>
            </a:xfrm>
          </p:grpSpPr>
          <p:pic>
            <p:nvPicPr>
              <p:cNvPr id="108" name="Picture 97" descr="Europäische-Union"/>
              <p:cNvPicPr>
                <a:picLocks noChangeAspect="1" noChangeArrowheads="1"/>
              </p:cNvPicPr>
              <p:nvPr/>
            </p:nvPicPr>
            <p:blipFill>
              <a:blip r:embed="rId20"/>
              <a:srcRect/>
              <a:stretch>
                <a:fillRect/>
              </a:stretch>
            </p:blipFill>
            <p:spPr bwMode="auto">
              <a:xfrm>
                <a:off x="4062" y="700"/>
                <a:ext cx="987" cy="1578"/>
              </a:xfrm>
              <a:prstGeom prst="rect">
                <a:avLst/>
              </a:prstGeom>
              <a:noFill/>
            </p:spPr>
          </p:pic>
          <p:sp>
            <p:nvSpPr>
              <p:cNvPr id="109" name="Freeform 98"/>
              <p:cNvSpPr>
                <a:spLocks noChangeAspect="1"/>
              </p:cNvSpPr>
              <p:nvPr/>
            </p:nvSpPr>
            <p:spPr bwMode="auto">
              <a:xfrm>
                <a:off x="4219" y="1627"/>
                <a:ext cx="1365" cy="581"/>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110" name="Group 71"/>
            <p:cNvGrpSpPr>
              <a:grpSpLocks/>
            </p:cNvGrpSpPr>
            <p:nvPr/>
          </p:nvGrpSpPr>
          <p:grpSpPr bwMode="auto">
            <a:xfrm>
              <a:off x="7420752" y="3266436"/>
              <a:ext cx="450000" cy="467999"/>
              <a:chOff x="1548" y="1653"/>
              <a:chExt cx="890" cy="921"/>
            </a:xfrm>
          </p:grpSpPr>
          <p:pic>
            <p:nvPicPr>
              <p:cNvPr id="111" name="Picture 31" descr="Deutschland"/>
              <p:cNvPicPr>
                <a:picLocks noChangeAspect="1" noChangeArrowheads="1"/>
              </p:cNvPicPr>
              <p:nvPr/>
            </p:nvPicPr>
            <p:blipFill>
              <a:blip r:embed="rId21"/>
              <a:srcRect/>
              <a:stretch>
                <a:fillRect/>
              </a:stretch>
            </p:blipFill>
            <p:spPr bwMode="auto">
              <a:xfrm>
                <a:off x="1548" y="1653"/>
                <a:ext cx="576" cy="921"/>
              </a:xfrm>
              <a:prstGeom prst="rect">
                <a:avLst/>
              </a:prstGeom>
              <a:noFill/>
            </p:spPr>
          </p:pic>
          <p:sp>
            <p:nvSpPr>
              <p:cNvPr id="112" name="Freeform 32"/>
              <p:cNvSpPr>
                <a:spLocks/>
              </p:cNvSpPr>
              <p:nvPr/>
            </p:nvSpPr>
            <p:spPr bwMode="auto">
              <a:xfrm>
                <a:off x="1642" y="2191"/>
                <a:ext cx="796" cy="338"/>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113" name="Group 71"/>
            <p:cNvGrpSpPr>
              <a:grpSpLocks/>
            </p:cNvGrpSpPr>
            <p:nvPr/>
          </p:nvGrpSpPr>
          <p:grpSpPr bwMode="auto">
            <a:xfrm>
              <a:off x="6741485" y="930007"/>
              <a:ext cx="450000" cy="467999"/>
              <a:chOff x="1548" y="1653"/>
              <a:chExt cx="890" cy="921"/>
            </a:xfrm>
          </p:grpSpPr>
          <p:pic>
            <p:nvPicPr>
              <p:cNvPr id="114" name="Picture 31" descr="Deutschland"/>
              <p:cNvPicPr>
                <a:picLocks noChangeAspect="1" noChangeArrowheads="1"/>
              </p:cNvPicPr>
              <p:nvPr/>
            </p:nvPicPr>
            <p:blipFill>
              <a:blip r:embed="rId21"/>
              <a:srcRect/>
              <a:stretch>
                <a:fillRect/>
              </a:stretch>
            </p:blipFill>
            <p:spPr bwMode="auto">
              <a:xfrm>
                <a:off x="1548" y="1653"/>
                <a:ext cx="576" cy="921"/>
              </a:xfrm>
              <a:prstGeom prst="rect">
                <a:avLst/>
              </a:prstGeom>
              <a:noFill/>
            </p:spPr>
          </p:pic>
          <p:sp>
            <p:nvSpPr>
              <p:cNvPr id="115" name="Freeform 32"/>
              <p:cNvSpPr>
                <a:spLocks/>
              </p:cNvSpPr>
              <p:nvPr/>
            </p:nvSpPr>
            <p:spPr bwMode="auto">
              <a:xfrm>
                <a:off x="1642" y="2191"/>
                <a:ext cx="796" cy="338"/>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116" name="Group 71"/>
            <p:cNvGrpSpPr>
              <a:grpSpLocks/>
            </p:cNvGrpSpPr>
            <p:nvPr/>
          </p:nvGrpSpPr>
          <p:grpSpPr bwMode="auto">
            <a:xfrm>
              <a:off x="6181299" y="2491781"/>
              <a:ext cx="450000" cy="467999"/>
              <a:chOff x="1548" y="1653"/>
              <a:chExt cx="890" cy="921"/>
            </a:xfrm>
          </p:grpSpPr>
          <p:pic>
            <p:nvPicPr>
              <p:cNvPr id="117" name="Picture 31" descr="Deutschland"/>
              <p:cNvPicPr>
                <a:picLocks noChangeAspect="1" noChangeArrowheads="1"/>
              </p:cNvPicPr>
              <p:nvPr/>
            </p:nvPicPr>
            <p:blipFill>
              <a:blip r:embed="rId21"/>
              <a:srcRect/>
              <a:stretch>
                <a:fillRect/>
              </a:stretch>
            </p:blipFill>
            <p:spPr bwMode="auto">
              <a:xfrm>
                <a:off x="1548" y="1653"/>
                <a:ext cx="576" cy="921"/>
              </a:xfrm>
              <a:prstGeom prst="rect">
                <a:avLst/>
              </a:prstGeom>
              <a:noFill/>
            </p:spPr>
          </p:pic>
          <p:sp>
            <p:nvSpPr>
              <p:cNvPr id="118" name="Freeform 32"/>
              <p:cNvSpPr>
                <a:spLocks/>
              </p:cNvSpPr>
              <p:nvPr/>
            </p:nvSpPr>
            <p:spPr bwMode="auto">
              <a:xfrm>
                <a:off x="1642" y="2191"/>
                <a:ext cx="796" cy="338"/>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sp>
          <p:nvSpPr>
            <p:cNvPr id="149" name="Rectangle 4"/>
            <p:cNvSpPr>
              <a:spLocks noChangeArrowheads="1"/>
            </p:cNvSpPr>
            <p:nvPr/>
          </p:nvSpPr>
          <p:spPr bwMode="gray">
            <a:xfrm>
              <a:off x="3680673" y="3391535"/>
              <a:ext cx="323854" cy="342900"/>
            </a:xfrm>
            <a:prstGeom prst="rect">
              <a:avLst/>
            </a:prstGeom>
            <a:noFill/>
            <a:ln w="9525">
              <a:noFill/>
              <a:miter lim="800000"/>
              <a:headEnd/>
              <a:tailEnd/>
            </a:ln>
          </p:spPr>
          <p:txBody>
            <a:bodyPr lIns="0" tIns="0" rIns="0" bIns="0" anchor="ctr"/>
            <a:lstStyle/>
            <a:p>
              <a:pPr algn="ctr" defTabSz="801688" eaLnBrk="0" fontAlgn="auto" hangingPunct="0">
                <a:spcBef>
                  <a:spcPts val="0"/>
                </a:spcBef>
                <a:spcAft>
                  <a:spcPts val="0"/>
                </a:spcAft>
                <a:defRPr/>
              </a:pPr>
              <a:r>
                <a:rPr lang="en-GB" sz="3200" kern="0" dirty="0">
                  <a:latin typeface="Myriad Pro" pitchFamily="34" charset="0"/>
                </a:rPr>
                <a:t>+</a:t>
              </a:r>
            </a:p>
          </p:txBody>
        </p:sp>
        <p:pic>
          <p:nvPicPr>
            <p:cNvPr id="150" name="Grafik 149" descr="maus_wischen.png"/>
            <p:cNvPicPr>
              <a:picLocks noChangeAspect="1"/>
            </p:cNvPicPr>
            <p:nvPr/>
          </p:nvPicPr>
          <p:blipFill>
            <a:blip r:embed="rId22" cstate="print"/>
            <a:stretch>
              <a:fillRect/>
            </a:stretch>
          </p:blipFill>
          <p:spPr>
            <a:xfrm>
              <a:off x="4012101" y="3121659"/>
              <a:ext cx="1423987" cy="709612"/>
            </a:xfrm>
            <a:prstGeom prst="rect">
              <a:avLst/>
            </a:prstGeom>
            <a:effectLst>
              <a:outerShdw blurRad="50800" dist="38100" dir="2700000" algn="tl" rotWithShape="0">
                <a:prstClr val="black">
                  <a:alpha val="40000"/>
                </a:prstClr>
              </a:outerShdw>
            </a:effectLst>
          </p:spPr>
        </p:pic>
        <p:grpSp>
          <p:nvGrpSpPr>
            <p:cNvPr id="151" name="Gruppieren 146"/>
            <p:cNvGrpSpPr/>
            <p:nvPr/>
          </p:nvGrpSpPr>
          <p:grpSpPr bwMode="auto">
            <a:xfrm>
              <a:off x="3091064" y="3426039"/>
              <a:ext cx="516974" cy="342900"/>
              <a:chOff x="7027169" y="784235"/>
              <a:chExt cx="517077" cy="343743"/>
            </a:xfrm>
            <a:effectLst>
              <a:outerShdw blurRad="50800" dist="38100" dir="2700000" algn="tl" rotWithShape="0">
                <a:prstClr val="black">
                  <a:alpha val="40000"/>
                </a:prstClr>
              </a:outerShdw>
            </a:effectLst>
          </p:grpSpPr>
          <p:sp>
            <p:nvSpPr>
              <p:cNvPr id="152" name="AutoShape 74"/>
              <p:cNvSpPr>
                <a:spLocks noChangeAspect="1" noChangeArrowheads="1" noTextEdit="1"/>
              </p:cNvSpPr>
              <p:nvPr/>
            </p:nvSpPr>
            <p:spPr bwMode="gray">
              <a:xfrm>
                <a:off x="7027169" y="784235"/>
                <a:ext cx="517077" cy="343743"/>
              </a:xfrm>
              <a:prstGeom prst="rect">
                <a:avLst/>
              </a:prstGeom>
              <a:noFill/>
              <a:ln w="9525">
                <a:noFill/>
                <a:miter lim="800000"/>
                <a:headEnd/>
                <a:tailEnd/>
              </a:ln>
            </p:spPr>
            <p:txBody>
              <a:bodyPr/>
              <a:lstStyle/>
              <a:p>
                <a:pPr>
                  <a:defRPr/>
                </a:pPr>
                <a:endParaRPr lang="de-DE">
                  <a:latin typeface="Myriad Pro" pitchFamily="34" charset="0"/>
                </a:endParaRPr>
              </a:p>
            </p:txBody>
          </p:sp>
          <p:sp>
            <p:nvSpPr>
              <p:cNvPr id="153" name="Freeform 75"/>
              <p:cNvSpPr>
                <a:spLocks/>
              </p:cNvSpPr>
              <p:nvPr/>
            </p:nvSpPr>
            <p:spPr bwMode="gray">
              <a:xfrm>
                <a:off x="7033288" y="787020"/>
                <a:ext cx="500935" cy="337058"/>
              </a:xfrm>
              <a:custGeom>
                <a:avLst/>
                <a:gdLst>
                  <a:gd name="T0" fmla="*/ 158630 w 247"/>
                  <a:gd name="T1" fmla="*/ 17252 h 256"/>
                  <a:gd name="T2" fmla="*/ 144543 w 247"/>
                  <a:gd name="T3" fmla="*/ 18873 h 256"/>
                  <a:gd name="T4" fmla="*/ 14804 w 247"/>
                  <a:gd name="T5" fmla="*/ 18873 h 256"/>
                  <a:gd name="T6" fmla="*/ 0 w 247"/>
                  <a:gd name="T7" fmla="*/ 17252 h 256"/>
                  <a:gd name="T8" fmla="*/ 0 w 247"/>
                  <a:gd name="T9" fmla="*/ 1626 h 256"/>
                  <a:gd name="T10" fmla="*/ 14804 w 247"/>
                  <a:gd name="T11" fmla="*/ 0 h 256"/>
                  <a:gd name="T12" fmla="*/ 144543 w 247"/>
                  <a:gd name="T13" fmla="*/ 0 h 256"/>
                  <a:gd name="T14" fmla="*/ 158630 w 247"/>
                  <a:gd name="T15" fmla="*/ 1626 h 256"/>
                  <a:gd name="T16" fmla="*/ 158630 w 247"/>
                  <a:gd name="T17" fmla="*/ 17252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7"/>
                  <a:gd name="T28" fmla="*/ 0 h 256"/>
                  <a:gd name="T29" fmla="*/ 247 w 24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7" h="256">
                    <a:moveTo>
                      <a:pt x="247" y="234"/>
                    </a:moveTo>
                    <a:cubicBezTo>
                      <a:pt x="247" y="246"/>
                      <a:pt x="237" y="256"/>
                      <a:pt x="225" y="256"/>
                    </a:cubicBezTo>
                    <a:cubicBezTo>
                      <a:pt x="23" y="256"/>
                      <a:pt x="23" y="256"/>
                      <a:pt x="23" y="256"/>
                    </a:cubicBezTo>
                    <a:cubicBezTo>
                      <a:pt x="10" y="256"/>
                      <a:pt x="0" y="246"/>
                      <a:pt x="0" y="234"/>
                    </a:cubicBezTo>
                    <a:cubicBezTo>
                      <a:pt x="0" y="22"/>
                      <a:pt x="0" y="22"/>
                      <a:pt x="0" y="22"/>
                    </a:cubicBezTo>
                    <a:cubicBezTo>
                      <a:pt x="0" y="10"/>
                      <a:pt x="10" y="0"/>
                      <a:pt x="23" y="0"/>
                    </a:cubicBezTo>
                    <a:cubicBezTo>
                      <a:pt x="225" y="0"/>
                      <a:pt x="225" y="0"/>
                      <a:pt x="225" y="0"/>
                    </a:cubicBezTo>
                    <a:cubicBezTo>
                      <a:pt x="237" y="0"/>
                      <a:pt x="247" y="10"/>
                      <a:pt x="247" y="22"/>
                    </a:cubicBezTo>
                    <a:lnTo>
                      <a:pt x="247" y="234"/>
                    </a:lnTo>
                    <a:close/>
                  </a:path>
                </a:pathLst>
              </a:custGeom>
              <a:solidFill>
                <a:srgbClr val="E0E0DE"/>
              </a:solidFill>
              <a:ln w="9525">
                <a:noFill/>
                <a:round/>
                <a:headEnd/>
                <a:tailEnd/>
              </a:ln>
            </p:spPr>
            <p:txBody>
              <a:bodyPr/>
              <a:lstStyle/>
              <a:p>
                <a:pPr>
                  <a:defRPr/>
                </a:pPr>
                <a:endParaRPr lang="de-DE">
                  <a:latin typeface="Myriad Pro" pitchFamily="34" charset="0"/>
                </a:endParaRPr>
              </a:p>
            </p:txBody>
          </p:sp>
          <p:sp>
            <p:nvSpPr>
              <p:cNvPr id="154" name="Freeform 76"/>
              <p:cNvSpPr>
                <a:spLocks/>
              </p:cNvSpPr>
              <p:nvPr/>
            </p:nvSpPr>
            <p:spPr bwMode="gray">
              <a:xfrm>
                <a:off x="7086165" y="804291"/>
                <a:ext cx="291656" cy="255162"/>
              </a:xfrm>
              <a:custGeom>
                <a:avLst/>
                <a:gdLst>
                  <a:gd name="T0" fmla="*/ 130119 w 132"/>
                  <a:gd name="T1" fmla="*/ 5132 h 194"/>
                  <a:gd name="T2" fmla="*/ 111477 w 132"/>
                  <a:gd name="T3" fmla="*/ 0 h 194"/>
                  <a:gd name="T4" fmla="*/ 22584 w 132"/>
                  <a:gd name="T5" fmla="*/ 0 h 194"/>
                  <a:gd name="T6" fmla="*/ 0 w 132"/>
                  <a:gd name="T7" fmla="*/ 1671 h 194"/>
                  <a:gd name="T8" fmla="*/ 0 w 132"/>
                  <a:gd name="T9" fmla="*/ 12607 h 194"/>
                  <a:gd name="T10" fmla="*/ 18642 w 132"/>
                  <a:gd name="T11" fmla="*/ 14224 h 194"/>
                  <a:gd name="T12" fmla="*/ 130119 w 132"/>
                  <a:gd name="T13" fmla="*/ 5132 h 194"/>
                  <a:gd name="T14" fmla="*/ 0 60000 65536"/>
                  <a:gd name="T15" fmla="*/ 0 60000 65536"/>
                  <a:gd name="T16" fmla="*/ 0 60000 65536"/>
                  <a:gd name="T17" fmla="*/ 0 60000 65536"/>
                  <a:gd name="T18" fmla="*/ 0 60000 65536"/>
                  <a:gd name="T19" fmla="*/ 0 60000 65536"/>
                  <a:gd name="T20" fmla="*/ 0 60000 65536"/>
                  <a:gd name="T21" fmla="*/ 0 w 132"/>
                  <a:gd name="T22" fmla="*/ 0 h 194"/>
                  <a:gd name="T23" fmla="*/ 132 w 132"/>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194">
                    <a:moveTo>
                      <a:pt x="132" y="70"/>
                    </a:moveTo>
                    <a:cubicBezTo>
                      <a:pt x="132" y="44"/>
                      <a:pt x="125" y="20"/>
                      <a:pt x="113" y="0"/>
                    </a:cubicBezTo>
                    <a:cubicBezTo>
                      <a:pt x="23" y="0"/>
                      <a:pt x="23" y="0"/>
                      <a:pt x="23" y="0"/>
                    </a:cubicBezTo>
                    <a:cubicBezTo>
                      <a:pt x="10" y="0"/>
                      <a:pt x="0" y="11"/>
                      <a:pt x="0" y="23"/>
                    </a:cubicBezTo>
                    <a:cubicBezTo>
                      <a:pt x="0" y="172"/>
                      <a:pt x="0" y="172"/>
                      <a:pt x="0" y="172"/>
                    </a:cubicBezTo>
                    <a:cubicBezTo>
                      <a:pt x="0" y="183"/>
                      <a:pt x="8" y="192"/>
                      <a:pt x="19" y="194"/>
                    </a:cubicBezTo>
                    <a:cubicBezTo>
                      <a:pt x="81" y="193"/>
                      <a:pt x="132" y="138"/>
                      <a:pt x="132" y="70"/>
                    </a:cubicBezTo>
                    <a:close/>
                  </a:path>
                </a:pathLst>
              </a:custGeom>
              <a:solidFill>
                <a:srgbClr val="DEDEDC"/>
              </a:solidFill>
              <a:ln w="9525">
                <a:noFill/>
                <a:round/>
                <a:headEnd/>
                <a:tailEnd/>
              </a:ln>
            </p:spPr>
            <p:txBody>
              <a:bodyPr/>
              <a:lstStyle/>
              <a:p>
                <a:pPr>
                  <a:defRPr/>
                </a:pPr>
                <a:endParaRPr lang="de-DE">
                  <a:latin typeface="Myriad Pro" pitchFamily="34" charset="0"/>
                </a:endParaRPr>
              </a:p>
            </p:txBody>
          </p:sp>
          <p:sp>
            <p:nvSpPr>
              <p:cNvPr id="155" name="Freeform 77"/>
              <p:cNvSpPr>
                <a:spLocks/>
              </p:cNvSpPr>
              <p:nvPr/>
            </p:nvSpPr>
            <p:spPr bwMode="gray">
              <a:xfrm>
                <a:off x="7172994" y="806519"/>
                <a:ext cx="342306" cy="255718"/>
              </a:xfrm>
              <a:custGeom>
                <a:avLst/>
                <a:gdLst>
                  <a:gd name="T0" fmla="*/ 128856 w 155"/>
                  <a:gd name="T1" fmla="*/ 0 h 194"/>
                  <a:gd name="T2" fmla="*/ 43356 w 155"/>
                  <a:gd name="T3" fmla="*/ 0 h 194"/>
                  <a:gd name="T4" fmla="*/ 81517 w 155"/>
                  <a:gd name="T5" fmla="*/ 4730 h 194"/>
                  <a:gd name="T6" fmla="*/ 0 w 155"/>
                  <a:gd name="T7" fmla="*/ 14380 h 194"/>
                  <a:gd name="T8" fmla="*/ 128856 w 155"/>
                  <a:gd name="T9" fmla="*/ 14380 h 194"/>
                  <a:gd name="T10" fmla="*/ 152409 w 155"/>
                  <a:gd name="T11" fmla="*/ 12691 h 194"/>
                  <a:gd name="T12" fmla="*/ 152409 w 155"/>
                  <a:gd name="T13" fmla="*/ 1630 h 194"/>
                  <a:gd name="T14" fmla="*/ 128856 w 155"/>
                  <a:gd name="T15" fmla="*/ 0 h 194"/>
                  <a:gd name="T16" fmla="*/ 0 60000 65536"/>
                  <a:gd name="T17" fmla="*/ 0 60000 65536"/>
                  <a:gd name="T18" fmla="*/ 0 60000 65536"/>
                  <a:gd name="T19" fmla="*/ 0 60000 65536"/>
                  <a:gd name="T20" fmla="*/ 0 60000 65536"/>
                  <a:gd name="T21" fmla="*/ 0 60000 65536"/>
                  <a:gd name="T22" fmla="*/ 0 60000 65536"/>
                  <a:gd name="T23" fmla="*/ 0 60000 65536"/>
                  <a:gd name="T24" fmla="*/ 0 w 155"/>
                  <a:gd name="T25" fmla="*/ 0 h 194"/>
                  <a:gd name="T26" fmla="*/ 155 w 155"/>
                  <a:gd name="T27" fmla="*/ 194 h 19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5" h="194">
                    <a:moveTo>
                      <a:pt x="131" y="0"/>
                    </a:moveTo>
                    <a:cubicBezTo>
                      <a:pt x="44" y="0"/>
                      <a:pt x="44" y="0"/>
                      <a:pt x="44" y="0"/>
                    </a:cubicBezTo>
                    <a:cubicBezTo>
                      <a:pt x="44" y="0"/>
                      <a:pt x="80" y="19"/>
                      <a:pt x="83" y="64"/>
                    </a:cubicBezTo>
                    <a:cubicBezTo>
                      <a:pt x="87" y="108"/>
                      <a:pt x="57" y="178"/>
                      <a:pt x="0" y="194"/>
                    </a:cubicBezTo>
                    <a:cubicBezTo>
                      <a:pt x="131" y="194"/>
                      <a:pt x="131" y="194"/>
                      <a:pt x="131" y="194"/>
                    </a:cubicBezTo>
                    <a:cubicBezTo>
                      <a:pt x="144" y="194"/>
                      <a:pt x="155" y="183"/>
                      <a:pt x="155" y="171"/>
                    </a:cubicBezTo>
                    <a:cubicBezTo>
                      <a:pt x="155" y="22"/>
                      <a:pt x="155" y="22"/>
                      <a:pt x="155" y="22"/>
                    </a:cubicBezTo>
                    <a:cubicBezTo>
                      <a:pt x="155" y="10"/>
                      <a:pt x="144" y="0"/>
                      <a:pt x="131" y="0"/>
                    </a:cubicBezTo>
                    <a:close/>
                  </a:path>
                </a:pathLst>
              </a:custGeom>
              <a:solidFill>
                <a:srgbClr val="E7E6E5"/>
              </a:solidFill>
              <a:ln w="9525">
                <a:noFill/>
                <a:round/>
                <a:headEnd/>
                <a:tailEnd/>
              </a:ln>
            </p:spPr>
            <p:txBody>
              <a:bodyPr/>
              <a:lstStyle/>
              <a:p>
                <a:pPr>
                  <a:defRPr/>
                </a:pPr>
                <a:endParaRPr lang="de-DE">
                  <a:latin typeface="Myriad Pro" pitchFamily="34" charset="0"/>
                </a:endParaRPr>
              </a:p>
            </p:txBody>
          </p:sp>
          <p:sp>
            <p:nvSpPr>
              <p:cNvPr id="156" name="Freeform 78"/>
              <p:cNvSpPr>
                <a:spLocks/>
              </p:cNvSpPr>
              <p:nvPr/>
            </p:nvSpPr>
            <p:spPr bwMode="gray">
              <a:xfrm>
                <a:off x="7037177" y="789805"/>
                <a:ext cx="497039" cy="334272"/>
              </a:xfrm>
              <a:custGeom>
                <a:avLst/>
                <a:gdLst>
                  <a:gd name="T0" fmla="*/ 152488 w 245"/>
                  <a:gd name="T1" fmla="*/ 222 h 254"/>
                  <a:gd name="T2" fmla="*/ 152488 w 245"/>
                  <a:gd name="T3" fmla="*/ 222 h 254"/>
                  <a:gd name="T4" fmla="*/ 139603 w 245"/>
                  <a:gd name="T5" fmla="*/ 1188 h 254"/>
                  <a:gd name="T6" fmla="*/ 144014 w 245"/>
                  <a:gd name="T7" fmla="*/ 2717 h 254"/>
                  <a:gd name="T8" fmla="*/ 143481 w 245"/>
                  <a:gd name="T9" fmla="*/ 4046 h 254"/>
                  <a:gd name="T10" fmla="*/ 143481 w 245"/>
                  <a:gd name="T11" fmla="*/ 13443 h 254"/>
                  <a:gd name="T12" fmla="*/ 143481 w 245"/>
                  <a:gd name="T13" fmla="*/ 13828 h 254"/>
                  <a:gd name="T14" fmla="*/ 129387 w 245"/>
                  <a:gd name="T15" fmla="*/ 15161 h 254"/>
                  <a:gd name="T16" fmla="*/ 30172 w 245"/>
                  <a:gd name="T17" fmla="*/ 15161 h 254"/>
                  <a:gd name="T18" fmla="*/ 28962 w 245"/>
                  <a:gd name="T19" fmla="*/ 15066 h 254"/>
                  <a:gd name="T20" fmla="*/ 0 w 245"/>
                  <a:gd name="T21" fmla="*/ 17650 h 254"/>
                  <a:gd name="T22" fmla="*/ 13603 w 245"/>
                  <a:gd name="T23" fmla="*/ 18676 h 254"/>
                  <a:gd name="T24" fmla="*/ 143481 w 245"/>
                  <a:gd name="T25" fmla="*/ 18676 h 254"/>
                  <a:gd name="T26" fmla="*/ 157616 w 245"/>
                  <a:gd name="T27" fmla="*/ 17057 h 254"/>
                  <a:gd name="T28" fmla="*/ 157616 w 245"/>
                  <a:gd name="T29" fmla="*/ 1462 h 254"/>
                  <a:gd name="T30" fmla="*/ 152488 w 245"/>
                  <a:gd name="T31" fmla="*/ 222 h 25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5"/>
                  <a:gd name="T49" fmla="*/ 0 h 254"/>
                  <a:gd name="T50" fmla="*/ 245 w 245"/>
                  <a:gd name="T51" fmla="*/ 254 h 25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5" h="254">
                    <a:moveTo>
                      <a:pt x="237" y="3"/>
                    </a:moveTo>
                    <a:cubicBezTo>
                      <a:pt x="237" y="3"/>
                      <a:pt x="237" y="3"/>
                      <a:pt x="237" y="3"/>
                    </a:cubicBezTo>
                    <a:cubicBezTo>
                      <a:pt x="220" y="0"/>
                      <a:pt x="217" y="8"/>
                      <a:pt x="217" y="16"/>
                    </a:cubicBezTo>
                    <a:cubicBezTo>
                      <a:pt x="222" y="22"/>
                      <a:pt x="224" y="29"/>
                      <a:pt x="224" y="37"/>
                    </a:cubicBezTo>
                    <a:cubicBezTo>
                      <a:pt x="224" y="42"/>
                      <a:pt x="225" y="50"/>
                      <a:pt x="223" y="55"/>
                    </a:cubicBezTo>
                    <a:cubicBezTo>
                      <a:pt x="223" y="183"/>
                      <a:pt x="223" y="183"/>
                      <a:pt x="223" y="183"/>
                    </a:cubicBezTo>
                    <a:cubicBezTo>
                      <a:pt x="223" y="185"/>
                      <a:pt x="223" y="186"/>
                      <a:pt x="223" y="188"/>
                    </a:cubicBezTo>
                    <a:cubicBezTo>
                      <a:pt x="220" y="198"/>
                      <a:pt x="211" y="206"/>
                      <a:pt x="201" y="206"/>
                    </a:cubicBezTo>
                    <a:cubicBezTo>
                      <a:pt x="47" y="206"/>
                      <a:pt x="47" y="206"/>
                      <a:pt x="47" y="206"/>
                    </a:cubicBezTo>
                    <a:cubicBezTo>
                      <a:pt x="46" y="206"/>
                      <a:pt x="46" y="205"/>
                      <a:pt x="45" y="205"/>
                    </a:cubicBezTo>
                    <a:cubicBezTo>
                      <a:pt x="21" y="205"/>
                      <a:pt x="5" y="211"/>
                      <a:pt x="0" y="240"/>
                    </a:cubicBezTo>
                    <a:cubicBezTo>
                      <a:pt x="3" y="248"/>
                      <a:pt x="11" y="254"/>
                      <a:pt x="21" y="254"/>
                    </a:cubicBezTo>
                    <a:cubicBezTo>
                      <a:pt x="223" y="254"/>
                      <a:pt x="223" y="254"/>
                      <a:pt x="223" y="254"/>
                    </a:cubicBezTo>
                    <a:cubicBezTo>
                      <a:pt x="235" y="254"/>
                      <a:pt x="245" y="244"/>
                      <a:pt x="245" y="232"/>
                    </a:cubicBezTo>
                    <a:cubicBezTo>
                      <a:pt x="245" y="20"/>
                      <a:pt x="245" y="20"/>
                      <a:pt x="245" y="20"/>
                    </a:cubicBezTo>
                    <a:cubicBezTo>
                      <a:pt x="245" y="13"/>
                      <a:pt x="242" y="7"/>
                      <a:pt x="237" y="3"/>
                    </a:cubicBezTo>
                    <a:close/>
                  </a:path>
                </a:pathLst>
              </a:custGeom>
              <a:solidFill>
                <a:srgbClr val="CDCEC0"/>
              </a:solidFill>
              <a:ln w="9525">
                <a:noFill/>
                <a:round/>
                <a:headEnd/>
                <a:tailEnd/>
              </a:ln>
            </p:spPr>
            <p:txBody>
              <a:bodyPr/>
              <a:lstStyle/>
              <a:p>
                <a:pPr>
                  <a:defRPr/>
                </a:pPr>
                <a:endParaRPr lang="de-DE">
                  <a:latin typeface="Myriad Pro" pitchFamily="34" charset="0"/>
                </a:endParaRPr>
              </a:p>
            </p:txBody>
          </p:sp>
          <p:sp>
            <p:nvSpPr>
              <p:cNvPr id="157" name="Freeform 79"/>
              <p:cNvSpPr>
                <a:spLocks/>
              </p:cNvSpPr>
              <p:nvPr/>
            </p:nvSpPr>
            <p:spPr bwMode="gray">
              <a:xfrm>
                <a:off x="7083932" y="804291"/>
                <a:ext cx="401305" cy="256276"/>
              </a:xfrm>
              <a:custGeom>
                <a:avLst/>
                <a:gdLst>
                  <a:gd name="T0" fmla="*/ 126750 w 198"/>
                  <a:gd name="T1" fmla="*/ 12576 h 195"/>
                  <a:gd name="T2" fmla="*/ 112021 w 198"/>
                  <a:gd name="T3" fmla="*/ 14241 h 195"/>
                  <a:gd name="T4" fmla="*/ 14773 w 198"/>
                  <a:gd name="T5" fmla="*/ 14241 h 195"/>
                  <a:gd name="T6" fmla="*/ 0 w 198"/>
                  <a:gd name="T7" fmla="*/ 12576 h 195"/>
                  <a:gd name="T8" fmla="*/ 0 w 198"/>
                  <a:gd name="T9" fmla="*/ 1670 h 195"/>
                  <a:gd name="T10" fmla="*/ 14773 w 198"/>
                  <a:gd name="T11" fmla="*/ 0 h 195"/>
                  <a:gd name="T12" fmla="*/ 112021 w 198"/>
                  <a:gd name="T13" fmla="*/ 0 h 195"/>
                  <a:gd name="T14" fmla="*/ 126750 w 198"/>
                  <a:gd name="T15" fmla="*/ 1670 h 195"/>
                  <a:gd name="T16" fmla="*/ 126750 w 198"/>
                  <a:gd name="T17" fmla="*/ 12576 h 1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8"/>
                  <a:gd name="T28" fmla="*/ 0 h 195"/>
                  <a:gd name="T29" fmla="*/ 198 w 198"/>
                  <a:gd name="T30" fmla="*/ 195 h 1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8" h="195">
                    <a:moveTo>
                      <a:pt x="198" y="172"/>
                    </a:moveTo>
                    <a:cubicBezTo>
                      <a:pt x="198" y="184"/>
                      <a:pt x="188" y="195"/>
                      <a:pt x="175" y="195"/>
                    </a:cubicBezTo>
                    <a:cubicBezTo>
                      <a:pt x="23" y="195"/>
                      <a:pt x="23" y="195"/>
                      <a:pt x="23" y="195"/>
                    </a:cubicBezTo>
                    <a:cubicBezTo>
                      <a:pt x="10" y="195"/>
                      <a:pt x="0" y="184"/>
                      <a:pt x="0" y="172"/>
                    </a:cubicBezTo>
                    <a:cubicBezTo>
                      <a:pt x="0" y="23"/>
                      <a:pt x="0" y="23"/>
                      <a:pt x="0" y="23"/>
                    </a:cubicBezTo>
                    <a:cubicBezTo>
                      <a:pt x="0" y="11"/>
                      <a:pt x="10" y="0"/>
                      <a:pt x="23" y="0"/>
                    </a:cubicBezTo>
                    <a:cubicBezTo>
                      <a:pt x="175" y="0"/>
                      <a:pt x="175" y="0"/>
                      <a:pt x="175" y="0"/>
                    </a:cubicBezTo>
                    <a:cubicBezTo>
                      <a:pt x="188" y="0"/>
                      <a:pt x="198" y="11"/>
                      <a:pt x="198" y="23"/>
                    </a:cubicBezTo>
                    <a:lnTo>
                      <a:pt x="198" y="172"/>
                    </a:lnTo>
                    <a:close/>
                  </a:path>
                </a:pathLst>
              </a:custGeom>
              <a:noFill/>
              <a:ln w="14288">
                <a:solidFill>
                  <a:srgbClr val="FFFFFF"/>
                </a:solidFill>
                <a:miter lim="800000"/>
                <a:headEnd/>
                <a:tailEnd/>
              </a:ln>
            </p:spPr>
            <p:txBody>
              <a:bodyPr/>
              <a:lstStyle/>
              <a:p>
                <a:pPr>
                  <a:defRPr/>
                </a:pPr>
                <a:endParaRPr lang="de-DE">
                  <a:latin typeface="Myriad Pro" pitchFamily="34" charset="0"/>
                </a:endParaRPr>
              </a:p>
            </p:txBody>
          </p:sp>
          <p:sp>
            <p:nvSpPr>
              <p:cNvPr id="158" name="Freeform 80"/>
              <p:cNvSpPr>
                <a:spLocks/>
              </p:cNvSpPr>
              <p:nvPr/>
            </p:nvSpPr>
            <p:spPr bwMode="gray">
              <a:xfrm>
                <a:off x="7046079" y="788135"/>
                <a:ext cx="469209" cy="335944"/>
              </a:xfrm>
              <a:custGeom>
                <a:avLst/>
                <a:gdLst>
                  <a:gd name="T0" fmla="*/ 110744 w 249"/>
                  <a:gd name="T1" fmla="*/ 17161 h 255"/>
                  <a:gd name="T2" fmla="*/ 100510 w 249"/>
                  <a:gd name="T3" fmla="*/ 18856 h 255"/>
                  <a:gd name="T4" fmla="*/ 10248 w 249"/>
                  <a:gd name="T5" fmla="*/ 18856 h 255"/>
                  <a:gd name="T6" fmla="*/ 0 w 249"/>
                  <a:gd name="T7" fmla="*/ 17161 h 255"/>
                  <a:gd name="T8" fmla="*/ 0 w 249"/>
                  <a:gd name="T9" fmla="*/ 1695 h 255"/>
                  <a:gd name="T10" fmla="*/ 10248 w 249"/>
                  <a:gd name="T11" fmla="*/ 0 h 255"/>
                  <a:gd name="T12" fmla="*/ 100510 w 249"/>
                  <a:gd name="T13" fmla="*/ 0 h 255"/>
                  <a:gd name="T14" fmla="*/ 110744 w 249"/>
                  <a:gd name="T15" fmla="*/ 1695 h 255"/>
                  <a:gd name="T16" fmla="*/ 110744 w 249"/>
                  <a:gd name="T17" fmla="*/ 17161 h 2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9"/>
                  <a:gd name="T28" fmla="*/ 0 h 255"/>
                  <a:gd name="T29" fmla="*/ 249 w 249"/>
                  <a:gd name="T30" fmla="*/ 255 h 2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9" h="255">
                    <a:moveTo>
                      <a:pt x="249" y="232"/>
                    </a:moveTo>
                    <a:cubicBezTo>
                      <a:pt x="249" y="245"/>
                      <a:pt x="238" y="255"/>
                      <a:pt x="226" y="255"/>
                    </a:cubicBezTo>
                    <a:cubicBezTo>
                      <a:pt x="23" y="255"/>
                      <a:pt x="23" y="255"/>
                      <a:pt x="23" y="255"/>
                    </a:cubicBezTo>
                    <a:cubicBezTo>
                      <a:pt x="11" y="255"/>
                      <a:pt x="0" y="245"/>
                      <a:pt x="0" y="232"/>
                    </a:cubicBezTo>
                    <a:cubicBezTo>
                      <a:pt x="0" y="23"/>
                      <a:pt x="0" y="23"/>
                      <a:pt x="0" y="23"/>
                    </a:cubicBezTo>
                    <a:cubicBezTo>
                      <a:pt x="0" y="10"/>
                      <a:pt x="11" y="0"/>
                      <a:pt x="23" y="0"/>
                    </a:cubicBezTo>
                    <a:cubicBezTo>
                      <a:pt x="226" y="0"/>
                      <a:pt x="226" y="0"/>
                      <a:pt x="226" y="0"/>
                    </a:cubicBezTo>
                    <a:cubicBezTo>
                      <a:pt x="238" y="0"/>
                      <a:pt x="249" y="10"/>
                      <a:pt x="249" y="23"/>
                    </a:cubicBezTo>
                    <a:lnTo>
                      <a:pt x="249" y="232"/>
                    </a:lnTo>
                    <a:close/>
                  </a:path>
                </a:pathLst>
              </a:custGeom>
              <a:noFill/>
              <a:ln w="14288">
                <a:solidFill>
                  <a:srgbClr val="C6C7C8"/>
                </a:solidFill>
                <a:miter lim="800000"/>
                <a:headEnd/>
                <a:tailEnd/>
              </a:ln>
            </p:spPr>
            <p:txBody>
              <a:bodyPr/>
              <a:lstStyle/>
              <a:p>
                <a:pPr>
                  <a:defRPr/>
                </a:pPr>
                <a:endParaRPr lang="de-DE">
                  <a:latin typeface="Myriad Pro" pitchFamily="34" charset="0"/>
                </a:endParaRPr>
              </a:p>
            </p:txBody>
          </p:sp>
          <p:sp>
            <p:nvSpPr>
              <p:cNvPr id="159" name="Pfeil nach oben 158"/>
              <p:cNvSpPr/>
              <p:nvPr/>
            </p:nvSpPr>
            <p:spPr>
              <a:xfrm>
                <a:off x="7134483" y="875522"/>
                <a:ext cx="162000" cy="108000"/>
              </a:xfrm>
              <a:prstGeom prst="upArrow">
                <a:avLst>
                  <a:gd name="adj1" fmla="val 56614"/>
                  <a:gd name="adj2" fmla="val 56614"/>
                </a:avLst>
              </a:prstGeom>
              <a:noFill/>
              <a:ln w="9906">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grpSp>
          <p:nvGrpSpPr>
            <p:cNvPr id="204" name="Group 45"/>
            <p:cNvGrpSpPr>
              <a:grpSpLocks/>
            </p:cNvGrpSpPr>
            <p:nvPr/>
          </p:nvGrpSpPr>
          <p:grpSpPr bwMode="auto">
            <a:xfrm rot="20287264">
              <a:off x="1823189" y="2926345"/>
              <a:ext cx="327150" cy="532315"/>
              <a:chOff x="1950" y="1045"/>
              <a:chExt cx="568" cy="928"/>
            </a:xfrm>
          </p:grpSpPr>
          <p:sp>
            <p:nvSpPr>
              <p:cNvPr id="205"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206"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207"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208"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209"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210"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211"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212"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213"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214"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215"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216"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spTree>
    <p:extLst>
      <p:ext uri="{BB962C8B-B14F-4D97-AF65-F5344CB8AC3E}">
        <p14:creationId xmlns:p14="http://schemas.microsoft.com/office/powerpoint/2010/main" val="24369078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p:cNvPicPr>
            <a:picLocks noChangeAspect="1" noChangeArrowheads="1"/>
          </p:cNvPicPr>
          <p:nvPr/>
        </p:nvPicPr>
        <p:blipFill>
          <a:blip r:embed="rId4"/>
          <a:srcRect/>
          <a:stretch>
            <a:fillRect/>
          </a:stretch>
        </p:blipFill>
        <p:spPr bwMode="auto">
          <a:xfrm>
            <a:off x="-12700" y="3054350"/>
            <a:ext cx="9156700" cy="3359150"/>
          </a:xfrm>
          <a:prstGeom prst="rect">
            <a:avLst/>
          </a:prstGeom>
          <a:noFill/>
          <a:ln w="9525">
            <a:noFill/>
            <a:miter lim="800000"/>
            <a:headEnd/>
            <a:tailEnd/>
          </a:ln>
          <a:effectLst/>
        </p:spPr>
      </p:pic>
      <p:grpSp>
        <p:nvGrpSpPr>
          <p:cNvPr id="80" name="Gruppieren 79"/>
          <p:cNvGrpSpPr/>
          <p:nvPr/>
        </p:nvGrpSpPr>
        <p:grpSpPr>
          <a:xfrm>
            <a:off x="253048" y="842575"/>
            <a:ext cx="2631996" cy="2658267"/>
            <a:chOff x="253048" y="842575"/>
            <a:chExt cx="2631996" cy="2658267"/>
          </a:xfrm>
        </p:grpSpPr>
        <p:sp>
          <p:nvSpPr>
            <p:cNvPr id="66" name="Rechteck 65"/>
            <p:cNvSpPr/>
            <p:nvPr/>
          </p:nvSpPr>
          <p:spPr>
            <a:xfrm>
              <a:off x="288024" y="1069975"/>
              <a:ext cx="2561855" cy="2392363"/>
            </a:xfrm>
            <a:prstGeom prst="rect">
              <a:avLst/>
            </a:prstGeom>
            <a:ln>
              <a:solidFill>
                <a:srgbClr val="0064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7" name="Rechteck 66"/>
            <p:cNvSpPr/>
            <p:nvPr/>
          </p:nvSpPr>
          <p:spPr>
            <a:xfrm>
              <a:off x="253048" y="223222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p:cNvSpPr/>
            <p:nvPr/>
          </p:nvSpPr>
          <p:spPr>
            <a:xfrm>
              <a:off x="1538446" y="3439642"/>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Ellipse 68"/>
            <p:cNvSpPr/>
            <p:nvPr/>
          </p:nvSpPr>
          <p:spPr>
            <a:xfrm>
              <a:off x="2796744" y="10247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Ellipse 69"/>
            <p:cNvSpPr/>
            <p:nvPr/>
          </p:nvSpPr>
          <p:spPr>
            <a:xfrm>
              <a:off x="253048" y="342524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70"/>
            <p:cNvSpPr/>
            <p:nvPr/>
          </p:nvSpPr>
          <p:spPr>
            <a:xfrm>
              <a:off x="2811144" y="2232221"/>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Ellipse 71"/>
            <p:cNvSpPr/>
            <p:nvPr/>
          </p:nvSpPr>
          <p:spPr>
            <a:xfrm>
              <a:off x="2809444" y="3425242"/>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73" name="Gruppieren 139"/>
            <p:cNvGrpSpPr/>
            <p:nvPr/>
          </p:nvGrpSpPr>
          <p:grpSpPr>
            <a:xfrm>
              <a:off x="1524896" y="842575"/>
              <a:ext cx="75600" cy="257824"/>
              <a:chOff x="5656766" y="771104"/>
              <a:chExt cx="75600" cy="257824"/>
            </a:xfrm>
          </p:grpSpPr>
          <p:sp>
            <p:nvSpPr>
              <p:cNvPr id="75" name="Ellipse 74"/>
              <p:cNvSpPr/>
              <p:nvPr/>
            </p:nvSpPr>
            <p:spPr>
              <a:xfrm>
                <a:off x="5656766" y="771104"/>
                <a:ext cx="75600" cy="75600"/>
              </a:xfrm>
              <a:prstGeom prst="ellipse">
                <a:avLst/>
              </a:prstGeom>
              <a:gradFill>
                <a:gsLst>
                  <a:gs pos="0">
                    <a:schemeClr val="bg1"/>
                  </a:gs>
                  <a:gs pos="51000">
                    <a:srgbClr val="00FF00"/>
                  </a:gs>
                  <a:gs pos="100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latin typeface="+mn-lt"/>
                </a:endParaRPr>
              </a:p>
            </p:txBody>
          </p:sp>
          <p:sp>
            <p:nvSpPr>
              <p:cNvPr id="76" name="Rechteck 75"/>
              <p:cNvSpPr/>
              <p:nvPr/>
            </p:nvSpPr>
            <p:spPr>
              <a:xfrm>
                <a:off x="5660791" y="967728"/>
                <a:ext cx="61200" cy="61200"/>
              </a:xfrm>
              <a:prstGeom prst="rect">
                <a:avLst/>
              </a:prstGeom>
              <a:gradFill>
                <a:gsLst>
                  <a:gs pos="0">
                    <a:schemeClr val="bg1"/>
                  </a:gs>
                  <a:gs pos="100000">
                    <a:schemeClr val="bg1"/>
                  </a:gs>
                  <a:gs pos="54000">
                    <a:schemeClr val="accent5">
                      <a:lumMod val="90000"/>
                    </a:schemeClr>
                  </a:gs>
                </a:gsLst>
                <a:lin ang="5400000" scaled="0"/>
              </a:gra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7" name="Gerade Verbindung 76"/>
              <p:cNvCxnSpPr/>
              <p:nvPr/>
            </p:nvCxnSpPr>
            <p:spPr>
              <a:xfrm rot="5400000">
                <a:off x="5631504" y="908171"/>
                <a:ext cx="119775" cy="0"/>
              </a:xfrm>
              <a:prstGeom prst="line">
                <a:avLst/>
              </a:prstGeom>
              <a:ln>
                <a:solidFill>
                  <a:srgbClr val="0064A8"/>
                </a:solidFill>
              </a:ln>
            </p:spPr>
            <p:style>
              <a:lnRef idx="1">
                <a:schemeClr val="accent1"/>
              </a:lnRef>
              <a:fillRef idx="0">
                <a:schemeClr val="accent1"/>
              </a:fillRef>
              <a:effectRef idx="0">
                <a:schemeClr val="accent1"/>
              </a:effectRef>
              <a:fontRef idx="minor">
                <a:schemeClr val="tx1"/>
              </a:fontRef>
            </p:style>
          </p:cxnSp>
        </p:grpSp>
        <p:sp>
          <p:nvSpPr>
            <p:cNvPr id="74" name="Ellipse 73"/>
            <p:cNvSpPr/>
            <p:nvPr/>
          </p:nvSpPr>
          <p:spPr>
            <a:xfrm>
              <a:off x="253048" y="1024799"/>
              <a:ext cx="75600" cy="75600"/>
            </a:xfrm>
            <a:prstGeom prst="ellipse">
              <a:avLst/>
            </a:prstGeom>
            <a:gradFill>
              <a:gsLst>
                <a:gs pos="0">
                  <a:schemeClr val="bg1"/>
                </a:gs>
                <a:gs pos="100000">
                  <a:schemeClr val="bg1"/>
                </a:gs>
                <a:gs pos="54000">
                  <a:schemeClr val="accent5">
                    <a:lumMod val="90000"/>
                  </a:schemeClr>
                </a:gs>
              </a:gsLst>
              <a:lin ang="5400000" scaled="0"/>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9" name="Gruppieren 28"/>
          <p:cNvGrpSpPr/>
          <p:nvPr/>
        </p:nvGrpSpPr>
        <p:grpSpPr>
          <a:xfrm>
            <a:off x="5976998" y="1057274"/>
            <a:ext cx="2828274" cy="2366963"/>
            <a:chOff x="3970338" y="549275"/>
            <a:chExt cx="4905375" cy="4105275"/>
          </a:xfrm>
        </p:grpSpPr>
        <p:grpSp>
          <p:nvGrpSpPr>
            <p:cNvPr id="3" name="Group 41"/>
            <p:cNvGrpSpPr>
              <a:grpSpLocks/>
            </p:cNvGrpSpPr>
            <p:nvPr/>
          </p:nvGrpSpPr>
          <p:grpSpPr bwMode="auto">
            <a:xfrm>
              <a:off x="3970338" y="549275"/>
              <a:ext cx="4562475" cy="4105275"/>
              <a:chOff x="2817" y="850"/>
              <a:chExt cx="2758" cy="2481"/>
            </a:xfrm>
          </p:grpSpPr>
          <p:sp>
            <p:nvSpPr>
              <p:cNvPr id="18447" name="Freeform 15" descr="© INSCALE GmbH, 05.05.2010&#10;http://www.presentationload.com/"/>
              <p:cNvSpPr>
                <a:spLocks noEditPoints="1"/>
              </p:cNvSpPr>
              <p:nvPr/>
            </p:nvSpPr>
            <p:spPr bwMode="auto">
              <a:xfrm>
                <a:off x="2817" y="851"/>
                <a:ext cx="2757" cy="2480"/>
              </a:xfrm>
              <a:custGeom>
                <a:avLst/>
                <a:gdLst/>
                <a:ahLst/>
                <a:cxnLst>
                  <a:cxn ang="0">
                    <a:pos x="3211" y="1361"/>
                  </a:cxn>
                  <a:cxn ang="0">
                    <a:pos x="2928" y="1708"/>
                  </a:cxn>
                  <a:cxn ang="0">
                    <a:pos x="4797" y="462"/>
                  </a:cxn>
                  <a:cxn ang="0">
                    <a:pos x="6419" y="502"/>
                  </a:cxn>
                  <a:cxn ang="0">
                    <a:pos x="6497" y="1249"/>
                  </a:cxn>
                  <a:cxn ang="0">
                    <a:pos x="6504" y="1834"/>
                  </a:cxn>
                  <a:cxn ang="0">
                    <a:pos x="8143" y="415"/>
                  </a:cxn>
                  <a:cxn ang="0">
                    <a:pos x="8431" y="661"/>
                  </a:cxn>
                  <a:cxn ang="0">
                    <a:pos x="8469" y="197"/>
                  </a:cxn>
                  <a:cxn ang="0">
                    <a:pos x="8445" y="938"/>
                  </a:cxn>
                  <a:cxn ang="0">
                    <a:pos x="9354" y="1533"/>
                  </a:cxn>
                  <a:cxn ang="0">
                    <a:pos x="8544" y="1240"/>
                  </a:cxn>
                  <a:cxn ang="0">
                    <a:pos x="8876" y="1542"/>
                  </a:cxn>
                  <a:cxn ang="0">
                    <a:pos x="10771" y="2732"/>
                  </a:cxn>
                  <a:cxn ang="0">
                    <a:pos x="9040" y="1867"/>
                  </a:cxn>
                  <a:cxn ang="0">
                    <a:pos x="9263" y="2683"/>
                  </a:cxn>
                  <a:cxn ang="0">
                    <a:pos x="9818" y="3409"/>
                  </a:cxn>
                  <a:cxn ang="0">
                    <a:pos x="10506" y="3870"/>
                  </a:cxn>
                  <a:cxn ang="0">
                    <a:pos x="10979" y="4138"/>
                  </a:cxn>
                  <a:cxn ang="0">
                    <a:pos x="10694" y="5222"/>
                  </a:cxn>
                  <a:cxn ang="0">
                    <a:pos x="7883" y="9148"/>
                  </a:cxn>
                  <a:cxn ang="0">
                    <a:pos x="8893" y="9363"/>
                  </a:cxn>
                  <a:cxn ang="0">
                    <a:pos x="8068" y="9462"/>
                  </a:cxn>
                  <a:cxn ang="0">
                    <a:pos x="8600" y="10174"/>
                  </a:cxn>
                  <a:cxn ang="0">
                    <a:pos x="8733" y="10184"/>
                  </a:cxn>
                  <a:cxn ang="0">
                    <a:pos x="6354" y="7768"/>
                  </a:cxn>
                  <a:cxn ang="0">
                    <a:pos x="10666" y="5112"/>
                  </a:cxn>
                  <a:cxn ang="0">
                    <a:pos x="10167" y="4217"/>
                  </a:cxn>
                  <a:cxn ang="0">
                    <a:pos x="9555" y="3315"/>
                  </a:cxn>
                  <a:cxn ang="0">
                    <a:pos x="9071" y="2376"/>
                  </a:cxn>
                  <a:cxn ang="0">
                    <a:pos x="8534" y="1603"/>
                  </a:cxn>
                  <a:cxn ang="0">
                    <a:pos x="8246" y="432"/>
                  </a:cxn>
                  <a:cxn ang="0">
                    <a:pos x="7876" y="1722"/>
                  </a:cxn>
                  <a:cxn ang="0">
                    <a:pos x="6298" y="1802"/>
                  </a:cxn>
                  <a:cxn ang="0">
                    <a:pos x="6497" y="783"/>
                  </a:cxn>
                  <a:cxn ang="0">
                    <a:pos x="5694" y="729"/>
                  </a:cxn>
                  <a:cxn ang="0">
                    <a:pos x="5019" y="509"/>
                  </a:cxn>
                  <a:cxn ang="0">
                    <a:pos x="4745" y="823"/>
                  </a:cxn>
                  <a:cxn ang="0">
                    <a:pos x="4382" y="1582"/>
                  </a:cxn>
                  <a:cxn ang="0">
                    <a:pos x="3822" y="1507"/>
                  </a:cxn>
                  <a:cxn ang="0">
                    <a:pos x="3094" y="1744"/>
                  </a:cxn>
                  <a:cxn ang="0">
                    <a:pos x="2686" y="2142"/>
                  </a:cxn>
                  <a:cxn ang="0">
                    <a:pos x="2251" y="2612"/>
                  </a:cxn>
                  <a:cxn ang="0">
                    <a:pos x="1007" y="3632"/>
                  </a:cxn>
                  <a:cxn ang="0">
                    <a:pos x="108" y="4095"/>
                  </a:cxn>
                  <a:cxn ang="0">
                    <a:pos x="281" y="5412"/>
                  </a:cxn>
                  <a:cxn ang="0">
                    <a:pos x="897" y="7513"/>
                  </a:cxn>
                  <a:cxn ang="0">
                    <a:pos x="2508" y="7351"/>
                  </a:cxn>
                  <a:cxn ang="0">
                    <a:pos x="4344" y="6590"/>
                  </a:cxn>
                  <a:cxn ang="0">
                    <a:pos x="5820" y="7103"/>
                  </a:cxn>
                  <a:cxn ang="0">
                    <a:pos x="6612" y="7026"/>
                  </a:cxn>
                  <a:cxn ang="0">
                    <a:pos x="6689" y="7691"/>
                  </a:cxn>
                  <a:cxn ang="0">
                    <a:pos x="7876" y="8752"/>
                  </a:cxn>
                  <a:cxn ang="0">
                    <a:pos x="9021" y="8600"/>
                  </a:cxn>
                  <a:cxn ang="0">
                    <a:pos x="10141" y="7229"/>
                  </a:cxn>
                  <a:cxn ang="0">
                    <a:pos x="6068" y="6597"/>
                  </a:cxn>
                  <a:cxn ang="0">
                    <a:pos x="6171" y="6611"/>
                  </a:cxn>
                  <a:cxn ang="0">
                    <a:pos x="6450" y="5876"/>
                  </a:cxn>
                  <a:cxn ang="0">
                    <a:pos x="6607" y="6260"/>
                  </a:cxn>
                  <a:cxn ang="0">
                    <a:pos x="426" y="6222"/>
                  </a:cxn>
                  <a:cxn ang="0">
                    <a:pos x="464" y="3695"/>
                  </a:cxn>
                </a:cxnLst>
                <a:rect l="0" t="0" r="r" b="b"/>
                <a:pathLst>
                  <a:path w="11488" h="10334">
                    <a:moveTo>
                      <a:pt x="2363" y="895"/>
                    </a:moveTo>
                    <a:cubicBezTo>
                      <a:pt x="2312" y="926"/>
                      <a:pt x="2312" y="926"/>
                      <a:pt x="2312" y="926"/>
                    </a:cubicBezTo>
                    <a:cubicBezTo>
                      <a:pt x="2361" y="938"/>
                      <a:pt x="2361" y="938"/>
                      <a:pt x="2361" y="938"/>
                    </a:cubicBezTo>
                    <a:lnTo>
                      <a:pt x="2363" y="895"/>
                    </a:lnTo>
                    <a:close/>
                    <a:moveTo>
                      <a:pt x="2524" y="1008"/>
                    </a:moveTo>
                    <a:cubicBezTo>
                      <a:pt x="2541" y="994"/>
                      <a:pt x="2496" y="982"/>
                      <a:pt x="2496" y="982"/>
                    </a:cubicBezTo>
                    <a:cubicBezTo>
                      <a:pt x="2487" y="999"/>
                      <a:pt x="2511" y="1019"/>
                      <a:pt x="2524" y="1008"/>
                    </a:cubicBezTo>
                    <a:close/>
                    <a:moveTo>
                      <a:pt x="3279" y="1268"/>
                    </a:moveTo>
                    <a:cubicBezTo>
                      <a:pt x="3279" y="1247"/>
                      <a:pt x="3263" y="1221"/>
                      <a:pt x="3236" y="1247"/>
                    </a:cubicBezTo>
                    <a:cubicBezTo>
                      <a:pt x="3236" y="1247"/>
                      <a:pt x="3279" y="1291"/>
                      <a:pt x="3279" y="1268"/>
                    </a:cubicBezTo>
                    <a:close/>
                    <a:moveTo>
                      <a:pt x="3281" y="1406"/>
                    </a:moveTo>
                    <a:cubicBezTo>
                      <a:pt x="3325" y="1406"/>
                      <a:pt x="3325" y="1406"/>
                      <a:pt x="3325" y="1406"/>
                    </a:cubicBezTo>
                    <a:cubicBezTo>
                      <a:pt x="3330" y="1368"/>
                      <a:pt x="3330" y="1368"/>
                      <a:pt x="3330" y="1368"/>
                    </a:cubicBezTo>
                    <a:cubicBezTo>
                      <a:pt x="3288" y="1352"/>
                      <a:pt x="3288" y="1352"/>
                      <a:pt x="3288" y="1352"/>
                    </a:cubicBezTo>
                    <a:cubicBezTo>
                      <a:pt x="3260" y="1387"/>
                      <a:pt x="3260" y="1387"/>
                      <a:pt x="3260" y="1387"/>
                    </a:cubicBezTo>
                    <a:lnTo>
                      <a:pt x="3281" y="1406"/>
                    </a:lnTo>
                    <a:close/>
                    <a:moveTo>
                      <a:pt x="3211" y="1361"/>
                    </a:moveTo>
                    <a:cubicBezTo>
                      <a:pt x="3211" y="1333"/>
                      <a:pt x="3211" y="1333"/>
                      <a:pt x="3211" y="1333"/>
                    </a:cubicBezTo>
                    <a:cubicBezTo>
                      <a:pt x="3171" y="1361"/>
                      <a:pt x="3171" y="1361"/>
                      <a:pt x="3171" y="1361"/>
                    </a:cubicBezTo>
                    <a:cubicBezTo>
                      <a:pt x="3223" y="1390"/>
                      <a:pt x="3223" y="1390"/>
                      <a:pt x="3223" y="1390"/>
                    </a:cubicBezTo>
                    <a:lnTo>
                      <a:pt x="3211" y="1361"/>
                    </a:lnTo>
                    <a:close/>
                    <a:moveTo>
                      <a:pt x="2974" y="1558"/>
                    </a:moveTo>
                    <a:cubicBezTo>
                      <a:pt x="3000" y="1558"/>
                      <a:pt x="3002" y="1505"/>
                      <a:pt x="2956" y="1514"/>
                    </a:cubicBezTo>
                    <a:cubicBezTo>
                      <a:pt x="2956" y="1514"/>
                      <a:pt x="2949" y="1558"/>
                      <a:pt x="2974" y="1558"/>
                    </a:cubicBezTo>
                    <a:close/>
                    <a:moveTo>
                      <a:pt x="2447" y="1910"/>
                    </a:moveTo>
                    <a:cubicBezTo>
                      <a:pt x="2457" y="1910"/>
                      <a:pt x="2483" y="1938"/>
                      <a:pt x="2483" y="1938"/>
                    </a:cubicBezTo>
                    <a:cubicBezTo>
                      <a:pt x="2496" y="1891"/>
                      <a:pt x="2496" y="1891"/>
                      <a:pt x="2496" y="1891"/>
                    </a:cubicBezTo>
                    <a:cubicBezTo>
                      <a:pt x="2468" y="1891"/>
                      <a:pt x="2468" y="1891"/>
                      <a:pt x="2468" y="1891"/>
                    </a:cubicBezTo>
                    <a:cubicBezTo>
                      <a:pt x="2445" y="1872"/>
                      <a:pt x="2445" y="1872"/>
                      <a:pt x="2445" y="1872"/>
                    </a:cubicBezTo>
                    <a:cubicBezTo>
                      <a:pt x="2445" y="1872"/>
                      <a:pt x="2438" y="1910"/>
                      <a:pt x="2447" y="1910"/>
                    </a:cubicBezTo>
                    <a:close/>
                    <a:moveTo>
                      <a:pt x="2607" y="1889"/>
                    </a:moveTo>
                    <a:cubicBezTo>
                      <a:pt x="2607" y="1872"/>
                      <a:pt x="2588" y="1870"/>
                      <a:pt x="2572" y="1870"/>
                    </a:cubicBezTo>
                    <a:cubicBezTo>
                      <a:pt x="2557" y="1870"/>
                      <a:pt x="2607" y="1905"/>
                      <a:pt x="2607" y="1889"/>
                    </a:cubicBezTo>
                    <a:close/>
                    <a:moveTo>
                      <a:pt x="2824" y="1806"/>
                    </a:moveTo>
                    <a:cubicBezTo>
                      <a:pt x="2824" y="1806"/>
                      <a:pt x="2815" y="1823"/>
                      <a:pt x="2846" y="1823"/>
                    </a:cubicBezTo>
                    <a:cubicBezTo>
                      <a:pt x="2879" y="1823"/>
                      <a:pt x="2892" y="1804"/>
                      <a:pt x="2892" y="1804"/>
                    </a:cubicBezTo>
                    <a:cubicBezTo>
                      <a:pt x="2836" y="1778"/>
                      <a:pt x="2836" y="1778"/>
                      <a:pt x="2836" y="1778"/>
                    </a:cubicBezTo>
                    <a:cubicBezTo>
                      <a:pt x="2799" y="1806"/>
                      <a:pt x="2799" y="1806"/>
                      <a:pt x="2799" y="1806"/>
                    </a:cubicBezTo>
                    <a:cubicBezTo>
                      <a:pt x="2775" y="1806"/>
                      <a:pt x="2775" y="1806"/>
                      <a:pt x="2775" y="1806"/>
                    </a:cubicBezTo>
                    <a:cubicBezTo>
                      <a:pt x="2803" y="1834"/>
                      <a:pt x="2803" y="1834"/>
                      <a:pt x="2803" y="1834"/>
                    </a:cubicBezTo>
                    <a:lnTo>
                      <a:pt x="2824" y="1806"/>
                    </a:lnTo>
                    <a:close/>
                    <a:moveTo>
                      <a:pt x="2928" y="1708"/>
                    </a:moveTo>
                    <a:cubicBezTo>
                      <a:pt x="2937" y="1706"/>
                      <a:pt x="2916" y="1664"/>
                      <a:pt x="2902" y="1680"/>
                    </a:cubicBezTo>
                    <a:cubicBezTo>
                      <a:pt x="2902" y="1680"/>
                      <a:pt x="2918" y="1711"/>
                      <a:pt x="2928" y="1708"/>
                    </a:cubicBezTo>
                    <a:close/>
                    <a:moveTo>
                      <a:pt x="2963" y="1713"/>
                    </a:moveTo>
                    <a:cubicBezTo>
                      <a:pt x="2993" y="1708"/>
                      <a:pt x="2958" y="1683"/>
                      <a:pt x="2953" y="1699"/>
                    </a:cubicBezTo>
                    <a:cubicBezTo>
                      <a:pt x="2953" y="1699"/>
                      <a:pt x="2930" y="1720"/>
                      <a:pt x="2963" y="1713"/>
                    </a:cubicBezTo>
                    <a:close/>
                    <a:moveTo>
                      <a:pt x="4438" y="663"/>
                    </a:moveTo>
                    <a:cubicBezTo>
                      <a:pt x="4497" y="673"/>
                      <a:pt x="4513" y="659"/>
                      <a:pt x="4532" y="659"/>
                    </a:cubicBezTo>
                    <a:cubicBezTo>
                      <a:pt x="4550" y="659"/>
                      <a:pt x="4614" y="682"/>
                      <a:pt x="4614" y="668"/>
                    </a:cubicBezTo>
                    <a:cubicBezTo>
                      <a:pt x="4614" y="652"/>
                      <a:pt x="4590" y="626"/>
                      <a:pt x="4570" y="612"/>
                    </a:cubicBezTo>
                    <a:cubicBezTo>
                      <a:pt x="4548" y="595"/>
                      <a:pt x="4522" y="528"/>
                      <a:pt x="4522" y="528"/>
                    </a:cubicBezTo>
                    <a:cubicBezTo>
                      <a:pt x="4473" y="558"/>
                      <a:pt x="4473" y="558"/>
                      <a:pt x="4473" y="558"/>
                    </a:cubicBezTo>
                    <a:cubicBezTo>
                      <a:pt x="4497" y="617"/>
                      <a:pt x="4497" y="617"/>
                      <a:pt x="4497" y="617"/>
                    </a:cubicBezTo>
                    <a:cubicBezTo>
                      <a:pt x="4497" y="617"/>
                      <a:pt x="4380" y="654"/>
                      <a:pt x="4438" y="663"/>
                    </a:cubicBezTo>
                    <a:close/>
                    <a:moveTo>
                      <a:pt x="4626" y="640"/>
                    </a:moveTo>
                    <a:cubicBezTo>
                      <a:pt x="4738" y="706"/>
                      <a:pt x="4738" y="706"/>
                      <a:pt x="4738" y="706"/>
                    </a:cubicBezTo>
                    <a:cubicBezTo>
                      <a:pt x="4846" y="598"/>
                      <a:pt x="4846" y="598"/>
                      <a:pt x="4846" y="598"/>
                    </a:cubicBezTo>
                    <a:cubicBezTo>
                      <a:pt x="4871" y="579"/>
                      <a:pt x="4871" y="579"/>
                      <a:pt x="4871" y="579"/>
                    </a:cubicBezTo>
                    <a:cubicBezTo>
                      <a:pt x="4871" y="551"/>
                      <a:pt x="4871" y="551"/>
                      <a:pt x="4871" y="551"/>
                    </a:cubicBezTo>
                    <a:cubicBezTo>
                      <a:pt x="4893" y="537"/>
                      <a:pt x="4893" y="537"/>
                      <a:pt x="4893" y="537"/>
                    </a:cubicBezTo>
                    <a:cubicBezTo>
                      <a:pt x="4893" y="537"/>
                      <a:pt x="4878" y="523"/>
                      <a:pt x="4855" y="500"/>
                    </a:cubicBezTo>
                    <a:cubicBezTo>
                      <a:pt x="4834" y="473"/>
                      <a:pt x="4797" y="462"/>
                      <a:pt x="4797" y="462"/>
                    </a:cubicBezTo>
                    <a:cubicBezTo>
                      <a:pt x="4804" y="532"/>
                      <a:pt x="4804" y="532"/>
                      <a:pt x="4804" y="532"/>
                    </a:cubicBezTo>
                    <a:cubicBezTo>
                      <a:pt x="4804" y="532"/>
                      <a:pt x="4780" y="481"/>
                      <a:pt x="4766" y="500"/>
                    </a:cubicBezTo>
                    <a:cubicBezTo>
                      <a:pt x="4749" y="518"/>
                      <a:pt x="4743" y="542"/>
                      <a:pt x="4743" y="542"/>
                    </a:cubicBezTo>
                    <a:cubicBezTo>
                      <a:pt x="4743" y="542"/>
                      <a:pt x="4731" y="504"/>
                      <a:pt x="4710" y="502"/>
                    </a:cubicBezTo>
                    <a:cubicBezTo>
                      <a:pt x="4687" y="500"/>
                      <a:pt x="4632" y="546"/>
                      <a:pt x="4632" y="546"/>
                    </a:cubicBezTo>
                    <a:cubicBezTo>
                      <a:pt x="4543" y="483"/>
                      <a:pt x="4543" y="483"/>
                      <a:pt x="4543" y="483"/>
                    </a:cubicBezTo>
                    <a:cubicBezTo>
                      <a:pt x="4543" y="483"/>
                      <a:pt x="4543" y="539"/>
                      <a:pt x="4562" y="565"/>
                    </a:cubicBezTo>
                    <a:cubicBezTo>
                      <a:pt x="4581" y="589"/>
                      <a:pt x="4626" y="640"/>
                      <a:pt x="4626" y="640"/>
                    </a:cubicBezTo>
                    <a:close/>
                    <a:moveTo>
                      <a:pt x="6139" y="701"/>
                    </a:moveTo>
                    <a:cubicBezTo>
                      <a:pt x="6173" y="727"/>
                      <a:pt x="6173" y="727"/>
                      <a:pt x="6173" y="727"/>
                    </a:cubicBezTo>
                    <a:cubicBezTo>
                      <a:pt x="6209" y="717"/>
                      <a:pt x="6209" y="717"/>
                      <a:pt x="6209" y="717"/>
                    </a:cubicBezTo>
                    <a:cubicBezTo>
                      <a:pt x="6185" y="692"/>
                      <a:pt x="6185" y="692"/>
                      <a:pt x="6185" y="692"/>
                    </a:cubicBezTo>
                    <a:cubicBezTo>
                      <a:pt x="6185" y="692"/>
                      <a:pt x="6270" y="612"/>
                      <a:pt x="6251" y="612"/>
                    </a:cubicBezTo>
                    <a:cubicBezTo>
                      <a:pt x="6232" y="612"/>
                      <a:pt x="6192" y="673"/>
                      <a:pt x="6164" y="680"/>
                    </a:cubicBezTo>
                    <a:cubicBezTo>
                      <a:pt x="6136" y="687"/>
                      <a:pt x="6106" y="710"/>
                      <a:pt x="6106" y="710"/>
                    </a:cubicBezTo>
                    <a:cubicBezTo>
                      <a:pt x="6124" y="724"/>
                      <a:pt x="6124" y="724"/>
                      <a:pt x="6124" y="724"/>
                    </a:cubicBezTo>
                    <a:lnTo>
                      <a:pt x="6139" y="701"/>
                    </a:lnTo>
                    <a:close/>
                    <a:moveTo>
                      <a:pt x="6290" y="621"/>
                    </a:moveTo>
                    <a:cubicBezTo>
                      <a:pt x="6290" y="621"/>
                      <a:pt x="6391" y="579"/>
                      <a:pt x="6431" y="528"/>
                    </a:cubicBezTo>
                    <a:cubicBezTo>
                      <a:pt x="6473" y="473"/>
                      <a:pt x="6476" y="417"/>
                      <a:pt x="6476" y="417"/>
                    </a:cubicBezTo>
                    <a:cubicBezTo>
                      <a:pt x="6476" y="417"/>
                      <a:pt x="6448" y="473"/>
                      <a:pt x="6419" y="502"/>
                    </a:cubicBezTo>
                    <a:cubicBezTo>
                      <a:pt x="6391" y="530"/>
                      <a:pt x="6258" y="602"/>
                      <a:pt x="6290" y="621"/>
                    </a:cubicBezTo>
                    <a:close/>
                    <a:moveTo>
                      <a:pt x="6389" y="661"/>
                    </a:moveTo>
                    <a:cubicBezTo>
                      <a:pt x="6399" y="673"/>
                      <a:pt x="6448" y="649"/>
                      <a:pt x="6431" y="640"/>
                    </a:cubicBezTo>
                    <a:cubicBezTo>
                      <a:pt x="6417" y="631"/>
                      <a:pt x="6370" y="642"/>
                      <a:pt x="6389" y="661"/>
                    </a:cubicBezTo>
                    <a:close/>
                    <a:moveTo>
                      <a:pt x="6314" y="1254"/>
                    </a:moveTo>
                    <a:cubicBezTo>
                      <a:pt x="6286" y="1226"/>
                      <a:pt x="6286" y="1226"/>
                      <a:pt x="6286" y="1226"/>
                    </a:cubicBezTo>
                    <a:cubicBezTo>
                      <a:pt x="6260" y="1238"/>
                      <a:pt x="6260" y="1238"/>
                      <a:pt x="6260" y="1238"/>
                    </a:cubicBezTo>
                    <a:cubicBezTo>
                      <a:pt x="6289" y="1268"/>
                      <a:pt x="6289" y="1268"/>
                      <a:pt x="6289" y="1268"/>
                    </a:cubicBezTo>
                    <a:lnTo>
                      <a:pt x="6314" y="1254"/>
                    </a:lnTo>
                    <a:close/>
                    <a:moveTo>
                      <a:pt x="6272" y="1146"/>
                    </a:moveTo>
                    <a:cubicBezTo>
                      <a:pt x="6249" y="1125"/>
                      <a:pt x="6241" y="1134"/>
                      <a:pt x="6241" y="1134"/>
                    </a:cubicBezTo>
                    <a:cubicBezTo>
                      <a:pt x="6241" y="1134"/>
                      <a:pt x="6286" y="1169"/>
                      <a:pt x="6277" y="1181"/>
                    </a:cubicBezTo>
                    <a:cubicBezTo>
                      <a:pt x="6281" y="1177"/>
                      <a:pt x="6293" y="1165"/>
                      <a:pt x="6272" y="1146"/>
                    </a:cubicBezTo>
                    <a:close/>
                    <a:moveTo>
                      <a:pt x="6351" y="1397"/>
                    </a:moveTo>
                    <a:cubicBezTo>
                      <a:pt x="6370" y="1401"/>
                      <a:pt x="6399" y="1416"/>
                      <a:pt x="6399" y="1416"/>
                    </a:cubicBezTo>
                    <a:cubicBezTo>
                      <a:pt x="6459" y="1416"/>
                      <a:pt x="6459" y="1416"/>
                      <a:pt x="6459" y="1416"/>
                    </a:cubicBezTo>
                    <a:cubicBezTo>
                      <a:pt x="6459" y="1416"/>
                      <a:pt x="6492" y="1427"/>
                      <a:pt x="6495" y="1406"/>
                    </a:cubicBezTo>
                    <a:cubicBezTo>
                      <a:pt x="6497" y="1385"/>
                      <a:pt x="6492" y="1361"/>
                      <a:pt x="6492" y="1361"/>
                    </a:cubicBezTo>
                    <a:cubicBezTo>
                      <a:pt x="6457" y="1390"/>
                      <a:pt x="6457" y="1390"/>
                      <a:pt x="6457" y="1390"/>
                    </a:cubicBezTo>
                    <a:cubicBezTo>
                      <a:pt x="6419" y="1357"/>
                      <a:pt x="6419" y="1357"/>
                      <a:pt x="6419" y="1357"/>
                    </a:cubicBezTo>
                    <a:cubicBezTo>
                      <a:pt x="6497" y="1249"/>
                      <a:pt x="6497" y="1249"/>
                      <a:pt x="6497" y="1249"/>
                    </a:cubicBezTo>
                    <a:cubicBezTo>
                      <a:pt x="6440" y="1282"/>
                      <a:pt x="6440" y="1282"/>
                      <a:pt x="6440" y="1282"/>
                    </a:cubicBezTo>
                    <a:cubicBezTo>
                      <a:pt x="6422" y="1230"/>
                      <a:pt x="6422" y="1230"/>
                      <a:pt x="6422" y="1230"/>
                    </a:cubicBezTo>
                    <a:cubicBezTo>
                      <a:pt x="6373" y="1238"/>
                      <a:pt x="6373" y="1238"/>
                      <a:pt x="6373" y="1238"/>
                    </a:cubicBezTo>
                    <a:cubicBezTo>
                      <a:pt x="6370" y="1275"/>
                      <a:pt x="6370" y="1275"/>
                      <a:pt x="6370" y="1275"/>
                    </a:cubicBezTo>
                    <a:cubicBezTo>
                      <a:pt x="6345" y="1275"/>
                      <a:pt x="6345" y="1275"/>
                      <a:pt x="6345" y="1275"/>
                    </a:cubicBezTo>
                    <a:cubicBezTo>
                      <a:pt x="6345" y="1275"/>
                      <a:pt x="6361" y="1359"/>
                      <a:pt x="6338" y="1378"/>
                    </a:cubicBezTo>
                    <a:cubicBezTo>
                      <a:pt x="6317" y="1397"/>
                      <a:pt x="6314" y="1408"/>
                      <a:pt x="6314" y="1408"/>
                    </a:cubicBezTo>
                    <a:cubicBezTo>
                      <a:pt x="6314" y="1408"/>
                      <a:pt x="6333" y="1390"/>
                      <a:pt x="6351" y="1397"/>
                    </a:cubicBezTo>
                    <a:close/>
                    <a:moveTo>
                      <a:pt x="6120" y="1605"/>
                    </a:moveTo>
                    <a:cubicBezTo>
                      <a:pt x="6143" y="1605"/>
                      <a:pt x="6167" y="1607"/>
                      <a:pt x="6148" y="1584"/>
                    </a:cubicBezTo>
                    <a:cubicBezTo>
                      <a:pt x="6129" y="1558"/>
                      <a:pt x="6120" y="1605"/>
                      <a:pt x="6120" y="1605"/>
                    </a:cubicBezTo>
                    <a:close/>
                    <a:moveTo>
                      <a:pt x="6431" y="1839"/>
                    </a:moveTo>
                    <a:cubicBezTo>
                      <a:pt x="6431" y="1839"/>
                      <a:pt x="6476" y="1806"/>
                      <a:pt x="6478" y="1793"/>
                    </a:cubicBezTo>
                    <a:cubicBezTo>
                      <a:pt x="6483" y="1776"/>
                      <a:pt x="6438" y="1793"/>
                      <a:pt x="6438" y="1793"/>
                    </a:cubicBezTo>
                    <a:cubicBezTo>
                      <a:pt x="6399" y="1821"/>
                      <a:pt x="6399" y="1821"/>
                      <a:pt x="6399" y="1821"/>
                    </a:cubicBezTo>
                    <a:cubicBezTo>
                      <a:pt x="6389" y="1774"/>
                      <a:pt x="6389" y="1774"/>
                      <a:pt x="6389" y="1774"/>
                    </a:cubicBezTo>
                    <a:cubicBezTo>
                      <a:pt x="6361" y="1811"/>
                      <a:pt x="6361" y="1811"/>
                      <a:pt x="6361" y="1811"/>
                    </a:cubicBezTo>
                    <a:cubicBezTo>
                      <a:pt x="6389" y="1870"/>
                      <a:pt x="6431" y="1839"/>
                      <a:pt x="6431" y="1839"/>
                    </a:cubicBezTo>
                    <a:close/>
                    <a:moveTo>
                      <a:pt x="6523" y="1802"/>
                    </a:moveTo>
                    <a:cubicBezTo>
                      <a:pt x="6501" y="1795"/>
                      <a:pt x="6492" y="1821"/>
                      <a:pt x="6476" y="1839"/>
                    </a:cubicBezTo>
                    <a:cubicBezTo>
                      <a:pt x="6476" y="1839"/>
                      <a:pt x="6495" y="1839"/>
                      <a:pt x="6504" y="1834"/>
                    </a:cubicBezTo>
                    <a:cubicBezTo>
                      <a:pt x="6513" y="1833"/>
                      <a:pt x="6544" y="1806"/>
                      <a:pt x="6523" y="1802"/>
                    </a:cubicBezTo>
                    <a:close/>
                    <a:moveTo>
                      <a:pt x="6525" y="1900"/>
                    </a:moveTo>
                    <a:cubicBezTo>
                      <a:pt x="6544" y="1907"/>
                      <a:pt x="6534" y="1863"/>
                      <a:pt x="6534" y="1863"/>
                    </a:cubicBezTo>
                    <a:cubicBezTo>
                      <a:pt x="6492" y="1863"/>
                      <a:pt x="6506" y="1895"/>
                      <a:pt x="6525" y="1900"/>
                    </a:cubicBezTo>
                    <a:close/>
                    <a:moveTo>
                      <a:pt x="7180" y="2184"/>
                    </a:moveTo>
                    <a:cubicBezTo>
                      <a:pt x="7216" y="2128"/>
                      <a:pt x="7216" y="2128"/>
                      <a:pt x="7216" y="2128"/>
                    </a:cubicBezTo>
                    <a:cubicBezTo>
                      <a:pt x="7286" y="2123"/>
                      <a:pt x="7286" y="2123"/>
                      <a:pt x="7286" y="2123"/>
                    </a:cubicBezTo>
                    <a:cubicBezTo>
                      <a:pt x="7286" y="2123"/>
                      <a:pt x="7269" y="2081"/>
                      <a:pt x="7253" y="2081"/>
                    </a:cubicBezTo>
                    <a:cubicBezTo>
                      <a:pt x="7239" y="2081"/>
                      <a:pt x="7216" y="2097"/>
                      <a:pt x="7216" y="2097"/>
                    </a:cubicBezTo>
                    <a:cubicBezTo>
                      <a:pt x="7216" y="2097"/>
                      <a:pt x="7180" y="2071"/>
                      <a:pt x="7146" y="2104"/>
                    </a:cubicBezTo>
                    <a:cubicBezTo>
                      <a:pt x="7111" y="2134"/>
                      <a:pt x="7106" y="2219"/>
                      <a:pt x="7106" y="2219"/>
                    </a:cubicBezTo>
                    <a:cubicBezTo>
                      <a:pt x="7124" y="2184"/>
                      <a:pt x="7124" y="2184"/>
                      <a:pt x="7124" y="2184"/>
                    </a:cubicBezTo>
                    <a:lnTo>
                      <a:pt x="7180" y="2184"/>
                    </a:lnTo>
                    <a:close/>
                    <a:moveTo>
                      <a:pt x="7174" y="2291"/>
                    </a:moveTo>
                    <a:cubicBezTo>
                      <a:pt x="7174" y="2291"/>
                      <a:pt x="7176" y="2303"/>
                      <a:pt x="7202" y="2303"/>
                    </a:cubicBezTo>
                    <a:cubicBezTo>
                      <a:pt x="7225" y="2303"/>
                      <a:pt x="7239" y="2291"/>
                      <a:pt x="7239" y="2291"/>
                    </a:cubicBezTo>
                    <a:cubicBezTo>
                      <a:pt x="7213" y="2263"/>
                      <a:pt x="7213" y="2263"/>
                      <a:pt x="7213" y="2263"/>
                    </a:cubicBezTo>
                    <a:lnTo>
                      <a:pt x="7174" y="2291"/>
                    </a:lnTo>
                    <a:close/>
                    <a:moveTo>
                      <a:pt x="8110" y="380"/>
                    </a:moveTo>
                    <a:cubicBezTo>
                      <a:pt x="8099" y="380"/>
                      <a:pt x="8092" y="406"/>
                      <a:pt x="8092" y="406"/>
                    </a:cubicBezTo>
                    <a:cubicBezTo>
                      <a:pt x="8092" y="406"/>
                      <a:pt x="8139" y="424"/>
                      <a:pt x="8143" y="415"/>
                    </a:cubicBezTo>
                    <a:cubicBezTo>
                      <a:pt x="8146" y="406"/>
                      <a:pt x="8157" y="387"/>
                      <a:pt x="8143" y="375"/>
                    </a:cubicBezTo>
                    <a:cubicBezTo>
                      <a:pt x="8127" y="361"/>
                      <a:pt x="8129" y="338"/>
                      <a:pt x="8129" y="322"/>
                    </a:cubicBezTo>
                    <a:cubicBezTo>
                      <a:pt x="8129" y="305"/>
                      <a:pt x="8134" y="303"/>
                      <a:pt x="8139" y="277"/>
                    </a:cubicBezTo>
                    <a:cubicBezTo>
                      <a:pt x="8146" y="254"/>
                      <a:pt x="8139" y="225"/>
                      <a:pt x="8125" y="244"/>
                    </a:cubicBezTo>
                    <a:cubicBezTo>
                      <a:pt x="8108" y="263"/>
                      <a:pt x="8125" y="300"/>
                      <a:pt x="8106" y="310"/>
                    </a:cubicBezTo>
                    <a:cubicBezTo>
                      <a:pt x="8087" y="319"/>
                      <a:pt x="8092" y="340"/>
                      <a:pt x="8101" y="347"/>
                    </a:cubicBezTo>
                    <a:cubicBezTo>
                      <a:pt x="8110" y="352"/>
                      <a:pt x="8125" y="380"/>
                      <a:pt x="8110" y="380"/>
                    </a:cubicBezTo>
                    <a:close/>
                    <a:moveTo>
                      <a:pt x="8155" y="169"/>
                    </a:moveTo>
                    <a:cubicBezTo>
                      <a:pt x="8176" y="144"/>
                      <a:pt x="8216" y="101"/>
                      <a:pt x="8197" y="104"/>
                    </a:cubicBezTo>
                    <a:cubicBezTo>
                      <a:pt x="8179" y="106"/>
                      <a:pt x="8179" y="125"/>
                      <a:pt x="8153" y="136"/>
                    </a:cubicBezTo>
                    <a:cubicBezTo>
                      <a:pt x="8125" y="150"/>
                      <a:pt x="8115" y="200"/>
                      <a:pt x="8115" y="200"/>
                    </a:cubicBezTo>
                    <a:cubicBezTo>
                      <a:pt x="8115" y="200"/>
                      <a:pt x="8134" y="193"/>
                      <a:pt x="8155" y="169"/>
                    </a:cubicBezTo>
                    <a:close/>
                    <a:moveTo>
                      <a:pt x="8804" y="371"/>
                    </a:moveTo>
                    <a:cubicBezTo>
                      <a:pt x="8818" y="371"/>
                      <a:pt x="8820" y="328"/>
                      <a:pt x="8820" y="310"/>
                    </a:cubicBezTo>
                    <a:cubicBezTo>
                      <a:pt x="8820" y="291"/>
                      <a:pt x="8843" y="263"/>
                      <a:pt x="8834" y="254"/>
                    </a:cubicBezTo>
                    <a:cubicBezTo>
                      <a:pt x="8825" y="244"/>
                      <a:pt x="8797" y="272"/>
                      <a:pt x="8794" y="284"/>
                    </a:cubicBezTo>
                    <a:cubicBezTo>
                      <a:pt x="8790" y="295"/>
                      <a:pt x="8787" y="371"/>
                      <a:pt x="8804" y="371"/>
                    </a:cubicBezTo>
                    <a:close/>
                    <a:moveTo>
                      <a:pt x="8883" y="230"/>
                    </a:moveTo>
                    <a:cubicBezTo>
                      <a:pt x="8876" y="218"/>
                      <a:pt x="8874" y="274"/>
                      <a:pt x="8874" y="274"/>
                    </a:cubicBezTo>
                    <a:cubicBezTo>
                      <a:pt x="8874" y="274"/>
                      <a:pt x="8890" y="244"/>
                      <a:pt x="8883" y="230"/>
                    </a:cubicBezTo>
                    <a:close/>
                    <a:moveTo>
                      <a:pt x="8431" y="661"/>
                    </a:moveTo>
                    <a:cubicBezTo>
                      <a:pt x="8455" y="673"/>
                      <a:pt x="8483" y="673"/>
                      <a:pt x="8483" y="673"/>
                    </a:cubicBezTo>
                    <a:cubicBezTo>
                      <a:pt x="8438" y="614"/>
                      <a:pt x="8438" y="614"/>
                      <a:pt x="8438" y="614"/>
                    </a:cubicBezTo>
                    <a:cubicBezTo>
                      <a:pt x="8438" y="614"/>
                      <a:pt x="8410" y="649"/>
                      <a:pt x="8431" y="661"/>
                    </a:cubicBezTo>
                    <a:close/>
                    <a:moveTo>
                      <a:pt x="8459" y="816"/>
                    </a:moveTo>
                    <a:cubicBezTo>
                      <a:pt x="8459" y="816"/>
                      <a:pt x="8459" y="792"/>
                      <a:pt x="8457" y="760"/>
                    </a:cubicBezTo>
                    <a:cubicBezTo>
                      <a:pt x="8455" y="729"/>
                      <a:pt x="8394" y="764"/>
                      <a:pt x="8394" y="764"/>
                    </a:cubicBezTo>
                    <a:cubicBezTo>
                      <a:pt x="8426" y="778"/>
                      <a:pt x="8426" y="778"/>
                      <a:pt x="8426" y="778"/>
                    </a:cubicBezTo>
                    <a:lnTo>
                      <a:pt x="8459" y="816"/>
                    </a:lnTo>
                    <a:close/>
                    <a:moveTo>
                      <a:pt x="8197" y="28"/>
                    </a:moveTo>
                    <a:cubicBezTo>
                      <a:pt x="8183" y="0"/>
                      <a:pt x="8146" y="12"/>
                      <a:pt x="8146" y="28"/>
                    </a:cubicBezTo>
                    <a:cubicBezTo>
                      <a:pt x="8146" y="28"/>
                      <a:pt x="8214" y="56"/>
                      <a:pt x="8197" y="28"/>
                    </a:cubicBezTo>
                    <a:close/>
                    <a:moveTo>
                      <a:pt x="8518" y="244"/>
                    </a:moveTo>
                    <a:cubicBezTo>
                      <a:pt x="8527" y="244"/>
                      <a:pt x="8574" y="225"/>
                      <a:pt x="8574" y="225"/>
                    </a:cubicBezTo>
                    <a:cubicBezTo>
                      <a:pt x="8609" y="265"/>
                      <a:pt x="8609" y="265"/>
                      <a:pt x="8609" y="265"/>
                    </a:cubicBezTo>
                    <a:cubicBezTo>
                      <a:pt x="8609" y="265"/>
                      <a:pt x="8619" y="239"/>
                      <a:pt x="8644" y="211"/>
                    </a:cubicBezTo>
                    <a:cubicBezTo>
                      <a:pt x="8668" y="183"/>
                      <a:pt x="8703" y="132"/>
                      <a:pt x="8693" y="134"/>
                    </a:cubicBezTo>
                    <a:cubicBezTo>
                      <a:pt x="8684" y="136"/>
                      <a:pt x="8644" y="178"/>
                      <a:pt x="8644" y="178"/>
                    </a:cubicBezTo>
                    <a:cubicBezTo>
                      <a:pt x="8628" y="132"/>
                      <a:pt x="8628" y="132"/>
                      <a:pt x="8628" y="132"/>
                    </a:cubicBezTo>
                    <a:cubicBezTo>
                      <a:pt x="8628" y="132"/>
                      <a:pt x="8628" y="165"/>
                      <a:pt x="8619" y="172"/>
                    </a:cubicBezTo>
                    <a:cubicBezTo>
                      <a:pt x="8609" y="178"/>
                      <a:pt x="8579" y="197"/>
                      <a:pt x="8579" y="197"/>
                    </a:cubicBezTo>
                    <a:cubicBezTo>
                      <a:pt x="8469" y="197"/>
                      <a:pt x="8469" y="197"/>
                      <a:pt x="8469" y="197"/>
                    </a:cubicBezTo>
                    <a:cubicBezTo>
                      <a:pt x="8469" y="197"/>
                      <a:pt x="8509" y="244"/>
                      <a:pt x="8518" y="244"/>
                    </a:cubicBezTo>
                    <a:close/>
                    <a:moveTo>
                      <a:pt x="8663" y="47"/>
                    </a:moveTo>
                    <a:cubicBezTo>
                      <a:pt x="8665" y="12"/>
                      <a:pt x="8635" y="73"/>
                      <a:pt x="8631" y="87"/>
                    </a:cubicBezTo>
                    <a:cubicBezTo>
                      <a:pt x="8631" y="87"/>
                      <a:pt x="8659" y="83"/>
                      <a:pt x="8663" y="47"/>
                    </a:cubicBezTo>
                    <a:close/>
                    <a:moveTo>
                      <a:pt x="8741" y="117"/>
                    </a:moveTo>
                    <a:cubicBezTo>
                      <a:pt x="8757" y="116"/>
                      <a:pt x="8731" y="92"/>
                      <a:pt x="8731" y="92"/>
                    </a:cubicBezTo>
                    <a:cubicBezTo>
                      <a:pt x="8731" y="92"/>
                      <a:pt x="8724" y="122"/>
                      <a:pt x="8741" y="117"/>
                    </a:cubicBezTo>
                    <a:close/>
                    <a:moveTo>
                      <a:pt x="8644" y="387"/>
                    </a:moveTo>
                    <a:cubicBezTo>
                      <a:pt x="8649" y="408"/>
                      <a:pt x="8663" y="366"/>
                      <a:pt x="8663" y="331"/>
                    </a:cubicBezTo>
                    <a:cubicBezTo>
                      <a:pt x="8663" y="295"/>
                      <a:pt x="8703" y="202"/>
                      <a:pt x="8724" y="190"/>
                    </a:cubicBezTo>
                    <a:cubicBezTo>
                      <a:pt x="8748" y="178"/>
                      <a:pt x="8759" y="153"/>
                      <a:pt x="8759" y="153"/>
                    </a:cubicBezTo>
                    <a:cubicBezTo>
                      <a:pt x="8724" y="141"/>
                      <a:pt x="8684" y="221"/>
                      <a:pt x="8663" y="246"/>
                    </a:cubicBezTo>
                    <a:cubicBezTo>
                      <a:pt x="8640" y="272"/>
                      <a:pt x="8637" y="366"/>
                      <a:pt x="8644" y="387"/>
                    </a:cubicBezTo>
                    <a:close/>
                    <a:moveTo>
                      <a:pt x="8474" y="1099"/>
                    </a:moveTo>
                    <a:cubicBezTo>
                      <a:pt x="8506" y="1078"/>
                      <a:pt x="8506" y="1078"/>
                      <a:pt x="8506" y="1078"/>
                    </a:cubicBezTo>
                    <a:cubicBezTo>
                      <a:pt x="8506" y="1078"/>
                      <a:pt x="8537" y="1059"/>
                      <a:pt x="8506" y="1019"/>
                    </a:cubicBezTo>
                    <a:cubicBezTo>
                      <a:pt x="8476" y="980"/>
                      <a:pt x="8422" y="951"/>
                      <a:pt x="8420" y="966"/>
                    </a:cubicBezTo>
                    <a:cubicBezTo>
                      <a:pt x="8420" y="966"/>
                      <a:pt x="8478" y="1010"/>
                      <a:pt x="8478" y="1019"/>
                    </a:cubicBezTo>
                    <a:cubicBezTo>
                      <a:pt x="8478" y="1029"/>
                      <a:pt x="8487" y="1040"/>
                      <a:pt x="8483" y="1059"/>
                    </a:cubicBezTo>
                    <a:cubicBezTo>
                      <a:pt x="8476" y="1078"/>
                      <a:pt x="8474" y="1099"/>
                      <a:pt x="8474" y="1099"/>
                    </a:cubicBezTo>
                    <a:close/>
                    <a:moveTo>
                      <a:pt x="8445" y="938"/>
                    </a:moveTo>
                    <a:cubicBezTo>
                      <a:pt x="8457" y="928"/>
                      <a:pt x="8389" y="895"/>
                      <a:pt x="8389" y="895"/>
                    </a:cubicBezTo>
                    <a:cubicBezTo>
                      <a:pt x="8389" y="895"/>
                      <a:pt x="8431" y="947"/>
                      <a:pt x="8445" y="938"/>
                    </a:cubicBezTo>
                    <a:close/>
                    <a:moveTo>
                      <a:pt x="8673" y="738"/>
                    </a:moveTo>
                    <a:cubicBezTo>
                      <a:pt x="8656" y="715"/>
                      <a:pt x="8621" y="736"/>
                      <a:pt x="8621" y="736"/>
                    </a:cubicBezTo>
                    <a:cubicBezTo>
                      <a:pt x="8637" y="755"/>
                      <a:pt x="8637" y="755"/>
                      <a:pt x="8637" y="755"/>
                    </a:cubicBezTo>
                    <a:cubicBezTo>
                      <a:pt x="8644" y="788"/>
                      <a:pt x="8644" y="788"/>
                      <a:pt x="8644" y="788"/>
                    </a:cubicBezTo>
                    <a:cubicBezTo>
                      <a:pt x="8644" y="788"/>
                      <a:pt x="8687" y="764"/>
                      <a:pt x="8673" y="738"/>
                    </a:cubicBezTo>
                    <a:close/>
                    <a:moveTo>
                      <a:pt x="8656" y="589"/>
                    </a:moveTo>
                    <a:cubicBezTo>
                      <a:pt x="8640" y="598"/>
                      <a:pt x="8607" y="692"/>
                      <a:pt x="8607" y="692"/>
                    </a:cubicBezTo>
                    <a:cubicBezTo>
                      <a:pt x="8684" y="652"/>
                      <a:pt x="8684" y="652"/>
                      <a:pt x="8684" y="652"/>
                    </a:cubicBezTo>
                    <a:cubicBezTo>
                      <a:pt x="8640" y="640"/>
                      <a:pt x="8640" y="640"/>
                      <a:pt x="8640" y="640"/>
                    </a:cubicBezTo>
                    <a:cubicBezTo>
                      <a:pt x="8640" y="640"/>
                      <a:pt x="8687" y="621"/>
                      <a:pt x="8684" y="595"/>
                    </a:cubicBezTo>
                    <a:cubicBezTo>
                      <a:pt x="8682" y="570"/>
                      <a:pt x="8663" y="509"/>
                      <a:pt x="8665" y="500"/>
                    </a:cubicBezTo>
                    <a:cubicBezTo>
                      <a:pt x="8668" y="490"/>
                      <a:pt x="8673" y="455"/>
                      <a:pt x="8663" y="445"/>
                    </a:cubicBezTo>
                    <a:cubicBezTo>
                      <a:pt x="8654" y="436"/>
                      <a:pt x="8637" y="445"/>
                      <a:pt x="8637" y="483"/>
                    </a:cubicBezTo>
                    <a:cubicBezTo>
                      <a:pt x="8637" y="521"/>
                      <a:pt x="8673" y="579"/>
                      <a:pt x="8656" y="589"/>
                    </a:cubicBezTo>
                    <a:close/>
                    <a:moveTo>
                      <a:pt x="9394" y="1509"/>
                    </a:moveTo>
                    <a:cubicBezTo>
                      <a:pt x="9345" y="1446"/>
                      <a:pt x="9345" y="1446"/>
                      <a:pt x="9345" y="1446"/>
                    </a:cubicBezTo>
                    <a:cubicBezTo>
                      <a:pt x="9345" y="1481"/>
                      <a:pt x="9345" y="1481"/>
                      <a:pt x="9345" y="1481"/>
                    </a:cubicBezTo>
                    <a:cubicBezTo>
                      <a:pt x="9298" y="1486"/>
                      <a:pt x="9298" y="1486"/>
                      <a:pt x="9298" y="1486"/>
                    </a:cubicBezTo>
                    <a:cubicBezTo>
                      <a:pt x="9354" y="1533"/>
                      <a:pt x="9354" y="1533"/>
                      <a:pt x="9354" y="1533"/>
                    </a:cubicBezTo>
                    <a:lnTo>
                      <a:pt x="9394" y="1509"/>
                    </a:lnTo>
                    <a:close/>
                    <a:moveTo>
                      <a:pt x="8584" y="738"/>
                    </a:moveTo>
                    <a:cubicBezTo>
                      <a:pt x="8553" y="797"/>
                      <a:pt x="8553" y="797"/>
                      <a:pt x="8553" y="797"/>
                    </a:cubicBezTo>
                    <a:cubicBezTo>
                      <a:pt x="8584" y="769"/>
                      <a:pt x="8584" y="769"/>
                      <a:pt x="8584" y="769"/>
                    </a:cubicBezTo>
                    <a:lnTo>
                      <a:pt x="8584" y="738"/>
                    </a:lnTo>
                    <a:close/>
                    <a:moveTo>
                      <a:pt x="8602" y="1256"/>
                    </a:moveTo>
                    <a:cubicBezTo>
                      <a:pt x="8607" y="1174"/>
                      <a:pt x="8607" y="1174"/>
                      <a:pt x="8607" y="1174"/>
                    </a:cubicBezTo>
                    <a:cubicBezTo>
                      <a:pt x="8607" y="1174"/>
                      <a:pt x="8572" y="1123"/>
                      <a:pt x="8560" y="1094"/>
                    </a:cubicBezTo>
                    <a:cubicBezTo>
                      <a:pt x="8546" y="1066"/>
                      <a:pt x="8560" y="1017"/>
                      <a:pt x="8560" y="1008"/>
                    </a:cubicBezTo>
                    <a:cubicBezTo>
                      <a:pt x="8560" y="999"/>
                      <a:pt x="8544" y="963"/>
                      <a:pt x="8544" y="963"/>
                    </a:cubicBezTo>
                    <a:cubicBezTo>
                      <a:pt x="8591" y="905"/>
                      <a:pt x="8591" y="905"/>
                      <a:pt x="8591" y="905"/>
                    </a:cubicBezTo>
                    <a:cubicBezTo>
                      <a:pt x="8591" y="905"/>
                      <a:pt x="8588" y="890"/>
                      <a:pt x="8570" y="890"/>
                    </a:cubicBezTo>
                    <a:cubicBezTo>
                      <a:pt x="8551" y="890"/>
                      <a:pt x="8565" y="849"/>
                      <a:pt x="8565" y="849"/>
                    </a:cubicBezTo>
                    <a:cubicBezTo>
                      <a:pt x="8544" y="816"/>
                      <a:pt x="8553" y="905"/>
                      <a:pt x="8553" y="905"/>
                    </a:cubicBezTo>
                    <a:cubicBezTo>
                      <a:pt x="8513" y="956"/>
                      <a:pt x="8513" y="956"/>
                      <a:pt x="8513" y="956"/>
                    </a:cubicBezTo>
                    <a:cubicBezTo>
                      <a:pt x="8513" y="956"/>
                      <a:pt x="8527" y="980"/>
                      <a:pt x="8542" y="1008"/>
                    </a:cubicBezTo>
                    <a:cubicBezTo>
                      <a:pt x="8553" y="1036"/>
                      <a:pt x="8534" y="1071"/>
                      <a:pt x="8534" y="1094"/>
                    </a:cubicBezTo>
                    <a:cubicBezTo>
                      <a:pt x="8534" y="1116"/>
                      <a:pt x="8553" y="1127"/>
                      <a:pt x="8570" y="1183"/>
                    </a:cubicBezTo>
                    <a:cubicBezTo>
                      <a:pt x="8584" y="1240"/>
                      <a:pt x="8602" y="1256"/>
                      <a:pt x="8602" y="1256"/>
                    </a:cubicBezTo>
                    <a:close/>
                    <a:moveTo>
                      <a:pt x="8532" y="1284"/>
                    </a:moveTo>
                    <a:cubicBezTo>
                      <a:pt x="8544" y="1240"/>
                      <a:pt x="8544" y="1240"/>
                      <a:pt x="8544" y="1240"/>
                    </a:cubicBezTo>
                    <a:cubicBezTo>
                      <a:pt x="8509" y="1193"/>
                      <a:pt x="8515" y="1305"/>
                      <a:pt x="8515" y="1305"/>
                    </a:cubicBezTo>
                    <a:lnTo>
                      <a:pt x="8532" y="1284"/>
                    </a:lnTo>
                    <a:close/>
                    <a:moveTo>
                      <a:pt x="8593" y="1472"/>
                    </a:moveTo>
                    <a:cubicBezTo>
                      <a:pt x="8649" y="1448"/>
                      <a:pt x="8649" y="1448"/>
                      <a:pt x="8649" y="1448"/>
                    </a:cubicBezTo>
                    <a:cubicBezTo>
                      <a:pt x="8616" y="1429"/>
                      <a:pt x="8616" y="1429"/>
                      <a:pt x="8616" y="1429"/>
                    </a:cubicBezTo>
                    <a:lnTo>
                      <a:pt x="8593" y="1472"/>
                    </a:lnTo>
                    <a:close/>
                    <a:moveTo>
                      <a:pt x="8663" y="1378"/>
                    </a:moveTo>
                    <a:cubicBezTo>
                      <a:pt x="8677" y="1361"/>
                      <a:pt x="8612" y="1258"/>
                      <a:pt x="8600" y="1291"/>
                    </a:cubicBezTo>
                    <a:cubicBezTo>
                      <a:pt x="8600" y="1291"/>
                      <a:pt x="8647" y="1392"/>
                      <a:pt x="8663" y="1378"/>
                    </a:cubicBezTo>
                    <a:close/>
                    <a:moveTo>
                      <a:pt x="8665" y="1418"/>
                    </a:moveTo>
                    <a:cubicBezTo>
                      <a:pt x="8665" y="1418"/>
                      <a:pt x="8762" y="1465"/>
                      <a:pt x="8785" y="1448"/>
                    </a:cubicBezTo>
                    <a:cubicBezTo>
                      <a:pt x="8806" y="1434"/>
                      <a:pt x="8806" y="1420"/>
                      <a:pt x="8790" y="1420"/>
                    </a:cubicBezTo>
                    <a:cubicBezTo>
                      <a:pt x="8776" y="1420"/>
                      <a:pt x="8665" y="1397"/>
                      <a:pt x="8665" y="1418"/>
                    </a:cubicBezTo>
                    <a:close/>
                    <a:moveTo>
                      <a:pt x="8818" y="1455"/>
                    </a:moveTo>
                    <a:cubicBezTo>
                      <a:pt x="8818" y="1455"/>
                      <a:pt x="8787" y="1483"/>
                      <a:pt x="8794" y="1493"/>
                    </a:cubicBezTo>
                    <a:cubicBezTo>
                      <a:pt x="8799" y="1502"/>
                      <a:pt x="8818" y="1533"/>
                      <a:pt x="8818" y="1533"/>
                    </a:cubicBezTo>
                    <a:cubicBezTo>
                      <a:pt x="8818" y="1533"/>
                      <a:pt x="8759" y="1530"/>
                      <a:pt x="8762" y="1539"/>
                    </a:cubicBezTo>
                    <a:cubicBezTo>
                      <a:pt x="8766" y="1549"/>
                      <a:pt x="8799" y="1556"/>
                      <a:pt x="8825" y="1551"/>
                    </a:cubicBezTo>
                    <a:cubicBezTo>
                      <a:pt x="8848" y="1549"/>
                      <a:pt x="8871" y="1537"/>
                      <a:pt x="8846" y="1509"/>
                    </a:cubicBezTo>
                    <a:cubicBezTo>
                      <a:pt x="8820" y="1481"/>
                      <a:pt x="8865" y="1446"/>
                      <a:pt x="8818" y="1455"/>
                    </a:cubicBezTo>
                    <a:close/>
                    <a:moveTo>
                      <a:pt x="8876" y="1542"/>
                    </a:moveTo>
                    <a:cubicBezTo>
                      <a:pt x="8919" y="1594"/>
                      <a:pt x="8919" y="1594"/>
                      <a:pt x="8919" y="1594"/>
                    </a:cubicBezTo>
                    <a:cubicBezTo>
                      <a:pt x="8979" y="1612"/>
                      <a:pt x="8979" y="1612"/>
                      <a:pt x="8979" y="1612"/>
                    </a:cubicBezTo>
                    <a:cubicBezTo>
                      <a:pt x="8979" y="1612"/>
                      <a:pt x="9003" y="1645"/>
                      <a:pt x="9017" y="1643"/>
                    </a:cubicBezTo>
                    <a:cubicBezTo>
                      <a:pt x="9033" y="1640"/>
                      <a:pt x="8989" y="1575"/>
                      <a:pt x="8968" y="1570"/>
                    </a:cubicBezTo>
                    <a:cubicBezTo>
                      <a:pt x="8947" y="1567"/>
                      <a:pt x="8883" y="1528"/>
                      <a:pt x="8883" y="1528"/>
                    </a:cubicBezTo>
                    <a:lnTo>
                      <a:pt x="8876" y="1542"/>
                    </a:lnTo>
                    <a:close/>
                    <a:moveTo>
                      <a:pt x="8984" y="1671"/>
                    </a:moveTo>
                    <a:cubicBezTo>
                      <a:pt x="8984" y="1671"/>
                      <a:pt x="8965" y="1683"/>
                      <a:pt x="8977" y="1692"/>
                    </a:cubicBezTo>
                    <a:cubicBezTo>
                      <a:pt x="8989" y="1701"/>
                      <a:pt x="9008" y="1722"/>
                      <a:pt x="9008" y="1722"/>
                    </a:cubicBezTo>
                    <a:lnTo>
                      <a:pt x="8984" y="1671"/>
                    </a:lnTo>
                    <a:close/>
                    <a:moveTo>
                      <a:pt x="9631" y="2334"/>
                    </a:moveTo>
                    <a:cubicBezTo>
                      <a:pt x="9691" y="2306"/>
                      <a:pt x="9691" y="2306"/>
                      <a:pt x="9691" y="2306"/>
                    </a:cubicBezTo>
                    <a:cubicBezTo>
                      <a:pt x="9691" y="2306"/>
                      <a:pt x="9644" y="2256"/>
                      <a:pt x="9621" y="2266"/>
                    </a:cubicBezTo>
                    <a:cubicBezTo>
                      <a:pt x="9640" y="2303"/>
                      <a:pt x="9640" y="2303"/>
                      <a:pt x="9640" y="2303"/>
                    </a:cubicBezTo>
                    <a:lnTo>
                      <a:pt x="9631" y="2334"/>
                    </a:lnTo>
                    <a:close/>
                    <a:moveTo>
                      <a:pt x="10675" y="2765"/>
                    </a:moveTo>
                    <a:cubicBezTo>
                      <a:pt x="10677" y="2741"/>
                      <a:pt x="10703" y="2720"/>
                      <a:pt x="10703" y="2720"/>
                    </a:cubicBezTo>
                    <a:cubicBezTo>
                      <a:pt x="10612" y="2765"/>
                      <a:pt x="10612" y="2765"/>
                      <a:pt x="10612" y="2765"/>
                    </a:cubicBezTo>
                    <a:cubicBezTo>
                      <a:pt x="10612" y="2765"/>
                      <a:pt x="10673" y="2786"/>
                      <a:pt x="10675" y="2765"/>
                    </a:cubicBezTo>
                    <a:close/>
                    <a:moveTo>
                      <a:pt x="10808" y="2711"/>
                    </a:moveTo>
                    <a:cubicBezTo>
                      <a:pt x="10792" y="2694"/>
                      <a:pt x="10771" y="2732"/>
                      <a:pt x="10771" y="2732"/>
                    </a:cubicBezTo>
                    <a:cubicBezTo>
                      <a:pt x="10780" y="2732"/>
                      <a:pt x="10825" y="2727"/>
                      <a:pt x="10808" y="2711"/>
                    </a:cubicBezTo>
                    <a:close/>
                    <a:moveTo>
                      <a:pt x="10825" y="2652"/>
                    </a:moveTo>
                    <a:cubicBezTo>
                      <a:pt x="10792" y="2645"/>
                      <a:pt x="10792" y="2640"/>
                      <a:pt x="10827" y="2683"/>
                    </a:cubicBezTo>
                    <a:cubicBezTo>
                      <a:pt x="10827" y="2683"/>
                      <a:pt x="10855" y="2659"/>
                      <a:pt x="10825" y="2652"/>
                    </a:cubicBezTo>
                    <a:close/>
                    <a:moveTo>
                      <a:pt x="10792" y="3268"/>
                    </a:moveTo>
                    <a:cubicBezTo>
                      <a:pt x="10755" y="3287"/>
                      <a:pt x="10755" y="3287"/>
                      <a:pt x="10755" y="3287"/>
                    </a:cubicBezTo>
                    <a:cubicBezTo>
                      <a:pt x="10764" y="3324"/>
                      <a:pt x="10764" y="3324"/>
                      <a:pt x="10764" y="3324"/>
                    </a:cubicBezTo>
                    <a:cubicBezTo>
                      <a:pt x="10806" y="3283"/>
                      <a:pt x="10806" y="3283"/>
                      <a:pt x="10806" y="3283"/>
                    </a:cubicBezTo>
                    <a:cubicBezTo>
                      <a:pt x="10839" y="3254"/>
                      <a:pt x="10839" y="3254"/>
                      <a:pt x="10839" y="3254"/>
                    </a:cubicBezTo>
                    <a:cubicBezTo>
                      <a:pt x="10799" y="3250"/>
                      <a:pt x="10799" y="3250"/>
                      <a:pt x="10799" y="3250"/>
                    </a:cubicBezTo>
                    <a:lnTo>
                      <a:pt x="10792" y="3268"/>
                    </a:lnTo>
                    <a:close/>
                    <a:moveTo>
                      <a:pt x="9040" y="1867"/>
                    </a:moveTo>
                    <a:cubicBezTo>
                      <a:pt x="9026" y="1900"/>
                      <a:pt x="9017" y="1926"/>
                      <a:pt x="9017" y="1926"/>
                    </a:cubicBezTo>
                    <a:cubicBezTo>
                      <a:pt x="9017" y="1926"/>
                      <a:pt x="9040" y="1907"/>
                      <a:pt x="9040" y="1943"/>
                    </a:cubicBezTo>
                    <a:cubicBezTo>
                      <a:pt x="9040" y="1975"/>
                      <a:pt x="9033" y="2039"/>
                      <a:pt x="9033" y="2039"/>
                    </a:cubicBezTo>
                    <a:cubicBezTo>
                      <a:pt x="9033" y="2039"/>
                      <a:pt x="9078" y="2043"/>
                      <a:pt x="9073" y="1992"/>
                    </a:cubicBezTo>
                    <a:cubicBezTo>
                      <a:pt x="9071" y="1938"/>
                      <a:pt x="9054" y="1905"/>
                      <a:pt x="9054" y="1905"/>
                    </a:cubicBezTo>
                    <a:cubicBezTo>
                      <a:pt x="9054" y="1905"/>
                      <a:pt x="9073" y="1811"/>
                      <a:pt x="9068" y="1776"/>
                    </a:cubicBezTo>
                    <a:cubicBezTo>
                      <a:pt x="9061" y="1741"/>
                      <a:pt x="9078" y="1673"/>
                      <a:pt x="9059" y="1673"/>
                    </a:cubicBezTo>
                    <a:cubicBezTo>
                      <a:pt x="9040" y="1673"/>
                      <a:pt x="9031" y="1683"/>
                      <a:pt x="9031" y="1683"/>
                    </a:cubicBezTo>
                    <a:cubicBezTo>
                      <a:pt x="9031" y="1683"/>
                      <a:pt x="9052" y="1833"/>
                      <a:pt x="9040" y="1867"/>
                    </a:cubicBezTo>
                    <a:close/>
                    <a:moveTo>
                      <a:pt x="9005" y="2020"/>
                    </a:moveTo>
                    <a:cubicBezTo>
                      <a:pt x="9012" y="1992"/>
                      <a:pt x="8956" y="1989"/>
                      <a:pt x="8956" y="1989"/>
                    </a:cubicBezTo>
                    <a:cubicBezTo>
                      <a:pt x="8956" y="1989"/>
                      <a:pt x="8998" y="2048"/>
                      <a:pt x="9005" y="2020"/>
                    </a:cubicBezTo>
                    <a:close/>
                    <a:moveTo>
                      <a:pt x="9068" y="2060"/>
                    </a:moveTo>
                    <a:cubicBezTo>
                      <a:pt x="9054" y="2052"/>
                      <a:pt x="9026" y="2069"/>
                      <a:pt x="9026" y="2069"/>
                    </a:cubicBezTo>
                    <a:cubicBezTo>
                      <a:pt x="9052" y="2085"/>
                      <a:pt x="9052" y="2085"/>
                      <a:pt x="9052" y="2085"/>
                    </a:cubicBezTo>
                    <a:cubicBezTo>
                      <a:pt x="9036" y="2109"/>
                      <a:pt x="9036" y="2109"/>
                      <a:pt x="9036" y="2109"/>
                    </a:cubicBezTo>
                    <a:cubicBezTo>
                      <a:pt x="9052" y="2132"/>
                      <a:pt x="9052" y="2132"/>
                      <a:pt x="9052" y="2132"/>
                    </a:cubicBezTo>
                    <a:cubicBezTo>
                      <a:pt x="9033" y="2144"/>
                      <a:pt x="9033" y="2144"/>
                      <a:pt x="9033" y="2144"/>
                    </a:cubicBezTo>
                    <a:cubicBezTo>
                      <a:pt x="9033" y="2144"/>
                      <a:pt x="9097" y="2156"/>
                      <a:pt x="9082" y="2125"/>
                    </a:cubicBezTo>
                    <a:cubicBezTo>
                      <a:pt x="9071" y="2095"/>
                      <a:pt x="9080" y="2067"/>
                      <a:pt x="9068" y="2060"/>
                    </a:cubicBezTo>
                    <a:close/>
                    <a:moveTo>
                      <a:pt x="9809" y="2659"/>
                    </a:moveTo>
                    <a:cubicBezTo>
                      <a:pt x="9790" y="2634"/>
                      <a:pt x="9733" y="2713"/>
                      <a:pt x="9733" y="2713"/>
                    </a:cubicBezTo>
                    <a:cubicBezTo>
                      <a:pt x="9750" y="2718"/>
                      <a:pt x="9764" y="2723"/>
                      <a:pt x="9764" y="2723"/>
                    </a:cubicBezTo>
                    <a:cubicBezTo>
                      <a:pt x="9764" y="2723"/>
                      <a:pt x="9827" y="2683"/>
                      <a:pt x="9809" y="2659"/>
                    </a:cubicBezTo>
                    <a:close/>
                    <a:moveTo>
                      <a:pt x="9195" y="2634"/>
                    </a:moveTo>
                    <a:cubicBezTo>
                      <a:pt x="9207" y="2605"/>
                      <a:pt x="9207" y="2605"/>
                      <a:pt x="9207" y="2605"/>
                    </a:cubicBezTo>
                    <a:cubicBezTo>
                      <a:pt x="9216" y="2566"/>
                      <a:pt x="9216" y="2566"/>
                      <a:pt x="9216" y="2566"/>
                    </a:cubicBezTo>
                    <a:cubicBezTo>
                      <a:pt x="9202" y="2559"/>
                      <a:pt x="9150" y="2608"/>
                      <a:pt x="9157" y="2634"/>
                    </a:cubicBezTo>
                    <a:cubicBezTo>
                      <a:pt x="9165" y="2659"/>
                      <a:pt x="9195" y="2634"/>
                      <a:pt x="9195" y="2634"/>
                    </a:cubicBezTo>
                    <a:close/>
                    <a:moveTo>
                      <a:pt x="9263" y="2683"/>
                    </a:moveTo>
                    <a:cubicBezTo>
                      <a:pt x="9286" y="2659"/>
                      <a:pt x="9223" y="2666"/>
                      <a:pt x="9223" y="2666"/>
                    </a:cubicBezTo>
                    <a:cubicBezTo>
                      <a:pt x="9223" y="2666"/>
                      <a:pt x="9242" y="2708"/>
                      <a:pt x="9263" y="2683"/>
                    </a:cubicBezTo>
                    <a:close/>
                    <a:moveTo>
                      <a:pt x="9621" y="3170"/>
                    </a:moveTo>
                    <a:cubicBezTo>
                      <a:pt x="9626" y="3144"/>
                      <a:pt x="9666" y="3114"/>
                      <a:pt x="9666" y="3114"/>
                    </a:cubicBezTo>
                    <a:cubicBezTo>
                      <a:pt x="9703" y="3090"/>
                      <a:pt x="9703" y="3090"/>
                      <a:pt x="9703" y="3090"/>
                    </a:cubicBezTo>
                    <a:cubicBezTo>
                      <a:pt x="9668" y="3076"/>
                      <a:pt x="9668" y="3076"/>
                      <a:pt x="9668" y="3076"/>
                    </a:cubicBezTo>
                    <a:cubicBezTo>
                      <a:pt x="9649" y="3057"/>
                      <a:pt x="9649" y="3057"/>
                      <a:pt x="9649" y="3057"/>
                    </a:cubicBezTo>
                    <a:cubicBezTo>
                      <a:pt x="9635" y="3100"/>
                      <a:pt x="9635" y="3100"/>
                      <a:pt x="9635" y="3100"/>
                    </a:cubicBezTo>
                    <a:cubicBezTo>
                      <a:pt x="9635" y="3100"/>
                      <a:pt x="9560" y="3146"/>
                      <a:pt x="9574" y="3182"/>
                    </a:cubicBezTo>
                    <a:cubicBezTo>
                      <a:pt x="9574" y="3182"/>
                      <a:pt x="9619" y="3194"/>
                      <a:pt x="9621" y="3170"/>
                    </a:cubicBezTo>
                    <a:close/>
                    <a:moveTo>
                      <a:pt x="9741" y="3200"/>
                    </a:moveTo>
                    <a:cubicBezTo>
                      <a:pt x="9787" y="3194"/>
                      <a:pt x="9787" y="3194"/>
                      <a:pt x="9787" y="3194"/>
                    </a:cubicBezTo>
                    <a:cubicBezTo>
                      <a:pt x="9787" y="3194"/>
                      <a:pt x="9780" y="3219"/>
                      <a:pt x="9811" y="3219"/>
                    </a:cubicBezTo>
                    <a:cubicBezTo>
                      <a:pt x="9844" y="3219"/>
                      <a:pt x="9876" y="3219"/>
                      <a:pt x="9876" y="3219"/>
                    </a:cubicBezTo>
                    <a:cubicBezTo>
                      <a:pt x="9820" y="3194"/>
                      <a:pt x="9820" y="3194"/>
                      <a:pt x="9820" y="3194"/>
                    </a:cubicBezTo>
                    <a:cubicBezTo>
                      <a:pt x="9752" y="3163"/>
                      <a:pt x="9752" y="3163"/>
                      <a:pt x="9752" y="3163"/>
                    </a:cubicBezTo>
                    <a:cubicBezTo>
                      <a:pt x="9752" y="3163"/>
                      <a:pt x="9752" y="3137"/>
                      <a:pt x="9741" y="3125"/>
                    </a:cubicBezTo>
                    <a:cubicBezTo>
                      <a:pt x="9729" y="3114"/>
                      <a:pt x="9731" y="3172"/>
                      <a:pt x="9731" y="3172"/>
                    </a:cubicBezTo>
                    <a:lnTo>
                      <a:pt x="9741" y="3200"/>
                    </a:lnTo>
                    <a:close/>
                    <a:moveTo>
                      <a:pt x="9853" y="3528"/>
                    </a:moveTo>
                    <a:cubicBezTo>
                      <a:pt x="9830" y="3486"/>
                      <a:pt x="9818" y="3409"/>
                      <a:pt x="9818" y="3409"/>
                    </a:cubicBezTo>
                    <a:cubicBezTo>
                      <a:pt x="9780" y="3428"/>
                      <a:pt x="9780" y="3428"/>
                      <a:pt x="9780" y="3428"/>
                    </a:cubicBezTo>
                    <a:cubicBezTo>
                      <a:pt x="9809" y="3493"/>
                      <a:pt x="9809" y="3493"/>
                      <a:pt x="9809" y="3493"/>
                    </a:cubicBezTo>
                    <a:cubicBezTo>
                      <a:pt x="9809" y="3538"/>
                      <a:pt x="9809" y="3538"/>
                      <a:pt x="9809" y="3538"/>
                    </a:cubicBezTo>
                    <a:cubicBezTo>
                      <a:pt x="9809" y="3538"/>
                      <a:pt x="9874" y="3568"/>
                      <a:pt x="9853" y="3528"/>
                    </a:cubicBezTo>
                    <a:close/>
                    <a:moveTo>
                      <a:pt x="9858" y="3350"/>
                    </a:moveTo>
                    <a:cubicBezTo>
                      <a:pt x="9869" y="3357"/>
                      <a:pt x="9890" y="3308"/>
                      <a:pt x="9890" y="3308"/>
                    </a:cubicBezTo>
                    <a:cubicBezTo>
                      <a:pt x="9881" y="3275"/>
                      <a:pt x="9881" y="3275"/>
                      <a:pt x="9881" y="3275"/>
                    </a:cubicBezTo>
                    <a:cubicBezTo>
                      <a:pt x="9881" y="3275"/>
                      <a:pt x="9830" y="3327"/>
                      <a:pt x="9858" y="3350"/>
                    </a:cubicBezTo>
                    <a:close/>
                    <a:moveTo>
                      <a:pt x="10033" y="3355"/>
                    </a:moveTo>
                    <a:cubicBezTo>
                      <a:pt x="10050" y="3334"/>
                      <a:pt x="10007" y="3275"/>
                      <a:pt x="10007" y="3275"/>
                    </a:cubicBezTo>
                    <a:cubicBezTo>
                      <a:pt x="10007" y="3275"/>
                      <a:pt x="10003" y="3306"/>
                      <a:pt x="9996" y="3315"/>
                    </a:cubicBezTo>
                    <a:cubicBezTo>
                      <a:pt x="9989" y="3324"/>
                      <a:pt x="9928" y="3294"/>
                      <a:pt x="9914" y="3327"/>
                    </a:cubicBezTo>
                    <a:cubicBezTo>
                      <a:pt x="9949" y="3350"/>
                      <a:pt x="9949" y="3350"/>
                      <a:pt x="9949" y="3350"/>
                    </a:cubicBezTo>
                    <a:cubicBezTo>
                      <a:pt x="9949" y="3350"/>
                      <a:pt x="10017" y="3378"/>
                      <a:pt x="10033" y="3355"/>
                    </a:cubicBezTo>
                    <a:close/>
                    <a:moveTo>
                      <a:pt x="10136" y="3955"/>
                    </a:moveTo>
                    <a:cubicBezTo>
                      <a:pt x="10157" y="3948"/>
                      <a:pt x="10073" y="3908"/>
                      <a:pt x="10073" y="3908"/>
                    </a:cubicBezTo>
                    <a:cubicBezTo>
                      <a:pt x="10080" y="3957"/>
                      <a:pt x="10113" y="3960"/>
                      <a:pt x="10136" y="3955"/>
                    </a:cubicBezTo>
                    <a:close/>
                    <a:moveTo>
                      <a:pt x="10534" y="3899"/>
                    </a:moveTo>
                    <a:cubicBezTo>
                      <a:pt x="10537" y="3849"/>
                      <a:pt x="10537" y="3849"/>
                      <a:pt x="10537" y="3849"/>
                    </a:cubicBezTo>
                    <a:cubicBezTo>
                      <a:pt x="10537" y="3849"/>
                      <a:pt x="10457" y="3826"/>
                      <a:pt x="10420" y="3920"/>
                    </a:cubicBezTo>
                    <a:cubicBezTo>
                      <a:pt x="10506" y="3870"/>
                      <a:pt x="10506" y="3870"/>
                      <a:pt x="10506" y="3870"/>
                    </a:cubicBezTo>
                    <a:lnTo>
                      <a:pt x="10534" y="3899"/>
                    </a:lnTo>
                    <a:close/>
                    <a:moveTo>
                      <a:pt x="10626" y="3920"/>
                    </a:moveTo>
                    <a:cubicBezTo>
                      <a:pt x="10635" y="3899"/>
                      <a:pt x="10619" y="3868"/>
                      <a:pt x="10619" y="3868"/>
                    </a:cubicBezTo>
                    <a:cubicBezTo>
                      <a:pt x="10562" y="3915"/>
                      <a:pt x="10562" y="3915"/>
                      <a:pt x="10562" y="3915"/>
                    </a:cubicBezTo>
                    <a:cubicBezTo>
                      <a:pt x="10562" y="3915"/>
                      <a:pt x="10617" y="3943"/>
                      <a:pt x="10626" y="3920"/>
                    </a:cubicBezTo>
                    <a:close/>
                    <a:moveTo>
                      <a:pt x="10788" y="4156"/>
                    </a:moveTo>
                    <a:cubicBezTo>
                      <a:pt x="10734" y="3995"/>
                      <a:pt x="10734" y="3995"/>
                      <a:pt x="10734" y="3995"/>
                    </a:cubicBezTo>
                    <a:cubicBezTo>
                      <a:pt x="10719" y="3992"/>
                      <a:pt x="10719" y="3992"/>
                      <a:pt x="10719" y="3992"/>
                    </a:cubicBezTo>
                    <a:cubicBezTo>
                      <a:pt x="10764" y="4161"/>
                      <a:pt x="10764" y="4161"/>
                      <a:pt x="10764" y="4161"/>
                    </a:cubicBezTo>
                    <a:lnTo>
                      <a:pt x="10788" y="4156"/>
                    </a:lnTo>
                    <a:close/>
                    <a:moveTo>
                      <a:pt x="10731" y="3861"/>
                    </a:moveTo>
                    <a:cubicBezTo>
                      <a:pt x="10731" y="3861"/>
                      <a:pt x="10759" y="3873"/>
                      <a:pt x="10759" y="3891"/>
                    </a:cubicBezTo>
                    <a:cubicBezTo>
                      <a:pt x="10759" y="3910"/>
                      <a:pt x="10764" y="3938"/>
                      <a:pt x="10764" y="3938"/>
                    </a:cubicBezTo>
                    <a:cubicBezTo>
                      <a:pt x="10764" y="3938"/>
                      <a:pt x="10788" y="3915"/>
                      <a:pt x="10788" y="3901"/>
                    </a:cubicBezTo>
                    <a:cubicBezTo>
                      <a:pt x="10788" y="3889"/>
                      <a:pt x="10820" y="3870"/>
                      <a:pt x="10801" y="3835"/>
                    </a:cubicBezTo>
                    <a:cubicBezTo>
                      <a:pt x="10783" y="3802"/>
                      <a:pt x="10731" y="3861"/>
                      <a:pt x="10731" y="3861"/>
                    </a:cubicBezTo>
                    <a:close/>
                    <a:moveTo>
                      <a:pt x="10979" y="4138"/>
                    </a:moveTo>
                    <a:cubicBezTo>
                      <a:pt x="10996" y="4154"/>
                      <a:pt x="10996" y="4154"/>
                      <a:pt x="10996" y="4154"/>
                    </a:cubicBezTo>
                    <a:cubicBezTo>
                      <a:pt x="11066" y="4079"/>
                      <a:pt x="11066" y="4079"/>
                      <a:pt x="11066" y="4079"/>
                    </a:cubicBezTo>
                    <a:cubicBezTo>
                      <a:pt x="11043" y="4072"/>
                      <a:pt x="11043" y="4072"/>
                      <a:pt x="11043" y="4072"/>
                    </a:cubicBezTo>
                    <a:lnTo>
                      <a:pt x="10979" y="4138"/>
                    </a:lnTo>
                    <a:close/>
                    <a:moveTo>
                      <a:pt x="11439" y="4276"/>
                    </a:moveTo>
                    <a:cubicBezTo>
                      <a:pt x="11429" y="4276"/>
                      <a:pt x="11394" y="4294"/>
                      <a:pt x="11394" y="4294"/>
                    </a:cubicBezTo>
                    <a:cubicBezTo>
                      <a:pt x="11394" y="4294"/>
                      <a:pt x="11378" y="4308"/>
                      <a:pt x="11429" y="4308"/>
                    </a:cubicBezTo>
                    <a:cubicBezTo>
                      <a:pt x="11478" y="4308"/>
                      <a:pt x="11488" y="4268"/>
                      <a:pt x="11488" y="4268"/>
                    </a:cubicBezTo>
                    <a:cubicBezTo>
                      <a:pt x="11488" y="4268"/>
                      <a:pt x="11448" y="4276"/>
                      <a:pt x="11439" y="4276"/>
                    </a:cubicBezTo>
                    <a:close/>
                    <a:moveTo>
                      <a:pt x="10762" y="4182"/>
                    </a:moveTo>
                    <a:cubicBezTo>
                      <a:pt x="10755" y="4170"/>
                      <a:pt x="10691" y="4166"/>
                      <a:pt x="10715" y="4231"/>
                    </a:cubicBezTo>
                    <a:cubicBezTo>
                      <a:pt x="10727" y="4264"/>
                      <a:pt x="10769" y="4194"/>
                      <a:pt x="10762" y="4182"/>
                    </a:cubicBezTo>
                    <a:close/>
                    <a:moveTo>
                      <a:pt x="10272" y="3500"/>
                    </a:moveTo>
                    <a:cubicBezTo>
                      <a:pt x="10310" y="3531"/>
                      <a:pt x="10310" y="3531"/>
                      <a:pt x="10310" y="3531"/>
                    </a:cubicBezTo>
                    <a:cubicBezTo>
                      <a:pt x="10310" y="3531"/>
                      <a:pt x="10289" y="3430"/>
                      <a:pt x="10272" y="3500"/>
                    </a:cubicBezTo>
                    <a:close/>
                    <a:moveTo>
                      <a:pt x="10780" y="4955"/>
                    </a:moveTo>
                    <a:cubicBezTo>
                      <a:pt x="10769" y="4932"/>
                      <a:pt x="10736" y="4960"/>
                      <a:pt x="10736" y="4969"/>
                    </a:cubicBezTo>
                    <a:cubicBezTo>
                      <a:pt x="10736" y="4978"/>
                      <a:pt x="10750" y="5016"/>
                      <a:pt x="10743" y="5051"/>
                    </a:cubicBezTo>
                    <a:cubicBezTo>
                      <a:pt x="10736" y="5086"/>
                      <a:pt x="10696" y="5053"/>
                      <a:pt x="10696" y="5079"/>
                    </a:cubicBezTo>
                    <a:cubicBezTo>
                      <a:pt x="10696" y="5105"/>
                      <a:pt x="10745" y="5107"/>
                      <a:pt x="10745" y="5107"/>
                    </a:cubicBezTo>
                    <a:cubicBezTo>
                      <a:pt x="10801" y="5034"/>
                      <a:pt x="10801" y="5034"/>
                      <a:pt x="10801" y="5034"/>
                    </a:cubicBezTo>
                    <a:cubicBezTo>
                      <a:pt x="10773" y="4988"/>
                      <a:pt x="10773" y="4988"/>
                      <a:pt x="10773" y="4988"/>
                    </a:cubicBezTo>
                    <a:lnTo>
                      <a:pt x="10780" y="4955"/>
                    </a:lnTo>
                    <a:close/>
                    <a:moveTo>
                      <a:pt x="10668" y="5199"/>
                    </a:moveTo>
                    <a:cubicBezTo>
                      <a:pt x="10666" y="5220"/>
                      <a:pt x="10694" y="5222"/>
                      <a:pt x="10694" y="5222"/>
                    </a:cubicBezTo>
                    <a:cubicBezTo>
                      <a:pt x="10731" y="5145"/>
                      <a:pt x="10731" y="5145"/>
                      <a:pt x="10731" y="5145"/>
                    </a:cubicBezTo>
                    <a:cubicBezTo>
                      <a:pt x="10731" y="5145"/>
                      <a:pt x="10722" y="5126"/>
                      <a:pt x="10703" y="5107"/>
                    </a:cubicBezTo>
                    <a:cubicBezTo>
                      <a:pt x="10684" y="5089"/>
                      <a:pt x="10673" y="5175"/>
                      <a:pt x="10668" y="5199"/>
                    </a:cubicBezTo>
                    <a:close/>
                    <a:moveTo>
                      <a:pt x="10675" y="5747"/>
                    </a:moveTo>
                    <a:cubicBezTo>
                      <a:pt x="10666" y="5766"/>
                      <a:pt x="10703" y="5796"/>
                      <a:pt x="10703" y="5796"/>
                    </a:cubicBezTo>
                    <a:cubicBezTo>
                      <a:pt x="10727" y="5761"/>
                      <a:pt x="10727" y="5761"/>
                      <a:pt x="10727" y="5761"/>
                    </a:cubicBezTo>
                    <a:cubicBezTo>
                      <a:pt x="10722" y="5730"/>
                      <a:pt x="10722" y="5730"/>
                      <a:pt x="10722" y="5730"/>
                    </a:cubicBezTo>
                    <a:cubicBezTo>
                      <a:pt x="10712" y="5653"/>
                      <a:pt x="10684" y="5728"/>
                      <a:pt x="10675" y="5747"/>
                    </a:cubicBezTo>
                    <a:close/>
                    <a:moveTo>
                      <a:pt x="8483" y="8881"/>
                    </a:moveTo>
                    <a:cubicBezTo>
                      <a:pt x="8509" y="8881"/>
                      <a:pt x="8523" y="8867"/>
                      <a:pt x="8523" y="8867"/>
                    </a:cubicBezTo>
                    <a:cubicBezTo>
                      <a:pt x="8483" y="8846"/>
                      <a:pt x="8483" y="8846"/>
                      <a:pt x="8483" y="8846"/>
                    </a:cubicBezTo>
                    <a:cubicBezTo>
                      <a:pt x="8483" y="8846"/>
                      <a:pt x="8455" y="8881"/>
                      <a:pt x="8483" y="8881"/>
                    </a:cubicBezTo>
                    <a:close/>
                    <a:moveTo>
                      <a:pt x="8483" y="8914"/>
                    </a:moveTo>
                    <a:cubicBezTo>
                      <a:pt x="8483" y="8914"/>
                      <a:pt x="8487" y="8956"/>
                      <a:pt x="8504" y="8958"/>
                    </a:cubicBezTo>
                    <a:cubicBezTo>
                      <a:pt x="8518" y="8961"/>
                      <a:pt x="8527" y="8923"/>
                      <a:pt x="8534" y="8905"/>
                    </a:cubicBezTo>
                    <a:cubicBezTo>
                      <a:pt x="8542" y="8886"/>
                      <a:pt x="8495" y="8886"/>
                      <a:pt x="8483" y="8914"/>
                    </a:cubicBezTo>
                    <a:close/>
                    <a:moveTo>
                      <a:pt x="7951" y="9057"/>
                    </a:moveTo>
                    <a:cubicBezTo>
                      <a:pt x="7923" y="9017"/>
                      <a:pt x="7923" y="9017"/>
                      <a:pt x="7923" y="9017"/>
                    </a:cubicBezTo>
                    <a:cubicBezTo>
                      <a:pt x="7923" y="9017"/>
                      <a:pt x="7900" y="9050"/>
                      <a:pt x="7892" y="9064"/>
                    </a:cubicBezTo>
                    <a:cubicBezTo>
                      <a:pt x="7886" y="9080"/>
                      <a:pt x="7892" y="9101"/>
                      <a:pt x="7892" y="9111"/>
                    </a:cubicBezTo>
                    <a:cubicBezTo>
                      <a:pt x="7892" y="9120"/>
                      <a:pt x="7883" y="9148"/>
                      <a:pt x="7883" y="9148"/>
                    </a:cubicBezTo>
                    <a:cubicBezTo>
                      <a:pt x="7912" y="9212"/>
                      <a:pt x="7912" y="9212"/>
                      <a:pt x="7912" y="9212"/>
                    </a:cubicBezTo>
                    <a:cubicBezTo>
                      <a:pt x="7961" y="9155"/>
                      <a:pt x="7961" y="9155"/>
                      <a:pt x="7961" y="9155"/>
                    </a:cubicBezTo>
                    <a:cubicBezTo>
                      <a:pt x="7956" y="9132"/>
                      <a:pt x="7956" y="9132"/>
                      <a:pt x="7956" y="9132"/>
                    </a:cubicBezTo>
                    <a:lnTo>
                      <a:pt x="7951" y="9057"/>
                    </a:lnTo>
                    <a:close/>
                    <a:moveTo>
                      <a:pt x="8932" y="9263"/>
                    </a:moveTo>
                    <a:cubicBezTo>
                      <a:pt x="8895" y="9233"/>
                      <a:pt x="8902" y="9268"/>
                      <a:pt x="8883" y="9230"/>
                    </a:cubicBezTo>
                    <a:cubicBezTo>
                      <a:pt x="8865" y="9193"/>
                      <a:pt x="8853" y="9174"/>
                      <a:pt x="8853" y="9174"/>
                    </a:cubicBezTo>
                    <a:cubicBezTo>
                      <a:pt x="8815" y="9216"/>
                      <a:pt x="8815" y="9216"/>
                      <a:pt x="8815" y="9216"/>
                    </a:cubicBezTo>
                    <a:cubicBezTo>
                      <a:pt x="8827" y="9242"/>
                      <a:pt x="8827" y="9242"/>
                      <a:pt x="8827" y="9242"/>
                    </a:cubicBezTo>
                    <a:cubicBezTo>
                      <a:pt x="8825" y="9282"/>
                      <a:pt x="8825" y="9282"/>
                      <a:pt x="8825" y="9282"/>
                    </a:cubicBezTo>
                    <a:cubicBezTo>
                      <a:pt x="8825" y="9282"/>
                      <a:pt x="8848" y="9329"/>
                      <a:pt x="8855" y="9338"/>
                    </a:cubicBezTo>
                    <a:cubicBezTo>
                      <a:pt x="8862" y="9347"/>
                      <a:pt x="8919" y="9333"/>
                      <a:pt x="8919" y="9333"/>
                    </a:cubicBezTo>
                    <a:cubicBezTo>
                      <a:pt x="8904" y="9305"/>
                      <a:pt x="8904" y="9305"/>
                      <a:pt x="8904" y="9305"/>
                    </a:cubicBezTo>
                    <a:cubicBezTo>
                      <a:pt x="8904" y="9305"/>
                      <a:pt x="8970" y="9296"/>
                      <a:pt x="8932" y="9263"/>
                    </a:cubicBezTo>
                    <a:close/>
                    <a:moveTo>
                      <a:pt x="8893" y="9363"/>
                    </a:moveTo>
                    <a:cubicBezTo>
                      <a:pt x="8862" y="9363"/>
                      <a:pt x="8834" y="9378"/>
                      <a:pt x="8834" y="9378"/>
                    </a:cubicBezTo>
                    <a:cubicBezTo>
                      <a:pt x="8862" y="9396"/>
                      <a:pt x="8862" y="9396"/>
                      <a:pt x="8862" y="9396"/>
                    </a:cubicBezTo>
                    <a:cubicBezTo>
                      <a:pt x="8881" y="9441"/>
                      <a:pt x="8881" y="9441"/>
                      <a:pt x="8881" y="9441"/>
                    </a:cubicBezTo>
                    <a:cubicBezTo>
                      <a:pt x="8881" y="9441"/>
                      <a:pt x="8871" y="9406"/>
                      <a:pt x="8902" y="9411"/>
                    </a:cubicBezTo>
                    <a:cubicBezTo>
                      <a:pt x="8932" y="9413"/>
                      <a:pt x="8977" y="9439"/>
                      <a:pt x="8956" y="9403"/>
                    </a:cubicBezTo>
                    <a:cubicBezTo>
                      <a:pt x="8932" y="9371"/>
                      <a:pt x="8923" y="9363"/>
                      <a:pt x="8893" y="9363"/>
                    </a:cubicBezTo>
                    <a:close/>
                    <a:moveTo>
                      <a:pt x="8097" y="9333"/>
                    </a:moveTo>
                    <a:cubicBezTo>
                      <a:pt x="8097" y="9333"/>
                      <a:pt x="8127" y="9314"/>
                      <a:pt x="8139" y="9314"/>
                    </a:cubicBezTo>
                    <a:cubicBezTo>
                      <a:pt x="8129" y="9291"/>
                      <a:pt x="8129" y="9291"/>
                      <a:pt x="8129" y="9291"/>
                    </a:cubicBezTo>
                    <a:cubicBezTo>
                      <a:pt x="8129" y="9291"/>
                      <a:pt x="8082" y="9301"/>
                      <a:pt x="8070" y="9307"/>
                    </a:cubicBezTo>
                    <a:cubicBezTo>
                      <a:pt x="8059" y="9314"/>
                      <a:pt x="8061" y="9345"/>
                      <a:pt x="8078" y="9371"/>
                    </a:cubicBezTo>
                    <a:cubicBezTo>
                      <a:pt x="8092" y="9394"/>
                      <a:pt x="8097" y="9333"/>
                      <a:pt x="8097" y="9333"/>
                    </a:cubicBezTo>
                    <a:close/>
                    <a:moveTo>
                      <a:pt x="8780" y="9525"/>
                    </a:moveTo>
                    <a:cubicBezTo>
                      <a:pt x="8780" y="9525"/>
                      <a:pt x="8757" y="9507"/>
                      <a:pt x="8738" y="9504"/>
                    </a:cubicBezTo>
                    <a:cubicBezTo>
                      <a:pt x="8720" y="9500"/>
                      <a:pt x="8691" y="9553"/>
                      <a:pt x="8691" y="9553"/>
                    </a:cubicBezTo>
                    <a:cubicBezTo>
                      <a:pt x="8691" y="9553"/>
                      <a:pt x="8656" y="9532"/>
                      <a:pt x="8644" y="9532"/>
                    </a:cubicBezTo>
                    <a:cubicBezTo>
                      <a:pt x="8631" y="9532"/>
                      <a:pt x="8631" y="9556"/>
                      <a:pt x="8631" y="9556"/>
                    </a:cubicBezTo>
                    <a:cubicBezTo>
                      <a:pt x="8631" y="9556"/>
                      <a:pt x="8600" y="9542"/>
                      <a:pt x="8581" y="9544"/>
                    </a:cubicBezTo>
                    <a:cubicBezTo>
                      <a:pt x="8563" y="9546"/>
                      <a:pt x="8560" y="9581"/>
                      <a:pt x="8560" y="9581"/>
                    </a:cubicBezTo>
                    <a:cubicBezTo>
                      <a:pt x="8534" y="9556"/>
                      <a:pt x="8534" y="9556"/>
                      <a:pt x="8534" y="9556"/>
                    </a:cubicBezTo>
                    <a:cubicBezTo>
                      <a:pt x="8429" y="9584"/>
                      <a:pt x="8429" y="9584"/>
                      <a:pt x="8429" y="9584"/>
                    </a:cubicBezTo>
                    <a:cubicBezTo>
                      <a:pt x="8242" y="9472"/>
                      <a:pt x="8242" y="9472"/>
                      <a:pt x="8242" y="9472"/>
                    </a:cubicBezTo>
                    <a:cubicBezTo>
                      <a:pt x="8211" y="9422"/>
                      <a:pt x="8211" y="9422"/>
                      <a:pt x="8211" y="9422"/>
                    </a:cubicBezTo>
                    <a:cubicBezTo>
                      <a:pt x="8211" y="9422"/>
                      <a:pt x="8192" y="9439"/>
                      <a:pt x="8174" y="9439"/>
                    </a:cubicBezTo>
                    <a:cubicBezTo>
                      <a:pt x="8155" y="9439"/>
                      <a:pt x="8134" y="9396"/>
                      <a:pt x="8134" y="9385"/>
                    </a:cubicBezTo>
                    <a:cubicBezTo>
                      <a:pt x="8134" y="9373"/>
                      <a:pt x="8068" y="9385"/>
                      <a:pt x="8068" y="9385"/>
                    </a:cubicBezTo>
                    <a:cubicBezTo>
                      <a:pt x="8068" y="9385"/>
                      <a:pt x="8059" y="9443"/>
                      <a:pt x="8068" y="9462"/>
                    </a:cubicBezTo>
                    <a:cubicBezTo>
                      <a:pt x="8078" y="9481"/>
                      <a:pt x="8050" y="9481"/>
                      <a:pt x="8042" y="9509"/>
                    </a:cubicBezTo>
                    <a:cubicBezTo>
                      <a:pt x="8036" y="9537"/>
                      <a:pt x="8073" y="9584"/>
                      <a:pt x="8087" y="9654"/>
                    </a:cubicBezTo>
                    <a:cubicBezTo>
                      <a:pt x="8099" y="9722"/>
                      <a:pt x="8120" y="9750"/>
                      <a:pt x="8153" y="9788"/>
                    </a:cubicBezTo>
                    <a:cubicBezTo>
                      <a:pt x="8183" y="9825"/>
                      <a:pt x="8169" y="9828"/>
                      <a:pt x="8169" y="9828"/>
                    </a:cubicBezTo>
                    <a:cubicBezTo>
                      <a:pt x="8169" y="9828"/>
                      <a:pt x="8216" y="9905"/>
                      <a:pt x="8220" y="9919"/>
                    </a:cubicBezTo>
                    <a:cubicBezTo>
                      <a:pt x="8223" y="9930"/>
                      <a:pt x="8195" y="9945"/>
                      <a:pt x="8195" y="9945"/>
                    </a:cubicBezTo>
                    <a:cubicBezTo>
                      <a:pt x="8153" y="9865"/>
                      <a:pt x="8153" y="9865"/>
                      <a:pt x="8153" y="9865"/>
                    </a:cubicBezTo>
                    <a:cubicBezTo>
                      <a:pt x="8153" y="9865"/>
                      <a:pt x="8148" y="9945"/>
                      <a:pt x="8148" y="9980"/>
                    </a:cubicBezTo>
                    <a:cubicBezTo>
                      <a:pt x="8148" y="10015"/>
                      <a:pt x="8253" y="10195"/>
                      <a:pt x="8253" y="10195"/>
                    </a:cubicBezTo>
                    <a:cubicBezTo>
                      <a:pt x="8272" y="10169"/>
                      <a:pt x="8272" y="10169"/>
                      <a:pt x="8272" y="10169"/>
                    </a:cubicBezTo>
                    <a:cubicBezTo>
                      <a:pt x="8328" y="10223"/>
                      <a:pt x="8328" y="10223"/>
                      <a:pt x="8328" y="10223"/>
                    </a:cubicBezTo>
                    <a:cubicBezTo>
                      <a:pt x="8288" y="10233"/>
                      <a:pt x="8288" y="10233"/>
                      <a:pt x="8288" y="10233"/>
                    </a:cubicBezTo>
                    <a:cubicBezTo>
                      <a:pt x="8288" y="10277"/>
                      <a:pt x="8288" y="10277"/>
                      <a:pt x="8288" y="10277"/>
                    </a:cubicBezTo>
                    <a:cubicBezTo>
                      <a:pt x="8354" y="10289"/>
                      <a:pt x="8354" y="10289"/>
                      <a:pt x="8354" y="10289"/>
                    </a:cubicBezTo>
                    <a:cubicBezTo>
                      <a:pt x="8392" y="10298"/>
                      <a:pt x="8392" y="10298"/>
                      <a:pt x="8392" y="10298"/>
                    </a:cubicBezTo>
                    <a:cubicBezTo>
                      <a:pt x="8403" y="10273"/>
                      <a:pt x="8403" y="10273"/>
                      <a:pt x="8403" y="10273"/>
                    </a:cubicBezTo>
                    <a:cubicBezTo>
                      <a:pt x="8457" y="10334"/>
                      <a:pt x="8457" y="10334"/>
                      <a:pt x="8457" y="10334"/>
                    </a:cubicBezTo>
                    <a:cubicBezTo>
                      <a:pt x="8523" y="10245"/>
                      <a:pt x="8523" y="10245"/>
                      <a:pt x="8523" y="10245"/>
                    </a:cubicBezTo>
                    <a:cubicBezTo>
                      <a:pt x="8523" y="10188"/>
                      <a:pt x="8523" y="10188"/>
                      <a:pt x="8523" y="10188"/>
                    </a:cubicBezTo>
                    <a:cubicBezTo>
                      <a:pt x="8546" y="10223"/>
                      <a:pt x="8546" y="10223"/>
                      <a:pt x="8546" y="10223"/>
                    </a:cubicBezTo>
                    <a:cubicBezTo>
                      <a:pt x="8600" y="10174"/>
                      <a:pt x="8600" y="10174"/>
                      <a:pt x="8600" y="10174"/>
                    </a:cubicBezTo>
                    <a:cubicBezTo>
                      <a:pt x="8628" y="10092"/>
                      <a:pt x="8628" y="10092"/>
                      <a:pt x="8628" y="10092"/>
                    </a:cubicBezTo>
                    <a:cubicBezTo>
                      <a:pt x="8673" y="10139"/>
                      <a:pt x="8673" y="10139"/>
                      <a:pt x="8673" y="10139"/>
                    </a:cubicBezTo>
                    <a:cubicBezTo>
                      <a:pt x="8673" y="10139"/>
                      <a:pt x="8722" y="10132"/>
                      <a:pt x="8722" y="10111"/>
                    </a:cubicBezTo>
                    <a:cubicBezTo>
                      <a:pt x="8722" y="10090"/>
                      <a:pt x="8759" y="10076"/>
                      <a:pt x="8778" y="10067"/>
                    </a:cubicBezTo>
                    <a:cubicBezTo>
                      <a:pt x="8797" y="10057"/>
                      <a:pt x="8766" y="10055"/>
                      <a:pt x="8757" y="10055"/>
                    </a:cubicBezTo>
                    <a:cubicBezTo>
                      <a:pt x="8748" y="10055"/>
                      <a:pt x="8743" y="9959"/>
                      <a:pt x="8762" y="9945"/>
                    </a:cubicBezTo>
                    <a:cubicBezTo>
                      <a:pt x="8780" y="9930"/>
                      <a:pt x="8787" y="9886"/>
                      <a:pt x="8830" y="9905"/>
                    </a:cubicBezTo>
                    <a:cubicBezTo>
                      <a:pt x="8867" y="9921"/>
                      <a:pt x="8843" y="9956"/>
                      <a:pt x="8834" y="9968"/>
                    </a:cubicBezTo>
                    <a:cubicBezTo>
                      <a:pt x="8839" y="9961"/>
                      <a:pt x="8855" y="9942"/>
                      <a:pt x="8867" y="9933"/>
                    </a:cubicBezTo>
                    <a:cubicBezTo>
                      <a:pt x="8883" y="9923"/>
                      <a:pt x="8865" y="9811"/>
                      <a:pt x="8865" y="9802"/>
                    </a:cubicBezTo>
                    <a:cubicBezTo>
                      <a:pt x="8865" y="9792"/>
                      <a:pt x="8867" y="9678"/>
                      <a:pt x="8858" y="9645"/>
                    </a:cubicBezTo>
                    <a:cubicBezTo>
                      <a:pt x="8848" y="9610"/>
                      <a:pt x="8919" y="9553"/>
                      <a:pt x="8919" y="9553"/>
                    </a:cubicBezTo>
                    <a:cubicBezTo>
                      <a:pt x="8848" y="9478"/>
                      <a:pt x="8848" y="9478"/>
                      <a:pt x="8848" y="9478"/>
                    </a:cubicBezTo>
                    <a:lnTo>
                      <a:pt x="8780" y="9525"/>
                    </a:lnTo>
                    <a:close/>
                    <a:moveTo>
                      <a:pt x="8574" y="10233"/>
                    </a:moveTo>
                    <a:cubicBezTo>
                      <a:pt x="8574" y="10233"/>
                      <a:pt x="8518" y="10282"/>
                      <a:pt x="8537" y="10291"/>
                    </a:cubicBezTo>
                    <a:cubicBezTo>
                      <a:pt x="8555" y="10301"/>
                      <a:pt x="8588" y="10301"/>
                      <a:pt x="8588" y="10301"/>
                    </a:cubicBezTo>
                    <a:cubicBezTo>
                      <a:pt x="8588" y="10301"/>
                      <a:pt x="8574" y="10235"/>
                      <a:pt x="8602" y="10223"/>
                    </a:cubicBezTo>
                    <a:cubicBezTo>
                      <a:pt x="8631" y="10212"/>
                      <a:pt x="8626" y="10174"/>
                      <a:pt x="8626" y="10174"/>
                    </a:cubicBezTo>
                    <a:lnTo>
                      <a:pt x="8574" y="10233"/>
                    </a:lnTo>
                    <a:close/>
                    <a:moveTo>
                      <a:pt x="8733" y="10184"/>
                    </a:moveTo>
                    <a:cubicBezTo>
                      <a:pt x="8691" y="10169"/>
                      <a:pt x="8675" y="10193"/>
                      <a:pt x="8675" y="10193"/>
                    </a:cubicBezTo>
                    <a:cubicBezTo>
                      <a:pt x="8691" y="10233"/>
                      <a:pt x="8696" y="10235"/>
                      <a:pt x="8724" y="10235"/>
                    </a:cubicBezTo>
                    <a:cubicBezTo>
                      <a:pt x="8752" y="10235"/>
                      <a:pt x="8778" y="10195"/>
                      <a:pt x="8733" y="10184"/>
                    </a:cubicBezTo>
                    <a:close/>
                    <a:moveTo>
                      <a:pt x="8748" y="10151"/>
                    </a:moveTo>
                    <a:cubicBezTo>
                      <a:pt x="8757" y="10137"/>
                      <a:pt x="8722" y="10130"/>
                      <a:pt x="8722" y="10130"/>
                    </a:cubicBezTo>
                    <a:cubicBezTo>
                      <a:pt x="8687" y="10148"/>
                      <a:pt x="8687" y="10148"/>
                      <a:pt x="8687" y="10148"/>
                    </a:cubicBezTo>
                    <a:cubicBezTo>
                      <a:pt x="8687" y="10148"/>
                      <a:pt x="8731" y="10177"/>
                      <a:pt x="8748" y="10151"/>
                    </a:cubicBezTo>
                    <a:close/>
                    <a:moveTo>
                      <a:pt x="5878" y="7436"/>
                    </a:moveTo>
                    <a:cubicBezTo>
                      <a:pt x="5902" y="7431"/>
                      <a:pt x="5902" y="7431"/>
                      <a:pt x="5902" y="7431"/>
                    </a:cubicBezTo>
                    <a:cubicBezTo>
                      <a:pt x="5928" y="7457"/>
                      <a:pt x="5928" y="7457"/>
                      <a:pt x="5928" y="7457"/>
                    </a:cubicBezTo>
                    <a:cubicBezTo>
                      <a:pt x="5946" y="7436"/>
                      <a:pt x="5946" y="7436"/>
                      <a:pt x="5946" y="7436"/>
                    </a:cubicBezTo>
                    <a:cubicBezTo>
                      <a:pt x="5897" y="7398"/>
                      <a:pt x="5897" y="7398"/>
                      <a:pt x="5897" y="7398"/>
                    </a:cubicBezTo>
                    <a:lnTo>
                      <a:pt x="5878" y="7436"/>
                    </a:lnTo>
                    <a:close/>
                    <a:moveTo>
                      <a:pt x="6569" y="7792"/>
                    </a:moveTo>
                    <a:cubicBezTo>
                      <a:pt x="6544" y="7818"/>
                      <a:pt x="6544" y="7818"/>
                      <a:pt x="6544" y="7818"/>
                    </a:cubicBezTo>
                    <a:cubicBezTo>
                      <a:pt x="6579" y="7843"/>
                      <a:pt x="6579" y="7843"/>
                      <a:pt x="6579" y="7843"/>
                    </a:cubicBezTo>
                    <a:cubicBezTo>
                      <a:pt x="6609" y="7834"/>
                      <a:pt x="6609" y="7834"/>
                      <a:pt x="6609" y="7834"/>
                    </a:cubicBezTo>
                    <a:cubicBezTo>
                      <a:pt x="6609" y="7834"/>
                      <a:pt x="6600" y="7792"/>
                      <a:pt x="6569" y="7792"/>
                    </a:cubicBezTo>
                    <a:close/>
                    <a:moveTo>
                      <a:pt x="6495" y="7792"/>
                    </a:moveTo>
                    <a:cubicBezTo>
                      <a:pt x="6485" y="7759"/>
                      <a:pt x="6485" y="7759"/>
                      <a:pt x="6485" y="7759"/>
                    </a:cubicBezTo>
                    <a:cubicBezTo>
                      <a:pt x="6410" y="7710"/>
                      <a:pt x="6408" y="7750"/>
                      <a:pt x="6354" y="7768"/>
                    </a:cubicBezTo>
                    <a:cubicBezTo>
                      <a:pt x="6300" y="7787"/>
                      <a:pt x="6223" y="7799"/>
                      <a:pt x="6223" y="7799"/>
                    </a:cubicBezTo>
                    <a:cubicBezTo>
                      <a:pt x="6221" y="7848"/>
                      <a:pt x="6221" y="7848"/>
                      <a:pt x="6221" y="7848"/>
                    </a:cubicBezTo>
                    <a:cubicBezTo>
                      <a:pt x="6253" y="7864"/>
                      <a:pt x="6253" y="7864"/>
                      <a:pt x="6253" y="7864"/>
                    </a:cubicBezTo>
                    <a:cubicBezTo>
                      <a:pt x="6253" y="7864"/>
                      <a:pt x="6307" y="7890"/>
                      <a:pt x="6338" y="7890"/>
                    </a:cubicBezTo>
                    <a:cubicBezTo>
                      <a:pt x="6370" y="7890"/>
                      <a:pt x="6375" y="7864"/>
                      <a:pt x="6394" y="7862"/>
                    </a:cubicBezTo>
                    <a:cubicBezTo>
                      <a:pt x="6412" y="7857"/>
                      <a:pt x="6429" y="7895"/>
                      <a:pt x="6457" y="7900"/>
                    </a:cubicBezTo>
                    <a:cubicBezTo>
                      <a:pt x="6485" y="7902"/>
                      <a:pt x="6485" y="7848"/>
                      <a:pt x="6485" y="7848"/>
                    </a:cubicBezTo>
                    <a:cubicBezTo>
                      <a:pt x="6529" y="7843"/>
                      <a:pt x="6529" y="7843"/>
                      <a:pt x="6529" y="7843"/>
                    </a:cubicBezTo>
                    <a:cubicBezTo>
                      <a:pt x="6529" y="7843"/>
                      <a:pt x="6523" y="7815"/>
                      <a:pt x="6523" y="7806"/>
                    </a:cubicBezTo>
                    <a:cubicBezTo>
                      <a:pt x="6523" y="7796"/>
                      <a:pt x="6495" y="7792"/>
                      <a:pt x="6495" y="7792"/>
                    </a:cubicBezTo>
                    <a:close/>
                    <a:moveTo>
                      <a:pt x="10684" y="5829"/>
                    </a:moveTo>
                    <a:cubicBezTo>
                      <a:pt x="10691" y="5812"/>
                      <a:pt x="10614" y="5684"/>
                      <a:pt x="10614" y="5684"/>
                    </a:cubicBezTo>
                    <a:cubicBezTo>
                      <a:pt x="10659" y="5641"/>
                      <a:pt x="10659" y="5641"/>
                      <a:pt x="10659" y="5641"/>
                    </a:cubicBezTo>
                    <a:cubicBezTo>
                      <a:pt x="10659" y="5641"/>
                      <a:pt x="10638" y="5590"/>
                      <a:pt x="10654" y="5562"/>
                    </a:cubicBezTo>
                    <a:cubicBezTo>
                      <a:pt x="10670" y="5534"/>
                      <a:pt x="10670" y="5534"/>
                      <a:pt x="10670" y="5534"/>
                    </a:cubicBezTo>
                    <a:cubicBezTo>
                      <a:pt x="10670" y="5534"/>
                      <a:pt x="10633" y="5499"/>
                      <a:pt x="10645" y="5479"/>
                    </a:cubicBezTo>
                    <a:cubicBezTo>
                      <a:pt x="10659" y="5461"/>
                      <a:pt x="10659" y="5389"/>
                      <a:pt x="10659" y="5384"/>
                    </a:cubicBezTo>
                    <a:cubicBezTo>
                      <a:pt x="10659" y="5379"/>
                      <a:pt x="10708" y="5311"/>
                      <a:pt x="10708" y="5311"/>
                    </a:cubicBezTo>
                    <a:cubicBezTo>
                      <a:pt x="10708" y="5311"/>
                      <a:pt x="10680" y="5271"/>
                      <a:pt x="10670" y="5255"/>
                    </a:cubicBezTo>
                    <a:cubicBezTo>
                      <a:pt x="10661" y="5241"/>
                      <a:pt x="10602" y="5239"/>
                      <a:pt x="10638" y="5201"/>
                    </a:cubicBezTo>
                    <a:cubicBezTo>
                      <a:pt x="10673" y="5163"/>
                      <a:pt x="10684" y="5138"/>
                      <a:pt x="10666" y="5112"/>
                    </a:cubicBezTo>
                    <a:cubicBezTo>
                      <a:pt x="10647" y="5084"/>
                      <a:pt x="10614" y="5082"/>
                      <a:pt x="10591" y="5049"/>
                    </a:cubicBezTo>
                    <a:cubicBezTo>
                      <a:pt x="10567" y="5013"/>
                      <a:pt x="10565" y="4934"/>
                      <a:pt x="10565" y="4934"/>
                    </a:cubicBezTo>
                    <a:cubicBezTo>
                      <a:pt x="10565" y="4934"/>
                      <a:pt x="10488" y="4913"/>
                      <a:pt x="10473" y="4852"/>
                    </a:cubicBezTo>
                    <a:cubicBezTo>
                      <a:pt x="10460" y="4794"/>
                      <a:pt x="10457" y="4754"/>
                      <a:pt x="10452" y="4746"/>
                    </a:cubicBezTo>
                    <a:cubicBezTo>
                      <a:pt x="10448" y="4742"/>
                      <a:pt x="10387" y="4665"/>
                      <a:pt x="10387" y="4665"/>
                    </a:cubicBezTo>
                    <a:cubicBezTo>
                      <a:pt x="10326" y="4688"/>
                      <a:pt x="10326" y="4688"/>
                      <a:pt x="10326" y="4688"/>
                    </a:cubicBezTo>
                    <a:cubicBezTo>
                      <a:pt x="10295" y="4625"/>
                      <a:pt x="10295" y="4625"/>
                      <a:pt x="10295" y="4625"/>
                    </a:cubicBezTo>
                    <a:cubicBezTo>
                      <a:pt x="10295" y="4625"/>
                      <a:pt x="10319" y="4604"/>
                      <a:pt x="10317" y="4596"/>
                    </a:cubicBezTo>
                    <a:cubicBezTo>
                      <a:pt x="10314" y="4587"/>
                      <a:pt x="10282" y="4512"/>
                      <a:pt x="10282" y="4512"/>
                    </a:cubicBezTo>
                    <a:cubicBezTo>
                      <a:pt x="10282" y="4512"/>
                      <a:pt x="10295" y="4604"/>
                      <a:pt x="10277" y="4585"/>
                    </a:cubicBezTo>
                    <a:cubicBezTo>
                      <a:pt x="10258" y="4568"/>
                      <a:pt x="10237" y="4517"/>
                      <a:pt x="10237" y="4517"/>
                    </a:cubicBezTo>
                    <a:cubicBezTo>
                      <a:pt x="10237" y="4517"/>
                      <a:pt x="10197" y="4512"/>
                      <a:pt x="10193" y="4505"/>
                    </a:cubicBezTo>
                    <a:cubicBezTo>
                      <a:pt x="10185" y="4501"/>
                      <a:pt x="10188" y="4456"/>
                      <a:pt x="10193" y="4433"/>
                    </a:cubicBezTo>
                    <a:cubicBezTo>
                      <a:pt x="10197" y="4409"/>
                      <a:pt x="10221" y="4402"/>
                      <a:pt x="10216" y="4369"/>
                    </a:cubicBezTo>
                    <a:cubicBezTo>
                      <a:pt x="10211" y="4334"/>
                      <a:pt x="10202" y="4313"/>
                      <a:pt x="10204" y="4299"/>
                    </a:cubicBezTo>
                    <a:cubicBezTo>
                      <a:pt x="10209" y="4287"/>
                      <a:pt x="10239" y="4264"/>
                      <a:pt x="10228" y="4248"/>
                    </a:cubicBezTo>
                    <a:cubicBezTo>
                      <a:pt x="10214" y="4231"/>
                      <a:pt x="10235" y="4196"/>
                      <a:pt x="10211" y="4173"/>
                    </a:cubicBezTo>
                    <a:cubicBezTo>
                      <a:pt x="10188" y="4147"/>
                      <a:pt x="10136" y="4093"/>
                      <a:pt x="10134" y="4093"/>
                    </a:cubicBezTo>
                    <a:cubicBezTo>
                      <a:pt x="10129" y="4093"/>
                      <a:pt x="10139" y="4121"/>
                      <a:pt x="10139" y="4121"/>
                    </a:cubicBezTo>
                    <a:cubicBezTo>
                      <a:pt x="10139" y="4121"/>
                      <a:pt x="10195" y="4177"/>
                      <a:pt x="10195" y="4191"/>
                    </a:cubicBezTo>
                    <a:cubicBezTo>
                      <a:pt x="10193" y="4208"/>
                      <a:pt x="10183" y="4224"/>
                      <a:pt x="10167" y="4217"/>
                    </a:cubicBezTo>
                    <a:cubicBezTo>
                      <a:pt x="10150" y="4208"/>
                      <a:pt x="10068" y="4154"/>
                      <a:pt x="10061" y="4140"/>
                    </a:cubicBezTo>
                    <a:cubicBezTo>
                      <a:pt x="10054" y="4128"/>
                      <a:pt x="10022" y="4049"/>
                      <a:pt x="10003" y="4046"/>
                    </a:cubicBezTo>
                    <a:cubicBezTo>
                      <a:pt x="9987" y="4041"/>
                      <a:pt x="9979" y="4079"/>
                      <a:pt x="9979" y="4079"/>
                    </a:cubicBezTo>
                    <a:cubicBezTo>
                      <a:pt x="9979" y="4079"/>
                      <a:pt x="10022" y="4198"/>
                      <a:pt x="10007" y="4194"/>
                    </a:cubicBezTo>
                    <a:cubicBezTo>
                      <a:pt x="9991" y="4189"/>
                      <a:pt x="9951" y="4130"/>
                      <a:pt x="9951" y="4130"/>
                    </a:cubicBezTo>
                    <a:cubicBezTo>
                      <a:pt x="9951" y="4130"/>
                      <a:pt x="9918" y="4203"/>
                      <a:pt x="9909" y="4189"/>
                    </a:cubicBezTo>
                    <a:cubicBezTo>
                      <a:pt x="9898" y="4173"/>
                      <a:pt x="9876" y="4170"/>
                      <a:pt x="9883" y="4142"/>
                    </a:cubicBezTo>
                    <a:cubicBezTo>
                      <a:pt x="9890" y="4114"/>
                      <a:pt x="9902" y="4084"/>
                      <a:pt x="9898" y="4072"/>
                    </a:cubicBezTo>
                    <a:cubicBezTo>
                      <a:pt x="9893" y="4058"/>
                      <a:pt x="9909" y="4023"/>
                      <a:pt x="9900" y="4009"/>
                    </a:cubicBezTo>
                    <a:cubicBezTo>
                      <a:pt x="9888" y="3995"/>
                      <a:pt x="9874" y="3999"/>
                      <a:pt x="9876" y="3967"/>
                    </a:cubicBezTo>
                    <a:cubicBezTo>
                      <a:pt x="9876" y="3931"/>
                      <a:pt x="9898" y="3891"/>
                      <a:pt x="9890" y="3875"/>
                    </a:cubicBezTo>
                    <a:cubicBezTo>
                      <a:pt x="9886" y="3856"/>
                      <a:pt x="9848" y="3833"/>
                      <a:pt x="9844" y="3802"/>
                    </a:cubicBezTo>
                    <a:cubicBezTo>
                      <a:pt x="9839" y="3772"/>
                      <a:pt x="9827" y="3697"/>
                      <a:pt x="9816" y="3683"/>
                    </a:cubicBezTo>
                    <a:cubicBezTo>
                      <a:pt x="9804" y="3669"/>
                      <a:pt x="9729" y="3580"/>
                      <a:pt x="9722" y="3563"/>
                    </a:cubicBezTo>
                    <a:cubicBezTo>
                      <a:pt x="9717" y="3545"/>
                      <a:pt x="9717" y="3510"/>
                      <a:pt x="9745" y="3512"/>
                    </a:cubicBezTo>
                    <a:cubicBezTo>
                      <a:pt x="9773" y="3514"/>
                      <a:pt x="9785" y="3538"/>
                      <a:pt x="9785" y="3538"/>
                    </a:cubicBezTo>
                    <a:cubicBezTo>
                      <a:pt x="9785" y="3538"/>
                      <a:pt x="9769" y="3474"/>
                      <a:pt x="9750" y="3453"/>
                    </a:cubicBezTo>
                    <a:cubicBezTo>
                      <a:pt x="9731" y="3433"/>
                      <a:pt x="9682" y="3378"/>
                      <a:pt x="9682" y="3378"/>
                    </a:cubicBezTo>
                    <a:cubicBezTo>
                      <a:pt x="9682" y="3378"/>
                      <a:pt x="9684" y="3437"/>
                      <a:pt x="9659" y="3433"/>
                    </a:cubicBezTo>
                    <a:cubicBezTo>
                      <a:pt x="9635" y="3428"/>
                      <a:pt x="9635" y="3378"/>
                      <a:pt x="9621" y="3364"/>
                    </a:cubicBezTo>
                    <a:cubicBezTo>
                      <a:pt x="9605" y="3350"/>
                      <a:pt x="9555" y="3315"/>
                      <a:pt x="9555" y="3315"/>
                    </a:cubicBezTo>
                    <a:cubicBezTo>
                      <a:pt x="9555" y="3315"/>
                      <a:pt x="9509" y="3339"/>
                      <a:pt x="9509" y="3332"/>
                    </a:cubicBezTo>
                    <a:cubicBezTo>
                      <a:pt x="9509" y="3322"/>
                      <a:pt x="9513" y="3264"/>
                      <a:pt x="9509" y="3264"/>
                    </a:cubicBezTo>
                    <a:cubicBezTo>
                      <a:pt x="9502" y="3261"/>
                      <a:pt x="9453" y="3299"/>
                      <a:pt x="9453" y="3299"/>
                    </a:cubicBezTo>
                    <a:cubicBezTo>
                      <a:pt x="9453" y="3299"/>
                      <a:pt x="9445" y="3207"/>
                      <a:pt x="9436" y="3194"/>
                    </a:cubicBezTo>
                    <a:cubicBezTo>
                      <a:pt x="9429" y="3182"/>
                      <a:pt x="9408" y="3142"/>
                      <a:pt x="9408" y="3142"/>
                    </a:cubicBezTo>
                    <a:cubicBezTo>
                      <a:pt x="9408" y="3142"/>
                      <a:pt x="9371" y="3186"/>
                      <a:pt x="9366" y="3182"/>
                    </a:cubicBezTo>
                    <a:cubicBezTo>
                      <a:pt x="9359" y="3179"/>
                      <a:pt x="9296" y="3137"/>
                      <a:pt x="9296" y="3137"/>
                    </a:cubicBezTo>
                    <a:cubicBezTo>
                      <a:pt x="9312" y="3095"/>
                      <a:pt x="9312" y="3095"/>
                      <a:pt x="9312" y="3095"/>
                    </a:cubicBezTo>
                    <a:cubicBezTo>
                      <a:pt x="9312" y="3095"/>
                      <a:pt x="9270" y="3137"/>
                      <a:pt x="9260" y="3125"/>
                    </a:cubicBezTo>
                    <a:cubicBezTo>
                      <a:pt x="9249" y="3114"/>
                      <a:pt x="9199" y="3067"/>
                      <a:pt x="9169" y="3041"/>
                    </a:cubicBezTo>
                    <a:cubicBezTo>
                      <a:pt x="9141" y="3016"/>
                      <a:pt x="9092" y="2959"/>
                      <a:pt x="9092" y="2955"/>
                    </a:cubicBezTo>
                    <a:cubicBezTo>
                      <a:pt x="9092" y="2950"/>
                      <a:pt x="9129" y="2907"/>
                      <a:pt x="9129" y="2907"/>
                    </a:cubicBezTo>
                    <a:cubicBezTo>
                      <a:pt x="9129" y="2907"/>
                      <a:pt x="9148" y="2847"/>
                      <a:pt x="9134" y="2830"/>
                    </a:cubicBezTo>
                    <a:cubicBezTo>
                      <a:pt x="9122" y="2812"/>
                      <a:pt x="9115" y="2783"/>
                      <a:pt x="9110" y="2783"/>
                    </a:cubicBezTo>
                    <a:cubicBezTo>
                      <a:pt x="9108" y="2783"/>
                      <a:pt x="9071" y="2793"/>
                      <a:pt x="9071" y="2793"/>
                    </a:cubicBezTo>
                    <a:cubicBezTo>
                      <a:pt x="9071" y="2793"/>
                      <a:pt x="9049" y="2720"/>
                      <a:pt x="9052" y="2713"/>
                    </a:cubicBezTo>
                    <a:cubicBezTo>
                      <a:pt x="9057" y="2706"/>
                      <a:pt x="9099" y="2692"/>
                      <a:pt x="9099" y="2645"/>
                    </a:cubicBezTo>
                    <a:cubicBezTo>
                      <a:pt x="9099" y="2599"/>
                      <a:pt x="9085" y="2521"/>
                      <a:pt x="9085" y="2516"/>
                    </a:cubicBezTo>
                    <a:cubicBezTo>
                      <a:pt x="9085" y="2514"/>
                      <a:pt x="9068" y="2507"/>
                      <a:pt x="9064" y="2479"/>
                    </a:cubicBezTo>
                    <a:cubicBezTo>
                      <a:pt x="9059" y="2449"/>
                      <a:pt x="9043" y="2411"/>
                      <a:pt x="9043" y="2409"/>
                    </a:cubicBezTo>
                    <a:cubicBezTo>
                      <a:pt x="9043" y="2404"/>
                      <a:pt x="9071" y="2376"/>
                      <a:pt x="9071" y="2376"/>
                    </a:cubicBezTo>
                    <a:cubicBezTo>
                      <a:pt x="9071" y="2376"/>
                      <a:pt x="9021" y="2397"/>
                      <a:pt x="9021" y="2390"/>
                    </a:cubicBezTo>
                    <a:cubicBezTo>
                      <a:pt x="9021" y="2383"/>
                      <a:pt x="8987" y="2329"/>
                      <a:pt x="8979" y="2306"/>
                    </a:cubicBezTo>
                    <a:cubicBezTo>
                      <a:pt x="8970" y="2284"/>
                      <a:pt x="8942" y="2251"/>
                      <a:pt x="8932" y="2219"/>
                    </a:cubicBezTo>
                    <a:cubicBezTo>
                      <a:pt x="8923" y="2189"/>
                      <a:pt x="8947" y="2160"/>
                      <a:pt x="8947" y="2160"/>
                    </a:cubicBezTo>
                    <a:cubicBezTo>
                      <a:pt x="8932" y="2132"/>
                      <a:pt x="8932" y="2132"/>
                      <a:pt x="8932" y="2132"/>
                    </a:cubicBezTo>
                    <a:cubicBezTo>
                      <a:pt x="8932" y="2132"/>
                      <a:pt x="8956" y="2137"/>
                      <a:pt x="8951" y="2109"/>
                    </a:cubicBezTo>
                    <a:cubicBezTo>
                      <a:pt x="8944" y="2078"/>
                      <a:pt x="8942" y="2067"/>
                      <a:pt x="8932" y="2055"/>
                    </a:cubicBezTo>
                    <a:cubicBezTo>
                      <a:pt x="8926" y="2043"/>
                      <a:pt x="8923" y="1968"/>
                      <a:pt x="8919" y="1931"/>
                    </a:cubicBezTo>
                    <a:cubicBezTo>
                      <a:pt x="8911" y="1894"/>
                      <a:pt x="8932" y="1865"/>
                      <a:pt x="8932" y="1865"/>
                    </a:cubicBezTo>
                    <a:cubicBezTo>
                      <a:pt x="8911" y="1834"/>
                      <a:pt x="8911" y="1834"/>
                      <a:pt x="8911" y="1834"/>
                    </a:cubicBezTo>
                    <a:cubicBezTo>
                      <a:pt x="8940" y="1783"/>
                      <a:pt x="8940" y="1783"/>
                      <a:pt x="8940" y="1783"/>
                    </a:cubicBezTo>
                    <a:cubicBezTo>
                      <a:pt x="8940" y="1783"/>
                      <a:pt x="8904" y="1732"/>
                      <a:pt x="8881" y="1722"/>
                    </a:cubicBezTo>
                    <a:cubicBezTo>
                      <a:pt x="8860" y="1713"/>
                      <a:pt x="8834" y="1699"/>
                      <a:pt x="8834" y="1699"/>
                    </a:cubicBezTo>
                    <a:cubicBezTo>
                      <a:pt x="8832" y="1668"/>
                      <a:pt x="8832" y="1668"/>
                      <a:pt x="8832" y="1668"/>
                    </a:cubicBezTo>
                    <a:cubicBezTo>
                      <a:pt x="8759" y="1619"/>
                      <a:pt x="8759" y="1619"/>
                      <a:pt x="8759" y="1619"/>
                    </a:cubicBezTo>
                    <a:cubicBezTo>
                      <a:pt x="8759" y="1619"/>
                      <a:pt x="8748" y="1542"/>
                      <a:pt x="8736" y="1533"/>
                    </a:cubicBezTo>
                    <a:cubicBezTo>
                      <a:pt x="8726" y="1526"/>
                      <a:pt x="8712" y="1516"/>
                      <a:pt x="8712" y="1516"/>
                    </a:cubicBezTo>
                    <a:cubicBezTo>
                      <a:pt x="8712" y="1516"/>
                      <a:pt x="8670" y="1563"/>
                      <a:pt x="8668" y="1563"/>
                    </a:cubicBezTo>
                    <a:cubicBezTo>
                      <a:pt x="8663" y="1563"/>
                      <a:pt x="8633" y="1537"/>
                      <a:pt x="8633" y="1537"/>
                    </a:cubicBezTo>
                    <a:cubicBezTo>
                      <a:pt x="8633" y="1537"/>
                      <a:pt x="8616" y="1575"/>
                      <a:pt x="8593" y="1586"/>
                    </a:cubicBezTo>
                    <a:cubicBezTo>
                      <a:pt x="8570" y="1598"/>
                      <a:pt x="8546" y="1617"/>
                      <a:pt x="8534" y="1603"/>
                    </a:cubicBezTo>
                    <a:cubicBezTo>
                      <a:pt x="8520" y="1589"/>
                      <a:pt x="8481" y="1549"/>
                      <a:pt x="8485" y="1530"/>
                    </a:cubicBezTo>
                    <a:cubicBezTo>
                      <a:pt x="8492" y="1509"/>
                      <a:pt x="8485" y="1448"/>
                      <a:pt x="8481" y="1444"/>
                    </a:cubicBezTo>
                    <a:cubicBezTo>
                      <a:pt x="8474" y="1437"/>
                      <a:pt x="8450" y="1394"/>
                      <a:pt x="8450" y="1366"/>
                    </a:cubicBezTo>
                    <a:cubicBezTo>
                      <a:pt x="8450" y="1340"/>
                      <a:pt x="8495" y="1312"/>
                      <a:pt x="8495" y="1296"/>
                    </a:cubicBezTo>
                    <a:cubicBezTo>
                      <a:pt x="8492" y="1282"/>
                      <a:pt x="8464" y="1242"/>
                      <a:pt x="8464" y="1242"/>
                    </a:cubicBezTo>
                    <a:cubicBezTo>
                      <a:pt x="8464" y="1242"/>
                      <a:pt x="8478" y="1155"/>
                      <a:pt x="8466" y="1125"/>
                    </a:cubicBezTo>
                    <a:cubicBezTo>
                      <a:pt x="8453" y="1097"/>
                      <a:pt x="8415" y="1088"/>
                      <a:pt x="8417" y="1080"/>
                    </a:cubicBezTo>
                    <a:cubicBezTo>
                      <a:pt x="8417" y="1071"/>
                      <a:pt x="8448" y="1045"/>
                      <a:pt x="8441" y="1019"/>
                    </a:cubicBezTo>
                    <a:cubicBezTo>
                      <a:pt x="8434" y="991"/>
                      <a:pt x="8398" y="989"/>
                      <a:pt x="8398" y="989"/>
                    </a:cubicBezTo>
                    <a:cubicBezTo>
                      <a:pt x="8389" y="945"/>
                      <a:pt x="8389" y="945"/>
                      <a:pt x="8389" y="945"/>
                    </a:cubicBezTo>
                    <a:cubicBezTo>
                      <a:pt x="8389" y="945"/>
                      <a:pt x="8342" y="933"/>
                      <a:pt x="8337" y="902"/>
                    </a:cubicBezTo>
                    <a:cubicBezTo>
                      <a:pt x="8333" y="874"/>
                      <a:pt x="8375" y="856"/>
                      <a:pt x="8382" y="834"/>
                    </a:cubicBezTo>
                    <a:cubicBezTo>
                      <a:pt x="8387" y="813"/>
                      <a:pt x="8398" y="813"/>
                      <a:pt x="8398" y="813"/>
                    </a:cubicBezTo>
                    <a:cubicBezTo>
                      <a:pt x="8326" y="799"/>
                      <a:pt x="8326" y="799"/>
                      <a:pt x="8326" y="799"/>
                    </a:cubicBezTo>
                    <a:cubicBezTo>
                      <a:pt x="8326" y="799"/>
                      <a:pt x="8293" y="785"/>
                      <a:pt x="8293" y="769"/>
                    </a:cubicBezTo>
                    <a:cubicBezTo>
                      <a:pt x="8293" y="752"/>
                      <a:pt x="8291" y="656"/>
                      <a:pt x="8291" y="656"/>
                    </a:cubicBezTo>
                    <a:cubicBezTo>
                      <a:pt x="8291" y="656"/>
                      <a:pt x="8314" y="642"/>
                      <a:pt x="8312" y="635"/>
                    </a:cubicBezTo>
                    <a:cubicBezTo>
                      <a:pt x="8307" y="628"/>
                      <a:pt x="8281" y="593"/>
                      <a:pt x="8281" y="593"/>
                    </a:cubicBezTo>
                    <a:cubicBezTo>
                      <a:pt x="8286" y="518"/>
                      <a:pt x="8286" y="518"/>
                      <a:pt x="8286" y="518"/>
                    </a:cubicBezTo>
                    <a:cubicBezTo>
                      <a:pt x="8286" y="518"/>
                      <a:pt x="8235" y="476"/>
                      <a:pt x="8218" y="481"/>
                    </a:cubicBezTo>
                    <a:cubicBezTo>
                      <a:pt x="8202" y="483"/>
                      <a:pt x="8265" y="448"/>
                      <a:pt x="8246" y="432"/>
                    </a:cubicBezTo>
                    <a:cubicBezTo>
                      <a:pt x="8228" y="415"/>
                      <a:pt x="8207" y="404"/>
                      <a:pt x="8192" y="415"/>
                    </a:cubicBezTo>
                    <a:cubicBezTo>
                      <a:pt x="8179" y="427"/>
                      <a:pt x="8159" y="476"/>
                      <a:pt x="8155" y="478"/>
                    </a:cubicBezTo>
                    <a:cubicBezTo>
                      <a:pt x="8150" y="481"/>
                      <a:pt x="8094" y="485"/>
                      <a:pt x="8094" y="485"/>
                    </a:cubicBezTo>
                    <a:cubicBezTo>
                      <a:pt x="8094" y="485"/>
                      <a:pt x="8148" y="546"/>
                      <a:pt x="8082" y="631"/>
                    </a:cubicBezTo>
                    <a:cubicBezTo>
                      <a:pt x="8017" y="715"/>
                      <a:pt x="8001" y="790"/>
                      <a:pt x="8001" y="790"/>
                    </a:cubicBezTo>
                    <a:cubicBezTo>
                      <a:pt x="8001" y="825"/>
                      <a:pt x="8001" y="825"/>
                      <a:pt x="8001" y="825"/>
                    </a:cubicBezTo>
                    <a:cubicBezTo>
                      <a:pt x="7970" y="823"/>
                      <a:pt x="7970" y="823"/>
                      <a:pt x="7970" y="823"/>
                    </a:cubicBezTo>
                    <a:cubicBezTo>
                      <a:pt x="7907" y="963"/>
                      <a:pt x="7907" y="963"/>
                      <a:pt x="7907" y="963"/>
                    </a:cubicBezTo>
                    <a:cubicBezTo>
                      <a:pt x="7907" y="963"/>
                      <a:pt x="7930" y="945"/>
                      <a:pt x="7942" y="956"/>
                    </a:cubicBezTo>
                    <a:cubicBezTo>
                      <a:pt x="7956" y="970"/>
                      <a:pt x="7975" y="999"/>
                      <a:pt x="7975" y="999"/>
                    </a:cubicBezTo>
                    <a:cubicBezTo>
                      <a:pt x="7975" y="999"/>
                      <a:pt x="8031" y="961"/>
                      <a:pt x="8036" y="977"/>
                    </a:cubicBezTo>
                    <a:cubicBezTo>
                      <a:pt x="8040" y="991"/>
                      <a:pt x="8001" y="1029"/>
                      <a:pt x="8001" y="1029"/>
                    </a:cubicBezTo>
                    <a:cubicBezTo>
                      <a:pt x="7989" y="1071"/>
                      <a:pt x="7989" y="1071"/>
                      <a:pt x="7989" y="1071"/>
                    </a:cubicBezTo>
                    <a:cubicBezTo>
                      <a:pt x="7989" y="1071"/>
                      <a:pt x="7979" y="1012"/>
                      <a:pt x="7968" y="1012"/>
                    </a:cubicBezTo>
                    <a:cubicBezTo>
                      <a:pt x="7956" y="1012"/>
                      <a:pt x="7907" y="1076"/>
                      <a:pt x="7897" y="1078"/>
                    </a:cubicBezTo>
                    <a:cubicBezTo>
                      <a:pt x="7890" y="1078"/>
                      <a:pt x="7897" y="1151"/>
                      <a:pt x="7902" y="1153"/>
                    </a:cubicBezTo>
                    <a:cubicBezTo>
                      <a:pt x="7909" y="1155"/>
                      <a:pt x="7916" y="1190"/>
                      <a:pt x="7909" y="1193"/>
                    </a:cubicBezTo>
                    <a:cubicBezTo>
                      <a:pt x="7902" y="1198"/>
                      <a:pt x="7818" y="1319"/>
                      <a:pt x="7836" y="1355"/>
                    </a:cubicBezTo>
                    <a:cubicBezTo>
                      <a:pt x="7855" y="1387"/>
                      <a:pt x="7881" y="1422"/>
                      <a:pt x="7876" y="1441"/>
                    </a:cubicBezTo>
                    <a:cubicBezTo>
                      <a:pt x="7869" y="1460"/>
                      <a:pt x="7841" y="1570"/>
                      <a:pt x="7839" y="1603"/>
                    </a:cubicBezTo>
                    <a:cubicBezTo>
                      <a:pt x="7836" y="1635"/>
                      <a:pt x="7876" y="1722"/>
                      <a:pt x="7876" y="1722"/>
                    </a:cubicBezTo>
                    <a:cubicBezTo>
                      <a:pt x="7876" y="1722"/>
                      <a:pt x="7808" y="1800"/>
                      <a:pt x="7797" y="1877"/>
                    </a:cubicBezTo>
                    <a:cubicBezTo>
                      <a:pt x="7785" y="1954"/>
                      <a:pt x="7780" y="2032"/>
                      <a:pt x="7780" y="2032"/>
                    </a:cubicBezTo>
                    <a:cubicBezTo>
                      <a:pt x="7780" y="2032"/>
                      <a:pt x="7747" y="2113"/>
                      <a:pt x="7731" y="2149"/>
                    </a:cubicBezTo>
                    <a:cubicBezTo>
                      <a:pt x="7717" y="2182"/>
                      <a:pt x="7675" y="2261"/>
                      <a:pt x="7647" y="2273"/>
                    </a:cubicBezTo>
                    <a:cubicBezTo>
                      <a:pt x="7616" y="2282"/>
                      <a:pt x="7605" y="2399"/>
                      <a:pt x="7605" y="2399"/>
                    </a:cubicBezTo>
                    <a:cubicBezTo>
                      <a:pt x="7605" y="2399"/>
                      <a:pt x="7504" y="2472"/>
                      <a:pt x="7478" y="2477"/>
                    </a:cubicBezTo>
                    <a:cubicBezTo>
                      <a:pt x="7452" y="2479"/>
                      <a:pt x="7368" y="2495"/>
                      <a:pt x="7358" y="2490"/>
                    </a:cubicBezTo>
                    <a:cubicBezTo>
                      <a:pt x="7352" y="2486"/>
                      <a:pt x="7291" y="2449"/>
                      <a:pt x="7277" y="2441"/>
                    </a:cubicBezTo>
                    <a:cubicBezTo>
                      <a:pt x="7263" y="2434"/>
                      <a:pt x="7230" y="2430"/>
                      <a:pt x="7230" y="2425"/>
                    </a:cubicBezTo>
                    <a:cubicBezTo>
                      <a:pt x="7228" y="2420"/>
                      <a:pt x="7207" y="2371"/>
                      <a:pt x="7188" y="2369"/>
                    </a:cubicBezTo>
                    <a:cubicBezTo>
                      <a:pt x="7167" y="2367"/>
                      <a:pt x="7122" y="2360"/>
                      <a:pt x="7115" y="2338"/>
                    </a:cubicBezTo>
                    <a:cubicBezTo>
                      <a:pt x="7108" y="2317"/>
                      <a:pt x="7160" y="2294"/>
                      <a:pt x="7090" y="2247"/>
                    </a:cubicBezTo>
                    <a:cubicBezTo>
                      <a:pt x="7019" y="2202"/>
                      <a:pt x="7014" y="2219"/>
                      <a:pt x="7012" y="2217"/>
                    </a:cubicBezTo>
                    <a:cubicBezTo>
                      <a:pt x="7007" y="2214"/>
                      <a:pt x="6970" y="2179"/>
                      <a:pt x="6970" y="2179"/>
                    </a:cubicBezTo>
                    <a:cubicBezTo>
                      <a:pt x="6970" y="2179"/>
                      <a:pt x="6893" y="2195"/>
                      <a:pt x="6834" y="2151"/>
                    </a:cubicBezTo>
                    <a:cubicBezTo>
                      <a:pt x="6773" y="2104"/>
                      <a:pt x="6743" y="2032"/>
                      <a:pt x="6712" y="2017"/>
                    </a:cubicBezTo>
                    <a:cubicBezTo>
                      <a:pt x="6682" y="2003"/>
                      <a:pt x="6628" y="1992"/>
                      <a:pt x="6628" y="1992"/>
                    </a:cubicBezTo>
                    <a:cubicBezTo>
                      <a:pt x="6628" y="1992"/>
                      <a:pt x="6520" y="1922"/>
                      <a:pt x="6516" y="1917"/>
                    </a:cubicBezTo>
                    <a:cubicBezTo>
                      <a:pt x="6511" y="1912"/>
                      <a:pt x="6457" y="1931"/>
                      <a:pt x="6434" y="1922"/>
                    </a:cubicBezTo>
                    <a:cubicBezTo>
                      <a:pt x="6408" y="1912"/>
                      <a:pt x="6412" y="1879"/>
                      <a:pt x="6412" y="1879"/>
                    </a:cubicBezTo>
                    <a:cubicBezTo>
                      <a:pt x="6298" y="1802"/>
                      <a:pt x="6298" y="1802"/>
                      <a:pt x="6298" y="1802"/>
                    </a:cubicBezTo>
                    <a:cubicBezTo>
                      <a:pt x="6277" y="1753"/>
                      <a:pt x="6277" y="1753"/>
                      <a:pt x="6277" y="1753"/>
                    </a:cubicBezTo>
                    <a:cubicBezTo>
                      <a:pt x="6277" y="1753"/>
                      <a:pt x="6112" y="1647"/>
                      <a:pt x="6108" y="1645"/>
                    </a:cubicBezTo>
                    <a:cubicBezTo>
                      <a:pt x="6106" y="1643"/>
                      <a:pt x="6033" y="1575"/>
                      <a:pt x="6043" y="1558"/>
                    </a:cubicBezTo>
                    <a:cubicBezTo>
                      <a:pt x="6052" y="1542"/>
                      <a:pt x="6089" y="1521"/>
                      <a:pt x="6089" y="1521"/>
                    </a:cubicBezTo>
                    <a:cubicBezTo>
                      <a:pt x="6089" y="1521"/>
                      <a:pt x="6075" y="1497"/>
                      <a:pt x="6092" y="1483"/>
                    </a:cubicBezTo>
                    <a:cubicBezTo>
                      <a:pt x="6108" y="1472"/>
                      <a:pt x="6164" y="1401"/>
                      <a:pt x="6183" y="1392"/>
                    </a:cubicBezTo>
                    <a:cubicBezTo>
                      <a:pt x="6201" y="1383"/>
                      <a:pt x="6230" y="1294"/>
                      <a:pt x="6228" y="1266"/>
                    </a:cubicBezTo>
                    <a:cubicBezTo>
                      <a:pt x="6225" y="1238"/>
                      <a:pt x="6173" y="1233"/>
                      <a:pt x="6181" y="1200"/>
                    </a:cubicBezTo>
                    <a:cubicBezTo>
                      <a:pt x="6188" y="1169"/>
                      <a:pt x="6209" y="1158"/>
                      <a:pt x="6209" y="1151"/>
                    </a:cubicBezTo>
                    <a:cubicBezTo>
                      <a:pt x="6209" y="1146"/>
                      <a:pt x="6181" y="1101"/>
                      <a:pt x="6213" y="1104"/>
                    </a:cubicBezTo>
                    <a:cubicBezTo>
                      <a:pt x="6249" y="1104"/>
                      <a:pt x="6251" y="1097"/>
                      <a:pt x="6251" y="1097"/>
                    </a:cubicBezTo>
                    <a:cubicBezTo>
                      <a:pt x="6290" y="1080"/>
                      <a:pt x="6290" y="1080"/>
                      <a:pt x="6290" y="1080"/>
                    </a:cubicBezTo>
                    <a:cubicBezTo>
                      <a:pt x="6293" y="1094"/>
                      <a:pt x="6293" y="1094"/>
                      <a:pt x="6293" y="1094"/>
                    </a:cubicBezTo>
                    <a:cubicBezTo>
                      <a:pt x="6323" y="1059"/>
                      <a:pt x="6323" y="1059"/>
                      <a:pt x="6323" y="1059"/>
                    </a:cubicBezTo>
                    <a:cubicBezTo>
                      <a:pt x="6323" y="1059"/>
                      <a:pt x="6342" y="1106"/>
                      <a:pt x="6345" y="1101"/>
                    </a:cubicBezTo>
                    <a:cubicBezTo>
                      <a:pt x="6347" y="1099"/>
                      <a:pt x="6399" y="1059"/>
                      <a:pt x="6399" y="1048"/>
                    </a:cubicBezTo>
                    <a:cubicBezTo>
                      <a:pt x="6399" y="1038"/>
                      <a:pt x="6415" y="1019"/>
                      <a:pt x="6415" y="1019"/>
                    </a:cubicBezTo>
                    <a:cubicBezTo>
                      <a:pt x="6379" y="982"/>
                      <a:pt x="6379" y="982"/>
                      <a:pt x="6379" y="982"/>
                    </a:cubicBezTo>
                    <a:cubicBezTo>
                      <a:pt x="6468" y="874"/>
                      <a:pt x="6468" y="874"/>
                      <a:pt x="6468" y="874"/>
                    </a:cubicBezTo>
                    <a:cubicBezTo>
                      <a:pt x="6468" y="874"/>
                      <a:pt x="6534" y="839"/>
                      <a:pt x="6532" y="834"/>
                    </a:cubicBezTo>
                    <a:cubicBezTo>
                      <a:pt x="6527" y="832"/>
                      <a:pt x="6497" y="783"/>
                      <a:pt x="6497" y="783"/>
                    </a:cubicBezTo>
                    <a:cubicBezTo>
                      <a:pt x="6431" y="813"/>
                      <a:pt x="6431" y="813"/>
                      <a:pt x="6431" y="813"/>
                    </a:cubicBezTo>
                    <a:cubicBezTo>
                      <a:pt x="6431" y="813"/>
                      <a:pt x="6422" y="727"/>
                      <a:pt x="6410" y="715"/>
                    </a:cubicBezTo>
                    <a:cubicBezTo>
                      <a:pt x="6399" y="703"/>
                      <a:pt x="6373" y="699"/>
                      <a:pt x="6356" y="710"/>
                    </a:cubicBezTo>
                    <a:cubicBezTo>
                      <a:pt x="6340" y="720"/>
                      <a:pt x="6295" y="767"/>
                      <a:pt x="6295" y="767"/>
                    </a:cubicBezTo>
                    <a:cubicBezTo>
                      <a:pt x="6345" y="797"/>
                      <a:pt x="6345" y="797"/>
                      <a:pt x="6345" y="797"/>
                    </a:cubicBezTo>
                    <a:cubicBezTo>
                      <a:pt x="6345" y="797"/>
                      <a:pt x="6330" y="858"/>
                      <a:pt x="6310" y="858"/>
                    </a:cubicBezTo>
                    <a:cubicBezTo>
                      <a:pt x="6290" y="858"/>
                      <a:pt x="6251" y="867"/>
                      <a:pt x="6244" y="860"/>
                    </a:cubicBezTo>
                    <a:cubicBezTo>
                      <a:pt x="6239" y="853"/>
                      <a:pt x="6223" y="823"/>
                      <a:pt x="6223" y="823"/>
                    </a:cubicBezTo>
                    <a:cubicBezTo>
                      <a:pt x="6244" y="806"/>
                      <a:pt x="6244" y="806"/>
                      <a:pt x="6244" y="806"/>
                    </a:cubicBezTo>
                    <a:cubicBezTo>
                      <a:pt x="6213" y="764"/>
                      <a:pt x="6213" y="764"/>
                      <a:pt x="6213" y="764"/>
                    </a:cubicBezTo>
                    <a:cubicBezTo>
                      <a:pt x="6213" y="764"/>
                      <a:pt x="6169" y="813"/>
                      <a:pt x="6155" y="809"/>
                    </a:cubicBezTo>
                    <a:cubicBezTo>
                      <a:pt x="6141" y="806"/>
                      <a:pt x="6132" y="752"/>
                      <a:pt x="6129" y="752"/>
                    </a:cubicBezTo>
                    <a:cubicBezTo>
                      <a:pt x="6124" y="752"/>
                      <a:pt x="6061" y="717"/>
                      <a:pt x="6040" y="741"/>
                    </a:cubicBezTo>
                    <a:cubicBezTo>
                      <a:pt x="6022" y="764"/>
                      <a:pt x="6022" y="806"/>
                      <a:pt x="6022" y="806"/>
                    </a:cubicBezTo>
                    <a:cubicBezTo>
                      <a:pt x="5944" y="804"/>
                      <a:pt x="5944" y="804"/>
                      <a:pt x="5944" y="804"/>
                    </a:cubicBezTo>
                    <a:cubicBezTo>
                      <a:pt x="5897" y="745"/>
                      <a:pt x="5897" y="745"/>
                      <a:pt x="5897" y="745"/>
                    </a:cubicBezTo>
                    <a:cubicBezTo>
                      <a:pt x="5853" y="701"/>
                      <a:pt x="5853" y="701"/>
                      <a:pt x="5853" y="701"/>
                    </a:cubicBezTo>
                    <a:cubicBezTo>
                      <a:pt x="5853" y="701"/>
                      <a:pt x="5811" y="736"/>
                      <a:pt x="5806" y="736"/>
                    </a:cubicBezTo>
                    <a:cubicBezTo>
                      <a:pt x="5799" y="736"/>
                      <a:pt x="5776" y="743"/>
                      <a:pt x="5764" y="736"/>
                    </a:cubicBezTo>
                    <a:cubicBezTo>
                      <a:pt x="5755" y="727"/>
                      <a:pt x="5724" y="706"/>
                      <a:pt x="5722" y="706"/>
                    </a:cubicBezTo>
                    <a:cubicBezTo>
                      <a:pt x="5717" y="708"/>
                      <a:pt x="5696" y="734"/>
                      <a:pt x="5694" y="729"/>
                    </a:cubicBezTo>
                    <a:cubicBezTo>
                      <a:pt x="5694" y="724"/>
                      <a:pt x="5682" y="680"/>
                      <a:pt x="5670" y="675"/>
                    </a:cubicBezTo>
                    <a:cubicBezTo>
                      <a:pt x="5656" y="668"/>
                      <a:pt x="5623" y="687"/>
                      <a:pt x="5618" y="687"/>
                    </a:cubicBezTo>
                    <a:cubicBezTo>
                      <a:pt x="5616" y="684"/>
                      <a:pt x="5581" y="673"/>
                      <a:pt x="5586" y="666"/>
                    </a:cubicBezTo>
                    <a:cubicBezTo>
                      <a:pt x="5588" y="659"/>
                      <a:pt x="5651" y="656"/>
                      <a:pt x="5621" y="640"/>
                    </a:cubicBezTo>
                    <a:cubicBezTo>
                      <a:pt x="5590" y="623"/>
                      <a:pt x="5518" y="661"/>
                      <a:pt x="5518" y="661"/>
                    </a:cubicBezTo>
                    <a:cubicBezTo>
                      <a:pt x="5518" y="661"/>
                      <a:pt x="5455" y="635"/>
                      <a:pt x="5445" y="626"/>
                    </a:cubicBezTo>
                    <a:cubicBezTo>
                      <a:pt x="5436" y="617"/>
                      <a:pt x="5396" y="642"/>
                      <a:pt x="5377" y="621"/>
                    </a:cubicBezTo>
                    <a:cubicBezTo>
                      <a:pt x="5361" y="598"/>
                      <a:pt x="5347" y="542"/>
                      <a:pt x="5328" y="528"/>
                    </a:cubicBezTo>
                    <a:cubicBezTo>
                      <a:pt x="5312" y="516"/>
                      <a:pt x="5298" y="506"/>
                      <a:pt x="5298" y="506"/>
                    </a:cubicBezTo>
                    <a:cubicBezTo>
                      <a:pt x="5298" y="506"/>
                      <a:pt x="5249" y="572"/>
                      <a:pt x="5239" y="563"/>
                    </a:cubicBezTo>
                    <a:cubicBezTo>
                      <a:pt x="5230" y="553"/>
                      <a:pt x="5199" y="521"/>
                      <a:pt x="5197" y="511"/>
                    </a:cubicBezTo>
                    <a:cubicBezTo>
                      <a:pt x="5192" y="502"/>
                      <a:pt x="5230" y="481"/>
                      <a:pt x="5223" y="460"/>
                    </a:cubicBezTo>
                    <a:cubicBezTo>
                      <a:pt x="5218" y="441"/>
                      <a:pt x="5202" y="408"/>
                      <a:pt x="5202" y="408"/>
                    </a:cubicBezTo>
                    <a:cubicBezTo>
                      <a:pt x="5183" y="434"/>
                      <a:pt x="5183" y="434"/>
                      <a:pt x="5183" y="434"/>
                    </a:cubicBezTo>
                    <a:cubicBezTo>
                      <a:pt x="5183" y="434"/>
                      <a:pt x="5173" y="495"/>
                      <a:pt x="5160" y="483"/>
                    </a:cubicBezTo>
                    <a:cubicBezTo>
                      <a:pt x="5145" y="471"/>
                      <a:pt x="5124" y="441"/>
                      <a:pt x="5117" y="445"/>
                    </a:cubicBezTo>
                    <a:cubicBezTo>
                      <a:pt x="5113" y="448"/>
                      <a:pt x="5110" y="469"/>
                      <a:pt x="5105" y="464"/>
                    </a:cubicBezTo>
                    <a:cubicBezTo>
                      <a:pt x="5103" y="460"/>
                      <a:pt x="5073" y="445"/>
                      <a:pt x="5068" y="445"/>
                    </a:cubicBezTo>
                    <a:cubicBezTo>
                      <a:pt x="5064" y="445"/>
                      <a:pt x="5059" y="476"/>
                      <a:pt x="5056" y="476"/>
                    </a:cubicBezTo>
                    <a:cubicBezTo>
                      <a:pt x="5052" y="476"/>
                      <a:pt x="5038" y="450"/>
                      <a:pt x="5026" y="457"/>
                    </a:cubicBezTo>
                    <a:cubicBezTo>
                      <a:pt x="5014" y="467"/>
                      <a:pt x="4991" y="490"/>
                      <a:pt x="5019" y="509"/>
                    </a:cubicBezTo>
                    <a:cubicBezTo>
                      <a:pt x="5049" y="525"/>
                      <a:pt x="5052" y="537"/>
                      <a:pt x="5080" y="500"/>
                    </a:cubicBezTo>
                    <a:cubicBezTo>
                      <a:pt x="5127" y="574"/>
                      <a:pt x="5127" y="574"/>
                      <a:pt x="5127" y="574"/>
                    </a:cubicBezTo>
                    <a:cubicBezTo>
                      <a:pt x="5127" y="574"/>
                      <a:pt x="5141" y="528"/>
                      <a:pt x="5162" y="539"/>
                    </a:cubicBezTo>
                    <a:cubicBezTo>
                      <a:pt x="5183" y="551"/>
                      <a:pt x="5230" y="612"/>
                      <a:pt x="5230" y="612"/>
                    </a:cubicBezTo>
                    <a:cubicBezTo>
                      <a:pt x="5199" y="626"/>
                      <a:pt x="5199" y="626"/>
                      <a:pt x="5199" y="626"/>
                    </a:cubicBezTo>
                    <a:cubicBezTo>
                      <a:pt x="5227" y="678"/>
                      <a:pt x="5227" y="678"/>
                      <a:pt x="5227" y="678"/>
                    </a:cubicBezTo>
                    <a:cubicBezTo>
                      <a:pt x="5227" y="678"/>
                      <a:pt x="5194" y="720"/>
                      <a:pt x="5227" y="745"/>
                    </a:cubicBezTo>
                    <a:cubicBezTo>
                      <a:pt x="5260" y="771"/>
                      <a:pt x="5176" y="757"/>
                      <a:pt x="5176" y="757"/>
                    </a:cubicBezTo>
                    <a:cubicBezTo>
                      <a:pt x="5132" y="738"/>
                      <a:pt x="5132" y="738"/>
                      <a:pt x="5132" y="738"/>
                    </a:cubicBezTo>
                    <a:cubicBezTo>
                      <a:pt x="5162" y="795"/>
                      <a:pt x="5162" y="795"/>
                      <a:pt x="5162" y="795"/>
                    </a:cubicBezTo>
                    <a:cubicBezTo>
                      <a:pt x="5150" y="823"/>
                      <a:pt x="5150" y="823"/>
                      <a:pt x="5150" y="823"/>
                    </a:cubicBezTo>
                    <a:cubicBezTo>
                      <a:pt x="5150" y="823"/>
                      <a:pt x="5117" y="771"/>
                      <a:pt x="5108" y="767"/>
                    </a:cubicBezTo>
                    <a:cubicBezTo>
                      <a:pt x="5099" y="762"/>
                      <a:pt x="5073" y="809"/>
                      <a:pt x="5054" y="809"/>
                    </a:cubicBezTo>
                    <a:cubicBezTo>
                      <a:pt x="5033" y="809"/>
                      <a:pt x="5014" y="804"/>
                      <a:pt x="5014" y="804"/>
                    </a:cubicBezTo>
                    <a:cubicBezTo>
                      <a:pt x="4995" y="783"/>
                      <a:pt x="4995" y="783"/>
                      <a:pt x="4995" y="783"/>
                    </a:cubicBezTo>
                    <a:cubicBezTo>
                      <a:pt x="4970" y="804"/>
                      <a:pt x="4970" y="804"/>
                      <a:pt x="4970" y="804"/>
                    </a:cubicBezTo>
                    <a:cubicBezTo>
                      <a:pt x="4846" y="797"/>
                      <a:pt x="4846" y="797"/>
                      <a:pt x="4846" y="797"/>
                    </a:cubicBezTo>
                    <a:cubicBezTo>
                      <a:pt x="4820" y="731"/>
                      <a:pt x="4820" y="731"/>
                      <a:pt x="4820" y="731"/>
                    </a:cubicBezTo>
                    <a:cubicBezTo>
                      <a:pt x="4804" y="795"/>
                      <a:pt x="4804" y="795"/>
                      <a:pt x="4804" y="795"/>
                    </a:cubicBezTo>
                    <a:cubicBezTo>
                      <a:pt x="4804" y="795"/>
                      <a:pt x="4794" y="762"/>
                      <a:pt x="4768" y="760"/>
                    </a:cubicBezTo>
                    <a:cubicBezTo>
                      <a:pt x="4745" y="757"/>
                      <a:pt x="4749" y="821"/>
                      <a:pt x="4745" y="823"/>
                    </a:cubicBezTo>
                    <a:cubicBezTo>
                      <a:pt x="4743" y="825"/>
                      <a:pt x="4708" y="881"/>
                      <a:pt x="4708" y="881"/>
                    </a:cubicBezTo>
                    <a:cubicBezTo>
                      <a:pt x="4715" y="916"/>
                      <a:pt x="4715" y="916"/>
                      <a:pt x="4715" y="916"/>
                    </a:cubicBezTo>
                    <a:cubicBezTo>
                      <a:pt x="4715" y="916"/>
                      <a:pt x="4660" y="862"/>
                      <a:pt x="4659" y="860"/>
                    </a:cubicBezTo>
                    <a:cubicBezTo>
                      <a:pt x="4659" y="856"/>
                      <a:pt x="4637" y="827"/>
                      <a:pt x="4635" y="827"/>
                    </a:cubicBezTo>
                    <a:cubicBezTo>
                      <a:pt x="4630" y="830"/>
                      <a:pt x="4619" y="890"/>
                      <a:pt x="4614" y="898"/>
                    </a:cubicBezTo>
                    <a:cubicBezTo>
                      <a:pt x="4611" y="905"/>
                      <a:pt x="4637" y="949"/>
                      <a:pt x="4637" y="949"/>
                    </a:cubicBezTo>
                    <a:cubicBezTo>
                      <a:pt x="4637" y="949"/>
                      <a:pt x="4588" y="910"/>
                      <a:pt x="4576" y="916"/>
                    </a:cubicBezTo>
                    <a:cubicBezTo>
                      <a:pt x="4567" y="926"/>
                      <a:pt x="4546" y="938"/>
                      <a:pt x="4543" y="940"/>
                    </a:cubicBezTo>
                    <a:cubicBezTo>
                      <a:pt x="4543" y="945"/>
                      <a:pt x="4539" y="1010"/>
                      <a:pt x="4539" y="1010"/>
                    </a:cubicBezTo>
                    <a:cubicBezTo>
                      <a:pt x="4485" y="1010"/>
                      <a:pt x="4485" y="1010"/>
                      <a:pt x="4485" y="1010"/>
                    </a:cubicBezTo>
                    <a:cubicBezTo>
                      <a:pt x="4482" y="1092"/>
                      <a:pt x="4482" y="1092"/>
                      <a:pt x="4482" y="1092"/>
                    </a:cubicBezTo>
                    <a:cubicBezTo>
                      <a:pt x="4482" y="1092"/>
                      <a:pt x="4543" y="1125"/>
                      <a:pt x="4539" y="1125"/>
                    </a:cubicBezTo>
                    <a:cubicBezTo>
                      <a:pt x="4534" y="1125"/>
                      <a:pt x="4448" y="1193"/>
                      <a:pt x="4448" y="1193"/>
                    </a:cubicBezTo>
                    <a:cubicBezTo>
                      <a:pt x="4412" y="1158"/>
                      <a:pt x="4412" y="1158"/>
                      <a:pt x="4412" y="1158"/>
                    </a:cubicBezTo>
                    <a:cubicBezTo>
                      <a:pt x="4412" y="1158"/>
                      <a:pt x="4380" y="1202"/>
                      <a:pt x="4382" y="1240"/>
                    </a:cubicBezTo>
                    <a:cubicBezTo>
                      <a:pt x="4382" y="1277"/>
                      <a:pt x="4365" y="1336"/>
                      <a:pt x="4365" y="1336"/>
                    </a:cubicBezTo>
                    <a:cubicBezTo>
                      <a:pt x="4365" y="1336"/>
                      <a:pt x="4220" y="1437"/>
                      <a:pt x="4263" y="1467"/>
                    </a:cubicBezTo>
                    <a:cubicBezTo>
                      <a:pt x="4304" y="1497"/>
                      <a:pt x="4344" y="1521"/>
                      <a:pt x="4344" y="1521"/>
                    </a:cubicBezTo>
                    <a:cubicBezTo>
                      <a:pt x="4344" y="1521"/>
                      <a:pt x="4375" y="1509"/>
                      <a:pt x="4384" y="1502"/>
                    </a:cubicBezTo>
                    <a:cubicBezTo>
                      <a:pt x="4372" y="1511"/>
                      <a:pt x="4333" y="1549"/>
                      <a:pt x="4349" y="1558"/>
                    </a:cubicBezTo>
                    <a:cubicBezTo>
                      <a:pt x="4365" y="1567"/>
                      <a:pt x="4372" y="1582"/>
                      <a:pt x="4382" y="1582"/>
                    </a:cubicBezTo>
                    <a:cubicBezTo>
                      <a:pt x="4389" y="1582"/>
                      <a:pt x="4441" y="1563"/>
                      <a:pt x="4441" y="1563"/>
                    </a:cubicBezTo>
                    <a:cubicBezTo>
                      <a:pt x="4441" y="1563"/>
                      <a:pt x="4420" y="1622"/>
                      <a:pt x="4335" y="1596"/>
                    </a:cubicBezTo>
                    <a:cubicBezTo>
                      <a:pt x="4375" y="1701"/>
                      <a:pt x="4375" y="1701"/>
                      <a:pt x="4375" y="1701"/>
                    </a:cubicBezTo>
                    <a:cubicBezTo>
                      <a:pt x="4375" y="1701"/>
                      <a:pt x="4276" y="1596"/>
                      <a:pt x="4260" y="1596"/>
                    </a:cubicBezTo>
                    <a:cubicBezTo>
                      <a:pt x="4244" y="1598"/>
                      <a:pt x="4242" y="1692"/>
                      <a:pt x="4242" y="1692"/>
                    </a:cubicBezTo>
                    <a:cubicBezTo>
                      <a:pt x="4215" y="1711"/>
                      <a:pt x="4215" y="1711"/>
                      <a:pt x="4215" y="1711"/>
                    </a:cubicBezTo>
                    <a:cubicBezTo>
                      <a:pt x="4215" y="1711"/>
                      <a:pt x="4220" y="1638"/>
                      <a:pt x="4190" y="1624"/>
                    </a:cubicBezTo>
                    <a:cubicBezTo>
                      <a:pt x="4159" y="1610"/>
                      <a:pt x="4176" y="1598"/>
                      <a:pt x="4126" y="1598"/>
                    </a:cubicBezTo>
                    <a:cubicBezTo>
                      <a:pt x="4080" y="1598"/>
                      <a:pt x="4040" y="1579"/>
                      <a:pt x="4033" y="1577"/>
                    </a:cubicBezTo>
                    <a:cubicBezTo>
                      <a:pt x="4028" y="1575"/>
                      <a:pt x="3981" y="1619"/>
                      <a:pt x="3981" y="1619"/>
                    </a:cubicBezTo>
                    <a:cubicBezTo>
                      <a:pt x="4005" y="1664"/>
                      <a:pt x="4005" y="1664"/>
                      <a:pt x="4005" y="1664"/>
                    </a:cubicBezTo>
                    <a:cubicBezTo>
                      <a:pt x="4005" y="1664"/>
                      <a:pt x="3998" y="1675"/>
                      <a:pt x="3996" y="1675"/>
                    </a:cubicBezTo>
                    <a:cubicBezTo>
                      <a:pt x="3991" y="1675"/>
                      <a:pt x="3953" y="1650"/>
                      <a:pt x="3953" y="1650"/>
                    </a:cubicBezTo>
                    <a:cubicBezTo>
                      <a:pt x="3953" y="1650"/>
                      <a:pt x="3911" y="1671"/>
                      <a:pt x="3920" y="1692"/>
                    </a:cubicBezTo>
                    <a:cubicBezTo>
                      <a:pt x="3930" y="1711"/>
                      <a:pt x="3972" y="1755"/>
                      <a:pt x="3960" y="1760"/>
                    </a:cubicBezTo>
                    <a:cubicBezTo>
                      <a:pt x="3948" y="1767"/>
                      <a:pt x="3902" y="1790"/>
                      <a:pt x="3902" y="1790"/>
                    </a:cubicBezTo>
                    <a:cubicBezTo>
                      <a:pt x="3902" y="1790"/>
                      <a:pt x="3859" y="1750"/>
                      <a:pt x="3869" y="1729"/>
                    </a:cubicBezTo>
                    <a:cubicBezTo>
                      <a:pt x="3878" y="1711"/>
                      <a:pt x="3897" y="1715"/>
                      <a:pt x="3895" y="1685"/>
                    </a:cubicBezTo>
                    <a:cubicBezTo>
                      <a:pt x="3892" y="1655"/>
                      <a:pt x="3878" y="1656"/>
                      <a:pt x="3890" y="1635"/>
                    </a:cubicBezTo>
                    <a:cubicBezTo>
                      <a:pt x="3902" y="1615"/>
                      <a:pt x="3932" y="1582"/>
                      <a:pt x="3930" y="1577"/>
                    </a:cubicBezTo>
                    <a:cubicBezTo>
                      <a:pt x="3928" y="1570"/>
                      <a:pt x="3843" y="1537"/>
                      <a:pt x="3822" y="1507"/>
                    </a:cubicBezTo>
                    <a:cubicBezTo>
                      <a:pt x="3801" y="1476"/>
                      <a:pt x="3712" y="1359"/>
                      <a:pt x="3684" y="1347"/>
                    </a:cubicBezTo>
                    <a:cubicBezTo>
                      <a:pt x="3658" y="1336"/>
                      <a:pt x="3602" y="1357"/>
                      <a:pt x="3602" y="1357"/>
                    </a:cubicBezTo>
                    <a:cubicBezTo>
                      <a:pt x="3548" y="1296"/>
                      <a:pt x="3548" y="1296"/>
                      <a:pt x="3548" y="1296"/>
                    </a:cubicBezTo>
                    <a:cubicBezTo>
                      <a:pt x="3487" y="1315"/>
                      <a:pt x="3487" y="1315"/>
                      <a:pt x="3487" y="1315"/>
                    </a:cubicBezTo>
                    <a:cubicBezTo>
                      <a:pt x="3513" y="1373"/>
                      <a:pt x="3513" y="1373"/>
                      <a:pt x="3513" y="1373"/>
                    </a:cubicBezTo>
                    <a:cubicBezTo>
                      <a:pt x="3436" y="1448"/>
                      <a:pt x="3436" y="1448"/>
                      <a:pt x="3436" y="1448"/>
                    </a:cubicBezTo>
                    <a:cubicBezTo>
                      <a:pt x="3436" y="1448"/>
                      <a:pt x="3394" y="1399"/>
                      <a:pt x="3398" y="1378"/>
                    </a:cubicBezTo>
                    <a:cubicBezTo>
                      <a:pt x="3386" y="1394"/>
                      <a:pt x="3358" y="1432"/>
                      <a:pt x="3358" y="1444"/>
                    </a:cubicBezTo>
                    <a:cubicBezTo>
                      <a:pt x="3358" y="1460"/>
                      <a:pt x="3319" y="1434"/>
                      <a:pt x="3319" y="1434"/>
                    </a:cubicBezTo>
                    <a:cubicBezTo>
                      <a:pt x="3255" y="1495"/>
                      <a:pt x="3255" y="1495"/>
                      <a:pt x="3255" y="1495"/>
                    </a:cubicBezTo>
                    <a:cubicBezTo>
                      <a:pt x="3284" y="1530"/>
                      <a:pt x="3284" y="1530"/>
                      <a:pt x="3284" y="1530"/>
                    </a:cubicBezTo>
                    <a:cubicBezTo>
                      <a:pt x="3251" y="1563"/>
                      <a:pt x="3251" y="1563"/>
                      <a:pt x="3251" y="1563"/>
                    </a:cubicBezTo>
                    <a:cubicBezTo>
                      <a:pt x="3187" y="1488"/>
                      <a:pt x="3187" y="1488"/>
                      <a:pt x="3187" y="1488"/>
                    </a:cubicBezTo>
                    <a:cubicBezTo>
                      <a:pt x="3176" y="1584"/>
                      <a:pt x="3176" y="1584"/>
                      <a:pt x="3176" y="1584"/>
                    </a:cubicBezTo>
                    <a:cubicBezTo>
                      <a:pt x="3176" y="1584"/>
                      <a:pt x="3143" y="1549"/>
                      <a:pt x="3138" y="1549"/>
                    </a:cubicBezTo>
                    <a:cubicBezTo>
                      <a:pt x="3136" y="1549"/>
                      <a:pt x="3110" y="1589"/>
                      <a:pt x="3110" y="1589"/>
                    </a:cubicBezTo>
                    <a:cubicBezTo>
                      <a:pt x="3077" y="1575"/>
                      <a:pt x="3077" y="1575"/>
                      <a:pt x="3077" y="1575"/>
                    </a:cubicBezTo>
                    <a:cubicBezTo>
                      <a:pt x="3035" y="1633"/>
                      <a:pt x="3035" y="1633"/>
                      <a:pt x="3035" y="1633"/>
                    </a:cubicBezTo>
                    <a:cubicBezTo>
                      <a:pt x="3035" y="1633"/>
                      <a:pt x="3049" y="1678"/>
                      <a:pt x="3070" y="1689"/>
                    </a:cubicBezTo>
                    <a:cubicBezTo>
                      <a:pt x="3089" y="1699"/>
                      <a:pt x="3103" y="1717"/>
                      <a:pt x="3103" y="1717"/>
                    </a:cubicBezTo>
                    <a:cubicBezTo>
                      <a:pt x="3094" y="1744"/>
                      <a:pt x="3094" y="1744"/>
                      <a:pt x="3094" y="1744"/>
                    </a:cubicBezTo>
                    <a:cubicBezTo>
                      <a:pt x="3094" y="1744"/>
                      <a:pt x="3063" y="1755"/>
                      <a:pt x="3042" y="1741"/>
                    </a:cubicBezTo>
                    <a:cubicBezTo>
                      <a:pt x="3024" y="1725"/>
                      <a:pt x="3005" y="1708"/>
                      <a:pt x="3000" y="1708"/>
                    </a:cubicBezTo>
                    <a:cubicBezTo>
                      <a:pt x="2996" y="1708"/>
                      <a:pt x="2988" y="1762"/>
                      <a:pt x="2988" y="1762"/>
                    </a:cubicBezTo>
                    <a:cubicBezTo>
                      <a:pt x="3028" y="1809"/>
                      <a:pt x="3028" y="1809"/>
                      <a:pt x="3028" y="1809"/>
                    </a:cubicBezTo>
                    <a:cubicBezTo>
                      <a:pt x="3049" y="1861"/>
                      <a:pt x="3049" y="1861"/>
                      <a:pt x="3049" y="1861"/>
                    </a:cubicBezTo>
                    <a:cubicBezTo>
                      <a:pt x="3009" y="1846"/>
                      <a:pt x="3009" y="1846"/>
                      <a:pt x="3009" y="1846"/>
                    </a:cubicBezTo>
                    <a:cubicBezTo>
                      <a:pt x="2953" y="1781"/>
                      <a:pt x="2953" y="1781"/>
                      <a:pt x="2953" y="1781"/>
                    </a:cubicBezTo>
                    <a:cubicBezTo>
                      <a:pt x="2953" y="1781"/>
                      <a:pt x="2916" y="1821"/>
                      <a:pt x="2897" y="1842"/>
                    </a:cubicBezTo>
                    <a:cubicBezTo>
                      <a:pt x="2876" y="1865"/>
                      <a:pt x="2846" y="1846"/>
                      <a:pt x="2839" y="1874"/>
                    </a:cubicBezTo>
                    <a:cubicBezTo>
                      <a:pt x="2829" y="1903"/>
                      <a:pt x="2834" y="2001"/>
                      <a:pt x="2860" y="1999"/>
                    </a:cubicBezTo>
                    <a:cubicBezTo>
                      <a:pt x="2883" y="1999"/>
                      <a:pt x="2916" y="1956"/>
                      <a:pt x="2916" y="1956"/>
                    </a:cubicBezTo>
                    <a:cubicBezTo>
                      <a:pt x="2916" y="1956"/>
                      <a:pt x="2909" y="2015"/>
                      <a:pt x="2888" y="2039"/>
                    </a:cubicBezTo>
                    <a:cubicBezTo>
                      <a:pt x="2867" y="2062"/>
                      <a:pt x="2841" y="2045"/>
                      <a:pt x="2839" y="2071"/>
                    </a:cubicBezTo>
                    <a:cubicBezTo>
                      <a:pt x="2839" y="2095"/>
                      <a:pt x="2841" y="2113"/>
                      <a:pt x="2848" y="2113"/>
                    </a:cubicBezTo>
                    <a:cubicBezTo>
                      <a:pt x="2852" y="2113"/>
                      <a:pt x="2885" y="2104"/>
                      <a:pt x="2913" y="2111"/>
                    </a:cubicBezTo>
                    <a:cubicBezTo>
                      <a:pt x="2941" y="2118"/>
                      <a:pt x="2996" y="2142"/>
                      <a:pt x="2996" y="2142"/>
                    </a:cubicBezTo>
                    <a:cubicBezTo>
                      <a:pt x="2996" y="2142"/>
                      <a:pt x="2843" y="2156"/>
                      <a:pt x="2818" y="2151"/>
                    </a:cubicBezTo>
                    <a:cubicBezTo>
                      <a:pt x="2794" y="2144"/>
                      <a:pt x="2813" y="2106"/>
                      <a:pt x="2775" y="2106"/>
                    </a:cubicBezTo>
                    <a:cubicBezTo>
                      <a:pt x="2738" y="2109"/>
                      <a:pt x="2726" y="2109"/>
                      <a:pt x="2719" y="2113"/>
                    </a:cubicBezTo>
                    <a:cubicBezTo>
                      <a:pt x="2710" y="2116"/>
                      <a:pt x="2729" y="2142"/>
                      <a:pt x="2729" y="2142"/>
                    </a:cubicBezTo>
                    <a:cubicBezTo>
                      <a:pt x="2686" y="2142"/>
                      <a:pt x="2686" y="2142"/>
                      <a:pt x="2686" y="2142"/>
                    </a:cubicBezTo>
                    <a:cubicBezTo>
                      <a:pt x="2686" y="2142"/>
                      <a:pt x="2661" y="2076"/>
                      <a:pt x="2651" y="2076"/>
                    </a:cubicBezTo>
                    <a:cubicBezTo>
                      <a:pt x="2640" y="2076"/>
                      <a:pt x="2602" y="2085"/>
                      <a:pt x="2607" y="2104"/>
                    </a:cubicBezTo>
                    <a:cubicBezTo>
                      <a:pt x="2612" y="2125"/>
                      <a:pt x="2658" y="2142"/>
                      <a:pt x="2646" y="2149"/>
                    </a:cubicBezTo>
                    <a:cubicBezTo>
                      <a:pt x="2637" y="2156"/>
                      <a:pt x="2609" y="2207"/>
                      <a:pt x="2612" y="2214"/>
                    </a:cubicBezTo>
                    <a:cubicBezTo>
                      <a:pt x="2612" y="2221"/>
                      <a:pt x="2656" y="2299"/>
                      <a:pt x="2679" y="2296"/>
                    </a:cubicBezTo>
                    <a:cubicBezTo>
                      <a:pt x="2701" y="2296"/>
                      <a:pt x="2724" y="2278"/>
                      <a:pt x="2724" y="2278"/>
                    </a:cubicBezTo>
                    <a:cubicBezTo>
                      <a:pt x="2702" y="2320"/>
                      <a:pt x="2702" y="2320"/>
                      <a:pt x="2702" y="2320"/>
                    </a:cubicBezTo>
                    <a:cubicBezTo>
                      <a:pt x="2731" y="2392"/>
                      <a:pt x="2731" y="2392"/>
                      <a:pt x="2731" y="2392"/>
                    </a:cubicBezTo>
                    <a:cubicBezTo>
                      <a:pt x="2635" y="2334"/>
                      <a:pt x="2635" y="2334"/>
                      <a:pt x="2635" y="2334"/>
                    </a:cubicBezTo>
                    <a:cubicBezTo>
                      <a:pt x="2635" y="2334"/>
                      <a:pt x="2609" y="2362"/>
                      <a:pt x="2635" y="2399"/>
                    </a:cubicBezTo>
                    <a:cubicBezTo>
                      <a:pt x="2658" y="2437"/>
                      <a:pt x="2632" y="2505"/>
                      <a:pt x="2632" y="2505"/>
                    </a:cubicBezTo>
                    <a:cubicBezTo>
                      <a:pt x="2445" y="2233"/>
                      <a:pt x="2445" y="2233"/>
                      <a:pt x="2445" y="2233"/>
                    </a:cubicBezTo>
                    <a:cubicBezTo>
                      <a:pt x="2445" y="2233"/>
                      <a:pt x="2445" y="2198"/>
                      <a:pt x="2455" y="2193"/>
                    </a:cubicBezTo>
                    <a:cubicBezTo>
                      <a:pt x="2462" y="2186"/>
                      <a:pt x="2450" y="2160"/>
                      <a:pt x="2445" y="2160"/>
                    </a:cubicBezTo>
                    <a:cubicBezTo>
                      <a:pt x="2440" y="2160"/>
                      <a:pt x="2429" y="2207"/>
                      <a:pt x="2407" y="2219"/>
                    </a:cubicBezTo>
                    <a:cubicBezTo>
                      <a:pt x="2386" y="2233"/>
                      <a:pt x="2370" y="2254"/>
                      <a:pt x="2370" y="2259"/>
                    </a:cubicBezTo>
                    <a:cubicBezTo>
                      <a:pt x="2370" y="2266"/>
                      <a:pt x="2396" y="2291"/>
                      <a:pt x="2391" y="2291"/>
                    </a:cubicBezTo>
                    <a:cubicBezTo>
                      <a:pt x="2389" y="2291"/>
                      <a:pt x="2354" y="2280"/>
                      <a:pt x="2337" y="2301"/>
                    </a:cubicBezTo>
                    <a:cubicBezTo>
                      <a:pt x="2323" y="2324"/>
                      <a:pt x="2330" y="2348"/>
                      <a:pt x="2330" y="2348"/>
                    </a:cubicBezTo>
                    <a:cubicBezTo>
                      <a:pt x="2330" y="2348"/>
                      <a:pt x="2251" y="2355"/>
                      <a:pt x="2234" y="2434"/>
                    </a:cubicBezTo>
                    <a:cubicBezTo>
                      <a:pt x="2218" y="2516"/>
                      <a:pt x="2251" y="2612"/>
                      <a:pt x="2251" y="2612"/>
                    </a:cubicBezTo>
                    <a:cubicBezTo>
                      <a:pt x="2251" y="2612"/>
                      <a:pt x="2302" y="2664"/>
                      <a:pt x="2302" y="2678"/>
                    </a:cubicBezTo>
                    <a:cubicBezTo>
                      <a:pt x="2302" y="2690"/>
                      <a:pt x="2269" y="2711"/>
                      <a:pt x="2256" y="2729"/>
                    </a:cubicBezTo>
                    <a:cubicBezTo>
                      <a:pt x="2241" y="2748"/>
                      <a:pt x="2227" y="2793"/>
                      <a:pt x="2227" y="2793"/>
                    </a:cubicBezTo>
                    <a:cubicBezTo>
                      <a:pt x="2227" y="2793"/>
                      <a:pt x="2183" y="2793"/>
                      <a:pt x="2159" y="2821"/>
                    </a:cubicBezTo>
                    <a:cubicBezTo>
                      <a:pt x="2138" y="2849"/>
                      <a:pt x="2145" y="2894"/>
                      <a:pt x="2140" y="2894"/>
                    </a:cubicBezTo>
                    <a:cubicBezTo>
                      <a:pt x="2138" y="2894"/>
                      <a:pt x="2106" y="2896"/>
                      <a:pt x="2106" y="2896"/>
                    </a:cubicBezTo>
                    <a:cubicBezTo>
                      <a:pt x="2106" y="2896"/>
                      <a:pt x="2082" y="3055"/>
                      <a:pt x="2049" y="3090"/>
                    </a:cubicBezTo>
                    <a:cubicBezTo>
                      <a:pt x="2017" y="3125"/>
                      <a:pt x="1890" y="3219"/>
                      <a:pt x="1839" y="3254"/>
                    </a:cubicBezTo>
                    <a:cubicBezTo>
                      <a:pt x="1787" y="3287"/>
                      <a:pt x="1637" y="3322"/>
                      <a:pt x="1633" y="3322"/>
                    </a:cubicBezTo>
                    <a:cubicBezTo>
                      <a:pt x="1630" y="3324"/>
                      <a:pt x="1581" y="3367"/>
                      <a:pt x="1574" y="3362"/>
                    </a:cubicBezTo>
                    <a:cubicBezTo>
                      <a:pt x="1569" y="3360"/>
                      <a:pt x="1536" y="3339"/>
                      <a:pt x="1513" y="3339"/>
                    </a:cubicBezTo>
                    <a:cubicBezTo>
                      <a:pt x="1487" y="3339"/>
                      <a:pt x="1471" y="3320"/>
                      <a:pt x="1473" y="3315"/>
                    </a:cubicBezTo>
                    <a:cubicBezTo>
                      <a:pt x="1476" y="3311"/>
                      <a:pt x="1534" y="3301"/>
                      <a:pt x="1534" y="3301"/>
                    </a:cubicBezTo>
                    <a:cubicBezTo>
                      <a:pt x="1534" y="3301"/>
                      <a:pt x="1471" y="3294"/>
                      <a:pt x="1459" y="3313"/>
                    </a:cubicBezTo>
                    <a:cubicBezTo>
                      <a:pt x="1447" y="3332"/>
                      <a:pt x="1422" y="3374"/>
                      <a:pt x="1415" y="3374"/>
                    </a:cubicBezTo>
                    <a:cubicBezTo>
                      <a:pt x="1407" y="3374"/>
                      <a:pt x="1405" y="3446"/>
                      <a:pt x="1361" y="3453"/>
                    </a:cubicBezTo>
                    <a:cubicBezTo>
                      <a:pt x="1316" y="3458"/>
                      <a:pt x="1281" y="3467"/>
                      <a:pt x="1281" y="3467"/>
                    </a:cubicBezTo>
                    <a:cubicBezTo>
                      <a:pt x="1281" y="3467"/>
                      <a:pt x="1250" y="3498"/>
                      <a:pt x="1244" y="3498"/>
                    </a:cubicBezTo>
                    <a:cubicBezTo>
                      <a:pt x="1237" y="3498"/>
                      <a:pt x="1190" y="3493"/>
                      <a:pt x="1190" y="3493"/>
                    </a:cubicBezTo>
                    <a:cubicBezTo>
                      <a:pt x="1190" y="3493"/>
                      <a:pt x="1124" y="3580"/>
                      <a:pt x="1091" y="3594"/>
                    </a:cubicBezTo>
                    <a:cubicBezTo>
                      <a:pt x="1059" y="3608"/>
                      <a:pt x="1007" y="3632"/>
                      <a:pt x="1007" y="3632"/>
                    </a:cubicBezTo>
                    <a:cubicBezTo>
                      <a:pt x="1007" y="3632"/>
                      <a:pt x="970" y="3634"/>
                      <a:pt x="953" y="3632"/>
                    </a:cubicBezTo>
                    <a:cubicBezTo>
                      <a:pt x="937" y="3627"/>
                      <a:pt x="942" y="3596"/>
                      <a:pt x="913" y="3603"/>
                    </a:cubicBezTo>
                    <a:cubicBezTo>
                      <a:pt x="885" y="3611"/>
                      <a:pt x="848" y="3652"/>
                      <a:pt x="845" y="3641"/>
                    </a:cubicBezTo>
                    <a:cubicBezTo>
                      <a:pt x="841" y="3629"/>
                      <a:pt x="829" y="3582"/>
                      <a:pt x="841" y="3571"/>
                    </a:cubicBezTo>
                    <a:cubicBezTo>
                      <a:pt x="853" y="3556"/>
                      <a:pt x="832" y="3538"/>
                      <a:pt x="832" y="3538"/>
                    </a:cubicBezTo>
                    <a:cubicBezTo>
                      <a:pt x="832" y="3538"/>
                      <a:pt x="829" y="3584"/>
                      <a:pt x="810" y="3601"/>
                    </a:cubicBezTo>
                    <a:cubicBezTo>
                      <a:pt x="792" y="3615"/>
                      <a:pt x="731" y="3622"/>
                      <a:pt x="735" y="3622"/>
                    </a:cubicBezTo>
                    <a:cubicBezTo>
                      <a:pt x="740" y="3622"/>
                      <a:pt x="796" y="3634"/>
                      <a:pt x="775" y="3652"/>
                    </a:cubicBezTo>
                    <a:cubicBezTo>
                      <a:pt x="752" y="3669"/>
                      <a:pt x="724" y="3685"/>
                      <a:pt x="710" y="3692"/>
                    </a:cubicBezTo>
                    <a:cubicBezTo>
                      <a:pt x="695" y="3700"/>
                      <a:pt x="672" y="3716"/>
                      <a:pt x="670" y="3718"/>
                    </a:cubicBezTo>
                    <a:cubicBezTo>
                      <a:pt x="670" y="3723"/>
                      <a:pt x="630" y="3770"/>
                      <a:pt x="604" y="3784"/>
                    </a:cubicBezTo>
                    <a:cubicBezTo>
                      <a:pt x="578" y="3798"/>
                      <a:pt x="537" y="3863"/>
                      <a:pt x="527" y="3870"/>
                    </a:cubicBezTo>
                    <a:cubicBezTo>
                      <a:pt x="517" y="3875"/>
                      <a:pt x="492" y="3927"/>
                      <a:pt x="485" y="3934"/>
                    </a:cubicBezTo>
                    <a:cubicBezTo>
                      <a:pt x="476" y="3938"/>
                      <a:pt x="368" y="4001"/>
                      <a:pt x="328" y="4034"/>
                    </a:cubicBezTo>
                    <a:cubicBezTo>
                      <a:pt x="290" y="4067"/>
                      <a:pt x="250" y="4133"/>
                      <a:pt x="250" y="4154"/>
                    </a:cubicBezTo>
                    <a:cubicBezTo>
                      <a:pt x="250" y="4177"/>
                      <a:pt x="237" y="4264"/>
                      <a:pt x="237" y="4264"/>
                    </a:cubicBezTo>
                    <a:cubicBezTo>
                      <a:pt x="237" y="4264"/>
                      <a:pt x="201" y="4278"/>
                      <a:pt x="190" y="4280"/>
                    </a:cubicBezTo>
                    <a:cubicBezTo>
                      <a:pt x="178" y="4283"/>
                      <a:pt x="178" y="4255"/>
                      <a:pt x="171" y="4238"/>
                    </a:cubicBezTo>
                    <a:cubicBezTo>
                      <a:pt x="161" y="4222"/>
                      <a:pt x="150" y="4196"/>
                      <a:pt x="150" y="4187"/>
                    </a:cubicBezTo>
                    <a:cubicBezTo>
                      <a:pt x="150" y="4177"/>
                      <a:pt x="152" y="4072"/>
                      <a:pt x="152" y="4072"/>
                    </a:cubicBezTo>
                    <a:cubicBezTo>
                      <a:pt x="152" y="4072"/>
                      <a:pt x="150" y="4037"/>
                      <a:pt x="108" y="4095"/>
                    </a:cubicBezTo>
                    <a:cubicBezTo>
                      <a:pt x="68" y="4156"/>
                      <a:pt x="87" y="4243"/>
                      <a:pt x="87" y="4243"/>
                    </a:cubicBezTo>
                    <a:cubicBezTo>
                      <a:pt x="87" y="4243"/>
                      <a:pt x="28" y="4294"/>
                      <a:pt x="47" y="4329"/>
                    </a:cubicBezTo>
                    <a:cubicBezTo>
                      <a:pt x="65" y="4365"/>
                      <a:pt x="110" y="4423"/>
                      <a:pt x="110" y="4423"/>
                    </a:cubicBezTo>
                    <a:cubicBezTo>
                      <a:pt x="103" y="4484"/>
                      <a:pt x="103" y="4484"/>
                      <a:pt x="103" y="4484"/>
                    </a:cubicBezTo>
                    <a:cubicBezTo>
                      <a:pt x="103" y="4484"/>
                      <a:pt x="131" y="4522"/>
                      <a:pt x="126" y="4555"/>
                    </a:cubicBezTo>
                    <a:cubicBezTo>
                      <a:pt x="122" y="4587"/>
                      <a:pt x="72" y="4655"/>
                      <a:pt x="68" y="4676"/>
                    </a:cubicBezTo>
                    <a:cubicBezTo>
                      <a:pt x="61" y="4695"/>
                      <a:pt x="59" y="4873"/>
                      <a:pt x="59" y="4873"/>
                    </a:cubicBezTo>
                    <a:cubicBezTo>
                      <a:pt x="59" y="4873"/>
                      <a:pt x="150" y="4964"/>
                      <a:pt x="152" y="4985"/>
                    </a:cubicBezTo>
                    <a:cubicBezTo>
                      <a:pt x="154" y="5006"/>
                      <a:pt x="154" y="5034"/>
                      <a:pt x="161" y="5042"/>
                    </a:cubicBezTo>
                    <a:cubicBezTo>
                      <a:pt x="169" y="5049"/>
                      <a:pt x="209" y="5091"/>
                      <a:pt x="209" y="5091"/>
                    </a:cubicBezTo>
                    <a:cubicBezTo>
                      <a:pt x="232" y="5079"/>
                      <a:pt x="232" y="5079"/>
                      <a:pt x="232" y="5079"/>
                    </a:cubicBezTo>
                    <a:cubicBezTo>
                      <a:pt x="255" y="5122"/>
                      <a:pt x="255" y="5122"/>
                      <a:pt x="255" y="5122"/>
                    </a:cubicBezTo>
                    <a:cubicBezTo>
                      <a:pt x="253" y="5154"/>
                      <a:pt x="253" y="5154"/>
                      <a:pt x="253" y="5154"/>
                    </a:cubicBezTo>
                    <a:cubicBezTo>
                      <a:pt x="253" y="5154"/>
                      <a:pt x="379" y="5245"/>
                      <a:pt x="375" y="5267"/>
                    </a:cubicBezTo>
                    <a:cubicBezTo>
                      <a:pt x="370" y="5288"/>
                      <a:pt x="347" y="5304"/>
                      <a:pt x="347" y="5304"/>
                    </a:cubicBezTo>
                    <a:cubicBezTo>
                      <a:pt x="347" y="5304"/>
                      <a:pt x="360" y="5339"/>
                      <a:pt x="356" y="5353"/>
                    </a:cubicBezTo>
                    <a:cubicBezTo>
                      <a:pt x="351" y="5370"/>
                      <a:pt x="379" y="5390"/>
                      <a:pt x="379" y="5390"/>
                    </a:cubicBezTo>
                    <a:cubicBezTo>
                      <a:pt x="379" y="5390"/>
                      <a:pt x="347" y="5440"/>
                      <a:pt x="347" y="5435"/>
                    </a:cubicBezTo>
                    <a:cubicBezTo>
                      <a:pt x="347" y="5433"/>
                      <a:pt x="281" y="5339"/>
                      <a:pt x="276" y="5328"/>
                    </a:cubicBezTo>
                    <a:cubicBezTo>
                      <a:pt x="270" y="5316"/>
                      <a:pt x="250" y="5377"/>
                      <a:pt x="250" y="5377"/>
                    </a:cubicBezTo>
                    <a:cubicBezTo>
                      <a:pt x="281" y="5412"/>
                      <a:pt x="281" y="5412"/>
                      <a:pt x="281" y="5412"/>
                    </a:cubicBezTo>
                    <a:cubicBezTo>
                      <a:pt x="281" y="5412"/>
                      <a:pt x="302" y="5470"/>
                      <a:pt x="276" y="5484"/>
                    </a:cubicBezTo>
                    <a:cubicBezTo>
                      <a:pt x="250" y="5496"/>
                      <a:pt x="227" y="5501"/>
                      <a:pt x="227" y="5512"/>
                    </a:cubicBezTo>
                    <a:cubicBezTo>
                      <a:pt x="227" y="5524"/>
                      <a:pt x="222" y="5524"/>
                      <a:pt x="222" y="5524"/>
                    </a:cubicBezTo>
                    <a:cubicBezTo>
                      <a:pt x="222" y="5524"/>
                      <a:pt x="403" y="5714"/>
                      <a:pt x="410" y="5773"/>
                    </a:cubicBezTo>
                    <a:cubicBezTo>
                      <a:pt x="417" y="5831"/>
                      <a:pt x="408" y="5883"/>
                      <a:pt x="421" y="5894"/>
                    </a:cubicBezTo>
                    <a:cubicBezTo>
                      <a:pt x="436" y="5908"/>
                      <a:pt x="571" y="6014"/>
                      <a:pt x="586" y="6051"/>
                    </a:cubicBezTo>
                    <a:cubicBezTo>
                      <a:pt x="597" y="6089"/>
                      <a:pt x="574" y="6103"/>
                      <a:pt x="597" y="6126"/>
                    </a:cubicBezTo>
                    <a:cubicBezTo>
                      <a:pt x="623" y="6150"/>
                      <a:pt x="695" y="6224"/>
                      <a:pt x="700" y="6257"/>
                    </a:cubicBezTo>
                    <a:cubicBezTo>
                      <a:pt x="705" y="6290"/>
                      <a:pt x="738" y="6522"/>
                      <a:pt x="775" y="6588"/>
                    </a:cubicBezTo>
                    <a:cubicBezTo>
                      <a:pt x="813" y="6651"/>
                      <a:pt x="1002" y="6928"/>
                      <a:pt x="1002" y="6951"/>
                    </a:cubicBezTo>
                    <a:cubicBezTo>
                      <a:pt x="1005" y="6974"/>
                      <a:pt x="1019" y="7038"/>
                      <a:pt x="1019" y="7038"/>
                    </a:cubicBezTo>
                    <a:cubicBezTo>
                      <a:pt x="1019" y="7038"/>
                      <a:pt x="988" y="7049"/>
                      <a:pt x="991" y="7051"/>
                    </a:cubicBezTo>
                    <a:cubicBezTo>
                      <a:pt x="995" y="7054"/>
                      <a:pt x="1038" y="7124"/>
                      <a:pt x="1038" y="7124"/>
                    </a:cubicBezTo>
                    <a:cubicBezTo>
                      <a:pt x="1014" y="7180"/>
                      <a:pt x="1014" y="7180"/>
                      <a:pt x="1014" y="7180"/>
                    </a:cubicBezTo>
                    <a:cubicBezTo>
                      <a:pt x="1044" y="7216"/>
                      <a:pt x="1044" y="7216"/>
                      <a:pt x="1044" y="7216"/>
                    </a:cubicBezTo>
                    <a:cubicBezTo>
                      <a:pt x="1016" y="7232"/>
                      <a:pt x="1016" y="7232"/>
                      <a:pt x="1016" y="7232"/>
                    </a:cubicBezTo>
                    <a:cubicBezTo>
                      <a:pt x="1016" y="7232"/>
                      <a:pt x="1042" y="7284"/>
                      <a:pt x="1049" y="7305"/>
                    </a:cubicBezTo>
                    <a:cubicBezTo>
                      <a:pt x="1056" y="7326"/>
                      <a:pt x="1066" y="7405"/>
                      <a:pt x="1028" y="7445"/>
                    </a:cubicBezTo>
                    <a:cubicBezTo>
                      <a:pt x="993" y="7483"/>
                      <a:pt x="977" y="7508"/>
                      <a:pt x="958" y="7499"/>
                    </a:cubicBezTo>
                    <a:cubicBezTo>
                      <a:pt x="937" y="7492"/>
                      <a:pt x="906" y="7459"/>
                      <a:pt x="906" y="7459"/>
                    </a:cubicBezTo>
                    <a:cubicBezTo>
                      <a:pt x="897" y="7513"/>
                      <a:pt x="897" y="7513"/>
                      <a:pt x="897" y="7513"/>
                    </a:cubicBezTo>
                    <a:cubicBezTo>
                      <a:pt x="897" y="7513"/>
                      <a:pt x="913" y="7707"/>
                      <a:pt x="949" y="7703"/>
                    </a:cubicBezTo>
                    <a:cubicBezTo>
                      <a:pt x="982" y="7701"/>
                      <a:pt x="960" y="7661"/>
                      <a:pt x="1002" y="7679"/>
                    </a:cubicBezTo>
                    <a:cubicBezTo>
                      <a:pt x="1047" y="7701"/>
                      <a:pt x="1204" y="7818"/>
                      <a:pt x="1204" y="7818"/>
                    </a:cubicBezTo>
                    <a:cubicBezTo>
                      <a:pt x="1204" y="7818"/>
                      <a:pt x="1258" y="7806"/>
                      <a:pt x="1283" y="7815"/>
                    </a:cubicBezTo>
                    <a:cubicBezTo>
                      <a:pt x="1309" y="7824"/>
                      <a:pt x="1305" y="7843"/>
                      <a:pt x="1349" y="7843"/>
                    </a:cubicBezTo>
                    <a:cubicBezTo>
                      <a:pt x="1396" y="7843"/>
                      <a:pt x="1450" y="7843"/>
                      <a:pt x="1455" y="7841"/>
                    </a:cubicBezTo>
                    <a:cubicBezTo>
                      <a:pt x="1459" y="7841"/>
                      <a:pt x="1513" y="7822"/>
                      <a:pt x="1534" y="7827"/>
                    </a:cubicBezTo>
                    <a:cubicBezTo>
                      <a:pt x="1555" y="7829"/>
                      <a:pt x="1593" y="7850"/>
                      <a:pt x="1604" y="7846"/>
                    </a:cubicBezTo>
                    <a:cubicBezTo>
                      <a:pt x="1616" y="7843"/>
                      <a:pt x="1623" y="7815"/>
                      <a:pt x="1667" y="7811"/>
                    </a:cubicBezTo>
                    <a:cubicBezTo>
                      <a:pt x="1714" y="7806"/>
                      <a:pt x="1726" y="7815"/>
                      <a:pt x="1733" y="7806"/>
                    </a:cubicBezTo>
                    <a:cubicBezTo>
                      <a:pt x="1738" y="7796"/>
                      <a:pt x="1778" y="7768"/>
                      <a:pt x="1787" y="7757"/>
                    </a:cubicBezTo>
                    <a:cubicBezTo>
                      <a:pt x="1794" y="7747"/>
                      <a:pt x="1796" y="7710"/>
                      <a:pt x="1796" y="7710"/>
                    </a:cubicBezTo>
                    <a:cubicBezTo>
                      <a:pt x="1796" y="7710"/>
                      <a:pt x="1812" y="7714"/>
                      <a:pt x="1841" y="7679"/>
                    </a:cubicBezTo>
                    <a:cubicBezTo>
                      <a:pt x="1869" y="7644"/>
                      <a:pt x="1839" y="7628"/>
                      <a:pt x="1897" y="7612"/>
                    </a:cubicBezTo>
                    <a:cubicBezTo>
                      <a:pt x="1956" y="7597"/>
                      <a:pt x="1979" y="7623"/>
                      <a:pt x="1989" y="7616"/>
                    </a:cubicBezTo>
                    <a:cubicBezTo>
                      <a:pt x="1995" y="7609"/>
                      <a:pt x="2035" y="7579"/>
                      <a:pt x="2035" y="7574"/>
                    </a:cubicBezTo>
                    <a:cubicBezTo>
                      <a:pt x="2035" y="7572"/>
                      <a:pt x="2012" y="7555"/>
                      <a:pt x="2038" y="7520"/>
                    </a:cubicBezTo>
                    <a:cubicBezTo>
                      <a:pt x="2066" y="7487"/>
                      <a:pt x="2131" y="7431"/>
                      <a:pt x="2131" y="7431"/>
                    </a:cubicBezTo>
                    <a:cubicBezTo>
                      <a:pt x="2131" y="7431"/>
                      <a:pt x="2265" y="7434"/>
                      <a:pt x="2267" y="7429"/>
                    </a:cubicBezTo>
                    <a:cubicBezTo>
                      <a:pt x="2269" y="7422"/>
                      <a:pt x="2340" y="7377"/>
                      <a:pt x="2375" y="7377"/>
                    </a:cubicBezTo>
                    <a:cubicBezTo>
                      <a:pt x="2410" y="7377"/>
                      <a:pt x="2483" y="7354"/>
                      <a:pt x="2508" y="7351"/>
                    </a:cubicBezTo>
                    <a:cubicBezTo>
                      <a:pt x="2536" y="7349"/>
                      <a:pt x="2539" y="7370"/>
                      <a:pt x="2572" y="7370"/>
                    </a:cubicBezTo>
                    <a:cubicBezTo>
                      <a:pt x="2604" y="7368"/>
                      <a:pt x="2653" y="7361"/>
                      <a:pt x="2653" y="7361"/>
                    </a:cubicBezTo>
                    <a:cubicBezTo>
                      <a:pt x="2653" y="7361"/>
                      <a:pt x="2665" y="7391"/>
                      <a:pt x="2684" y="7391"/>
                    </a:cubicBezTo>
                    <a:cubicBezTo>
                      <a:pt x="2705" y="7391"/>
                      <a:pt x="2696" y="7368"/>
                      <a:pt x="2735" y="7368"/>
                    </a:cubicBezTo>
                    <a:cubicBezTo>
                      <a:pt x="2775" y="7366"/>
                      <a:pt x="2857" y="7345"/>
                      <a:pt x="2857" y="7345"/>
                    </a:cubicBezTo>
                    <a:cubicBezTo>
                      <a:pt x="2902" y="7328"/>
                      <a:pt x="2902" y="7328"/>
                      <a:pt x="2902" y="7328"/>
                    </a:cubicBezTo>
                    <a:cubicBezTo>
                      <a:pt x="2902" y="7328"/>
                      <a:pt x="2944" y="7403"/>
                      <a:pt x="2946" y="7398"/>
                    </a:cubicBezTo>
                    <a:cubicBezTo>
                      <a:pt x="2946" y="7394"/>
                      <a:pt x="2981" y="7356"/>
                      <a:pt x="2981" y="7354"/>
                    </a:cubicBezTo>
                    <a:cubicBezTo>
                      <a:pt x="2981" y="7349"/>
                      <a:pt x="3042" y="7337"/>
                      <a:pt x="3042" y="7337"/>
                    </a:cubicBezTo>
                    <a:cubicBezTo>
                      <a:pt x="3115" y="7223"/>
                      <a:pt x="3115" y="7223"/>
                      <a:pt x="3115" y="7223"/>
                    </a:cubicBezTo>
                    <a:cubicBezTo>
                      <a:pt x="3115" y="7223"/>
                      <a:pt x="3134" y="7070"/>
                      <a:pt x="3180" y="7049"/>
                    </a:cubicBezTo>
                    <a:cubicBezTo>
                      <a:pt x="3225" y="7028"/>
                      <a:pt x="3263" y="7045"/>
                      <a:pt x="3309" y="7009"/>
                    </a:cubicBezTo>
                    <a:cubicBezTo>
                      <a:pt x="3356" y="6974"/>
                      <a:pt x="3398" y="6923"/>
                      <a:pt x="3426" y="6918"/>
                    </a:cubicBezTo>
                    <a:cubicBezTo>
                      <a:pt x="3457" y="6911"/>
                      <a:pt x="3475" y="6909"/>
                      <a:pt x="3483" y="6901"/>
                    </a:cubicBezTo>
                    <a:cubicBezTo>
                      <a:pt x="3490" y="6895"/>
                      <a:pt x="3588" y="6810"/>
                      <a:pt x="3588" y="6810"/>
                    </a:cubicBezTo>
                    <a:cubicBezTo>
                      <a:pt x="3663" y="6799"/>
                      <a:pt x="3663" y="6799"/>
                      <a:pt x="3663" y="6799"/>
                    </a:cubicBezTo>
                    <a:cubicBezTo>
                      <a:pt x="3703" y="6806"/>
                      <a:pt x="3703" y="6806"/>
                      <a:pt x="3703" y="6806"/>
                    </a:cubicBezTo>
                    <a:cubicBezTo>
                      <a:pt x="3703" y="6806"/>
                      <a:pt x="3911" y="6817"/>
                      <a:pt x="3935" y="6799"/>
                    </a:cubicBezTo>
                    <a:cubicBezTo>
                      <a:pt x="3960" y="6780"/>
                      <a:pt x="4047" y="6738"/>
                      <a:pt x="4073" y="6731"/>
                    </a:cubicBezTo>
                    <a:cubicBezTo>
                      <a:pt x="4096" y="6726"/>
                      <a:pt x="4126" y="6728"/>
                      <a:pt x="4155" y="6710"/>
                    </a:cubicBezTo>
                    <a:cubicBezTo>
                      <a:pt x="4183" y="6691"/>
                      <a:pt x="4298" y="6600"/>
                      <a:pt x="4344" y="6590"/>
                    </a:cubicBezTo>
                    <a:cubicBezTo>
                      <a:pt x="4392" y="6578"/>
                      <a:pt x="4548" y="6562"/>
                      <a:pt x="4581" y="6562"/>
                    </a:cubicBezTo>
                    <a:cubicBezTo>
                      <a:pt x="4611" y="6562"/>
                      <a:pt x="4838" y="6567"/>
                      <a:pt x="4841" y="6562"/>
                    </a:cubicBezTo>
                    <a:cubicBezTo>
                      <a:pt x="4843" y="6560"/>
                      <a:pt x="4848" y="6513"/>
                      <a:pt x="4899" y="6524"/>
                    </a:cubicBezTo>
                    <a:cubicBezTo>
                      <a:pt x="4951" y="6536"/>
                      <a:pt x="5166" y="6686"/>
                      <a:pt x="5166" y="6686"/>
                    </a:cubicBezTo>
                    <a:cubicBezTo>
                      <a:pt x="5166" y="6686"/>
                      <a:pt x="5221" y="6689"/>
                      <a:pt x="5223" y="6684"/>
                    </a:cubicBezTo>
                    <a:cubicBezTo>
                      <a:pt x="5225" y="6681"/>
                      <a:pt x="5223" y="6651"/>
                      <a:pt x="5253" y="6656"/>
                    </a:cubicBezTo>
                    <a:cubicBezTo>
                      <a:pt x="5286" y="6661"/>
                      <a:pt x="5415" y="6735"/>
                      <a:pt x="5415" y="6735"/>
                    </a:cubicBezTo>
                    <a:cubicBezTo>
                      <a:pt x="5440" y="6756"/>
                      <a:pt x="5440" y="6756"/>
                      <a:pt x="5440" y="6756"/>
                    </a:cubicBezTo>
                    <a:cubicBezTo>
                      <a:pt x="5480" y="6721"/>
                      <a:pt x="5480" y="6721"/>
                      <a:pt x="5480" y="6721"/>
                    </a:cubicBezTo>
                    <a:cubicBezTo>
                      <a:pt x="5511" y="6763"/>
                      <a:pt x="5511" y="6763"/>
                      <a:pt x="5511" y="6763"/>
                    </a:cubicBezTo>
                    <a:cubicBezTo>
                      <a:pt x="5511" y="6763"/>
                      <a:pt x="5513" y="6712"/>
                      <a:pt x="5558" y="6747"/>
                    </a:cubicBezTo>
                    <a:cubicBezTo>
                      <a:pt x="5605" y="6782"/>
                      <a:pt x="5602" y="6799"/>
                      <a:pt x="5598" y="6799"/>
                    </a:cubicBezTo>
                    <a:cubicBezTo>
                      <a:pt x="5593" y="6799"/>
                      <a:pt x="5555" y="6831"/>
                      <a:pt x="5574" y="6834"/>
                    </a:cubicBezTo>
                    <a:cubicBezTo>
                      <a:pt x="5595" y="6836"/>
                      <a:pt x="5639" y="6810"/>
                      <a:pt x="5639" y="6810"/>
                    </a:cubicBezTo>
                    <a:cubicBezTo>
                      <a:pt x="5639" y="6810"/>
                      <a:pt x="5684" y="6860"/>
                      <a:pt x="5682" y="6867"/>
                    </a:cubicBezTo>
                    <a:cubicBezTo>
                      <a:pt x="5679" y="6873"/>
                      <a:pt x="5635" y="6890"/>
                      <a:pt x="5635" y="6890"/>
                    </a:cubicBezTo>
                    <a:cubicBezTo>
                      <a:pt x="5635" y="6890"/>
                      <a:pt x="5666" y="6904"/>
                      <a:pt x="5647" y="6918"/>
                    </a:cubicBezTo>
                    <a:cubicBezTo>
                      <a:pt x="5630" y="6934"/>
                      <a:pt x="5626" y="6946"/>
                      <a:pt x="5626" y="6946"/>
                    </a:cubicBezTo>
                    <a:cubicBezTo>
                      <a:pt x="5705" y="7023"/>
                      <a:pt x="5705" y="7023"/>
                      <a:pt x="5705" y="7023"/>
                    </a:cubicBezTo>
                    <a:cubicBezTo>
                      <a:pt x="5705" y="7023"/>
                      <a:pt x="5736" y="7000"/>
                      <a:pt x="5768" y="7023"/>
                    </a:cubicBezTo>
                    <a:cubicBezTo>
                      <a:pt x="5801" y="7049"/>
                      <a:pt x="5820" y="7091"/>
                      <a:pt x="5820" y="7103"/>
                    </a:cubicBezTo>
                    <a:cubicBezTo>
                      <a:pt x="5820" y="7115"/>
                      <a:pt x="5832" y="7171"/>
                      <a:pt x="5832" y="7171"/>
                    </a:cubicBezTo>
                    <a:cubicBezTo>
                      <a:pt x="5832" y="7171"/>
                      <a:pt x="5865" y="7220"/>
                      <a:pt x="5890" y="7234"/>
                    </a:cubicBezTo>
                    <a:cubicBezTo>
                      <a:pt x="5916" y="7248"/>
                      <a:pt x="5937" y="7279"/>
                      <a:pt x="5928" y="7290"/>
                    </a:cubicBezTo>
                    <a:cubicBezTo>
                      <a:pt x="5918" y="7305"/>
                      <a:pt x="5956" y="7356"/>
                      <a:pt x="5954" y="7361"/>
                    </a:cubicBezTo>
                    <a:cubicBezTo>
                      <a:pt x="5951" y="7363"/>
                      <a:pt x="5951" y="7412"/>
                      <a:pt x="5963" y="7417"/>
                    </a:cubicBezTo>
                    <a:cubicBezTo>
                      <a:pt x="5974" y="7422"/>
                      <a:pt x="5972" y="7464"/>
                      <a:pt x="5972" y="7464"/>
                    </a:cubicBezTo>
                    <a:cubicBezTo>
                      <a:pt x="5972" y="7464"/>
                      <a:pt x="5956" y="7473"/>
                      <a:pt x="5956" y="7478"/>
                    </a:cubicBezTo>
                    <a:cubicBezTo>
                      <a:pt x="5956" y="7483"/>
                      <a:pt x="6017" y="7567"/>
                      <a:pt x="6026" y="7553"/>
                    </a:cubicBezTo>
                    <a:cubicBezTo>
                      <a:pt x="6035" y="7539"/>
                      <a:pt x="6087" y="7504"/>
                      <a:pt x="6084" y="7494"/>
                    </a:cubicBezTo>
                    <a:cubicBezTo>
                      <a:pt x="6082" y="7487"/>
                      <a:pt x="6054" y="7447"/>
                      <a:pt x="6073" y="7436"/>
                    </a:cubicBezTo>
                    <a:cubicBezTo>
                      <a:pt x="6092" y="7424"/>
                      <a:pt x="6124" y="7434"/>
                      <a:pt x="6124" y="7426"/>
                    </a:cubicBezTo>
                    <a:cubicBezTo>
                      <a:pt x="6127" y="7417"/>
                      <a:pt x="6141" y="7386"/>
                      <a:pt x="6141" y="7379"/>
                    </a:cubicBezTo>
                    <a:cubicBezTo>
                      <a:pt x="6141" y="7375"/>
                      <a:pt x="6185" y="7302"/>
                      <a:pt x="6209" y="7284"/>
                    </a:cubicBezTo>
                    <a:cubicBezTo>
                      <a:pt x="6230" y="7265"/>
                      <a:pt x="6274" y="7229"/>
                      <a:pt x="6302" y="7229"/>
                    </a:cubicBezTo>
                    <a:cubicBezTo>
                      <a:pt x="6330" y="7229"/>
                      <a:pt x="6354" y="7211"/>
                      <a:pt x="6378" y="7201"/>
                    </a:cubicBezTo>
                    <a:cubicBezTo>
                      <a:pt x="6401" y="7192"/>
                      <a:pt x="6434" y="7124"/>
                      <a:pt x="6443" y="7101"/>
                    </a:cubicBezTo>
                    <a:cubicBezTo>
                      <a:pt x="6455" y="7079"/>
                      <a:pt x="6473" y="7049"/>
                      <a:pt x="6485" y="7026"/>
                    </a:cubicBezTo>
                    <a:cubicBezTo>
                      <a:pt x="6497" y="7002"/>
                      <a:pt x="6557" y="6989"/>
                      <a:pt x="6557" y="6965"/>
                    </a:cubicBezTo>
                    <a:cubicBezTo>
                      <a:pt x="6557" y="6939"/>
                      <a:pt x="6551" y="6885"/>
                      <a:pt x="6557" y="6876"/>
                    </a:cubicBezTo>
                    <a:cubicBezTo>
                      <a:pt x="6565" y="6864"/>
                      <a:pt x="6595" y="6895"/>
                      <a:pt x="6595" y="6913"/>
                    </a:cubicBezTo>
                    <a:cubicBezTo>
                      <a:pt x="6595" y="6930"/>
                      <a:pt x="6626" y="7007"/>
                      <a:pt x="6612" y="7026"/>
                    </a:cubicBezTo>
                    <a:cubicBezTo>
                      <a:pt x="6597" y="7045"/>
                      <a:pt x="6557" y="7035"/>
                      <a:pt x="6560" y="7054"/>
                    </a:cubicBezTo>
                    <a:cubicBezTo>
                      <a:pt x="6560" y="7073"/>
                      <a:pt x="6600" y="7127"/>
                      <a:pt x="6590" y="7143"/>
                    </a:cubicBezTo>
                    <a:cubicBezTo>
                      <a:pt x="6584" y="7159"/>
                      <a:pt x="6445" y="7326"/>
                      <a:pt x="6457" y="7351"/>
                    </a:cubicBezTo>
                    <a:cubicBezTo>
                      <a:pt x="6468" y="7377"/>
                      <a:pt x="6480" y="7536"/>
                      <a:pt x="6455" y="7548"/>
                    </a:cubicBezTo>
                    <a:cubicBezTo>
                      <a:pt x="6431" y="7562"/>
                      <a:pt x="6408" y="7536"/>
                      <a:pt x="6375" y="7551"/>
                    </a:cubicBezTo>
                    <a:cubicBezTo>
                      <a:pt x="6340" y="7565"/>
                      <a:pt x="6305" y="7605"/>
                      <a:pt x="6335" y="7628"/>
                    </a:cubicBezTo>
                    <a:cubicBezTo>
                      <a:pt x="6366" y="7649"/>
                      <a:pt x="6399" y="7665"/>
                      <a:pt x="6401" y="7661"/>
                    </a:cubicBezTo>
                    <a:cubicBezTo>
                      <a:pt x="6403" y="7654"/>
                      <a:pt x="6459" y="7602"/>
                      <a:pt x="6459" y="7602"/>
                    </a:cubicBezTo>
                    <a:cubicBezTo>
                      <a:pt x="6459" y="7602"/>
                      <a:pt x="6459" y="7646"/>
                      <a:pt x="6459" y="7661"/>
                    </a:cubicBezTo>
                    <a:cubicBezTo>
                      <a:pt x="6459" y="7672"/>
                      <a:pt x="6473" y="7710"/>
                      <a:pt x="6497" y="7710"/>
                    </a:cubicBezTo>
                    <a:cubicBezTo>
                      <a:pt x="6520" y="7710"/>
                      <a:pt x="6518" y="7644"/>
                      <a:pt x="6518" y="7607"/>
                    </a:cubicBezTo>
                    <a:cubicBezTo>
                      <a:pt x="6518" y="7569"/>
                      <a:pt x="6565" y="7529"/>
                      <a:pt x="6565" y="7496"/>
                    </a:cubicBezTo>
                    <a:cubicBezTo>
                      <a:pt x="6565" y="7464"/>
                      <a:pt x="6565" y="7422"/>
                      <a:pt x="6579" y="7410"/>
                    </a:cubicBezTo>
                    <a:cubicBezTo>
                      <a:pt x="6590" y="7398"/>
                      <a:pt x="6602" y="7407"/>
                      <a:pt x="6602" y="7377"/>
                    </a:cubicBezTo>
                    <a:cubicBezTo>
                      <a:pt x="6602" y="7349"/>
                      <a:pt x="6623" y="7330"/>
                      <a:pt x="6633" y="7318"/>
                    </a:cubicBezTo>
                    <a:cubicBezTo>
                      <a:pt x="6642" y="7307"/>
                      <a:pt x="6679" y="7361"/>
                      <a:pt x="6679" y="7361"/>
                    </a:cubicBezTo>
                    <a:cubicBezTo>
                      <a:pt x="6679" y="7361"/>
                      <a:pt x="6666" y="7386"/>
                      <a:pt x="6663" y="7412"/>
                    </a:cubicBezTo>
                    <a:cubicBezTo>
                      <a:pt x="6661" y="7438"/>
                      <a:pt x="6691" y="7480"/>
                      <a:pt x="6698" y="7496"/>
                    </a:cubicBezTo>
                    <a:cubicBezTo>
                      <a:pt x="6705" y="7511"/>
                      <a:pt x="6740" y="7527"/>
                      <a:pt x="6738" y="7557"/>
                    </a:cubicBezTo>
                    <a:cubicBezTo>
                      <a:pt x="6738" y="7588"/>
                      <a:pt x="6719" y="7614"/>
                      <a:pt x="6712" y="7616"/>
                    </a:cubicBezTo>
                    <a:cubicBezTo>
                      <a:pt x="6705" y="7621"/>
                      <a:pt x="6710" y="7672"/>
                      <a:pt x="6689" y="7691"/>
                    </a:cubicBezTo>
                    <a:cubicBezTo>
                      <a:pt x="6670" y="7710"/>
                      <a:pt x="6590" y="7738"/>
                      <a:pt x="6605" y="7764"/>
                    </a:cubicBezTo>
                    <a:cubicBezTo>
                      <a:pt x="6618" y="7787"/>
                      <a:pt x="6646" y="7792"/>
                      <a:pt x="6703" y="7785"/>
                    </a:cubicBezTo>
                    <a:cubicBezTo>
                      <a:pt x="6759" y="7775"/>
                      <a:pt x="6726" y="7766"/>
                      <a:pt x="6755" y="7750"/>
                    </a:cubicBezTo>
                    <a:cubicBezTo>
                      <a:pt x="6783" y="7735"/>
                      <a:pt x="6799" y="7710"/>
                      <a:pt x="6844" y="7703"/>
                    </a:cubicBezTo>
                    <a:cubicBezTo>
                      <a:pt x="6885" y="7694"/>
                      <a:pt x="6942" y="7658"/>
                      <a:pt x="6916" y="7694"/>
                    </a:cubicBezTo>
                    <a:cubicBezTo>
                      <a:pt x="6893" y="7729"/>
                      <a:pt x="6879" y="7761"/>
                      <a:pt x="6883" y="7799"/>
                    </a:cubicBezTo>
                    <a:cubicBezTo>
                      <a:pt x="6888" y="7836"/>
                      <a:pt x="6907" y="7846"/>
                      <a:pt x="6928" y="7867"/>
                    </a:cubicBezTo>
                    <a:cubicBezTo>
                      <a:pt x="6949" y="7888"/>
                      <a:pt x="6979" y="7949"/>
                      <a:pt x="6984" y="7974"/>
                    </a:cubicBezTo>
                    <a:cubicBezTo>
                      <a:pt x="6989" y="8000"/>
                      <a:pt x="7040" y="8122"/>
                      <a:pt x="7014" y="8143"/>
                    </a:cubicBezTo>
                    <a:cubicBezTo>
                      <a:pt x="6991" y="8167"/>
                      <a:pt x="6961" y="8192"/>
                      <a:pt x="6961" y="8197"/>
                    </a:cubicBezTo>
                    <a:cubicBezTo>
                      <a:pt x="6961" y="8204"/>
                      <a:pt x="6944" y="8270"/>
                      <a:pt x="7063" y="8373"/>
                    </a:cubicBezTo>
                    <a:cubicBezTo>
                      <a:pt x="7164" y="8506"/>
                      <a:pt x="7183" y="8537"/>
                      <a:pt x="7183" y="8537"/>
                    </a:cubicBezTo>
                    <a:cubicBezTo>
                      <a:pt x="7286" y="8532"/>
                      <a:pt x="7286" y="8532"/>
                      <a:pt x="7286" y="8532"/>
                    </a:cubicBezTo>
                    <a:cubicBezTo>
                      <a:pt x="7286" y="8532"/>
                      <a:pt x="7340" y="8628"/>
                      <a:pt x="7347" y="8633"/>
                    </a:cubicBezTo>
                    <a:cubicBezTo>
                      <a:pt x="7356" y="8635"/>
                      <a:pt x="7368" y="8656"/>
                      <a:pt x="7385" y="8654"/>
                    </a:cubicBezTo>
                    <a:cubicBezTo>
                      <a:pt x="7401" y="8651"/>
                      <a:pt x="7408" y="8569"/>
                      <a:pt x="7436" y="8577"/>
                    </a:cubicBezTo>
                    <a:cubicBezTo>
                      <a:pt x="7467" y="8586"/>
                      <a:pt x="7525" y="8651"/>
                      <a:pt x="7534" y="8651"/>
                    </a:cubicBezTo>
                    <a:cubicBezTo>
                      <a:pt x="7544" y="8651"/>
                      <a:pt x="7621" y="8649"/>
                      <a:pt x="7625" y="8651"/>
                    </a:cubicBezTo>
                    <a:cubicBezTo>
                      <a:pt x="7630" y="8651"/>
                      <a:pt x="7724" y="8771"/>
                      <a:pt x="7736" y="8771"/>
                    </a:cubicBezTo>
                    <a:cubicBezTo>
                      <a:pt x="7750" y="8768"/>
                      <a:pt x="7836" y="8795"/>
                      <a:pt x="7836" y="8792"/>
                    </a:cubicBezTo>
                    <a:cubicBezTo>
                      <a:pt x="7839" y="8787"/>
                      <a:pt x="7843" y="8752"/>
                      <a:pt x="7876" y="8752"/>
                    </a:cubicBezTo>
                    <a:cubicBezTo>
                      <a:pt x="7907" y="8750"/>
                      <a:pt x="7940" y="8783"/>
                      <a:pt x="7953" y="8771"/>
                    </a:cubicBezTo>
                    <a:cubicBezTo>
                      <a:pt x="7968" y="8762"/>
                      <a:pt x="7996" y="8706"/>
                      <a:pt x="8029" y="8687"/>
                    </a:cubicBezTo>
                    <a:cubicBezTo>
                      <a:pt x="8064" y="8666"/>
                      <a:pt x="8094" y="8670"/>
                      <a:pt x="8110" y="8661"/>
                    </a:cubicBezTo>
                    <a:cubicBezTo>
                      <a:pt x="8129" y="8651"/>
                      <a:pt x="8148" y="8630"/>
                      <a:pt x="8143" y="8628"/>
                    </a:cubicBezTo>
                    <a:cubicBezTo>
                      <a:pt x="8141" y="8626"/>
                      <a:pt x="8092" y="8614"/>
                      <a:pt x="8090" y="8605"/>
                    </a:cubicBezTo>
                    <a:cubicBezTo>
                      <a:pt x="8087" y="8595"/>
                      <a:pt x="8097" y="8553"/>
                      <a:pt x="8136" y="8541"/>
                    </a:cubicBezTo>
                    <a:cubicBezTo>
                      <a:pt x="8179" y="8530"/>
                      <a:pt x="8242" y="8539"/>
                      <a:pt x="8242" y="8556"/>
                    </a:cubicBezTo>
                    <a:cubicBezTo>
                      <a:pt x="8242" y="8572"/>
                      <a:pt x="8281" y="8626"/>
                      <a:pt x="8246" y="8642"/>
                    </a:cubicBezTo>
                    <a:cubicBezTo>
                      <a:pt x="8211" y="8658"/>
                      <a:pt x="8153" y="8698"/>
                      <a:pt x="8164" y="8706"/>
                    </a:cubicBezTo>
                    <a:cubicBezTo>
                      <a:pt x="8176" y="8715"/>
                      <a:pt x="8211" y="8740"/>
                      <a:pt x="8225" y="8734"/>
                    </a:cubicBezTo>
                    <a:cubicBezTo>
                      <a:pt x="8237" y="8727"/>
                      <a:pt x="8279" y="8651"/>
                      <a:pt x="8303" y="8661"/>
                    </a:cubicBezTo>
                    <a:cubicBezTo>
                      <a:pt x="8326" y="8670"/>
                      <a:pt x="8349" y="8691"/>
                      <a:pt x="8321" y="8715"/>
                    </a:cubicBezTo>
                    <a:cubicBezTo>
                      <a:pt x="8293" y="8738"/>
                      <a:pt x="8263" y="8757"/>
                      <a:pt x="8281" y="8767"/>
                    </a:cubicBezTo>
                    <a:cubicBezTo>
                      <a:pt x="8300" y="8776"/>
                      <a:pt x="8342" y="8808"/>
                      <a:pt x="8342" y="8808"/>
                    </a:cubicBezTo>
                    <a:cubicBezTo>
                      <a:pt x="8370" y="8804"/>
                      <a:pt x="8370" y="8804"/>
                      <a:pt x="8370" y="8804"/>
                    </a:cubicBezTo>
                    <a:cubicBezTo>
                      <a:pt x="8370" y="8804"/>
                      <a:pt x="8382" y="8888"/>
                      <a:pt x="8413" y="8879"/>
                    </a:cubicBezTo>
                    <a:cubicBezTo>
                      <a:pt x="8445" y="8872"/>
                      <a:pt x="8441" y="8827"/>
                      <a:pt x="8495" y="8829"/>
                    </a:cubicBezTo>
                    <a:cubicBezTo>
                      <a:pt x="8548" y="8832"/>
                      <a:pt x="8553" y="8856"/>
                      <a:pt x="8574" y="8851"/>
                    </a:cubicBezTo>
                    <a:cubicBezTo>
                      <a:pt x="8598" y="8848"/>
                      <a:pt x="8661" y="8816"/>
                      <a:pt x="8668" y="8808"/>
                    </a:cubicBezTo>
                    <a:cubicBezTo>
                      <a:pt x="8675" y="8801"/>
                      <a:pt x="8846" y="8649"/>
                      <a:pt x="8890" y="8640"/>
                    </a:cubicBezTo>
                    <a:cubicBezTo>
                      <a:pt x="8932" y="8630"/>
                      <a:pt x="9021" y="8600"/>
                      <a:pt x="9021" y="8600"/>
                    </a:cubicBezTo>
                    <a:cubicBezTo>
                      <a:pt x="9021" y="8600"/>
                      <a:pt x="9068" y="8628"/>
                      <a:pt x="9076" y="8628"/>
                    </a:cubicBezTo>
                    <a:cubicBezTo>
                      <a:pt x="9080" y="8626"/>
                      <a:pt x="9251" y="8656"/>
                      <a:pt x="9275" y="8638"/>
                    </a:cubicBezTo>
                    <a:cubicBezTo>
                      <a:pt x="9300" y="8621"/>
                      <a:pt x="9356" y="8593"/>
                      <a:pt x="9356" y="8593"/>
                    </a:cubicBezTo>
                    <a:cubicBezTo>
                      <a:pt x="9422" y="8590"/>
                      <a:pt x="9422" y="8590"/>
                      <a:pt x="9422" y="8590"/>
                    </a:cubicBezTo>
                    <a:cubicBezTo>
                      <a:pt x="9422" y="8590"/>
                      <a:pt x="9445" y="8497"/>
                      <a:pt x="9436" y="8480"/>
                    </a:cubicBezTo>
                    <a:cubicBezTo>
                      <a:pt x="9427" y="8462"/>
                      <a:pt x="9410" y="8445"/>
                      <a:pt x="9410" y="8422"/>
                    </a:cubicBezTo>
                    <a:cubicBezTo>
                      <a:pt x="9410" y="8396"/>
                      <a:pt x="9471" y="8277"/>
                      <a:pt x="9481" y="8253"/>
                    </a:cubicBezTo>
                    <a:cubicBezTo>
                      <a:pt x="9488" y="8228"/>
                      <a:pt x="9504" y="8185"/>
                      <a:pt x="9504" y="8136"/>
                    </a:cubicBezTo>
                    <a:cubicBezTo>
                      <a:pt x="9504" y="8089"/>
                      <a:pt x="9574" y="8014"/>
                      <a:pt x="9605" y="7977"/>
                    </a:cubicBezTo>
                    <a:cubicBezTo>
                      <a:pt x="9635" y="7942"/>
                      <a:pt x="9659" y="7909"/>
                      <a:pt x="9659" y="7909"/>
                    </a:cubicBezTo>
                    <a:cubicBezTo>
                      <a:pt x="9701" y="7909"/>
                      <a:pt x="9701" y="7909"/>
                      <a:pt x="9701" y="7909"/>
                    </a:cubicBezTo>
                    <a:cubicBezTo>
                      <a:pt x="9720" y="7878"/>
                      <a:pt x="9720" y="7878"/>
                      <a:pt x="9720" y="7878"/>
                    </a:cubicBezTo>
                    <a:cubicBezTo>
                      <a:pt x="9720" y="7878"/>
                      <a:pt x="9691" y="7834"/>
                      <a:pt x="9696" y="7827"/>
                    </a:cubicBezTo>
                    <a:cubicBezTo>
                      <a:pt x="9701" y="7818"/>
                      <a:pt x="9733" y="7799"/>
                      <a:pt x="9743" y="7773"/>
                    </a:cubicBezTo>
                    <a:cubicBezTo>
                      <a:pt x="9750" y="7750"/>
                      <a:pt x="9748" y="7705"/>
                      <a:pt x="9755" y="7691"/>
                    </a:cubicBezTo>
                    <a:cubicBezTo>
                      <a:pt x="9759" y="7677"/>
                      <a:pt x="9799" y="7649"/>
                      <a:pt x="9813" y="7633"/>
                    </a:cubicBezTo>
                    <a:cubicBezTo>
                      <a:pt x="9830" y="7614"/>
                      <a:pt x="9850" y="7583"/>
                      <a:pt x="9858" y="7555"/>
                    </a:cubicBezTo>
                    <a:cubicBezTo>
                      <a:pt x="9867" y="7527"/>
                      <a:pt x="9881" y="7468"/>
                      <a:pt x="9898" y="7452"/>
                    </a:cubicBezTo>
                    <a:cubicBezTo>
                      <a:pt x="9911" y="7436"/>
                      <a:pt x="10036" y="7290"/>
                      <a:pt x="10036" y="7290"/>
                    </a:cubicBezTo>
                    <a:cubicBezTo>
                      <a:pt x="10036" y="7290"/>
                      <a:pt x="10085" y="7277"/>
                      <a:pt x="10092" y="7272"/>
                    </a:cubicBezTo>
                    <a:cubicBezTo>
                      <a:pt x="10099" y="7267"/>
                      <a:pt x="10141" y="7229"/>
                      <a:pt x="10141" y="7229"/>
                    </a:cubicBezTo>
                    <a:cubicBezTo>
                      <a:pt x="10141" y="7229"/>
                      <a:pt x="10188" y="7206"/>
                      <a:pt x="10188" y="7197"/>
                    </a:cubicBezTo>
                    <a:cubicBezTo>
                      <a:pt x="10188" y="7190"/>
                      <a:pt x="10188" y="7159"/>
                      <a:pt x="10188" y="7159"/>
                    </a:cubicBezTo>
                    <a:cubicBezTo>
                      <a:pt x="10242" y="7150"/>
                      <a:pt x="10242" y="7150"/>
                      <a:pt x="10242" y="7150"/>
                    </a:cubicBezTo>
                    <a:cubicBezTo>
                      <a:pt x="10242" y="7150"/>
                      <a:pt x="10258" y="7070"/>
                      <a:pt x="10261" y="7063"/>
                    </a:cubicBezTo>
                    <a:cubicBezTo>
                      <a:pt x="10265" y="7056"/>
                      <a:pt x="10371" y="6937"/>
                      <a:pt x="10375" y="6918"/>
                    </a:cubicBezTo>
                    <a:cubicBezTo>
                      <a:pt x="10382" y="6897"/>
                      <a:pt x="10424" y="6789"/>
                      <a:pt x="10448" y="6766"/>
                    </a:cubicBezTo>
                    <a:cubicBezTo>
                      <a:pt x="10471" y="6742"/>
                      <a:pt x="10427" y="6698"/>
                      <a:pt x="10436" y="6670"/>
                    </a:cubicBezTo>
                    <a:cubicBezTo>
                      <a:pt x="10448" y="6639"/>
                      <a:pt x="10556" y="6431"/>
                      <a:pt x="10556" y="6428"/>
                    </a:cubicBezTo>
                    <a:cubicBezTo>
                      <a:pt x="10556" y="6424"/>
                      <a:pt x="10572" y="6307"/>
                      <a:pt x="10591" y="6278"/>
                    </a:cubicBezTo>
                    <a:cubicBezTo>
                      <a:pt x="10610" y="6250"/>
                      <a:pt x="10673" y="6178"/>
                      <a:pt x="10675" y="6173"/>
                    </a:cubicBezTo>
                    <a:cubicBezTo>
                      <a:pt x="10675" y="6171"/>
                      <a:pt x="10680" y="6094"/>
                      <a:pt x="10675" y="6065"/>
                    </a:cubicBezTo>
                    <a:cubicBezTo>
                      <a:pt x="10670" y="6037"/>
                      <a:pt x="10684" y="6016"/>
                      <a:pt x="10687" y="5997"/>
                    </a:cubicBezTo>
                    <a:cubicBezTo>
                      <a:pt x="10689" y="5981"/>
                      <a:pt x="10670" y="5932"/>
                      <a:pt x="10668" y="5913"/>
                    </a:cubicBezTo>
                    <a:cubicBezTo>
                      <a:pt x="10668" y="5892"/>
                      <a:pt x="10677" y="5845"/>
                      <a:pt x="10684" y="5829"/>
                    </a:cubicBezTo>
                    <a:close/>
                    <a:moveTo>
                      <a:pt x="6157" y="6742"/>
                    </a:moveTo>
                    <a:cubicBezTo>
                      <a:pt x="6148" y="6747"/>
                      <a:pt x="6143" y="6710"/>
                      <a:pt x="6129" y="6710"/>
                    </a:cubicBezTo>
                    <a:cubicBezTo>
                      <a:pt x="6117" y="6710"/>
                      <a:pt x="6106" y="6808"/>
                      <a:pt x="6106" y="6808"/>
                    </a:cubicBezTo>
                    <a:cubicBezTo>
                      <a:pt x="6106" y="6808"/>
                      <a:pt x="6106" y="6808"/>
                      <a:pt x="6073" y="6808"/>
                    </a:cubicBezTo>
                    <a:cubicBezTo>
                      <a:pt x="6043" y="6808"/>
                      <a:pt x="6073" y="6766"/>
                      <a:pt x="6078" y="6731"/>
                    </a:cubicBezTo>
                    <a:cubicBezTo>
                      <a:pt x="6080" y="6695"/>
                      <a:pt x="6136" y="6665"/>
                      <a:pt x="6136" y="6665"/>
                    </a:cubicBezTo>
                    <a:cubicBezTo>
                      <a:pt x="6136" y="6665"/>
                      <a:pt x="6096" y="6611"/>
                      <a:pt x="6068" y="6597"/>
                    </a:cubicBezTo>
                    <a:cubicBezTo>
                      <a:pt x="6040" y="6581"/>
                      <a:pt x="6068" y="6552"/>
                      <a:pt x="6068" y="6552"/>
                    </a:cubicBezTo>
                    <a:cubicBezTo>
                      <a:pt x="6014" y="6550"/>
                      <a:pt x="6014" y="6550"/>
                      <a:pt x="6014" y="6550"/>
                    </a:cubicBezTo>
                    <a:cubicBezTo>
                      <a:pt x="6031" y="6487"/>
                      <a:pt x="6031" y="6487"/>
                      <a:pt x="6031" y="6487"/>
                    </a:cubicBezTo>
                    <a:cubicBezTo>
                      <a:pt x="6031" y="6487"/>
                      <a:pt x="5984" y="6445"/>
                      <a:pt x="5937" y="6419"/>
                    </a:cubicBezTo>
                    <a:cubicBezTo>
                      <a:pt x="5890" y="6393"/>
                      <a:pt x="5902" y="6496"/>
                      <a:pt x="5902" y="6496"/>
                    </a:cubicBezTo>
                    <a:cubicBezTo>
                      <a:pt x="5951" y="6503"/>
                      <a:pt x="5951" y="6503"/>
                      <a:pt x="5951" y="6503"/>
                    </a:cubicBezTo>
                    <a:cubicBezTo>
                      <a:pt x="5974" y="6562"/>
                      <a:pt x="5974" y="6562"/>
                      <a:pt x="5974" y="6562"/>
                    </a:cubicBezTo>
                    <a:cubicBezTo>
                      <a:pt x="5928" y="6555"/>
                      <a:pt x="5928" y="6555"/>
                      <a:pt x="5928" y="6555"/>
                    </a:cubicBezTo>
                    <a:cubicBezTo>
                      <a:pt x="5888" y="6522"/>
                      <a:pt x="5888" y="6522"/>
                      <a:pt x="5888" y="6522"/>
                    </a:cubicBezTo>
                    <a:cubicBezTo>
                      <a:pt x="5888" y="6522"/>
                      <a:pt x="5862" y="6581"/>
                      <a:pt x="5850" y="6581"/>
                    </a:cubicBezTo>
                    <a:cubicBezTo>
                      <a:pt x="5836" y="6581"/>
                      <a:pt x="5825" y="6522"/>
                      <a:pt x="5825" y="6522"/>
                    </a:cubicBezTo>
                    <a:cubicBezTo>
                      <a:pt x="5806" y="6494"/>
                      <a:pt x="5806" y="6494"/>
                      <a:pt x="5806" y="6494"/>
                    </a:cubicBezTo>
                    <a:cubicBezTo>
                      <a:pt x="5844" y="6508"/>
                      <a:pt x="5844" y="6508"/>
                      <a:pt x="5844" y="6508"/>
                    </a:cubicBezTo>
                    <a:cubicBezTo>
                      <a:pt x="5844" y="6508"/>
                      <a:pt x="5862" y="6485"/>
                      <a:pt x="5872" y="6473"/>
                    </a:cubicBezTo>
                    <a:cubicBezTo>
                      <a:pt x="5881" y="6459"/>
                      <a:pt x="5897" y="6365"/>
                      <a:pt x="5897" y="6365"/>
                    </a:cubicBezTo>
                    <a:cubicBezTo>
                      <a:pt x="5897" y="6365"/>
                      <a:pt x="5939" y="6365"/>
                      <a:pt x="5958" y="6370"/>
                    </a:cubicBezTo>
                    <a:cubicBezTo>
                      <a:pt x="5977" y="6372"/>
                      <a:pt x="6045" y="6447"/>
                      <a:pt x="6045" y="6447"/>
                    </a:cubicBezTo>
                    <a:cubicBezTo>
                      <a:pt x="6045" y="6447"/>
                      <a:pt x="6143" y="6440"/>
                      <a:pt x="6152" y="6445"/>
                    </a:cubicBezTo>
                    <a:cubicBezTo>
                      <a:pt x="6162" y="6447"/>
                      <a:pt x="6145" y="6503"/>
                      <a:pt x="6148" y="6513"/>
                    </a:cubicBezTo>
                    <a:cubicBezTo>
                      <a:pt x="6152" y="6522"/>
                      <a:pt x="6164" y="6545"/>
                      <a:pt x="6176" y="6572"/>
                    </a:cubicBezTo>
                    <a:cubicBezTo>
                      <a:pt x="6190" y="6597"/>
                      <a:pt x="6171" y="6611"/>
                      <a:pt x="6171" y="6611"/>
                    </a:cubicBezTo>
                    <a:cubicBezTo>
                      <a:pt x="6171" y="6611"/>
                      <a:pt x="6195" y="6649"/>
                      <a:pt x="6201" y="6674"/>
                    </a:cubicBezTo>
                    <a:cubicBezTo>
                      <a:pt x="6209" y="6700"/>
                      <a:pt x="6167" y="6740"/>
                      <a:pt x="6157" y="6742"/>
                    </a:cubicBezTo>
                    <a:close/>
                    <a:moveTo>
                      <a:pt x="6347" y="5625"/>
                    </a:moveTo>
                    <a:cubicBezTo>
                      <a:pt x="6347" y="5625"/>
                      <a:pt x="6375" y="5608"/>
                      <a:pt x="6389" y="5580"/>
                    </a:cubicBezTo>
                    <a:cubicBezTo>
                      <a:pt x="6401" y="5552"/>
                      <a:pt x="6347" y="5496"/>
                      <a:pt x="6347" y="5496"/>
                    </a:cubicBezTo>
                    <a:cubicBezTo>
                      <a:pt x="6382" y="5449"/>
                      <a:pt x="6382" y="5449"/>
                      <a:pt x="6382" y="5449"/>
                    </a:cubicBezTo>
                    <a:cubicBezTo>
                      <a:pt x="6384" y="5482"/>
                      <a:pt x="6384" y="5482"/>
                      <a:pt x="6384" y="5482"/>
                    </a:cubicBezTo>
                    <a:cubicBezTo>
                      <a:pt x="6384" y="5482"/>
                      <a:pt x="6403" y="5475"/>
                      <a:pt x="6431" y="5463"/>
                    </a:cubicBezTo>
                    <a:cubicBezTo>
                      <a:pt x="6459" y="5449"/>
                      <a:pt x="6523" y="5540"/>
                      <a:pt x="6544" y="5550"/>
                    </a:cubicBezTo>
                    <a:cubicBezTo>
                      <a:pt x="6565" y="5559"/>
                      <a:pt x="6569" y="5569"/>
                      <a:pt x="6590" y="5611"/>
                    </a:cubicBezTo>
                    <a:cubicBezTo>
                      <a:pt x="6612" y="5656"/>
                      <a:pt x="6548" y="5656"/>
                      <a:pt x="6541" y="5665"/>
                    </a:cubicBezTo>
                    <a:cubicBezTo>
                      <a:pt x="6534" y="5674"/>
                      <a:pt x="6569" y="5705"/>
                      <a:pt x="6590" y="5742"/>
                    </a:cubicBezTo>
                    <a:cubicBezTo>
                      <a:pt x="6612" y="5779"/>
                      <a:pt x="6649" y="5834"/>
                      <a:pt x="6649" y="5834"/>
                    </a:cubicBezTo>
                    <a:cubicBezTo>
                      <a:pt x="6597" y="5807"/>
                      <a:pt x="6597" y="5807"/>
                      <a:pt x="6597" y="5807"/>
                    </a:cubicBezTo>
                    <a:cubicBezTo>
                      <a:pt x="6529" y="5812"/>
                      <a:pt x="6529" y="5812"/>
                      <a:pt x="6529" y="5812"/>
                    </a:cubicBezTo>
                    <a:cubicBezTo>
                      <a:pt x="6511" y="5770"/>
                      <a:pt x="6511" y="5770"/>
                      <a:pt x="6511" y="5770"/>
                    </a:cubicBezTo>
                    <a:cubicBezTo>
                      <a:pt x="6488" y="5803"/>
                      <a:pt x="6488" y="5803"/>
                      <a:pt x="6488" y="5803"/>
                    </a:cubicBezTo>
                    <a:cubicBezTo>
                      <a:pt x="6445" y="5742"/>
                      <a:pt x="6445" y="5742"/>
                      <a:pt x="6445" y="5742"/>
                    </a:cubicBezTo>
                    <a:cubicBezTo>
                      <a:pt x="6445" y="5742"/>
                      <a:pt x="6464" y="5794"/>
                      <a:pt x="6403" y="5812"/>
                    </a:cubicBezTo>
                    <a:cubicBezTo>
                      <a:pt x="6345" y="5831"/>
                      <a:pt x="6347" y="5625"/>
                      <a:pt x="6347" y="5625"/>
                    </a:cubicBezTo>
                    <a:close/>
                    <a:moveTo>
                      <a:pt x="6450" y="5876"/>
                    </a:moveTo>
                    <a:cubicBezTo>
                      <a:pt x="6483" y="5871"/>
                      <a:pt x="6529" y="5862"/>
                      <a:pt x="6529" y="5862"/>
                    </a:cubicBezTo>
                    <a:cubicBezTo>
                      <a:pt x="6529" y="5862"/>
                      <a:pt x="6560" y="5824"/>
                      <a:pt x="6565" y="5843"/>
                    </a:cubicBezTo>
                    <a:cubicBezTo>
                      <a:pt x="6572" y="5862"/>
                      <a:pt x="6565" y="5913"/>
                      <a:pt x="6565" y="5913"/>
                    </a:cubicBezTo>
                    <a:cubicBezTo>
                      <a:pt x="6523" y="5894"/>
                      <a:pt x="6523" y="5894"/>
                      <a:pt x="6523" y="5894"/>
                    </a:cubicBezTo>
                    <a:cubicBezTo>
                      <a:pt x="6523" y="5894"/>
                      <a:pt x="6520" y="5929"/>
                      <a:pt x="6485" y="5936"/>
                    </a:cubicBezTo>
                    <a:cubicBezTo>
                      <a:pt x="6450" y="5941"/>
                      <a:pt x="6410" y="5923"/>
                      <a:pt x="6410" y="5923"/>
                    </a:cubicBezTo>
                    <a:cubicBezTo>
                      <a:pt x="6410" y="5923"/>
                      <a:pt x="6419" y="5883"/>
                      <a:pt x="6450" y="5876"/>
                    </a:cubicBezTo>
                    <a:close/>
                    <a:moveTo>
                      <a:pt x="6581" y="6609"/>
                    </a:moveTo>
                    <a:cubicBezTo>
                      <a:pt x="6581" y="6609"/>
                      <a:pt x="6565" y="6653"/>
                      <a:pt x="6551" y="6653"/>
                    </a:cubicBezTo>
                    <a:cubicBezTo>
                      <a:pt x="6534" y="6653"/>
                      <a:pt x="6506" y="6621"/>
                      <a:pt x="6506" y="6621"/>
                    </a:cubicBezTo>
                    <a:cubicBezTo>
                      <a:pt x="6560" y="6581"/>
                      <a:pt x="6560" y="6581"/>
                      <a:pt x="6560" y="6581"/>
                    </a:cubicBezTo>
                    <a:cubicBezTo>
                      <a:pt x="6548" y="6478"/>
                      <a:pt x="6548" y="6478"/>
                      <a:pt x="6548" y="6478"/>
                    </a:cubicBezTo>
                    <a:cubicBezTo>
                      <a:pt x="6497" y="6431"/>
                      <a:pt x="6497" y="6431"/>
                      <a:pt x="6497" y="6431"/>
                    </a:cubicBezTo>
                    <a:cubicBezTo>
                      <a:pt x="6548" y="6412"/>
                      <a:pt x="6548" y="6412"/>
                      <a:pt x="6548" y="6412"/>
                    </a:cubicBezTo>
                    <a:cubicBezTo>
                      <a:pt x="6523" y="6307"/>
                      <a:pt x="6523" y="6307"/>
                      <a:pt x="6523" y="6307"/>
                    </a:cubicBezTo>
                    <a:cubicBezTo>
                      <a:pt x="6476" y="6285"/>
                      <a:pt x="6476" y="6285"/>
                      <a:pt x="6476" y="6285"/>
                    </a:cubicBezTo>
                    <a:cubicBezTo>
                      <a:pt x="6476" y="6285"/>
                      <a:pt x="6468" y="6234"/>
                      <a:pt x="6468" y="6213"/>
                    </a:cubicBezTo>
                    <a:cubicBezTo>
                      <a:pt x="6468" y="6192"/>
                      <a:pt x="6440" y="6173"/>
                      <a:pt x="6440" y="6173"/>
                    </a:cubicBezTo>
                    <a:cubicBezTo>
                      <a:pt x="6445" y="6147"/>
                      <a:pt x="6445" y="6147"/>
                      <a:pt x="6445" y="6147"/>
                    </a:cubicBezTo>
                    <a:cubicBezTo>
                      <a:pt x="6476" y="6145"/>
                      <a:pt x="6525" y="6232"/>
                      <a:pt x="6525" y="6232"/>
                    </a:cubicBezTo>
                    <a:cubicBezTo>
                      <a:pt x="6607" y="6260"/>
                      <a:pt x="6607" y="6260"/>
                      <a:pt x="6607" y="6260"/>
                    </a:cubicBezTo>
                    <a:cubicBezTo>
                      <a:pt x="6600" y="6285"/>
                      <a:pt x="6600" y="6285"/>
                      <a:pt x="6600" y="6285"/>
                    </a:cubicBezTo>
                    <a:cubicBezTo>
                      <a:pt x="6600" y="6285"/>
                      <a:pt x="6640" y="6363"/>
                      <a:pt x="6646" y="6389"/>
                    </a:cubicBezTo>
                    <a:cubicBezTo>
                      <a:pt x="6654" y="6412"/>
                      <a:pt x="6663" y="6463"/>
                      <a:pt x="6663" y="6513"/>
                    </a:cubicBezTo>
                    <a:cubicBezTo>
                      <a:pt x="6663" y="6562"/>
                      <a:pt x="6581" y="6609"/>
                      <a:pt x="6581" y="6609"/>
                    </a:cubicBezTo>
                    <a:close/>
                    <a:moveTo>
                      <a:pt x="7129" y="6323"/>
                    </a:moveTo>
                    <a:cubicBezTo>
                      <a:pt x="7111" y="6346"/>
                      <a:pt x="7129" y="6346"/>
                      <a:pt x="7129" y="6389"/>
                    </a:cubicBezTo>
                    <a:cubicBezTo>
                      <a:pt x="7129" y="6428"/>
                      <a:pt x="7091" y="6454"/>
                      <a:pt x="7091" y="6454"/>
                    </a:cubicBezTo>
                    <a:cubicBezTo>
                      <a:pt x="7090" y="6435"/>
                      <a:pt x="7090" y="6435"/>
                      <a:pt x="7090" y="6435"/>
                    </a:cubicBezTo>
                    <a:cubicBezTo>
                      <a:pt x="7052" y="6412"/>
                      <a:pt x="7052" y="6412"/>
                      <a:pt x="7052" y="6412"/>
                    </a:cubicBezTo>
                    <a:cubicBezTo>
                      <a:pt x="7017" y="6372"/>
                      <a:pt x="7017" y="6372"/>
                      <a:pt x="7017" y="6372"/>
                    </a:cubicBezTo>
                    <a:cubicBezTo>
                      <a:pt x="7035" y="6333"/>
                      <a:pt x="7134" y="6196"/>
                      <a:pt x="7143" y="6196"/>
                    </a:cubicBezTo>
                    <a:cubicBezTo>
                      <a:pt x="7152" y="6196"/>
                      <a:pt x="7136" y="6213"/>
                      <a:pt x="7155" y="6229"/>
                    </a:cubicBezTo>
                    <a:cubicBezTo>
                      <a:pt x="7174" y="6244"/>
                      <a:pt x="7148" y="6297"/>
                      <a:pt x="7129" y="6323"/>
                    </a:cubicBezTo>
                    <a:close/>
                    <a:moveTo>
                      <a:pt x="359" y="6147"/>
                    </a:moveTo>
                    <a:cubicBezTo>
                      <a:pt x="398" y="6117"/>
                      <a:pt x="398" y="6117"/>
                      <a:pt x="398" y="6117"/>
                    </a:cubicBezTo>
                    <a:cubicBezTo>
                      <a:pt x="377" y="6079"/>
                      <a:pt x="377" y="6079"/>
                      <a:pt x="377" y="6079"/>
                    </a:cubicBezTo>
                    <a:lnTo>
                      <a:pt x="359" y="6147"/>
                    </a:lnTo>
                    <a:close/>
                    <a:moveTo>
                      <a:pt x="424" y="6147"/>
                    </a:moveTo>
                    <a:cubicBezTo>
                      <a:pt x="400" y="6166"/>
                      <a:pt x="400" y="6166"/>
                      <a:pt x="400" y="6166"/>
                    </a:cubicBezTo>
                    <a:cubicBezTo>
                      <a:pt x="426" y="6187"/>
                      <a:pt x="426" y="6187"/>
                      <a:pt x="426" y="6187"/>
                    </a:cubicBezTo>
                    <a:cubicBezTo>
                      <a:pt x="426" y="6222"/>
                      <a:pt x="426" y="6222"/>
                      <a:pt x="426" y="6222"/>
                    </a:cubicBezTo>
                    <a:cubicBezTo>
                      <a:pt x="478" y="6206"/>
                      <a:pt x="478" y="6206"/>
                      <a:pt x="478" y="6206"/>
                    </a:cubicBezTo>
                    <a:cubicBezTo>
                      <a:pt x="448" y="6175"/>
                      <a:pt x="448" y="6175"/>
                      <a:pt x="448" y="6175"/>
                    </a:cubicBezTo>
                    <a:lnTo>
                      <a:pt x="424" y="6147"/>
                    </a:lnTo>
                    <a:close/>
                    <a:moveTo>
                      <a:pt x="227" y="5276"/>
                    </a:moveTo>
                    <a:cubicBezTo>
                      <a:pt x="145" y="5203"/>
                      <a:pt x="145" y="5203"/>
                      <a:pt x="145" y="5203"/>
                    </a:cubicBezTo>
                    <a:cubicBezTo>
                      <a:pt x="124" y="5239"/>
                      <a:pt x="124" y="5239"/>
                      <a:pt x="124" y="5239"/>
                    </a:cubicBezTo>
                    <a:cubicBezTo>
                      <a:pt x="218" y="5370"/>
                      <a:pt x="218" y="5370"/>
                      <a:pt x="218" y="5370"/>
                    </a:cubicBezTo>
                    <a:lnTo>
                      <a:pt x="227" y="5276"/>
                    </a:lnTo>
                    <a:close/>
                    <a:moveTo>
                      <a:pt x="12" y="5269"/>
                    </a:moveTo>
                    <a:cubicBezTo>
                      <a:pt x="23" y="5290"/>
                      <a:pt x="68" y="5337"/>
                      <a:pt x="68" y="5337"/>
                    </a:cubicBezTo>
                    <a:cubicBezTo>
                      <a:pt x="4" y="5203"/>
                      <a:pt x="4" y="5203"/>
                      <a:pt x="4" y="5203"/>
                    </a:cubicBezTo>
                    <a:cubicBezTo>
                      <a:pt x="4" y="5203"/>
                      <a:pt x="0" y="5248"/>
                      <a:pt x="12" y="5269"/>
                    </a:cubicBezTo>
                    <a:close/>
                    <a:moveTo>
                      <a:pt x="133" y="5346"/>
                    </a:moveTo>
                    <a:cubicBezTo>
                      <a:pt x="93" y="5328"/>
                      <a:pt x="96" y="5360"/>
                      <a:pt x="96" y="5360"/>
                    </a:cubicBezTo>
                    <a:cubicBezTo>
                      <a:pt x="96" y="5402"/>
                      <a:pt x="96" y="5402"/>
                      <a:pt x="96" y="5402"/>
                    </a:cubicBezTo>
                    <a:cubicBezTo>
                      <a:pt x="138" y="5410"/>
                      <a:pt x="138" y="5410"/>
                      <a:pt x="138" y="5410"/>
                    </a:cubicBezTo>
                    <a:cubicBezTo>
                      <a:pt x="138" y="5449"/>
                      <a:pt x="138" y="5449"/>
                      <a:pt x="138" y="5449"/>
                    </a:cubicBezTo>
                    <a:cubicBezTo>
                      <a:pt x="190" y="5506"/>
                      <a:pt x="190" y="5506"/>
                      <a:pt x="190" y="5506"/>
                    </a:cubicBezTo>
                    <a:cubicBezTo>
                      <a:pt x="222" y="5473"/>
                      <a:pt x="222" y="5473"/>
                      <a:pt x="222" y="5473"/>
                    </a:cubicBezTo>
                    <a:cubicBezTo>
                      <a:pt x="222" y="5473"/>
                      <a:pt x="173" y="5365"/>
                      <a:pt x="133" y="5346"/>
                    </a:cubicBezTo>
                    <a:close/>
                    <a:moveTo>
                      <a:pt x="464" y="3695"/>
                    </a:moveTo>
                    <a:cubicBezTo>
                      <a:pt x="428" y="3701"/>
                      <a:pt x="428" y="3701"/>
                      <a:pt x="428" y="3701"/>
                    </a:cubicBezTo>
                    <a:cubicBezTo>
                      <a:pt x="419" y="3746"/>
                      <a:pt x="419" y="3746"/>
                      <a:pt x="419" y="3746"/>
                    </a:cubicBezTo>
                    <a:cubicBezTo>
                      <a:pt x="419" y="3746"/>
                      <a:pt x="436" y="3749"/>
                      <a:pt x="452" y="3749"/>
                    </a:cubicBezTo>
                    <a:cubicBezTo>
                      <a:pt x="466" y="3749"/>
                      <a:pt x="464" y="3695"/>
                      <a:pt x="464" y="3695"/>
                    </a:cubicBezTo>
                    <a:close/>
                    <a:moveTo>
                      <a:pt x="1293" y="2655"/>
                    </a:moveTo>
                    <a:cubicBezTo>
                      <a:pt x="1293" y="2655"/>
                      <a:pt x="1344" y="2627"/>
                      <a:pt x="1335" y="2603"/>
                    </a:cubicBezTo>
                    <a:cubicBezTo>
                      <a:pt x="1326" y="2577"/>
                      <a:pt x="1307" y="2577"/>
                      <a:pt x="1307" y="2577"/>
                    </a:cubicBezTo>
                    <a:cubicBezTo>
                      <a:pt x="1307" y="2577"/>
                      <a:pt x="1248" y="2645"/>
                      <a:pt x="1293" y="2655"/>
                    </a:cubicBezTo>
                    <a:close/>
                    <a:moveTo>
                      <a:pt x="1426" y="2575"/>
                    </a:moveTo>
                    <a:cubicBezTo>
                      <a:pt x="1436" y="2556"/>
                      <a:pt x="1436" y="2523"/>
                      <a:pt x="1407" y="2530"/>
                    </a:cubicBezTo>
                    <a:cubicBezTo>
                      <a:pt x="1398" y="2533"/>
                      <a:pt x="1417" y="2594"/>
                      <a:pt x="1426" y="2575"/>
                    </a:cubicBezTo>
                    <a:close/>
                  </a:path>
                </a:pathLst>
              </a:custGeom>
              <a:gradFill rotWithShape="0">
                <a:gsLst>
                  <a:gs pos="0">
                    <a:srgbClr val="F8F8F8"/>
                  </a:gs>
                  <a:gs pos="100000">
                    <a:srgbClr val="C0C0C0"/>
                  </a:gs>
                </a:gsLst>
                <a:lin ang="5400000" scaled="1"/>
              </a:gradFill>
              <a:ln w="6350" cap="flat" cmpd="sng">
                <a:solidFill>
                  <a:srgbClr val="E2E2E2"/>
                </a:solidFill>
                <a:prstDash val="solid"/>
                <a:round/>
                <a:headEnd type="none" w="med" len="med"/>
                <a:tailEnd type="none" w="med" len="med"/>
              </a:ln>
              <a:effectLst>
                <a:outerShdw dist="63500" dir="2212194" algn="ctr" rotWithShape="0">
                  <a:srgbClr val="808080"/>
                </a:outerShdw>
              </a:effectLst>
            </p:spPr>
            <p:txBody>
              <a:bodyPr/>
              <a:lstStyle/>
              <a:p>
                <a:endParaRPr lang="en-GB"/>
              </a:p>
            </p:txBody>
          </p:sp>
          <p:grpSp>
            <p:nvGrpSpPr>
              <p:cNvPr id="4" name="Group 40"/>
              <p:cNvGrpSpPr>
                <a:grpSpLocks/>
              </p:cNvGrpSpPr>
              <p:nvPr/>
            </p:nvGrpSpPr>
            <p:grpSpPr bwMode="auto">
              <a:xfrm>
                <a:off x="2817" y="850"/>
                <a:ext cx="2758" cy="2481"/>
                <a:chOff x="2817" y="850"/>
                <a:chExt cx="2758" cy="2481"/>
              </a:xfrm>
            </p:grpSpPr>
            <p:sp>
              <p:nvSpPr>
                <p:cNvPr id="18449" name="Freeform 17" descr="© INSCALE GmbH, 05.05.2010&#10;http://www.presentationload.com/"/>
                <p:cNvSpPr>
                  <a:spLocks noChangeAspect="1" noEditPoints="1"/>
                </p:cNvSpPr>
                <p:nvPr/>
              </p:nvSpPr>
              <p:spPr bwMode="auto">
                <a:xfrm>
                  <a:off x="4746" y="2973"/>
                  <a:ext cx="226" cy="358"/>
                </a:xfrm>
                <a:custGeom>
                  <a:avLst/>
                  <a:gdLst/>
                  <a:ahLst/>
                  <a:cxnLst>
                    <a:cxn ang="0">
                      <a:pos x="208" y="9"/>
                    </a:cxn>
                    <a:cxn ang="0">
                      <a:pos x="190" y="15"/>
                    </a:cxn>
                    <a:cxn ang="0">
                      <a:pos x="44" y="200"/>
                    </a:cxn>
                    <a:cxn ang="0">
                      <a:pos x="15" y="197"/>
                    </a:cxn>
                    <a:cxn ang="0">
                      <a:pos x="25" y="208"/>
                    </a:cxn>
                    <a:cxn ang="0">
                      <a:pos x="214" y="617"/>
                    </a:cxn>
                    <a:cxn ang="0">
                      <a:pos x="242" y="588"/>
                    </a:cxn>
                    <a:cxn ang="0">
                      <a:pos x="230" y="592"/>
                    </a:cxn>
                    <a:cxn ang="0">
                      <a:pos x="273" y="575"/>
                    </a:cxn>
                    <a:cxn ang="0">
                      <a:pos x="298" y="571"/>
                    </a:cxn>
                    <a:cxn ang="0">
                      <a:pos x="366" y="221"/>
                    </a:cxn>
                    <a:cxn ang="0">
                      <a:pos x="353" y="236"/>
                    </a:cxn>
                    <a:cxn ang="0">
                      <a:pos x="370" y="241"/>
                    </a:cxn>
                    <a:cxn ang="0">
                      <a:pos x="303" y="557"/>
                    </a:cxn>
                    <a:cxn ang="0">
                      <a:pos x="278" y="556"/>
                    </a:cxn>
                    <a:cxn ang="0">
                      <a:pos x="318" y="290"/>
                    </a:cxn>
                    <a:cxn ang="0">
                      <a:pos x="280" y="302"/>
                    </a:cxn>
                    <a:cxn ang="0">
                      <a:pos x="254" y="303"/>
                    </a:cxn>
                    <a:cxn ang="0">
                      <a:pos x="224" y="314"/>
                    </a:cxn>
                    <a:cxn ang="0">
                      <a:pos x="168" y="315"/>
                    </a:cxn>
                    <a:cxn ang="0">
                      <a:pos x="75" y="246"/>
                    </a:cxn>
                    <a:cxn ang="0">
                      <a:pos x="41" y="230"/>
                    </a:cxn>
                    <a:cxn ang="0">
                      <a:pos x="13" y="263"/>
                    </a:cxn>
                    <a:cxn ang="0">
                      <a:pos x="21" y="345"/>
                    </a:cxn>
                    <a:cxn ang="0">
                      <a:pos x="57" y="419"/>
                    </a:cxn>
                    <a:cxn ang="0">
                      <a:pos x="68" y="469"/>
                    </a:cxn>
                    <a:cxn ang="0">
                      <a:pos x="48" y="484"/>
                    </a:cxn>
                    <a:cxn ang="0">
                      <a:pos x="101" y="565"/>
                    </a:cxn>
                    <a:cxn ang="0">
                      <a:pos x="108" y="592"/>
                    </a:cxn>
                    <a:cxn ang="0">
                      <a:pos x="136" y="616"/>
                    </a:cxn>
                    <a:cxn ang="0">
                      <a:pos x="157" y="609"/>
                    </a:cxn>
                    <a:cxn ang="0">
                      <a:pos x="208" y="597"/>
                    </a:cxn>
                    <a:cxn ang="0">
                      <a:pos x="218" y="588"/>
                    </a:cxn>
                    <a:cxn ang="0">
                      <a:pos x="253" y="532"/>
                    </a:cxn>
                    <a:cxn ang="0">
                      <a:pos x="293" y="540"/>
                    </a:cxn>
                    <a:cxn ang="0">
                      <a:pos x="307" y="516"/>
                    </a:cxn>
                    <a:cxn ang="0">
                      <a:pos x="339" y="452"/>
                    </a:cxn>
                    <a:cxn ang="0">
                      <a:pos x="355" y="464"/>
                    </a:cxn>
                    <a:cxn ang="0">
                      <a:pos x="351" y="341"/>
                    </a:cxn>
                    <a:cxn ang="0">
                      <a:pos x="347" y="270"/>
                    </a:cxn>
                    <a:cxn ang="0">
                      <a:pos x="337" y="186"/>
                    </a:cxn>
                    <a:cxn ang="0">
                      <a:pos x="377" y="208"/>
                    </a:cxn>
                    <a:cxn ang="0">
                      <a:pos x="383" y="178"/>
                    </a:cxn>
                    <a:cxn ang="0">
                      <a:pos x="349" y="140"/>
                    </a:cxn>
                    <a:cxn ang="0">
                      <a:pos x="338" y="169"/>
                    </a:cxn>
                  </a:cxnLst>
                  <a:rect l="0" t="0" r="r" b="b"/>
                  <a:pathLst>
                    <a:path w="402" h="635">
                      <a:moveTo>
                        <a:pt x="190" y="15"/>
                      </a:moveTo>
                      <a:cubicBezTo>
                        <a:pt x="202" y="15"/>
                        <a:pt x="208" y="9"/>
                        <a:pt x="208" y="9"/>
                      </a:cubicBezTo>
                      <a:cubicBezTo>
                        <a:pt x="190" y="0"/>
                        <a:pt x="190" y="0"/>
                        <a:pt x="190" y="0"/>
                      </a:cubicBezTo>
                      <a:cubicBezTo>
                        <a:pt x="190" y="0"/>
                        <a:pt x="178" y="15"/>
                        <a:pt x="190" y="15"/>
                      </a:cubicBezTo>
                      <a:close/>
                      <a:moveTo>
                        <a:pt x="25" y="208"/>
                      </a:moveTo>
                      <a:cubicBezTo>
                        <a:pt x="25" y="208"/>
                        <a:pt x="39" y="200"/>
                        <a:pt x="44" y="200"/>
                      </a:cubicBezTo>
                      <a:cubicBezTo>
                        <a:pt x="40" y="190"/>
                        <a:pt x="40" y="190"/>
                        <a:pt x="40" y="190"/>
                      </a:cubicBezTo>
                      <a:cubicBezTo>
                        <a:pt x="40" y="190"/>
                        <a:pt x="20" y="194"/>
                        <a:pt x="15" y="197"/>
                      </a:cubicBezTo>
                      <a:cubicBezTo>
                        <a:pt x="10" y="200"/>
                        <a:pt x="11" y="213"/>
                        <a:pt x="17" y="224"/>
                      </a:cubicBezTo>
                      <a:cubicBezTo>
                        <a:pt x="24" y="234"/>
                        <a:pt x="25" y="208"/>
                        <a:pt x="25" y="208"/>
                      </a:cubicBezTo>
                      <a:close/>
                      <a:moveTo>
                        <a:pt x="230" y="592"/>
                      </a:moveTo>
                      <a:cubicBezTo>
                        <a:pt x="230" y="592"/>
                        <a:pt x="206" y="613"/>
                        <a:pt x="214" y="617"/>
                      </a:cubicBezTo>
                      <a:cubicBezTo>
                        <a:pt x="222" y="621"/>
                        <a:pt x="236" y="621"/>
                        <a:pt x="236" y="621"/>
                      </a:cubicBezTo>
                      <a:cubicBezTo>
                        <a:pt x="236" y="621"/>
                        <a:pt x="230" y="593"/>
                        <a:pt x="242" y="588"/>
                      </a:cubicBezTo>
                      <a:cubicBezTo>
                        <a:pt x="254" y="583"/>
                        <a:pt x="252" y="567"/>
                        <a:pt x="252" y="567"/>
                      </a:cubicBezTo>
                      <a:lnTo>
                        <a:pt x="230" y="592"/>
                      </a:lnTo>
                      <a:close/>
                      <a:moveTo>
                        <a:pt x="298" y="571"/>
                      </a:moveTo>
                      <a:cubicBezTo>
                        <a:pt x="280" y="565"/>
                        <a:pt x="273" y="575"/>
                        <a:pt x="273" y="575"/>
                      </a:cubicBezTo>
                      <a:cubicBezTo>
                        <a:pt x="280" y="592"/>
                        <a:pt x="282" y="593"/>
                        <a:pt x="294" y="593"/>
                      </a:cubicBezTo>
                      <a:cubicBezTo>
                        <a:pt x="306" y="593"/>
                        <a:pt x="317" y="576"/>
                        <a:pt x="298" y="571"/>
                      </a:cubicBezTo>
                      <a:close/>
                      <a:moveTo>
                        <a:pt x="393" y="238"/>
                      </a:moveTo>
                      <a:cubicBezTo>
                        <a:pt x="383" y="224"/>
                        <a:pt x="379" y="221"/>
                        <a:pt x="366" y="221"/>
                      </a:cubicBezTo>
                      <a:cubicBezTo>
                        <a:pt x="353" y="221"/>
                        <a:pt x="341" y="228"/>
                        <a:pt x="341" y="228"/>
                      </a:cubicBezTo>
                      <a:cubicBezTo>
                        <a:pt x="353" y="236"/>
                        <a:pt x="353" y="236"/>
                        <a:pt x="353" y="236"/>
                      </a:cubicBezTo>
                      <a:cubicBezTo>
                        <a:pt x="361" y="254"/>
                        <a:pt x="361" y="254"/>
                        <a:pt x="361" y="254"/>
                      </a:cubicBezTo>
                      <a:cubicBezTo>
                        <a:pt x="361" y="254"/>
                        <a:pt x="357" y="240"/>
                        <a:pt x="370" y="241"/>
                      </a:cubicBezTo>
                      <a:cubicBezTo>
                        <a:pt x="383" y="242"/>
                        <a:pt x="402" y="253"/>
                        <a:pt x="393" y="238"/>
                      </a:cubicBezTo>
                      <a:close/>
                      <a:moveTo>
                        <a:pt x="303" y="557"/>
                      </a:moveTo>
                      <a:cubicBezTo>
                        <a:pt x="308" y="551"/>
                        <a:pt x="293" y="548"/>
                        <a:pt x="293" y="548"/>
                      </a:cubicBezTo>
                      <a:cubicBezTo>
                        <a:pt x="278" y="556"/>
                        <a:pt x="278" y="556"/>
                        <a:pt x="278" y="556"/>
                      </a:cubicBezTo>
                      <a:cubicBezTo>
                        <a:pt x="278" y="556"/>
                        <a:pt x="297" y="568"/>
                        <a:pt x="303" y="557"/>
                      </a:cubicBezTo>
                      <a:close/>
                      <a:moveTo>
                        <a:pt x="318" y="290"/>
                      </a:moveTo>
                      <a:cubicBezTo>
                        <a:pt x="318" y="290"/>
                        <a:pt x="307" y="282"/>
                        <a:pt x="299" y="281"/>
                      </a:cubicBezTo>
                      <a:cubicBezTo>
                        <a:pt x="291" y="279"/>
                        <a:pt x="280" y="302"/>
                        <a:pt x="280" y="302"/>
                      </a:cubicBezTo>
                      <a:cubicBezTo>
                        <a:pt x="280" y="302"/>
                        <a:pt x="265" y="293"/>
                        <a:pt x="260" y="293"/>
                      </a:cubicBezTo>
                      <a:cubicBezTo>
                        <a:pt x="254" y="293"/>
                        <a:pt x="254" y="303"/>
                        <a:pt x="254" y="303"/>
                      </a:cubicBezTo>
                      <a:cubicBezTo>
                        <a:pt x="254" y="303"/>
                        <a:pt x="241" y="297"/>
                        <a:pt x="233" y="298"/>
                      </a:cubicBezTo>
                      <a:cubicBezTo>
                        <a:pt x="225" y="299"/>
                        <a:pt x="224" y="314"/>
                        <a:pt x="224" y="314"/>
                      </a:cubicBezTo>
                      <a:cubicBezTo>
                        <a:pt x="213" y="303"/>
                        <a:pt x="213" y="303"/>
                        <a:pt x="213" y="303"/>
                      </a:cubicBezTo>
                      <a:cubicBezTo>
                        <a:pt x="168" y="315"/>
                        <a:pt x="168" y="315"/>
                        <a:pt x="168" y="315"/>
                      </a:cubicBezTo>
                      <a:cubicBezTo>
                        <a:pt x="88" y="267"/>
                        <a:pt x="88" y="267"/>
                        <a:pt x="88" y="267"/>
                      </a:cubicBezTo>
                      <a:cubicBezTo>
                        <a:pt x="75" y="246"/>
                        <a:pt x="75" y="246"/>
                        <a:pt x="75" y="246"/>
                      </a:cubicBezTo>
                      <a:cubicBezTo>
                        <a:pt x="75" y="246"/>
                        <a:pt x="67" y="253"/>
                        <a:pt x="59" y="253"/>
                      </a:cubicBezTo>
                      <a:cubicBezTo>
                        <a:pt x="51" y="253"/>
                        <a:pt x="41" y="236"/>
                        <a:pt x="41" y="230"/>
                      </a:cubicBezTo>
                      <a:cubicBezTo>
                        <a:pt x="41" y="225"/>
                        <a:pt x="13" y="230"/>
                        <a:pt x="13" y="230"/>
                      </a:cubicBezTo>
                      <a:cubicBezTo>
                        <a:pt x="13" y="230"/>
                        <a:pt x="10" y="255"/>
                        <a:pt x="13" y="263"/>
                      </a:cubicBezTo>
                      <a:cubicBezTo>
                        <a:pt x="17" y="271"/>
                        <a:pt x="6" y="271"/>
                        <a:pt x="3" y="283"/>
                      </a:cubicBezTo>
                      <a:cubicBezTo>
                        <a:pt x="0" y="295"/>
                        <a:pt x="16" y="315"/>
                        <a:pt x="21" y="345"/>
                      </a:cubicBezTo>
                      <a:cubicBezTo>
                        <a:pt x="27" y="374"/>
                        <a:pt x="36" y="386"/>
                        <a:pt x="49" y="402"/>
                      </a:cubicBezTo>
                      <a:cubicBezTo>
                        <a:pt x="63" y="418"/>
                        <a:pt x="57" y="419"/>
                        <a:pt x="57" y="419"/>
                      </a:cubicBezTo>
                      <a:cubicBezTo>
                        <a:pt x="57" y="419"/>
                        <a:pt x="77" y="452"/>
                        <a:pt x="79" y="458"/>
                      </a:cubicBezTo>
                      <a:cubicBezTo>
                        <a:pt x="80" y="463"/>
                        <a:pt x="68" y="469"/>
                        <a:pt x="68" y="469"/>
                      </a:cubicBezTo>
                      <a:cubicBezTo>
                        <a:pt x="49" y="435"/>
                        <a:pt x="49" y="435"/>
                        <a:pt x="49" y="435"/>
                      </a:cubicBezTo>
                      <a:cubicBezTo>
                        <a:pt x="49" y="435"/>
                        <a:pt x="48" y="469"/>
                        <a:pt x="48" y="484"/>
                      </a:cubicBezTo>
                      <a:cubicBezTo>
                        <a:pt x="48" y="499"/>
                        <a:pt x="93" y="576"/>
                        <a:pt x="93" y="576"/>
                      </a:cubicBezTo>
                      <a:cubicBezTo>
                        <a:pt x="101" y="565"/>
                        <a:pt x="101" y="565"/>
                        <a:pt x="101" y="565"/>
                      </a:cubicBezTo>
                      <a:cubicBezTo>
                        <a:pt x="125" y="588"/>
                        <a:pt x="125" y="588"/>
                        <a:pt x="125" y="588"/>
                      </a:cubicBezTo>
                      <a:cubicBezTo>
                        <a:pt x="108" y="592"/>
                        <a:pt x="108" y="592"/>
                        <a:pt x="108" y="592"/>
                      </a:cubicBezTo>
                      <a:cubicBezTo>
                        <a:pt x="108" y="611"/>
                        <a:pt x="108" y="611"/>
                        <a:pt x="108" y="611"/>
                      </a:cubicBezTo>
                      <a:cubicBezTo>
                        <a:pt x="136" y="616"/>
                        <a:pt x="136" y="616"/>
                        <a:pt x="136" y="616"/>
                      </a:cubicBezTo>
                      <a:cubicBezTo>
                        <a:pt x="152" y="620"/>
                        <a:pt x="152" y="620"/>
                        <a:pt x="152" y="620"/>
                      </a:cubicBezTo>
                      <a:cubicBezTo>
                        <a:pt x="157" y="609"/>
                        <a:pt x="157" y="609"/>
                        <a:pt x="157" y="609"/>
                      </a:cubicBezTo>
                      <a:cubicBezTo>
                        <a:pt x="180" y="635"/>
                        <a:pt x="180" y="635"/>
                        <a:pt x="180" y="635"/>
                      </a:cubicBezTo>
                      <a:cubicBezTo>
                        <a:pt x="208" y="597"/>
                        <a:pt x="208" y="597"/>
                        <a:pt x="208" y="597"/>
                      </a:cubicBezTo>
                      <a:cubicBezTo>
                        <a:pt x="208" y="573"/>
                        <a:pt x="208" y="573"/>
                        <a:pt x="208" y="573"/>
                      </a:cubicBezTo>
                      <a:cubicBezTo>
                        <a:pt x="218" y="588"/>
                        <a:pt x="218" y="588"/>
                        <a:pt x="218" y="588"/>
                      </a:cubicBezTo>
                      <a:cubicBezTo>
                        <a:pt x="241" y="567"/>
                        <a:pt x="241" y="567"/>
                        <a:pt x="241" y="567"/>
                      </a:cubicBezTo>
                      <a:cubicBezTo>
                        <a:pt x="253" y="532"/>
                        <a:pt x="253" y="532"/>
                        <a:pt x="253" y="532"/>
                      </a:cubicBezTo>
                      <a:cubicBezTo>
                        <a:pt x="272" y="552"/>
                        <a:pt x="272" y="552"/>
                        <a:pt x="272" y="552"/>
                      </a:cubicBezTo>
                      <a:cubicBezTo>
                        <a:pt x="272" y="552"/>
                        <a:pt x="293" y="549"/>
                        <a:pt x="293" y="540"/>
                      </a:cubicBezTo>
                      <a:cubicBezTo>
                        <a:pt x="293" y="531"/>
                        <a:pt x="309" y="525"/>
                        <a:pt x="317" y="521"/>
                      </a:cubicBezTo>
                      <a:cubicBezTo>
                        <a:pt x="325" y="517"/>
                        <a:pt x="311" y="516"/>
                        <a:pt x="307" y="516"/>
                      </a:cubicBezTo>
                      <a:cubicBezTo>
                        <a:pt x="303" y="516"/>
                        <a:pt x="302" y="475"/>
                        <a:pt x="310" y="469"/>
                      </a:cubicBezTo>
                      <a:cubicBezTo>
                        <a:pt x="318" y="463"/>
                        <a:pt x="321" y="444"/>
                        <a:pt x="339" y="452"/>
                      </a:cubicBezTo>
                      <a:cubicBezTo>
                        <a:pt x="355" y="459"/>
                        <a:pt x="344" y="474"/>
                        <a:pt x="341" y="479"/>
                      </a:cubicBezTo>
                      <a:cubicBezTo>
                        <a:pt x="343" y="476"/>
                        <a:pt x="350" y="468"/>
                        <a:pt x="355" y="464"/>
                      </a:cubicBezTo>
                      <a:cubicBezTo>
                        <a:pt x="362" y="460"/>
                        <a:pt x="354" y="412"/>
                        <a:pt x="354" y="408"/>
                      </a:cubicBezTo>
                      <a:cubicBezTo>
                        <a:pt x="354" y="404"/>
                        <a:pt x="355" y="355"/>
                        <a:pt x="351" y="341"/>
                      </a:cubicBezTo>
                      <a:cubicBezTo>
                        <a:pt x="347" y="326"/>
                        <a:pt x="377" y="302"/>
                        <a:pt x="377" y="302"/>
                      </a:cubicBezTo>
                      <a:cubicBezTo>
                        <a:pt x="347" y="270"/>
                        <a:pt x="347" y="270"/>
                        <a:pt x="347" y="270"/>
                      </a:cubicBezTo>
                      <a:lnTo>
                        <a:pt x="318" y="290"/>
                      </a:lnTo>
                      <a:close/>
                      <a:moveTo>
                        <a:pt x="337" y="186"/>
                      </a:moveTo>
                      <a:cubicBezTo>
                        <a:pt x="337" y="186"/>
                        <a:pt x="347" y="206"/>
                        <a:pt x="350" y="210"/>
                      </a:cubicBezTo>
                      <a:cubicBezTo>
                        <a:pt x="353" y="214"/>
                        <a:pt x="377" y="208"/>
                        <a:pt x="377" y="208"/>
                      </a:cubicBezTo>
                      <a:cubicBezTo>
                        <a:pt x="371" y="196"/>
                        <a:pt x="371" y="196"/>
                        <a:pt x="371" y="196"/>
                      </a:cubicBezTo>
                      <a:cubicBezTo>
                        <a:pt x="371" y="196"/>
                        <a:pt x="399" y="192"/>
                        <a:pt x="383" y="178"/>
                      </a:cubicBezTo>
                      <a:cubicBezTo>
                        <a:pt x="367" y="165"/>
                        <a:pt x="370" y="180"/>
                        <a:pt x="362" y="164"/>
                      </a:cubicBezTo>
                      <a:cubicBezTo>
                        <a:pt x="354" y="148"/>
                        <a:pt x="349" y="140"/>
                        <a:pt x="349" y="140"/>
                      </a:cubicBezTo>
                      <a:cubicBezTo>
                        <a:pt x="333" y="158"/>
                        <a:pt x="333" y="158"/>
                        <a:pt x="333" y="158"/>
                      </a:cubicBezTo>
                      <a:cubicBezTo>
                        <a:pt x="338" y="169"/>
                        <a:pt x="338" y="169"/>
                        <a:pt x="338" y="169"/>
                      </a:cubicBezTo>
                      <a:lnTo>
                        <a:pt x="337" y="186"/>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18450" name="Freeform 18" descr="© INSCALE GmbH, 05.05.2010&#10;http://www.presentationload.com/"/>
                <p:cNvSpPr>
                  <a:spLocks noChangeAspect="1" noEditPoints="1"/>
                </p:cNvSpPr>
                <p:nvPr/>
              </p:nvSpPr>
              <p:spPr bwMode="auto">
                <a:xfrm>
                  <a:off x="2817" y="1065"/>
                  <a:ext cx="1042" cy="1670"/>
                </a:xfrm>
                <a:custGeom>
                  <a:avLst/>
                  <a:gdLst/>
                  <a:ahLst/>
                  <a:cxnLst>
                    <a:cxn ang="0">
                      <a:pos x="29" y="1896"/>
                    </a:cxn>
                    <a:cxn ang="0">
                      <a:pos x="179" y="1217"/>
                    </a:cxn>
                    <a:cxn ang="0">
                      <a:pos x="53" y="1854"/>
                    </a:cxn>
                    <a:cxn ang="0">
                      <a:pos x="558" y="718"/>
                    </a:cxn>
                    <a:cxn ang="0">
                      <a:pos x="57" y="1900"/>
                    </a:cxn>
                    <a:cxn ang="0">
                      <a:pos x="81" y="1968"/>
                    </a:cxn>
                    <a:cxn ang="0">
                      <a:pos x="182" y="2260"/>
                    </a:cxn>
                    <a:cxn ang="0">
                      <a:pos x="1769" y="300"/>
                    </a:cxn>
                    <a:cxn ang="0">
                      <a:pos x="1705" y="333"/>
                    </a:cxn>
                    <a:cxn ang="0">
                      <a:pos x="1652" y="356"/>
                    </a:cxn>
                    <a:cxn ang="0">
                      <a:pos x="1573" y="193"/>
                    </a:cxn>
                    <a:cxn ang="0">
                      <a:pos x="1467" y="236"/>
                    </a:cxn>
                    <a:cxn ang="0">
                      <a:pos x="1402" y="271"/>
                    </a:cxn>
                    <a:cxn ang="0">
                      <a:pos x="1328" y="296"/>
                    </a:cxn>
                    <a:cxn ang="0">
                      <a:pos x="1321" y="362"/>
                    </a:cxn>
                    <a:cxn ang="0">
                      <a:pos x="1302" y="412"/>
                    </a:cxn>
                    <a:cxn ang="0">
                      <a:pos x="1221" y="471"/>
                    </a:cxn>
                    <a:cxn ang="0">
                      <a:pos x="1244" y="519"/>
                    </a:cxn>
                    <a:cxn ang="0">
                      <a:pos x="1165" y="532"/>
                    </a:cxn>
                    <a:cxn ang="0">
                      <a:pos x="1115" y="563"/>
                    </a:cxn>
                    <a:cxn ang="0">
                      <a:pos x="1125" y="614"/>
                    </a:cxn>
                    <a:cxn ang="0">
                      <a:pos x="1044" y="540"/>
                    </a:cxn>
                    <a:cxn ang="0">
                      <a:pos x="995" y="620"/>
                    </a:cxn>
                    <a:cxn ang="0">
                      <a:pos x="951" y="810"/>
                    </a:cxn>
                    <a:cxn ang="0">
                      <a:pos x="785" y="1007"/>
                    </a:cxn>
                    <a:cxn ang="0">
                      <a:pos x="655" y="1027"/>
                    </a:cxn>
                    <a:cxn ang="0">
                      <a:pos x="531" y="1111"/>
                    </a:cxn>
                    <a:cxn ang="0">
                      <a:pos x="390" y="1156"/>
                    </a:cxn>
                    <a:cxn ang="0">
                      <a:pos x="314" y="1164"/>
                    </a:cxn>
                    <a:cxn ang="0">
                      <a:pos x="225" y="1270"/>
                    </a:cxn>
                    <a:cxn ang="0">
                      <a:pos x="81" y="1445"/>
                    </a:cxn>
                    <a:cxn ang="0">
                      <a:pos x="37" y="1429"/>
                    </a:cxn>
                    <a:cxn ang="0">
                      <a:pos x="29" y="1614"/>
                    </a:cxn>
                    <a:cxn ang="0">
                      <a:pos x="99" y="1786"/>
                    </a:cxn>
                    <a:cxn ang="0">
                      <a:pos x="152" y="1903"/>
                    </a:cxn>
                    <a:cxn ang="0">
                      <a:pos x="120" y="1928"/>
                    </a:cxn>
                    <a:cxn ang="0">
                      <a:pos x="180" y="2134"/>
                    </a:cxn>
                    <a:cxn ang="0">
                      <a:pos x="428" y="2585"/>
                    </a:cxn>
                    <a:cxn ang="0">
                      <a:pos x="446" y="2698"/>
                    </a:cxn>
                    <a:cxn ang="0">
                      <a:pos x="387" y="2802"/>
                    </a:cxn>
                    <a:cxn ang="0">
                      <a:pos x="548" y="2954"/>
                    </a:cxn>
                    <a:cxn ang="0">
                      <a:pos x="712" y="2952"/>
                    </a:cxn>
                    <a:cxn ang="0">
                      <a:pos x="810" y="2867"/>
                    </a:cxn>
                    <a:cxn ang="0">
                      <a:pos x="968" y="2789"/>
                    </a:cxn>
                    <a:cxn ang="0">
                      <a:pos x="1146" y="2773"/>
                    </a:cxn>
                    <a:cxn ang="0">
                      <a:pos x="1273" y="2757"/>
                    </a:cxn>
                    <a:cxn ang="0">
                      <a:pos x="1463" y="2571"/>
                    </a:cxn>
                    <a:cxn ang="0">
                      <a:pos x="1680" y="2520"/>
                    </a:cxn>
                    <a:cxn ang="0">
                      <a:pos x="153" y="2242"/>
                    </a:cxn>
                    <a:cxn ang="0">
                      <a:pos x="1382" y="150"/>
                    </a:cxn>
                    <a:cxn ang="0">
                      <a:pos x="1376" y="211"/>
                    </a:cxn>
                    <a:cxn ang="0">
                      <a:pos x="1250" y="347"/>
                    </a:cxn>
                    <a:cxn ang="0">
                      <a:pos x="1421" y="202"/>
                    </a:cxn>
                    <a:cxn ang="0">
                      <a:pos x="1215" y="396"/>
                    </a:cxn>
                    <a:cxn ang="0">
                      <a:pos x="1197" y="401"/>
                    </a:cxn>
                    <a:cxn ang="0">
                      <a:pos x="1009" y="0"/>
                    </a:cxn>
                    <a:cxn ang="0">
                      <a:pos x="1044" y="417"/>
                    </a:cxn>
                    <a:cxn ang="0">
                      <a:pos x="1113" y="424"/>
                    </a:cxn>
                  </a:cxnLst>
                  <a:rect l="0" t="0" r="r" b="b"/>
                  <a:pathLst>
                    <a:path w="1854" h="2969">
                      <a:moveTo>
                        <a:pt x="1270" y="283"/>
                      </a:moveTo>
                      <a:cubicBezTo>
                        <a:pt x="1280" y="283"/>
                        <a:pt x="1282" y="260"/>
                        <a:pt x="1262" y="264"/>
                      </a:cubicBezTo>
                      <a:cubicBezTo>
                        <a:pt x="1262" y="264"/>
                        <a:pt x="1259" y="283"/>
                        <a:pt x="1270" y="283"/>
                      </a:cubicBezTo>
                      <a:close/>
                      <a:moveTo>
                        <a:pt x="5" y="1867"/>
                      </a:moveTo>
                      <a:cubicBezTo>
                        <a:pt x="10" y="1876"/>
                        <a:pt x="29" y="1896"/>
                        <a:pt x="29" y="1896"/>
                      </a:cubicBezTo>
                      <a:cubicBezTo>
                        <a:pt x="2" y="1839"/>
                        <a:pt x="2" y="1839"/>
                        <a:pt x="2" y="1839"/>
                      </a:cubicBezTo>
                      <a:cubicBezTo>
                        <a:pt x="2" y="1839"/>
                        <a:pt x="0" y="1858"/>
                        <a:pt x="5" y="1867"/>
                      </a:cubicBezTo>
                      <a:close/>
                      <a:moveTo>
                        <a:pt x="198" y="1195"/>
                      </a:moveTo>
                      <a:cubicBezTo>
                        <a:pt x="183" y="1198"/>
                        <a:pt x="183" y="1198"/>
                        <a:pt x="183" y="1198"/>
                      </a:cubicBezTo>
                      <a:cubicBezTo>
                        <a:pt x="179" y="1217"/>
                        <a:pt x="179" y="1217"/>
                        <a:pt x="179" y="1217"/>
                      </a:cubicBezTo>
                      <a:cubicBezTo>
                        <a:pt x="179" y="1217"/>
                        <a:pt x="186" y="1218"/>
                        <a:pt x="192" y="1218"/>
                      </a:cubicBezTo>
                      <a:cubicBezTo>
                        <a:pt x="199" y="1218"/>
                        <a:pt x="198" y="1195"/>
                        <a:pt x="198" y="1195"/>
                      </a:cubicBezTo>
                      <a:close/>
                      <a:moveTo>
                        <a:pt x="97" y="1870"/>
                      </a:moveTo>
                      <a:cubicBezTo>
                        <a:pt x="62" y="1839"/>
                        <a:pt x="62" y="1839"/>
                        <a:pt x="62" y="1839"/>
                      </a:cubicBezTo>
                      <a:cubicBezTo>
                        <a:pt x="53" y="1854"/>
                        <a:pt x="53" y="1854"/>
                        <a:pt x="53" y="1854"/>
                      </a:cubicBezTo>
                      <a:cubicBezTo>
                        <a:pt x="93" y="1910"/>
                        <a:pt x="93" y="1910"/>
                        <a:pt x="93" y="1910"/>
                      </a:cubicBezTo>
                      <a:lnTo>
                        <a:pt x="97" y="1870"/>
                      </a:lnTo>
                      <a:close/>
                      <a:moveTo>
                        <a:pt x="552" y="751"/>
                      </a:moveTo>
                      <a:cubicBezTo>
                        <a:pt x="552" y="751"/>
                        <a:pt x="574" y="739"/>
                        <a:pt x="570" y="729"/>
                      </a:cubicBezTo>
                      <a:cubicBezTo>
                        <a:pt x="566" y="718"/>
                        <a:pt x="558" y="718"/>
                        <a:pt x="558" y="718"/>
                      </a:cubicBezTo>
                      <a:cubicBezTo>
                        <a:pt x="558" y="718"/>
                        <a:pt x="533" y="747"/>
                        <a:pt x="552" y="751"/>
                      </a:cubicBezTo>
                      <a:close/>
                      <a:moveTo>
                        <a:pt x="609" y="717"/>
                      </a:moveTo>
                      <a:cubicBezTo>
                        <a:pt x="613" y="709"/>
                        <a:pt x="613" y="695"/>
                        <a:pt x="601" y="698"/>
                      </a:cubicBezTo>
                      <a:cubicBezTo>
                        <a:pt x="597" y="699"/>
                        <a:pt x="605" y="725"/>
                        <a:pt x="609" y="717"/>
                      </a:cubicBezTo>
                      <a:close/>
                      <a:moveTo>
                        <a:pt x="57" y="1900"/>
                      </a:moveTo>
                      <a:cubicBezTo>
                        <a:pt x="39" y="1892"/>
                        <a:pt x="41" y="1906"/>
                        <a:pt x="41" y="1906"/>
                      </a:cubicBezTo>
                      <a:cubicBezTo>
                        <a:pt x="41" y="1924"/>
                        <a:pt x="41" y="1924"/>
                        <a:pt x="41" y="1924"/>
                      </a:cubicBezTo>
                      <a:cubicBezTo>
                        <a:pt x="59" y="1927"/>
                        <a:pt x="59" y="1927"/>
                        <a:pt x="59" y="1927"/>
                      </a:cubicBezTo>
                      <a:cubicBezTo>
                        <a:pt x="59" y="1944"/>
                        <a:pt x="59" y="1944"/>
                        <a:pt x="59" y="1944"/>
                      </a:cubicBezTo>
                      <a:cubicBezTo>
                        <a:pt x="81" y="1968"/>
                        <a:pt x="81" y="1968"/>
                        <a:pt x="81" y="1968"/>
                      </a:cubicBezTo>
                      <a:cubicBezTo>
                        <a:pt x="95" y="1954"/>
                        <a:pt x="95" y="1954"/>
                        <a:pt x="95" y="1954"/>
                      </a:cubicBezTo>
                      <a:cubicBezTo>
                        <a:pt x="95" y="1954"/>
                        <a:pt x="74" y="1908"/>
                        <a:pt x="57" y="1900"/>
                      </a:cubicBezTo>
                      <a:close/>
                      <a:moveTo>
                        <a:pt x="180" y="2242"/>
                      </a:moveTo>
                      <a:cubicBezTo>
                        <a:pt x="171" y="2250"/>
                        <a:pt x="171" y="2250"/>
                        <a:pt x="171" y="2250"/>
                      </a:cubicBezTo>
                      <a:cubicBezTo>
                        <a:pt x="182" y="2260"/>
                        <a:pt x="182" y="2260"/>
                        <a:pt x="182" y="2260"/>
                      </a:cubicBezTo>
                      <a:cubicBezTo>
                        <a:pt x="182" y="2274"/>
                        <a:pt x="182" y="2274"/>
                        <a:pt x="182" y="2274"/>
                      </a:cubicBezTo>
                      <a:cubicBezTo>
                        <a:pt x="204" y="2268"/>
                        <a:pt x="204" y="2268"/>
                        <a:pt x="204" y="2268"/>
                      </a:cubicBezTo>
                      <a:cubicBezTo>
                        <a:pt x="191" y="2254"/>
                        <a:pt x="191" y="2254"/>
                        <a:pt x="191" y="2254"/>
                      </a:cubicBezTo>
                      <a:lnTo>
                        <a:pt x="180" y="2242"/>
                      </a:lnTo>
                      <a:close/>
                      <a:moveTo>
                        <a:pt x="1769" y="300"/>
                      </a:moveTo>
                      <a:cubicBezTo>
                        <a:pt x="1767" y="300"/>
                        <a:pt x="1765" y="300"/>
                        <a:pt x="1762" y="300"/>
                      </a:cubicBezTo>
                      <a:cubicBezTo>
                        <a:pt x="1741" y="300"/>
                        <a:pt x="1724" y="292"/>
                        <a:pt x="1722" y="291"/>
                      </a:cubicBezTo>
                      <a:cubicBezTo>
                        <a:pt x="1719" y="290"/>
                        <a:pt x="1699" y="309"/>
                        <a:pt x="1699" y="309"/>
                      </a:cubicBezTo>
                      <a:cubicBezTo>
                        <a:pt x="1710" y="328"/>
                        <a:pt x="1710" y="328"/>
                        <a:pt x="1710" y="328"/>
                      </a:cubicBezTo>
                      <a:cubicBezTo>
                        <a:pt x="1710" y="328"/>
                        <a:pt x="1707" y="333"/>
                        <a:pt x="1705" y="333"/>
                      </a:cubicBezTo>
                      <a:cubicBezTo>
                        <a:pt x="1704" y="333"/>
                        <a:pt x="1688" y="322"/>
                        <a:pt x="1688" y="322"/>
                      </a:cubicBezTo>
                      <a:cubicBezTo>
                        <a:pt x="1688" y="322"/>
                        <a:pt x="1669" y="331"/>
                        <a:pt x="1673" y="340"/>
                      </a:cubicBezTo>
                      <a:cubicBezTo>
                        <a:pt x="1677" y="348"/>
                        <a:pt x="1695" y="367"/>
                        <a:pt x="1690" y="369"/>
                      </a:cubicBezTo>
                      <a:cubicBezTo>
                        <a:pt x="1685" y="372"/>
                        <a:pt x="1666" y="382"/>
                        <a:pt x="1666" y="382"/>
                      </a:cubicBezTo>
                      <a:cubicBezTo>
                        <a:pt x="1666" y="382"/>
                        <a:pt x="1648" y="365"/>
                        <a:pt x="1652" y="356"/>
                      </a:cubicBezTo>
                      <a:cubicBezTo>
                        <a:pt x="1656" y="348"/>
                        <a:pt x="1664" y="350"/>
                        <a:pt x="1663" y="337"/>
                      </a:cubicBezTo>
                      <a:cubicBezTo>
                        <a:pt x="1662" y="324"/>
                        <a:pt x="1655" y="325"/>
                        <a:pt x="1660" y="316"/>
                      </a:cubicBezTo>
                      <a:cubicBezTo>
                        <a:pt x="1665" y="307"/>
                        <a:pt x="1678" y="293"/>
                        <a:pt x="1677" y="291"/>
                      </a:cubicBezTo>
                      <a:cubicBezTo>
                        <a:pt x="1676" y="288"/>
                        <a:pt x="1640" y="274"/>
                        <a:pt x="1631" y="261"/>
                      </a:cubicBezTo>
                      <a:cubicBezTo>
                        <a:pt x="1622" y="248"/>
                        <a:pt x="1584" y="198"/>
                        <a:pt x="1573" y="193"/>
                      </a:cubicBezTo>
                      <a:cubicBezTo>
                        <a:pt x="1561" y="188"/>
                        <a:pt x="1538" y="197"/>
                        <a:pt x="1538" y="197"/>
                      </a:cubicBezTo>
                      <a:cubicBezTo>
                        <a:pt x="1514" y="171"/>
                        <a:pt x="1514" y="171"/>
                        <a:pt x="1514" y="171"/>
                      </a:cubicBezTo>
                      <a:cubicBezTo>
                        <a:pt x="1489" y="179"/>
                        <a:pt x="1489" y="179"/>
                        <a:pt x="1489" y="179"/>
                      </a:cubicBezTo>
                      <a:cubicBezTo>
                        <a:pt x="1500" y="204"/>
                        <a:pt x="1500" y="204"/>
                        <a:pt x="1500" y="204"/>
                      </a:cubicBezTo>
                      <a:cubicBezTo>
                        <a:pt x="1467" y="236"/>
                        <a:pt x="1467" y="236"/>
                        <a:pt x="1467" y="236"/>
                      </a:cubicBezTo>
                      <a:cubicBezTo>
                        <a:pt x="1467" y="236"/>
                        <a:pt x="1449" y="215"/>
                        <a:pt x="1451" y="206"/>
                      </a:cubicBezTo>
                      <a:cubicBezTo>
                        <a:pt x="1446" y="213"/>
                        <a:pt x="1434" y="229"/>
                        <a:pt x="1434" y="234"/>
                      </a:cubicBezTo>
                      <a:cubicBezTo>
                        <a:pt x="1434" y="241"/>
                        <a:pt x="1417" y="230"/>
                        <a:pt x="1417" y="230"/>
                      </a:cubicBezTo>
                      <a:cubicBezTo>
                        <a:pt x="1390" y="256"/>
                        <a:pt x="1390" y="256"/>
                        <a:pt x="1390" y="256"/>
                      </a:cubicBezTo>
                      <a:cubicBezTo>
                        <a:pt x="1402" y="271"/>
                        <a:pt x="1402" y="271"/>
                        <a:pt x="1402" y="271"/>
                      </a:cubicBezTo>
                      <a:cubicBezTo>
                        <a:pt x="1388" y="285"/>
                        <a:pt x="1388" y="285"/>
                        <a:pt x="1388" y="285"/>
                      </a:cubicBezTo>
                      <a:cubicBezTo>
                        <a:pt x="1361" y="253"/>
                        <a:pt x="1361" y="253"/>
                        <a:pt x="1361" y="253"/>
                      </a:cubicBezTo>
                      <a:cubicBezTo>
                        <a:pt x="1356" y="294"/>
                        <a:pt x="1356" y="294"/>
                        <a:pt x="1356" y="294"/>
                      </a:cubicBezTo>
                      <a:cubicBezTo>
                        <a:pt x="1356" y="294"/>
                        <a:pt x="1342" y="279"/>
                        <a:pt x="1340" y="279"/>
                      </a:cubicBezTo>
                      <a:cubicBezTo>
                        <a:pt x="1339" y="279"/>
                        <a:pt x="1328" y="296"/>
                        <a:pt x="1328" y="296"/>
                      </a:cubicBezTo>
                      <a:cubicBezTo>
                        <a:pt x="1314" y="290"/>
                        <a:pt x="1314" y="290"/>
                        <a:pt x="1314" y="290"/>
                      </a:cubicBezTo>
                      <a:cubicBezTo>
                        <a:pt x="1296" y="315"/>
                        <a:pt x="1296" y="315"/>
                        <a:pt x="1296" y="315"/>
                      </a:cubicBezTo>
                      <a:cubicBezTo>
                        <a:pt x="1296" y="315"/>
                        <a:pt x="1302" y="334"/>
                        <a:pt x="1311" y="339"/>
                      </a:cubicBezTo>
                      <a:cubicBezTo>
                        <a:pt x="1319" y="343"/>
                        <a:pt x="1325" y="351"/>
                        <a:pt x="1325" y="351"/>
                      </a:cubicBezTo>
                      <a:cubicBezTo>
                        <a:pt x="1321" y="362"/>
                        <a:pt x="1321" y="362"/>
                        <a:pt x="1321" y="362"/>
                      </a:cubicBezTo>
                      <a:cubicBezTo>
                        <a:pt x="1321" y="362"/>
                        <a:pt x="1308" y="367"/>
                        <a:pt x="1299" y="361"/>
                      </a:cubicBezTo>
                      <a:cubicBezTo>
                        <a:pt x="1291" y="354"/>
                        <a:pt x="1283" y="347"/>
                        <a:pt x="1281" y="347"/>
                      </a:cubicBezTo>
                      <a:cubicBezTo>
                        <a:pt x="1279" y="347"/>
                        <a:pt x="1276" y="370"/>
                        <a:pt x="1276" y="370"/>
                      </a:cubicBezTo>
                      <a:cubicBezTo>
                        <a:pt x="1293" y="390"/>
                        <a:pt x="1293" y="390"/>
                        <a:pt x="1293" y="390"/>
                      </a:cubicBezTo>
                      <a:cubicBezTo>
                        <a:pt x="1302" y="412"/>
                        <a:pt x="1302" y="412"/>
                        <a:pt x="1302" y="412"/>
                      </a:cubicBezTo>
                      <a:cubicBezTo>
                        <a:pt x="1285" y="406"/>
                        <a:pt x="1285" y="406"/>
                        <a:pt x="1285" y="406"/>
                      </a:cubicBezTo>
                      <a:cubicBezTo>
                        <a:pt x="1261" y="378"/>
                        <a:pt x="1261" y="378"/>
                        <a:pt x="1261" y="378"/>
                      </a:cubicBezTo>
                      <a:cubicBezTo>
                        <a:pt x="1261" y="378"/>
                        <a:pt x="1245" y="395"/>
                        <a:pt x="1237" y="404"/>
                      </a:cubicBezTo>
                      <a:cubicBezTo>
                        <a:pt x="1228" y="414"/>
                        <a:pt x="1215" y="406"/>
                        <a:pt x="1212" y="418"/>
                      </a:cubicBezTo>
                      <a:cubicBezTo>
                        <a:pt x="1208" y="430"/>
                        <a:pt x="1210" y="472"/>
                        <a:pt x="1221" y="471"/>
                      </a:cubicBezTo>
                      <a:cubicBezTo>
                        <a:pt x="1231" y="471"/>
                        <a:pt x="1245" y="453"/>
                        <a:pt x="1245" y="453"/>
                      </a:cubicBezTo>
                      <a:cubicBezTo>
                        <a:pt x="1245" y="453"/>
                        <a:pt x="1242" y="478"/>
                        <a:pt x="1233" y="488"/>
                      </a:cubicBezTo>
                      <a:cubicBezTo>
                        <a:pt x="1224" y="498"/>
                        <a:pt x="1213" y="491"/>
                        <a:pt x="1212" y="502"/>
                      </a:cubicBezTo>
                      <a:cubicBezTo>
                        <a:pt x="1212" y="512"/>
                        <a:pt x="1213" y="520"/>
                        <a:pt x="1216" y="520"/>
                      </a:cubicBezTo>
                      <a:cubicBezTo>
                        <a:pt x="1218" y="520"/>
                        <a:pt x="1232" y="516"/>
                        <a:pt x="1244" y="519"/>
                      </a:cubicBezTo>
                      <a:cubicBezTo>
                        <a:pt x="1256" y="522"/>
                        <a:pt x="1279" y="532"/>
                        <a:pt x="1279" y="532"/>
                      </a:cubicBezTo>
                      <a:cubicBezTo>
                        <a:pt x="1279" y="532"/>
                        <a:pt x="1214" y="538"/>
                        <a:pt x="1203" y="536"/>
                      </a:cubicBezTo>
                      <a:cubicBezTo>
                        <a:pt x="1193" y="533"/>
                        <a:pt x="1201" y="517"/>
                        <a:pt x="1185" y="517"/>
                      </a:cubicBezTo>
                      <a:cubicBezTo>
                        <a:pt x="1169" y="518"/>
                        <a:pt x="1164" y="518"/>
                        <a:pt x="1161" y="520"/>
                      </a:cubicBezTo>
                      <a:cubicBezTo>
                        <a:pt x="1157" y="521"/>
                        <a:pt x="1165" y="532"/>
                        <a:pt x="1165" y="532"/>
                      </a:cubicBezTo>
                      <a:cubicBezTo>
                        <a:pt x="1147" y="532"/>
                        <a:pt x="1147" y="532"/>
                        <a:pt x="1147" y="532"/>
                      </a:cubicBezTo>
                      <a:cubicBezTo>
                        <a:pt x="1147" y="532"/>
                        <a:pt x="1136" y="504"/>
                        <a:pt x="1132" y="504"/>
                      </a:cubicBezTo>
                      <a:cubicBezTo>
                        <a:pt x="1127" y="504"/>
                        <a:pt x="1111" y="508"/>
                        <a:pt x="1113" y="516"/>
                      </a:cubicBezTo>
                      <a:cubicBezTo>
                        <a:pt x="1115" y="525"/>
                        <a:pt x="1135" y="532"/>
                        <a:pt x="1130" y="535"/>
                      </a:cubicBezTo>
                      <a:cubicBezTo>
                        <a:pt x="1126" y="538"/>
                        <a:pt x="1114" y="560"/>
                        <a:pt x="1115" y="563"/>
                      </a:cubicBezTo>
                      <a:cubicBezTo>
                        <a:pt x="1115" y="566"/>
                        <a:pt x="1134" y="599"/>
                        <a:pt x="1144" y="598"/>
                      </a:cubicBezTo>
                      <a:cubicBezTo>
                        <a:pt x="1153" y="598"/>
                        <a:pt x="1163" y="590"/>
                        <a:pt x="1163" y="590"/>
                      </a:cubicBezTo>
                      <a:cubicBezTo>
                        <a:pt x="1154" y="608"/>
                        <a:pt x="1154" y="608"/>
                        <a:pt x="1154" y="608"/>
                      </a:cubicBezTo>
                      <a:cubicBezTo>
                        <a:pt x="1166" y="639"/>
                        <a:pt x="1166" y="639"/>
                        <a:pt x="1166" y="639"/>
                      </a:cubicBezTo>
                      <a:cubicBezTo>
                        <a:pt x="1125" y="614"/>
                        <a:pt x="1125" y="614"/>
                        <a:pt x="1125" y="614"/>
                      </a:cubicBezTo>
                      <a:cubicBezTo>
                        <a:pt x="1125" y="614"/>
                        <a:pt x="1114" y="626"/>
                        <a:pt x="1125" y="642"/>
                      </a:cubicBezTo>
                      <a:cubicBezTo>
                        <a:pt x="1135" y="658"/>
                        <a:pt x="1124" y="687"/>
                        <a:pt x="1124" y="687"/>
                      </a:cubicBezTo>
                      <a:cubicBezTo>
                        <a:pt x="1044" y="571"/>
                        <a:pt x="1044" y="571"/>
                        <a:pt x="1044" y="571"/>
                      </a:cubicBezTo>
                      <a:cubicBezTo>
                        <a:pt x="1044" y="571"/>
                        <a:pt x="1044" y="556"/>
                        <a:pt x="1048" y="554"/>
                      </a:cubicBezTo>
                      <a:cubicBezTo>
                        <a:pt x="1051" y="551"/>
                        <a:pt x="1046" y="540"/>
                        <a:pt x="1044" y="540"/>
                      </a:cubicBezTo>
                      <a:cubicBezTo>
                        <a:pt x="1042" y="540"/>
                        <a:pt x="1037" y="560"/>
                        <a:pt x="1028" y="565"/>
                      </a:cubicBezTo>
                      <a:cubicBezTo>
                        <a:pt x="1019" y="571"/>
                        <a:pt x="1012" y="580"/>
                        <a:pt x="1012" y="582"/>
                      </a:cubicBezTo>
                      <a:cubicBezTo>
                        <a:pt x="1012" y="585"/>
                        <a:pt x="1023" y="596"/>
                        <a:pt x="1021" y="596"/>
                      </a:cubicBezTo>
                      <a:cubicBezTo>
                        <a:pt x="1020" y="596"/>
                        <a:pt x="1005" y="591"/>
                        <a:pt x="998" y="600"/>
                      </a:cubicBezTo>
                      <a:cubicBezTo>
                        <a:pt x="992" y="610"/>
                        <a:pt x="995" y="620"/>
                        <a:pt x="995" y="620"/>
                      </a:cubicBezTo>
                      <a:cubicBezTo>
                        <a:pt x="995" y="620"/>
                        <a:pt x="961" y="623"/>
                        <a:pt x="954" y="657"/>
                      </a:cubicBezTo>
                      <a:cubicBezTo>
                        <a:pt x="947" y="692"/>
                        <a:pt x="961" y="733"/>
                        <a:pt x="961" y="733"/>
                      </a:cubicBezTo>
                      <a:cubicBezTo>
                        <a:pt x="961" y="733"/>
                        <a:pt x="983" y="755"/>
                        <a:pt x="983" y="761"/>
                      </a:cubicBezTo>
                      <a:cubicBezTo>
                        <a:pt x="983" y="766"/>
                        <a:pt x="969" y="775"/>
                        <a:pt x="963" y="783"/>
                      </a:cubicBezTo>
                      <a:cubicBezTo>
                        <a:pt x="957" y="791"/>
                        <a:pt x="951" y="810"/>
                        <a:pt x="951" y="810"/>
                      </a:cubicBezTo>
                      <a:cubicBezTo>
                        <a:pt x="951" y="810"/>
                        <a:pt x="932" y="810"/>
                        <a:pt x="922" y="822"/>
                      </a:cubicBezTo>
                      <a:cubicBezTo>
                        <a:pt x="913" y="834"/>
                        <a:pt x="916" y="853"/>
                        <a:pt x="914" y="853"/>
                      </a:cubicBezTo>
                      <a:cubicBezTo>
                        <a:pt x="913" y="853"/>
                        <a:pt x="899" y="854"/>
                        <a:pt x="899" y="854"/>
                      </a:cubicBezTo>
                      <a:cubicBezTo>
                        <a:pt x="899" y="854"/>
                        <a:pt x="889" y="922"/>
                        <a:pt x="875" y="937"/>
                      </a:cubicBezTo>
                      <a:cubicBezTo>
                        <a:pt x="861" y="952"/>
                        <a:pt x="807" y="992"/>
                        <a:pt x="785" y="1007"/>
                      </a:cubicBezTo>
                      <a:cubicBezTo>
                        <a:pt x="763" y="1021"/>
                        <a:pt x="699" y="1036"/>
                        <a:pt x="697" y="1036"/>
                      </a:cubicBezTo>
                      <a:cubicBezTo>
                        <a:pt x="696" y="1037"/>
                        <a:pt x="675" y="1055"/>
                        <a:pt x="672" y="1053"/>
                      </a:cubicBezTo>
                      <a:cubicBezTo>
                        <a:pt x="670" y="1052"/>
                        <a:pt x="656" y="1043"/>
                        <a:pt x="646" y="1043"/>
                      </a:cubicBezTo>
                      <a:cubicBezTo>
                        <a:pt x="635" y="1043"/>
                        <a:pt x="628" y="1035"/>
                        <a:pt x="629" y="1033"/>
                      </a:cubicBezTo>
                      <a:cubicBezTo>
                        <a:pt x="630" y="1031"/>
                        <a:pt x="655" y="1027"/>
                        <a:pt x="655" y="1027"/>
                      </a:cubicBezTo>
                      <a:cubicBezTo>
                        <a:pt x="655" y="1027"/>
                        <a:pt x="628" y="1024"/>
                        <a:pt x="623" y="1032"/>
                      </a:cubicBezTo>
                      <a:cubicBezTo>
                        <a:pt x="618" y="1040"/>
                        <a:pt x="607" y="1058"/>
                        <a:pt x="604" y="1058"/>
                      </a:cubicBezTo>
                      <a:cubicBezTo>
                        <a:pt x="601" y="1058"/>
                        <a:pt x="600" y="1089"/>
                        <a:pt x="581" y="1092"/>
                      </a:cubicBezTo>
                      <a:cubicBezTo>
                        <a:pt x="562" y="1094"/>
                        <a:pt x="547" y="1098"/>
                        <a:pt x="547" y="1098"/>
                      </a:cubicBezTo>
                      <a:cubicBezTo>
                        <a:pt x="547" y="1098"/>
                        <a:pt x="534" y="1111"/>
                        <a:pt x="531" y="1111"/>
                      </a:cubicBezTo>
                      <a:cubicBezTo>
                        <a:pt x="528" y="1111"/>
                        <a:pt x="508" y="1109"/>
                        <a:pt x="508" y="1109"/>
                      </a:cubicBezTo>
                      <a:cubicBezTo>
                        <a:pt x="508" y="1109"/>
                        <a:pt x="480" y="1146"/>
                        <a:pt x="466" y="1152"/>
                      </a:cubicBezTo>
                      <a:cubicBezTo>
                        <a:pt x="452" y="1158"/>
                        <a:pt x="430" y="1168"/>
                        <a:pt x="430" y="1168"/>
                      </a:cubicBezTo>
                      <a:cubicBezTo>
                        <a:pt x="430" y="1168"/>
                        <a:pt x="414" y="1169"/>
                        <a:pt x="407" y="1168"/>
                      </a:cubicBezTo>
                      <a:cubicBezTo>
                        <a:pt x="400" y="1166"/>
                        <a:pt x="402" y="1153"/>
                        <a:pt x="390" y="1156"/>
                      </a:cubicBezTo>
                      <a:cubicBezTo>
                        <a:pt x="378" y="1159"/>
                        <a:pt x="362" y="1177"/>
                        <a:pt x="361" y="1172"/>
                      </a:cubicBezTo>
                      <a:cubicBezTo>
                        <a:pt x="359" y="1167"/>
                        <a:pt x="354" y="1147"/>
                        <a:pt x="359" y="1142"/>
                      </a:cubicBezTo>
                      <a:cubicBezTo>
                        <a:pt x="364" y="1136"/>
                        <a:pt x="355" y="1128"/>
                        <a:pt x="355" y="1128"/>
                      </a:cubicBezTo>
                      <a:cubicBezTo>
                        <a:pt x="355" y="1128"/>
                        <a:pt x="354" y="1148"/>
                        <a:pt x="346" y="1155"/>
                      </a:cubicBezTo>
                      <a:cubicBezTo>
                        <a:pt x="338" y="1161"/>
                        <a:pt x="312" y="1164"/>
                        <a:pt x="314" y="1164"/>
                      </a:cubicBezTo>
                      <a:cubicBezTo>
                        <a:pt x="316" y="1164"/>
                        <a:pt x="340" y="1169"/>
                        <a:pt x="331" y="1177"/>
                      </a:cubicBezTo>
                      <a:cubicBezTo>
                        <a:pt x="321" y="1184"/>
                        <a:pt x="309" y="1191"/>
                        <a:pt x="303" y="1194"/>
                      </a:cubicBezTo>
                      <a:cubicBezTo>
                        <a:pt x="297" y="1197"/>
                        <a:pt x="287" y="1204"/>
                        <a:pt x="286" y="1205"/>
                      </a:cubicBezTo>
                      <a:cubicBezTo>
                        <a:pt x="286" y="1207"/>
                        <a:pt x="269" y="1227"/>
                        <a:pt x="258" y="1233"/>
                      </a:cubicBezTo>
                      <a:cubicBezTo>
                        <a:pt x="247" y="1239"/>
                        <a:pt x="229" y="1267"/>
                        <a:pt x="225" y="1270"/>
                      </a:cubicBezTo>
                      <a:cubicBezTo>
                        <a:pt x="221" y="1272"/>
                        <a:pt x="210" y="1294"/>
                        <a:pt x="207" y="1297"/>
                      </a:cubicBezTo>
                      <a:cubicBezTo>
                        <a:pt x="203" y="1299"/>
                        <a:pt x="157" y="1326"/>
                        <a:pt x="140" y="1340"/>
                      </a:cubicBezTo>
                      <a:cubicBezTo>
                        <a:pt x="124" y="1354"/>
                        <a:pt x="107" y="1382"/>
                        <a:pt x="107" y="1391"/>
                      </a:cubicBezTo>
                      <a:cubicBezTo>
                        <a:pt x="107" y="1401"/>
                        <a:pt x="101" y="1438"/>
                        <a:pt x="101" y="1438"/>
                      </a:cubicBezTo>
                      <a:cubicBezTo>
                        <a:pt x="101" y="1438"/>
                        <a:pt x="86" y="1444"/>
                        <a:pt x="81" y="1445"/>
                      </a:cubicBezTo>
                      <a:cubicBezTo>
                        <a:pt x="76" y="1446"/>
                        <a:pt x="76" y="1434"/>
                        <a:pt x="73" y="1427"/>
                      </a:cubicBezTo>
                      <a:cubicBezTo>
                        <a:pt x="69" y="1420"/>
                        <a:pt x="64" y="1409"/>
                        <a:pt x="64" y="1405"/>
                      </a:cubicBezTo>
                      <a:cubicBezTo>
                        <a:pt x="64" y="1401"/>
                        <a:pt x="65" y="1356"/>
                        <a:pt x="65" y="1356"/>
                      </a:cubicBezTo>
                      <a:cubicBezTo>
                        <a:pt x="65" y="1356"/>
                        <a:pt x="64" y="1341"/>
                        <a:pt x="46" y="1366"/>
                      </a:cubicBezTo>
                      <a:cubicBezTo>
                        <a:pt x="29" y="1392"/>
                        <a:pt x="37" y="1429"/>
                        <a:pt x="37" y="1429"/>
                      </a:cubicBezTo>
                      <a:cubicBezTo>
                        <a:pt x="37" y="1429"/>
                        <a:pt x="12" y="1451"/>
                        <a:pt x="20" y="1466"/>
                      </a:cubicBezTo>
                      <a:cubicBezTo>
                        <a:pt x="28" y="1481"/>
                        <a:pt x="47" y="1506"/>
                        <a:pt x="47" y="1506"/>
                      </a:cubicBezTo>
                      <a:cubicBezTo>
                        <a:pt x="44" y="1532"/>
                        <a:pt x="44" y="1532"/>
                        <a:pt x="44" y="1532"/>
                      </a:cubicBezTo>
                      <a:cubicBezTo>
                        <a:pt x="44" y="1532"/>
                        <a:pt x="56" y="1548"/>
                        <a:pt x="54" y="1562"/>
                      </a:cubicBezTo>
                      <a:cubicBezTo>
                        <a:pt x="52" y="1576"/>
                        <a:pt x="31" y="1605"/>
                        <a:pt x="29" y="1614"/>
                      </a:cubicBezTo>
                      <a:cubicBezTo>
                        <a:pt x="26" y="1622"/>
                        <a:pt x="25" y="1698"/>
                        <a:pt x="25" y="1698"/>
                      </a:cubicBezTo>
                      <a:cubicBezTo>
                        <a:pt x="25" y="1698"/>
                        <a:pt x="64" y="1737"/>
                        <a:pt x="65" y="1746"/>
                      </a:cubicBezTo>
                      <a:cubicBezTo>
                        <a:pt x="66" y="1755"/>
                        <a:pt x="66" y="1767"/>
                        <a:pt x="69" y="1770"/>
                      </a:cubicBezTo>
                      <a:cubicBezTo>
                        <a:pt x="72" y="1773"/>
                        <a:pt x="89" y="1791"/>
                        <a:pt x="89" y="1791"/>
                      </a:cubicBezTo>
                      <a:cubicBezTo>
                        <a:pt x="99" y="1786"/>
                        <a:pt x="99" y="1786"/>
                        <a:pt x="99" y="1786"/>
                      </a:cubicBezTo>
                      <a:cubicBezTo>
                        <a:pt x="109" y="1804"/>
                        <a:pt x="109" y="1804"/>
                        <a:pt x="109" y="1804"/>
                      </a:cubicBezTo>
                      <a:cubicBezTo>
                        <a:pt x="108" y="1818"/>
                        <a:pt x="108" y="1818"/>
                        <a:pt x="108" y="1818"/>
                      </a:cubicBezTo>
                      <a:cubicBezTo>
                        <a:pt x="108" y="1818"/>
                        <a:pt x="162" y="1857"/>
                        <a:pt x="160" y="1866"/>
                      </a:cubicBezTo>
                      <a:cubicBezTo>
                        <a:pt x="158" y="1875"/>
                        <a:pt x="148" y="1882"/>
                        <a:pt x="148" y="1882"/>
                      </a:cubicBezTo>
                      <a:cubicBezTo>
                        <a:pt x="148" y="1882"/>
                        <a:pt x="154" y="1897"/>
                        <a:pt x="152" y="1903"/>
                      </a:cubicBezTo>
                      <a:cubicBezTo>
                        <a:pt x="150" y="1910"/>
                        <a:pt x="162" y="1919"/>
                        <a:pt x="162" y="1919"/>
                      </a:cubicBezTo>
                      <a:cubicBezTo>
                        <a:pt x="162" y="1919"/>
                        <a:pt x="148" y="1940"/>
                        <a:pt x="148" y="1938"/>
                      </a:cubicBezTo>
                      <a:cubicBezTo>
                        <a:pt x="148" y="1937"/>
                        <a:pt x="120" y="1897"/>
                        <a:pt x="118" y="1892"/>
                      </a:cubicBezTo>
                      <a:cubicBezTo>
                        <a:pt x="115" y="1887"/>
                        <a:pt x="107" y="1913"/>
                        <a:pt x="107" y="1913"/>
                      </a:cubicBezTo>
                      <a:cubicBezTo>
                        <a:pt x="120" y="1928"/>
                        <a:pt x="120" y="1928"/>
                        <a:pt x="120" y="1928"/>
                      </a:cubicBezTo>
                      <a:cubicBezTo>
                        <a:pt x="120" y="1928"/>
                        <a:pt x="129" y="1953"/>
                        <a:pt x="118" y="1959"/>
                      </a:cubicBezTo>
                      <a:cubicBezTo>
                        <a:pt x="107" y="1964"/>
                        <a:pt x="97" y="1966"/>
                        <a:pt x="97" y="1971"/>
                      </a:cubicBezTo>
                      <a:cubicBezTo>
                        <a:pt x="97" y="1976"/>
                        <a:pt x="95" y="1976"/>
                        <a:pt x="95" y="1976"/>
                      </a:cubicBezTo>
                      <a:cubicBezTo>
                        <a:pt x="95" y="1976"/>
                        <a:pt x="172" y="2057"/>
                        <a:pt x="175" y="2082"/>
                      </a:cubicBezTo>
                      <a:cubicBezTo>
                        <a:pt x="178" y="2107"/>
                        <a:pt x="174" y="2129"/>
                        <a:pt x="180" y="2134"/>
                      </a:cubicBezTo>
                      <a:cubicBezTo>
                        <a:pt x="186" y="2140"/>
                        <a:pt x="244" y="2185"/>
                        <a:pt x="250" y="2201"/>
                      </a:cubicBezTo>
                      <a:cubicBezTo>
                        <a:pt x="255" y="2217"/>
                        <a:pt x="245" y="2223"/>
                        <a:pt x="255" y="2233"/>
                      </a:cubicBezTo>
                      <a:cubicBezTo>
                        <a:pt x="266" y="2243"/>
                        <a:pt x="297" y="2275"/>
                        <a:pt x="299" y="2289"/>
                      </a:cubicBezTo>
                      <a:cubicBezTo>
                        <a:pt x="301" y="2303"/>
                        <a:pt x="315" y="2402"/>
                        <a:pt x="331" y="2430"/>
                      </a:cubicBezTo>
                      <a:cubicBezTo>
                        <a:pt x="347" y="2457"/>
                        <a:pt x="428" y="2575"/>
                        <a:pt x="428" y="2585"/>
                      </a:cubicBezTo>
                      <a:cubicBezTo>
                        <a:pt x="429" y="2595"/>
                        <a:pt x="435" y="2622"/>
                        <a:pt x="435" y="2622"/>
                      </a:cubicBezTo>
                      <a:cubicBezTo>
                        <a:pt x="435" y="2622"/>
                        <a:pt x="422" y="2627"/>
                        <a:pt x="423" y="2628"/>
                      </a:cubicBezTo>
                      <a:cubicBezTo>
                        <a:pt x="425" y="2629"/>
                        <a:pt x="443" y="2659"/>
                        <a:pt x="443" y="2659"/>
                      </a:cubicBezTo>
                      <a:cubicBezTo>
                        <a:pt x="433" y="2683"/>
                        <a:pt x="433" y="2683"/>
                        <a:pt x="433" y="2683"/>
                      </a:cubicBezTo>
                      <a:cubicBezTo>
                        <a:pt x="446" y="2698"/>
                        <a:pt x="446" y="2698"/>
                        <a:pt x="446" y="2698"/>
                      </a:cubicBezTo>
                      <a:cubicBezTo>
                        <a:pt x="434" y="2705"/>
                        <a:pt x="434" y="2705"/>
                        <a:pt x="434" y="2705"/>
                      </a:cubicBezTo>
                      <a:cubicBezTo>
                        <a:pt x="434" y="2705"/>
                        <a:pt x="445" y="2727"/>
                        <a:pt x="448" y="2736"/>
                      </a:cubicBezTo>
                      <a:cubicBezTo>
                        <a:pt x="451" y="2745"/>
                        <a:pt x="455" y="2779"/>
                        <a:pt x="439" y="2796"/>
                      </a:cubicBezTo>
                      <a:cubicBezTo>
                        <a:pt x="424" y="2812"/>
                        <a:pt x="417" y="2823"/>
                        <a:pt x="409" y="2819"/>
                      </a:cubicBezTo>
                      <a:cubicBezTo>
                        <a:pt x="400" y="2816"/>
                        <a:pt x="387" y="2802"/>
                        <a:pt x="387" y="2802"/>
                      </a:cubicBezTo>
                      <a:cubicBezTo>
                        <a:pt x="383" y="2825"/>
                        <a:pt x="383" y="2825"/>
                        <a:pt x="383" y="2825"/>
                      </a:cubicBezTo>
                      <a:cubicBezTo>
                        <a:pt x="383" y="2825"/>
                        <a:pt x="390" y="2908"/>
                        <a:pt x="405" y="2906"/>
                      </a:cubicBezTo>
                      <a:cubicBezTo>
                        <a:pt x="419" y="2905"/>
                        <a:pt x="410" y="2888"/>
                        <a:pt x="428" y="2896"/>
                      </a:cubicBezTo>
                      <a:cubicBezTo>
                        <a:pt x="447" y="2905"/>
                        <a:pt x="514" y="2955"/>
                        <a:pt x="514" y="2955"/>
                      </a:cubicBezTo>
                      <a:cubicBezTo>
                        <a:pt x="514" y="2955"/>
                        <a:pt x="537" y="2950"/>
                        <a:pt x="548" y="2954"/>
                      </a:cubicBezTo>
                      <a:cubicBezTo>
                        <a:pt x="559" y="2958"/>
                        <a:pt x="557" y="2966"/>
                        <a:pt x="576" y="2966"/>
                      </a:cubicBezTo>
                      <a:cubicBezTo>
                        <a:pt x="596" y="2966"/>
                        <a:pt x="619" y="2966"/>
                        <a:pt x="621" y="2965"/>
                      </a:cubicBezTo>
                      <a:cubicBezTo>
                        <a:pt x="623" y="2965"/>
                        <a:pt x="646" y="2957"/>
                        <a:pt x="655" y="2959"/>
                      </a:cubicBezTo>
                      <a:cubicBezTo>
                        <a:pt x="664" y="2960"/>
                        <a:pt x="680" y="2969"/>
                        <a:pt x="685" y="2967"/>
                      </a:cubicBezTo>
                      <a:cubicBezTo>
                        <a:pt x="690" y="2966"/>
                        <a:pt x="693" y="2954"/>
                        <a:pt x="712" y="2952"/>
                      </a:cubicBezTo>
                      <a:cubicBezTo>
                        <a:pt x="732" y="2950"/>
                        <a:pt x="737" y="2954"/>
                        <a:pt x="740" y="2950"/>
                      </a:cubicBezTo>
                      <a:cubicBezTo>
                        <a:pt x="742" y="2946"/>
                        <a:pt x="759" y="2934"/>
                        <a:pt x="763" y="2929"/>
                      </a:cubicBezTo>
                      <a:cubicBezTo>
                        <a:pt x="766" y="2925"/>
                        <a:pt x="767" y="2909"/>
                        <a:pt x="767" y="2909"/>
                      </a:cubicBezTo>
                      <a:cubicBezTo>
                        <a:pt x="767" y="2909"/>
                        <a:pt x="774" y="2911"/>
                        <a:pt x="786" y="2896"/>
                      </a:cubicBezTo>
                      <a:cubicBezTo>
                        <a:pt x="798" y="2881"/>
                        <a:pt x="785" y="2874"/>
                        <a:pt x="810" y="2867"/>
                      </a:cubicBezTo>
                      <a:cubicBezTo>
                        <a:pt x="835" y="2861"/>
                        <a:pt x="845" y="2872"/>
                        <a:pt x="849" y="2869"/>
                      </a:cubicBezTo>
                      <a:cubicBezTo>
                        <a:pt x="852" y="2866"/>
                        <a:pt x="869" y="2853"/>
                        <a:pt x="869" y="2851"/>
                      </a:cubicBezTo>
                      <a:cubicBezTo>
                        <a:pt x="869" y="2850"/>
                        <a:pt x="859" y="2843"/>
                        <a:pt x="870" y="2828"/>
                      </a:cubicBezTo>
                      <a:cubicBezTo>
                        <a:pt x="882" y="2814"/>
                        <a:pt x="910" y="2790"/>
                        <a:pt x="910" y="2790"/>
                      </a:cubicBezTo>
                      <a:cubicBezTo>
                        <a:pt x="910" y="2790"/>
                        <a:pt x="967" y="2791"/>
                        <a:pt x="968" y="2789"/>
                      </a:cubicBezTo>
                      <a:cubicBezTo>
                        <a:pt x="969" y="2786"/>
                        <a:pt x="999" y="2767"/>
                        <a:pt x="1014" y="2767"/>
                      </a:cubicBezTo>
                      <a:cubicBezTo>
                        <a:pt x="1029" y="2767"/>
                        <a:pt x="1060" y="2757"/>
                        <a:pt x="1071" y="2756"/>
                      </a:cubicBezTo>
                      <a:cubicBezTo>
                        <a:pt x="1083" y="2755"/>
                        <a:pt x="1084" y="2764"/>
                        <a:pt x="1098" y="2764"/>
                      </a:cubicBezTo>
                      <a:cubicBezTo>
                        <a:pt x="1112" y="2763"/>
                        <a:pt x="1133" y="2760"/>
                        <a:pt x="1133" y="2760"/>
                      </a:cubicBezTo>
                      <a:cubicBezTo>
                        <a:pt x="1133" y="2760"/>
                        <a:pt x="1138" y="2773"/>
                        <a:pt x="1146" y="2773"/>
                      </a:cubicBezTo>
                      <a:cubicBezTo>
                        <a:pt x="1155" y="2773"/>
                        <a:pt x="1151" y="2763"/>
                        <a:pt x="1168" y="2763"/>
                      </a:cubicBezTo>
                      <a:cubicBezTo>
                        <a:pt x="1185" y="2762"/>
                        <a:pt x="1220" y="2753"/>
                        <a:pt x="1220" y="2753"/>
                      </a:cubicBezTo>
                      <a:cubicBezTo>
                        <a:pt x="1239" y="2746"/>
                        <a:pt x="1239" y="2746"/>
                        <a:pt x="1239" y="2746"/>
                      </a:cubicBezTo>
                      <a:cubicBezTo>
                        <a:pt x="1239" y="2746"/>
                        <a:pt x="1257" y="2778"/>
                        <a:pt x="1258" y="2776"/>
                      </a:cubicBezTo>
                      <a:cubicBezTo>
                        <a:pt x="1258" y="2774"/>
                        <a:pt x="1273" y="2758"/>
                        <a:pt x="1273" y="2757"/>
                      </a:cubicBezTo>
                      <a:cubicBezTo>
                        <a:pt x="1273" y="2755"/>
                        <a:pt x="1299" y="2750"/>
                        <a:pt x="1299" y="2750"/>
                      </a:cubicBezTo>
                      <a:cubicBezTo>
                        <a:pt x="1330" y="2701"/>
                        <a:pt x="1330" y="2701"/>
                        <a:pt x="1330" y="2701"/>
                      </a:cubicBezTo>
                      <a:cubicBezTo>
                        <a:pt x="1330" y="2701"/>
                        <a:pt x="1338" y="2636"/>
                        <a:pt x="1358" y="2627"/>
                      </a:cubicBezTo>
                      <a:cubicBezTo>
                        <a:pt x="1377" y="2618"/>
                        <a:pt x="1393" y="2625"/>
                        <a:pt x="1413" y="2610"/>
                      </a:cubicBezTo>
                      <a:cubicBezTo>
                        <a:pt x="1433" y="2595"/>
                        <a:pt x="1450" y="2573"/>
                        <a:pt x="1463" y="2571"/>
                      </a:cubicBezTo>
                      <a:cubicBezTo>
                        <a:pt x="1475" y="2568"/>
                        <a:pt x="1483" y="2567"/>
                        <a:pt x="1486" y="2564"/>
                      </a:cubicBezTo>
                      <a:cubicBezTo>
                        <a:pt x="1489" y="2561"/>
                        <a:pt x="1531" y="2525"/>
                        <a:pt x="1531" y="2525"/>
                      </a:cubicBezTo>
                      <a:cubicBezTo>
                        <a:pt x="1563" y="2520"/>
                        <a:pt x="1563" y="2520"/>
                        <a:pt x="1563" y="2520"/>
                      </a:cubicBezTo>
                      <a:cubicBezTo>
                        <a:pt x="1580" y="2523"/>
                        <a:pt x="1580" y="2523"/>
                        <a:pt x="1580" y="2523"/>
                      </a:cubicBezTo>
                      <a:cubicBezTo>
                        <a:pt x="1580" y="2523"/>
                        <a:pt x="1669" y="2528"/>
                        <a:pt x="1680" y="2520"/>
                      </a:cubicBezTo>
                      <a:cubicBezTo>
                        <a:pt x="1690" y="2512"/>
                        <a:pt x="1728" y="2494"/>
                        <a:pt x="1738" y="2491"/>
                      </a:cubicBezTo>
                      <a:cubicBezTo>
                        <a:pt x="1749" y="2489"/>
                        <a:pt x="1762" y="2490"/>
                        <a:pt x="1774" y="2482"/>
                      </a:cubicBezTo>
                      <a:cubicBezTo>
                        <a:pt x="1786" y="2474"/>
                        <a:pt x="1834" y="2435"/>
                        <a:pt x="1854" y="2431"/>
                      </a:cubicBezTo>
                      <a:lnTo>
                        <a:pt x="1769" y="300"/>
                      </a:lnTo>
                      <a:close/>
                      <a:moveTo>
                        <a:pt x="153" y="2242"/>
                      </a:moveTo>
                      <a:cubicBezTo>
                        <a:pt x="170" y="2229"/>
                        <a:pt x="170" y="2229"/>
                        <a:pt x="170" y="2229"/>
                      </a:cubicBezTo>
                      <a:cubicBezTo>
                        <a:pt x="160" y="2213"/>
                        <a:pt x="160" y="2213"/>
                        <a:pt x="160" y="2213"/>
                      </a:cubicBezTo>
                      <a:lnTo>
                        <a:pt x="153" y="2242"/>
                      </a:lnTo>
                      <a:close/>
                      <a:moveTo>
                        <a:pt x="1400" y="159"/>
                      </a:moveTo>
                      <a:cubicBezTo>
                        <a:pt x="1400" y="150"/>
                        <a:pt x="1393" y="139"/>
                        <a:pt x="1382" y="150"/>
                      </a:cubicBezTo>
                      <a:cubicBezTo>
                        <a:pt x="1382" y="150"/>
                        <a:pt x="1400" y="169"/>
                        <a:pt x="1400" y="159"/>
                      </a:cubicBezTo>
                      <a:close/>
                      <a:moveTo>
                        <a:pt x="1371" y="199"/>
                      </a:moveTo>
                      <a:cubicBezTo>
                        <a:pt x="1371" y="187"/>
                        <a:pt x="1371" y="187"/>
                        <a:pt x="1371" y="187"/>
                      </a:cubicBezTo>
                      <a:cubicBezTo>
                        <a:pt x="1354" y="199"/>
                        <a:pt x="1354" y="199"/>
                        <a:pt x="1354" y="199"/>
                      </a:cubicBezTo>
                      <a:cubicBezTo>
                        <a:pt x="1376" y="211"/>
                        <a:pt x="1376" y="211"/>
                        <a:pt x="1376" y="211"/>
                      </a:cubicBezTo>
                      <a:lnTo>
                        <a:pt x="1371" y="199"/>
                      </a:lnTo>
                      <a:close/>
                      <a:moveTo>
                        <a:pt x="1264" y="350"/>
                      </a:moveTo>
                      <a:cubicBezTo>
                        <a:pt x="1278" y="347"/>
                        <a:pt x="1263" y="336"/>
                        <a:pt x="1260" y="343"/>
                      </a:cubicBezTo>
                      <a:cubicBezTo>
                        <a:pt x="1260" y="343"/>
                        <a:pt x="1251" y="352"/>
                        <a:pt x="1264" y="350"/>
                      </a:cubicBezTo>
                      <a:close/>
                      <a:moveTo>
                        <a:pt x="1250" y="347"/>
                      </a:moveTo>
                      <a:cubicBezTo>
                        <a:pt x="1254" y="346"/>
                        <a:pt x="1245" y="328"/>
                        <a:pt x="1239" y="335"/>
                      </a:cubicBezTo>
                      <a:cubicBezTo>
                        <a:pt x="1239" y="335"/>
                        <a:pt x="1246" y="348"/>
                        <a:pt x="1250" y="347"/>
                      </a:cubicBezTo>
                      <a:close/>
                      <a:moveTo>
                        <a:pt x="1401" y="219"/>
                      </a:moveTo>
                      <a:cubicBezTo>
                        <a:pt x="1420" y="219"/>
                        <a:pt x="1420" y="219"/>
                        <a:pt x="1420" y="219"/>
                      </a:cubicBezTo>
                      <a:cubicBezTo>
                        <a:pt x="1421" y="202"/>
                        <a:pt x="1421" y="202"/>
                        <a:pt x="1421" y="202"/>
                      </a:cubicBezTo>
                      <a:cubicBezTo>
                        <a:pt x="1404" y="195"/>
                        <a:pt x="1404" y="195"/>
                        <a:pt x="1404" y="195"/>
                      </a:cubicBezTo>
                      <a:cubicBezTo>
                        <a:pt x="1392" y="210"/>
                        <a:pt x="1392" y="210"/>
                        <a:pt x="1392" y="210"/>
                      </a:cubicBezTo>
                      <a:lnTo>
                        <a:pt x="1401" y="219"/>
                      </a:lnTo>
                      <a:close/>
                      <a:moveTo>
                        <a:pt x="1206" y="389"/>
                      </a:moveTo>
                      <a:cubicBezTo>
                        <a:pt x="1206" y="389"/>
                        <a:pt x="1202" y="396"/>
                        <a:pt x="1215" y="396"/>
                      </a:cubicBezTo>
                      <a:cubicBezTo>
                        <a:pt x="1229" y="396"/>
                        <a:pt x="1235" y="388"/>
                        <a:pt x="1235" y="388"/>
                      </a:cubicBezTo>
                      <a:cubicBezTo>
                        <a:pt x="1211" y="377"/>
                        <a:pt x="1211" y="377"/>
                        <a:pt x="1211" y="377"/>
                      </a:cubicBezTo>
                      <a:cubicBezTo>
                        <a:pt x="1195" y="389"/>
                        <a:pt x="1195" y="389"/>
                        <a:pt x="1195" y="389"/>
                      </a:cubicBezTo>
                      <a:cubicBezTo>
                        <a:pt x="1185" y="389"/>
                        <a:pt x="1185" y="389"/>
                        <a:pt x="1185" y="389"/>
                      </a:cubicBezTo>
                      <a:cubicBezTo>
                        <a:pt x="1197" y="401"/>
                        <a:pt x="1197" y="401"/>
                        <a:pt x="1197" y="401"/>
                      </a:cubicBezTo>
                      <a:lnTo>
                        <a:pt x="1206" y="389"/>
                      </a:lnTo>
                      <a:close/>
                      <a:moveTo>
                        <a:pt x="1009" y="0"/>
                      </a:moveTo>
                      <a:cubicBezTo>
                        <a:pt x="986" y="13"/>
                        <a:pt x="986" y="13"/>
                        <a:pt x="986" y="13"/>
                      </a:cubicBezTo>
                      <a:cubicBezTo>
                        <a:pt x="1008" y="18"/>
                        <a:pt x="1008" y="18"/>
                        <a:pt x="1008" y="18"/>
                      </a:cubicBezTo>
                      <a:lnTo>
                        <a:pt x="1009" y="0"/>
                      </a:lnTo>
                      <a:close/>
                      <a:moveTo>
                        <a:pt x="1045" y="433"/>
                      </a:moveTo>
                      <a:cubicBezTo>
                        <a:pt x="1049" y="433"/>
                        <a:pt x="1060" y="445"/>
                        <a:pt x="1060" y="445"/>
                      </a:cubicBezTo>
                      <a:cubicBezTo>
                        <a:pt x="1066" y="425"/>
                        <a:pt x="1066" y="425"/>
                        <a:pt x="1066" y="425"/>
                      </a:cubicBezTo>
                      <a:cubicBezTo>
                        <a:pt x="1054" y="425"/>
                        <a:pt x="1054" y="425"/>
                        <a:pt x="1054" y="425"/>
                      </a:cubicBezTo>
                      <a:cubicBezTo>
                        <a:pt x="1044" y="417"/>
                        <a:pt x="1044" y="417"/>
                        <a:pt x="1044" y="417"/>
                      </a:cubicBezTo>
                      <a:cubicBezTo>
                        <a:pt x="1044" y="417"/>
                        <a:pt x="1041" y="433"/>
                        <a:pt x="1045" y="433"/>
                      </a:cubicBezTo>
                      <a:close/>
                      <a:moveTo>
                        <a:pt x="1078" y="48"/>
                      </a:moveTo>
                      <a:cubicBezTo>
                        <a:pt x="1085" y="42"/>
                        <a:pt x="1066" y="37"/>
                        <a:pt x="1066" y="37"/>
                      </a:cubicBezTo>
                      <a:cubicBezTo>
                        <a:pt x="1062" y="44"/>
                        <a:pt x="1072" y="53"/>
                        <a:pt x="1078" y="48"/>
                      </a:cubicBezTo>
                      <a:close/>
                      <a:moveTo>
                        <a:pt x="1113" y="424"/>
                      </a:moveTo>
                      <a:cubicBezTo>
                        <a:pt x="1113" y="417"/>
                        <a:pt x="1105" y="416"/>
                        <a:pt x="1098" y="416"/>
                      </a:cubicBezTo>
                      <a:cubicBezTo>
                        <a:pt x="1092" y="416"/>
                        <a:pt x="1113" y="431"/>
                        <a:pt x="1113" y="424"/>
                      </a:cubicBezTo>
                      <a:close/>
                    </a:path>
                  </a:pathLst>
                </a:custGeom>
                <a:solidFill>
                  <a:srgbClr val="902017"/>
                </a:solidFill>
                <a:ln w="9525" cap="flat" cmpd="sng">
                  <a:solidFill>
                    <a:schemeClr val="bg1"/>
                  </a:solidFill>
                  <a:prstDash val="solid"/>
                  <a:round/>
                  <a:headEnd type="none" w="med" len="med"/>
                  <a:tailEnd type="none" w="med" len="med"/>
                </a:ln>
                <a:effectLst/>
              </p:spPr>
              <p:txBody>
                <a:bodyPr/>
                <a:lstStyle/>
                <a:p>
                  <a:endParaRPr lang="en-GB"/>
                </a:p>
              </p:txBody>
            </p:sp>
            <p:sp>
              <p:nvSpPr>
                <p:cNvPr id="18451" name="Freeform 19" descr="© INSCALE GmbH, 05.05.2010&#10;http://www.presentationload.com/"/>
                <p:cNvSpPr>
                  <a:spLocks noChangeAspect="1" noEditPoints="1"/>
                </p:cNvSpPr>
                <p:nvPr/>
              </p:nvSpPr>
              <p:spPr bwMode="auto">
                <a:xfrm>
                  <a:off x="3811" y="948"/>
                  <a:ext cx="637" cy="1084"/>
                </a:xfrm>
                <a:custGeom>
                  <a:avLst/>
                  <a:gdLst/>
                  <a:ahLst/>
                  <a:cxnLst>
                    <a:cxn ang="0">
                      <a:pos x="909" y="315"/>
                    </a:cxn>
                    <a:cxn ang="0">
                      <a:pos x="852" y="125"/>
                    </a:cxn>
                    <a:cxn ang="0">
                      <a:pos x="900" y="87"/>
                    </a:cxn>
                    <a:cxn ang="0">
                      <a:pos x="852" y="125"/>
                    </a:cxn>
                    <a:cxn ang="0">
                      <a:pos x="311" y="73"/>
                    </a:cxn>
                    <a:cxn ang="0">
                      <a:pos x="279" y="23"/>
                    </a:cxn>
                    <a:cxn ang="0">
                      <a:pos x="242" y="40"/>
                    </a:cxn>
                    <a:cxn ang="0">
                      <a:pos x="206" y="99"/>
                    </a:cxn>
                    <a:cxn ang="0">
                      <a:pos x="182" y="87"/>
                    </a:cxn>
                    <a:cxn ang="0">
                      <a:pos x="126" y="109"/>
                    </a:cxn>
                    <a:cxn ang="0">
                      <a:pos x="977" y="611"/>
                    </a:cxn>
                    <a:cxn ang="0">
                      <a:pos x="959" y="583"/>
                    </a:cxn>
                    <a:cxn ang="0">
                      <a:pos x="963" y="430"/>
                    </a:cxn>
                    <a:cxn ang="0">
                      <a:pos x="988" y="419"/>
                    </a:cxn>
                    <a:cxn ang="0">
                      <a:pos x="973" y="351"/>
                    </a:cxn>
                    <a:cxn ang="0">
                      <a:pos x="937" y="414"/>
                    </a:cxn>
                    <a:cxn ang="0">
                      <a:pos x="996" y="611"/>
                    </a:cxn>
                    <a:cxn ang="0">
                      <a:pos x="977" y="51"/>
                    </a:cxn>
                    <a:cxn ang="0">
                      <a:pos x="927" y="361"/>
                    </a:cxn>
                    <a:cxn ang="0">
                      <a:pos x="927" y="361"/>
                    </a:cxn>
                    <a:cxn ang="0">
                      <a:pos x="1097" y="687"/>
                    </a:cxn>
                    <a:cxn ang="0">
                      <a:pos x="968" y="628"/>
                    </a:cxn>
                    <a:cxn ang="0">
                      <a:pos x="810" y="491"/>
                    </a:cxn>
                    <a:cxn ang="0">
                      <a:pos x="889" y="366"/>
                    </a:cxn>
                    <a:cxn ang="0">
                      <a:pos x="900" y="294"/>
                    </a:cxn>
                    <a:cxn ang="0">
                      <a:pos x="940" y="296"/>
                    </a:cxn>
                    <a:cxn ang="0">
                      <a:pos x="993" y="199"/>
                    </a:cxn>
                    <a:cxn ang="0">
                      <a:pos x="967" y="131"/>
                    </a:cxn>
                    <a:cxn ang="0">
                      <a:pos x="925" y="192"/>
                    </a:cxn>
                    <a:cxn ang="0">
                      <a:pos x="884" y="152"/>
                    </a:cxn>
                    <a:cxn ang="0">
                      <a:pos x="802" y="170"/>
                    </a:cxn>
                    <a:cxn ang="0">
                      <a:pos x="709" y="140"/>
                    </a:cxn>
                    <a:cxn ang="0">
                      <a:pos x="651" y="114"/>
                    </a:cxn>
                    <a:cxn ang="0">
                      <a:pos x="586" y="108"/>
                    </a:cxn>
                    <a:cxn ang="0">
                      <a:pos x="493" y="42"/>
                    </a:cxn>
                    <a:cxn ang="0">
                      <a:pos x="452" y="0"/>
                    </a:cxn>
                    <a:cxn ang="0">
                      <a:pos x="411" y="24"/>
                    </a:cxn>
                    <a:cxn ang="0">
                      <a:pos x="374" y="43"/>
                    </a:cxn>
                    <a:cxn ang="0">
                      <a:pos x="464" y="87"/>
                    </a:cxn>
                    <a:cxn ang="0">
                      <a:pos x="440" y="149"/>
                    </a:cxn>
                    <a:cxn ang="0">
                      <a:pos x="411" y="153"/>
                    </a:cxn>
                    <a:cxn ang="0">
                      <a:pos x="353" y="169"/>
                    </a:cxn>
                    <a:cxn ang="0">
                      <a:pos x="267" y="150"/>
                    </a:cxn>
                    <a:cxn ang="0">
                      <a:pos x="220" y="193"/>
                    </a:cxn>
                    <a:cxn ang="0">
                      <a:pos x="185" y="217"/>
                    </a:cxn>
                    <a:cxn ang="0">
                      <a:pos x="145" y="292"/>
                    </a:cxn>
                    <a:cxn ang="0">
                      <a:pos x="101" y="355"/>
                    </a:cxn>
                    <a:cxn ang="0">
                      <a:pos x="103" y="467"/>
                    </a:cxn>
                    <a:cxn ang="0">
                      <a:pos x="81" y="507"/>
                    </a:cxn>
                    <a:cxn ang="0">
                      <a:pos x="30" y="556"/>
                    </a:cxn>
                    <a:cxn ang="0">
                      <a:pos x="806" y="1914"/>
                    </a:cxn>
                  </a:cxnLst>
                  <a:rect l="0" t="0" r="r" b="b"/>
                  <a:pathLst>
                    <a:path w="1131" h="1927">
                      <a:moveTo>
                        <a:pt x="1017" y="637"/>
                      </a:moveTo>
                      <a:cubicBezTo>
                        <a:pt x="1025" y="640"/>
                        <a:pt x="1021" y="621"/>
                        <a:pt x="1021" y="621"/>
                      </a:cubicBezTo>
                      <a:cubicBezTo>
                        <a:pt x="1002" y="621"/>
                        <a:pt x="1009" y="635"/>
                        <a:pt x="1017" y="637"/>
                      </a:cubicBezTo>
                      <a:close/>
                      <a:moveTo>
                        <a:pt x="909" y="315"/>
                      </a:moveTo>
                      <a:cubicBezTo>
                        <a:pt x="899" y="306"/>
                        <a:pt x="896" y="310"/>
                        <a:pt x="896" y="310"/>
                      </a:cubicBezTo>
                      <a:cubicBezTo>
                        <a:pt x="896" y="310"/>
                        <a:pt x="915" y="325"/>
                        <a:pt x="911" y="331"/>
                      </a:cubicBezTo>
                      <a:cubicBezTo>
                        <a:pt x="913" y="328"/>
                        <a:pt x="918" y="323"/>
                        <a:pt x="909" y="315"/>
                      </a:cubicBezTo>
                      <a:close/>
                      <a:moveTo>
                        <a:pt x="852" y="125"/>
                      </a:moveTo>
                      <a:cubicBezTo>
                        <a:pt x="867" y="136"/>
                        <a:pt x="867" y="136"/>
                        <a:pt x="867" y="136"/>
                      </a:cubicBezTo>
                      <a:cubicBezTo>
                        <a:pt x="881" y="132"/>
                        <a:pt x="881" y="132"/>
                        <a:pt x="881" y="132"/>
                      </a:cubicBezTo>
                      <a:cubicBezTo>
                        <a:pt x="872" y="121"/>
                        <a:pt x="872" y="121"/>
                        <a:pt x="872" y="121"/>
                      </a:cubicBezTo>
                      <a:cubicBezTo>
                        <a:pt x="872" y="121"/>
                        <a:pt x="908" y="87"/>
                        <a:pt x="900" y="87"/>
                      </a:cubicBezTo>
                      <a:cubicBezTo>
                        <a:pt x="892" y="87"/>
                        <a:pt x="875" y="113"/>
                        <a:pt x="863" y="116"/>
                      </a:cubicBezTo>
                      <a:cubicBezTo>
                        <a:pt x="851" y="119"/>
                        <a:pt x="838" y="129"/>
                        <a:pt x="838" y="129"/>
                      </a:cubicBezTo>
                      <a:cubicBezTo>
                        <a:pt x="846" y="135"/>
                        <a:pt x="846" y="135"/>
                        <a:pt x="846" y="135"/>
                      </a:cubicBezTo>
                      <a:lnTo>
                        <a:pt x="852" y="125"/>
                      </a:lnTo>
                      <a:close/>
                      <a:moveTo>
                        <a:pt x="206" y="99"/>
                      </a:moveTo>
                      <a:cubicBezTo>
                        <a:pt x="254" y="127"/>
                        <a:pt x="254" y="127"/>
                        <a:pt x="254" y="127"/>
                      </a:cubicBezTo>
                      <a:cubicBezTo>
                        <a:pt x="300" y="81"/>
                        <a:pt x="300" y="81"/>
                        <a:pt x="300" y="81"/>
                      </a:cubicBezTo>
                      <a:cubicBezTo>
                        <a:pt x="311" y="73"/>
                        <a:pt x="311" y="73"/>
                        <a:pt x="311" y="73"/>
                      </a:cubicBezTo>
                      <a:cubicBezTo>
                        <a:pt x="311" y="61"/>
                        <a:pt x="311" y="61"/>
                        <a:pt x="311" y="61"/>
                      </a:cubicBezTo>
                      <a:cubicBezTo>
                        <a:pt x="320" y="55"/>
                        <a:pt x="320" y="55"/>
                        <a:pt x="320" y="55"/>
                      </a:cubicBezTo>
                      <a:cubicBezTo>
                        <a:pt x="320" y="55"/>
                        <a:pt x="313" y="49"/>
                        <a:pt x="304" y="39"/>
                      </a:cubicBezTo>
                      <a:cubicBezTo>
                        <a:pt x="295" y="28"/>
                        <a:pt x="279" y="23"/>
                        <a:pt x="279" y="23"/>
                      </a:cubicBezTo>
                      <a:cubicBezTo>
                        <a:pt x="282" y="53"/>
                        <a:pt x="282" y="53"/>
                        <a:pt x="282" y="53"/>
                      </a:cubicBezTo>
                      <a:cubicBezTo>
                        <a:pt x="282" y="53"/>
                        <a:pt x="272" y="31"/>
                        <a:pt x="266" y="39"/>
                      </a:cubicBezTo>
                      <a:cubicBezTo>
                        <a:pt x="259" y="47"/>
                        <a:pt x="256" y="57"/>
                        <a:pt x="256" y="57"/>
                      </a:cubicBezTo>
                      <a:cubicBezTo>
                        <a:pt x="256" y="57"/>
                        <a:pt x="251" y="41"/>
                        <a:pt x="242" y="40"/>
                      </a:cubicBezTo>
                      <a:cubicBezTo>
                        <a:pt x="232" y="39"/>
                        <a:pt x="208" y="59"/>
                        <a:pt x="208" y="59"/>
                      </a:cubicBezTo>
                      <a:cubicBezTo>
                        <a:pt x="171" y="32"/>
                        <a:pt x="171" y="32"/>
                        <a:pt x="171" y="32"/>
                      </a:cubicBezTo>
                      <a:cubicBezTo>
                        <a:pt x="171" y="32"/>
                        <a:pt x="171" y="56"/>
                        <a:pt x="179" y="67"/>
                      </a:cubicBezTo>
                      <a:cubicBezTo>
                        <a:pt x="187" y="77"/>
                        <a:pt x="206" y="99"/>
                        <a:pt x="206" y="99"/>
                      </a:cubicBezTo>
                      <a:close/>
                      <a:moveTo>
                        <a:pt x="126" y="109"/>
                      </a:moveTo>
                      <a:cubicBezTo>
                        <a:pt x="151" y="113"/>
                        <a:pt x="158" y="107"/>
                        <a:pt x="166" y="107"/>
                      </a:cubicBezTo>
                      <a:cubicBezTo>
                        <a:pt x="174" y="107"/>
                        <a:pt x="200" y="117"/>
                        <a:pt x="200" y="111"/>
                      </a:cubicBezTo>
                      <a:cubicBezTo>
                        <a:pt x="200" y="104"/>
                        <a:pt x="191" y="93"/>
                        <a:pt x="182" y="87"/>
                      </a:cubicBezTo>
                      <a:cubicBezTo>
                        <a:pt x="172" y="80"/>
                        <a:pt x="162" y="51"/>
                        <a:pt x="162" y="51"/>
                      </a:cubicBezTo>
                      <a:cubicBezTo>
                        <a:pt x="141" y="64"/>
                        <a:pt x="141" y="64"/>
                        <a:pt x="141" y="64"/>
                      </a:cubicBezTo>
                      <a:cubicBezTo>
                        <a:pt x="151" y="89"/>
                        <a:pt x="151" y="89"/>
                        <a:pt x="151" y="89"/>
                      </a:cubicBezTo>
                      <a:cubicBezTo>
                        <a:pt x="151" y="89"/>
                        <a:pt x="101" y="105"/>
                        <a:pt x="126" y="109"/>
                      </a:cubicBezTo>
                      <a:close/>
                      <a:moveTo>
                        <a:pt x="959" y="108"/>
                      </a:moveTo>
                      <a:cubicBezTo>
                        <a:pt x="963" y="113"/>
                        <a:pt x="984" y="103"/>
                        <a:pt x="977" y="99"/>
                      </a:cubicBezTo>
                      <a:cubicBezTo>
                        <a:pt x="971" y="95"/>
                        <a:pt x="951" y="100"/>
                        <a:pt x="959" y="108"/>
                      </a:cubicBezTo>
                      <a:close/>
                      <a:moveTo>
                        <a:pt x="977" y="611"/>
                      </a:moveTo>
                      <a:cubicBezTo>
                        <a:pt x="977" y="611"/>
                        <a:pt x="996" y="597"/>
                        <a:pt x="997" y="591"/>
                      </a:cubicBezTo>
                      <a:cubicBezTo>
                        <a:pt x="998" y="584"/>
                        <a:pt x="980" y="591"/>
                        <a:pt x="980" y="591"/>
                      </a:cubicBezTo>
                      <a:cubicBezTo>
                        <a:pt x="963" y="603"/>
                        <a:pt x="963" y="603"/>
                        <a:pt x="963" y="603"/>
                      </a:cubicBezTo>
                      <a:cubicBezTo>
                        <a:pt x="959" y="583"/>
                        <a:pt x="959" y="583"/>
                        <a:pt x="959" y="583"/>
                      </a:cubicBezTo>
                      <a:cubicBezTo>
                        <a:pt x="947" y="599"/>
                        <a:pt x="947" y="599"/>
                        <a:pt x="947" y="599"/>
                      </a:cubicBezTo>
                      <a:cubicBezTo>
                        <a:pt x="959" y="624"/>
                        <a:pt x="977" y="611"/>
                        <a:pt x="977" y="611"/>
                      </a:cubicBezTo>
                      <a:close/>
                      <a:moveTo>
                        <a:pt x="943" y="422"/>
                      </a:moveTo>
                      <a:cubicBezTo>
                        <a:pt x="951" y="425"/>
                        <a:pt x="963" y="430"/>
                        <a:pt x="963" y="430"/>
                      </a:cubicBezTo>
                      <a:cubicBezTo>
                        <a:pt x="989" y="430"/>
                        <a:pt x="989" y="430"/>
                        <a:pt x="989" y="430"/>
                      </a:cubicBezTo>
                      <a:cubicBezTo>
                        <a:pt x="989" y="430"/>
                        <a:pt x="1002" y="435"/>
                        <a:pt x="1004" y="426"/>
                      </a:cubicBezTo>
                      <a:cubicBezTo>
                        <a:pt x="1005" y="417"/>
                        <a:pt x="1002" y="407"/>
                        <a:pt x="1002" y="407"/>
                      </a:cubicBezTo>
                      <a:cubicBezTo>
                        <a:pt x="988" y="419"/>
                        <a:pt x="988" y="419"/>
                        <a:pt x="988" y="419"/>
                      </a:cubicBezTo>
                      <a:cubicBezTo>
                        <a:pt x="972" y="405"/>
                        <a:pt x="972" y="405"/>
                        <a:pt x="972" y="405"/>
                      </a:cubicBezTo>
                      <a:cubicBezTo>
                        <a:pt x="1005" y="359"/>
                        <a:pt x="1005" y="359"/>
                        <a:pt x="1005" y="359"/>
                      </a:cubicBezTo>
                      <a:cubicBezTo>
                        <a:pt x="981" y="373"/>
                        <a:pt x="981" y="373"/>
                        <a:pt x="981" y="373"/>
                      </a:cubicBezTo>
                      <a:cubicBezTo>
                        <a:pt x="973" y="351"/>
                        <a:pt x="973" y="351"/>
                        <a:pt x="973" y="351"/>
                      </a:cubicBezTo>
                      <a:cubicBezTo>
                        <a:pt x="952" y="354"/>
                        <a:pt x="952" y="354"/>
                        <a:pt x="952" y="354"/>
                      </a:cubicBezTo>
                      <a:cubicBezTo>
                        <a:pt x="951" y="370"/>
                        <a:pt x="951" y="370"/>
                        <a:pt x="951" y="370"/>
                      </a:cubicBezTo>
                      <a:cubicBezTo>
                        <a:pt x="940" y="370"/>
                        <a:pt x="940" y="370"/>
                        <a:pt x="940" y="370"/>
                      </a:cubicBezTo>
                      <a:cubicBezTo>
                        <a:pt x="940" y="370"/>
                        <a:pt x="947" y="406"/>
                        <a:pt x="937" y="414"/>
                      </a:cubicBezTo>
                      <a:cubicBezTo>
                        <a:pt x="928" y="422"/>
                        <a:pt x="927" y="427"/>
                        <a:pt x="927" y="427"/>
                      </a:cubicBezTo>
                      <a:cubicBezTo>
                        <a:pt x="927" y="427"/>
                        <a:pt x="935" y="419"/>
                        <a:pt x="943" y="422"/>
                      </a:cubicBezTo>
                      <a:close/>
                      <a:moveTo>
                        <a:pt x="1016" y="595"/>
                      </a:moveTo>
                      <a:cubicBezTo>
                        <a:pt x="1006" y="592"/>
                        <a:pt x="1002" y="603"/>
                        <a:pt x="996" y="611"/>
                      </a:cubicBezTo>
                      <a:cubicBezTo>
                        <a:pt x="996" y="611"/>
                        <a:pt x="1004" y="611"/>
                        <a:pt x="1008" y="609"/>
                      </a:cubicBezTo>
                      <a:cubicBezTo>
                        <a:pt x="1012" y="608"/>
                        <a:pt x="1025" y="597"/>
                        <a:pt x="1016" y="595"/>
                      </a:cubicBezTo>
                      <a:close/>
                      <a:moveTo>
                        <a:pt x="917" y="91"/>
                      </a:moveTo>
                      <a:cubicBezTo>
                        <a:pt x="917" y="91"/>
                        <a:pt x="960" y="73"/>
                        <a:pt x="977" y="51"/>
                      </a:cubicBezTo>
                      <a:cubicBezTo>
                        <a:pt x="994" y="28"/>
                        <a:pt x="996" y="4"/>
                        <a:pt x="996" y="4"/>
                      </a:cubicBezTo>
                      <a:cubicBezTo>
                        <a:pt x="996" y="4"/>
                        <a:pt x="984" y="28"/>
                        <a:pt x="972" y="40"/>
                      </a:cubicBezTo>
                      <a:cubicBezTo>
                        <a:pt x="960" y="52"/>
                        <a:pt x="903" y="83"/>
                        <a:pt x="917" y="91"/>
                      </a:cubicBezTo>
                      <a:close/>
                      <a:moveTo>
                        <a:pt x="927" y="361"/>
                      </a:moveTo>
                      <a:cubicBezTo>
                        <a:pt x="915" y="349"/>
                        <a:pt x="915" y="349"/>
                        <a:pt x="915" y="349"/>
                      </a:cubicBezTo>
                      <a:cubicBezTo>
                        <a:pt x="904" y="354"/>
                        <a:pt x="904" y="354"/>
                        <a:pt x="904" y="354"/>
                      </a:cubicBezTo>
                      <a:cubicBezTo>
                        <a:pt x="916" y="367"/>
                        <a:pt x="916" y="367"/>
                        <a:pt x="916" y="367"/>
                      </a:cubicBezTo>
                      <a:lnTo>
                        <a:pt x="927" y="361"/>
                      </a:lnTo>
                      <a:close/>
                      <a:moveTo>
                        <a:pt x="844" y="511"/>
                      </a:moveTo>
                      <a:cubicBezTo>
                        <a:pt x="854" y="511"/>
                        <a:pt x="864" y="512"/>
                        <a:pt x="856" y="502"/>
                      </a:cubicBezTo>
                      <a:cubicBezTo>
                        <a:pt x="848" y="491"/>
                        <a:pt x="844" y="511"/>
                        <a:pt x="844" y="511"/>
                      </a:cubicBezTo>
                      <a:close/>
                      <a:moveTo>
                        <a:pt x="1097" y="687"/>
                      </a:moveTo>
                      <a:cubicBezTo>
                        <a:pt x="1084" y="681"/>
                        <a:pt x="1060" y="676"/>
                        <a:pt x="1060" y="676"/>
                      </a:cubicBezTo>
                      <a:cubicBezTo>
                        <a:pt x="1060" y="676"/>
                        <a:pt x="1015" y="646"/>
                        <a:pt x="1013" y="644"/>
                      </a:cubicBezTo>
                      <a:cubicBezTo>
                        <a:pt x="1011" y="642"/>
                        <a:pt x="988" y="650"/>
                        <a:pt x="977" y="646"/>
                      </a:cubicBezTo>
                      <a:cubicBezTo>
                        <a:pt x="967" y="642"/>
                        <a:pt x="968" y="628"/>
                        <a:pt x="968" y="628"/>
                      </a:cubicBezTo>
                      <a:cubicBezTo>
                        <a:pt x="919" y="595"/>
                        <a:pt x="919" y="595"/>
                        <a:pt x="919" y="595"/>
                      </a:cubicBezTo>
                      <a:cubicBezTo>
                        <a:pt x="911" y="574"/>
                        <a:pt x="911" y="574"/>
                        <a:pt x="911" y="574"/>
                      </a:cubicBezTo>
                      <a:cubicBezTo>
                        <a:pt x="911" y="574"/>
                        <a:pt x="840" y="529"/>
                        <a:pt x="839" y="528"/>
                      </a:cubicBezTo>
                      <a:cubicBezTo>
                        <a:pt x="837" y="527"/>
                        <a:pt x="806" y="498"/>
                        <a:pt x="810" y="491"/>
                      </a:cubicBezTo>
                      <a:cubicBezTo>
                        <a:pt x="814" y="484"/>
                        <a:pt x="831" y="475"/>
                        <a:pt x="831" y="475"/>
                      </a:cubicBezTo>
                      <a:cubicBezTo>
                        <a:pt x="831" y="475"/>
                        <a:pt x="825" y="465"/>
                        <a:pt x="832" y="459"/>
                      </a:cubicBezTo>
                      <a:cubicBezTo>
                        <a:pt x="839" y="454"/>
                        <a:pt x="862" y="424"/>
                        <a:pt x="870" y="420"/>
                      </a:cubicBezTo>
                      <a:cubicBezTo>
                        <a:pt x="878" y="416"/>
                        <a:pt x="890" y="378"/>
                        <a:pt x="889" y="366"/>
                      </a:cubicBezTo>
                      <a:cubicBezTo>
                        <a:pt x="888" y="354"/>
                        <a:pt x="866" y="352"/>
                        <a:pt x="869" y="338"/>
                      </a:cubicBezTo>
                      <a:cubicBezTo>
                        <a:pt x="872" y="325"/>
                        <a:pt x="882" y="320"/>
                        <a:pt x="882" y="317"/>
                      </a:cubicBezTo>
                      <a:cubicBezTo>
                        <a:pt x="882" y="315"/>
                        <a:pt x="869" y="296"/>
                        <a:pt x="884" y="297"/>
                      </a:cubicBezTo>
                      <a:cubicBezTo>
                        <a:pt x="898" y="297"/>
                        <a:pt x="900" y="294"/>
                        <a:pt x="900" y="294"/>
                      </a:cubicBezTo>
                      <a:cubicBezTo>
                        <a:pt x="916" y="287"/>
                        <a:pt x="916" y="287"/>
                        <a:pt x="916" y="287"/>
                      </a:cubicBezTo>
                      <a:cubicBezTo>
                        <a:pt x="917" y="293"/>
                        <a:pt x="917" y="293"/>
                        <a:pt x="917" y="293"/>
                      </a:cubicBezTo>
                      <a:cubicBezTo>
                        <a:pt x="930" y="278"/>
                        <a:pt x="930" y="278"/>
                        <a:pt x="930" y="278"/>
                      </a:cubicBezTo>
                      <a:cubicBezTo>
                        <a:pt x="930" y="278"/>
                        <a:pt x="939" y="298"/>
                        <a:pt x="940" y="296"/>
                      </a:cubicBezTo>
                      <a:cubicBezTo>
                        <a:pt x="941" y="295"/>
                        <a:pt x="963" y="278"/>
                        <a:pt x="963" y="273"/>
                      </a:cubicBezTo>
                      <a:cubicBezTo>
                        <a:pt x="963" y="269"/>
                        <a:pt x="970" y="261"/>
                        <a:pt x="970" y="261"/>
                      </a:cubicBezTo>
                      <a:cubicBezTo>
                        <a:pt x="955" y="245"/>
                        <a:pt x="955" y="245"/>
                        <a:pt x="955" y="245"/>
                      </a:cubicBezTo>
                      <a:cubicBezTo>
                        <a:pt x="993" y="199"/>
                        <a:pt x="993" y="199"/>
                        <a:pt x="993" y="199"/>
                      </a:cubicBezTo>
                      <a:cubicBezTo>
                        <a:pt x="993" y="199"/>
                        <a:pt x="1021" y="184"/>
                        <a:pt x="1019" y="182"/>
                      </a:cubicBezTo>
                      <a:cubicBezTo>
                        <a:pt x="1018" y="181"/>
                        <a:pt x="1005" y="160"/>
                        <a:pt x="1005" y="160"/>
                      </a:cubicBezTo>
                      <a:cubicBezTo>
                        <a:pt x="976" y="173"/>
                        <a:pt x="976" y="173"/>
                        <a:pt x="976" y="173"/>
                      </a:cubicBezTo>
                      <a:cubicBezTo>
                        <a:pt x="976" y="173"/>
                        <a:pt x="972" y="136"/>
                        <a:pt x="967" y="131"/>
                      </a:cubicBezTo>
                      <a:cubicBezTo>
                        <a:pt x="962" y="126"/>
                        <a:pt x="951" y="124"/>
                        <a:pt x="944" y="129"/>
                      </a:cubicBezTo>
                      <a:cubicBezTo>
                        <a:pt x="937" y="133"/>
                        <a:pt x="919" y="153"/>
                        <a:pt x="919" y="153"/>
                      </a:cubicBezTo>
                      <a:cubicBezTo>
                        <a:pt x="940" y="166"/>
                        <a:pt x="940" y="166"/>
                        <a:pt x="940" y="166"/>
                      </a:cubicBezTo>
                      <a:cubicBezTo>
                        <a:pt x="940" y="166"/>
                        <a:pt x="933" y="192"/>
                        <a:pt x="925" y="192"/>
                      </a:cubicBezTo>
                      <a:cubicBezTo>
                        <a:pt x="916" y="192"/>
                        <a:pt x="899" y="196"/>
                        <a:pt x="897" y="193"/>
                      </a:cubicBezTo>
                      <a:cubicBezTo>
                        <a:pt x="894" y="190"/>
                        <a:pt x="887" y="177"/>
                        <a:pt x="887" y="177"/>
                      </a:cubicBezTo>
                      <a:cubicBezTo>
                        <a:pt x="897" y="170"/>
                        <a:pt x="897" y="170"/>
                        <a:pt x="897" y="170"/>
                      </a:cubicBezTo>
                      <a:cubicBezTo>
                        <a:pt x="884" y="152"/>
                        <a:pt x="884" y="152"/>
                        <a:pt x="884" y="152"/>
                      </a:cubicBezTo>
                      <a:cubicBezTo>
                        <a:pt x="884" y="152"/>
                        <a:pt x="864" y="173"/>
                        <a:pt x="858" y="171"/>
                      </a:cubicBezTo>
                      <a:cubicBezTo>
                        <a:pt x="852" y="170"/>
                        <a:pt x="849" y="147"/>
                        <a:pt x="847" y="147"/>
                      </a:cubicBezTo>
                      <a:cubicBezTo>
                        <a:pt x="846" y="147"/>
                        <a:pt x="818" y="132"/>
                        <a:pt x="810" y="142"/>
                      </a:cubicBezTo>
                      <a:cubicBezTo>
                        <a:pt x="801" y="152"/>
                        <a:pt x="802" y="170"/>
                        <a:pt x="802" y="170"/>
                      </a:cubicBezTo>
                      <a:cubicBezTo>
                        <a:pt x="768" y="169"/>
                        <a:pt x="768" y="169"/>
                        <a:pt x="768" y="169"/>
                      </a:cubicBezTo>
                      <a:cubicBezTo>
                        <a:pt x="748" y="144"/>
                        <a:pt x="748" y="144"/>
                        <a:pt x="748" y="144"/>
                      </a:cubicBezTo>
                      <a:cubicBezTo>
                        <a:pt x="729" y="125"/>
                        <a:pt x="729" y="125"/>
                        <a:pt x="729" y="125"/>
                      </a:cubicBezTo>
                      <a:cubicBezTo>
                        <a:pt x="729" y="125"/>
                        <a:pt x="712" y="140"/>
                        <a:pt x="709" y="140"/>
                      </a:cubicBezTo>
                      <a:cubicBezTo>
                        <a:pt x="707" y="140"/>
                        <a:pt x="696" y="143"/>
                        <a:pt x="692" y="140"/>
                      </a:cubicBezTo>
                      <a:cubicBezTo>
                        <a:pt x="687" y="136"/>
                        <a:pt x="675" y="127"/>
                        <a:pt x="673" y="127"/>
                      </a:cubicBezTo>
                      <a:cubicBezTo>
                        <a:pt x="672" y="128"/>
                        <a:pt x="662" y="139"/>
                        <a:pt x="662" y="137"/>
                      </a:cubicBezTo>
                      <a:cubicBezTo>
                        <a:pt x="661" y="135"/>
                        <a:pt x="657" y="116"/>
                        <a:pt x="651" y="114"/>
                      </a:cubicBezTo>
                      <a:cubicBezTo>
                        <a:pt x="646" y="111"/>
                        <a:pt x="631" y="119"/>
                        <a:pt x="630" y="119"/>
                      </a:cubicBezTo>
                      <a:cubicBezTo>
                        <a:pt x="628" y="118"/>
                        <a:pt x="614" y="113"/>
                        <a:pt x="615" y="110"/>
                      </a:cubicBezTo>
                      <a:cubicBezTo>
                        <a:pt x="617" y="107"/>
                        <a:pt x="644" y="106"/>
                        <a:pt x="631" y="99"/>
                      </a:cubicBezTo>
                      <a:cubicBezTo>
                        <a:pt x="618" y="92"/>
                        <a:pt x="586" y="108"/>
                        <a:pt x="586" y="108"/>
                      </a:cubicBezTo>
                      <a:cubicBezTo>
                        <a:pt x="586" y="108"/>
                        <a:pt x="559" y="97"/>
                        <a:pt x="555" y="93"/>
                      </a:cubicBezTo>
                      <a:cubicBezTo>
                        <a:pt x="551" y="89"/>
                        <a:pt x="534" y="100"/>
                        <a:pt x="527" y="91"/>
                      </a:cubicBezTo>
                      <a:cubicBezTo>
                        <a:pt x="519" y="81"/>
                        <a:pt x="513" y="57"/>
                        <a:pt x="506" y="51"/>
                      </a:cubicBezTo>
                      <a:cubicBezTo>
                        <a:pt x="498" y="46"/>
                        <a:pt x="493" y="42"/>
                        <a:pt x="493" y="42"/>
                      </a:cubicBezTo>
                      <a:cubicBezTo>
                        <a:pt x="493" y="42"/>
                        <a:pt x="471" y="70"/>
                        <a:pt x="467" y="66"/>
                      </a:cubicBezTo>
                      <a:cubicBezTo>
                        <a:pt x="463" y="62"/>
                        <a:pt x="451" y="48"/>
                        <a:pt x="449" y="44"/>
                      </a:cubicBezTo>
                      <a:cubicBezTo>
                        <a:pt x="448" y="40"/>
                        <a:pt x="463" y="31"/>
                        <a:pt x="461" y="22"/>
                      </a:cubicBezTo>
                      <a:cubicBezTo>
                        <a:pt x="458" y="14"/>
                        <a:pt x="452" y="0"/>
                        <a:pt x="452" y="0"/>
                      </a:cubicBezTo>
                      <a:cubicBezTo>
                        <a:pt x="443" y="11"/>
                        <a:pt x="443" y="11"/>
                        <a:pt x="443" y="11"/>
                      </a:cubicBezTo>
                      <a:cubicBezTo>
                        <a:pt x="443" y="11"/>
                        <a:pt x="440" y="37"/>
                        <a:pt x="434" y="32"/>
                      </a:cubicBezTo>
                      <a:cubicBezTo>
                        <a:pt x="428" y="27"/>
                        <a:pt x="418" y="14"/>
                        <a:pt x="416" y="16"/>
                      </a:cubicBezTo>
                      <a:cubicBezTo>
                        <a:pt x="413" y="17"/>
                        <a:pt x="412" y="26"/>
                        <a:pt x="411" y="24"/>
                      </a:cubicBezTo>
                      <a:cubicBezTo>
                        <a:pt x="409" y="22"/>
                        <a:pt x="396" y="16"/>
                        <a:pt x="394" y="16"/>
                      </a:cubicBezTo>
                      <a:cubicBezTo>
                        <a:pt x="392" y="16"/>
                        <a:pt x="391" y="29"/>
                        <a:pt x="389" y="29"/>
                      </a:cubicBezTo>
                      <a:cubicBezTo>
                        <a:pt x="388" y="29"/>
                        <a:pt x="382" y="18"/>
                        <a:pt x="377" y="21"/>
                      </a:cubicBezTo>
                      <a:cubicBezTo>
                        <a:pt x="372" y="25"/>
                        <a:pt x="361" y="35"/>
                        <a:pt x="374" y="43"/>
                      </a:cubicBezTo>
                      <a:cubicBezTo>
                        <a:pt x="386" y="50"/>
                        <a:pt x="388" y="55"/>
                        <a:pt x="399" y="39"/>
                      </a:cubicBezTo>
                      <a:cubicBezTo>
                        <a:pt x="419" y="71"/>
                        <a:pt x="419" y="71"/>
                        <a:pt x="419" y="71"/>
                      </a:cubicBezTo>
                      <a:cubicBezTo>
                        <a:pt x="419" y="71"/>
                        <a:pt x="425" y="51"/>
                        <a:pt x="434" y="56"/>
                      </a:cubicBezTo>
                      <a:cubicBezTo>
                        <a:pt x="443" y="61"/>
                        <a:pt x="464" y="87"/>
                        <a:pt x="464" y="87"/>
                      </a:cubicBezTo>
                      <a:cubicBezTo>
                        <a:pt x="451" y="93"/>
                        <a:pt x="451" y="93"/>
                        <a:pt x="451" y="93"/>
                      </a:cubicBezTo>
                      <a:cubicBezTo>
                        <a:pt x="462" y="115"/>
                        <a:pt x="462" y="115"/>
                        <a:pt x="462" y="115"/>
                      </a:cubicBezTo>
                      <a:cubicBezTo>
                        <a:pt x="462" y="115"/>
                        <a:pt x="448" y="133"/>
                        <a:pt x="462" y="144"/>
                      </a:cubicBezTo>
                      <a:cubicBezTo>
                        <a:pt x="476" y="155"/>
                        <a:pt x="440" y="149"/>
                        <a:pt x="440" y="149"/>
                      </a:cubicBezTo>
                      <a:cubicBezTo>
                        <a:pt x="422" y="141"/>
                        <a:pt x="422" y="141"/>
                        <a:pt x="422" y="141"/>
                      </a:cubicBezTo>
                      <a:cubicBezTo>
                        <a:pt x="434" y="165"/>
                        <a:pt x="434" y="165"/>
                        <a:pt x="434" y="165"/>
                      </a:cubicBezTo>
                      <a:cubicBezTo>
                        <a:pt x="429" y="177"/>
                        <a:pt x="429" y="177"/>
                        <a:pt x="429" y="177"/>
                      </a:cubicBezTo>
                      <a:cubicBezTo>
                        <a:pt x="429" y="177"/>
                        <a:pt x="415" y="155"/>
                        <a:pt x="411" y="153"/>
                      </a:cubicBezTo>
                      <a:cubicBezTo>
                        <a:pt x="407" y="151"/>
                        <a:pt x="397" y="171"/>
                        <a:pt x="388" y="171"/>
                      </a:cubicBezTo>
                      <a:cubicBezTo>
                        <a:pt x="380" y="171"/>
                        <a:pt x="372" y="169"/>
                        <a:pt x="372" y="169"/>
                      </a:cubicBezTo>
                      <a:cubicBezTo>
                        <a:pt x="364" y="160"/>
                        <a:pt x="364" y="160"/>
                        <a:pt x="364" y="160"/>
                      </a:cubicBezTo>
                      <a:cubicBezTo>
                        <a:pt x="353" y="169"/>
                        <a:pt x="353" y="169"/>
                        <a:pt x="353" y="169"/>
                      </a:cubicBezTo>
                      <a:cubicBezTo>
                        <a:pt x="300" y="166"/>
                        <a:pt x="300" y="166"/>
                        <a:pt x="300" y="166"/>
                      </a:cubicBezTo>
                      <a:cubicBezTo>
                        <a:pt x="288" y="138"/>
                        <a:pt x="288" y="138"/>
                        <a:pt x="288" y="138"/>
                      </a:cubicBezTo>
                      <a:cubicBezTo>
                        <a:pt x="282" y="165"/>
                        <a:pt x="282" y="165"/>
                        <a:pt x="282" y="165"/>
                      </a:cubicBezTo>
                      <a:cubicBezTo>
                        <a:pt x="282" y="165"/>
                        <a:pt x="277" y="151"/>
                        <a:pt x="267" y="150"/>
                      </a:cubicBezTo>
                      <a:cubicBezTo>
                        <a:pt x="256" y="149"/>
                        <a:pt x="258" y="176"/>
                        <a:pt x="257" y="177"/>
                      </a:cubicBezTo>
                      <a:cubicBezTo>
                        <a:pt x="255" y="178"/>
                        <a:pt x="241" y="202"/>
                        <a:pt x="241" y="202"/>
                      </a:cubicBezTo>
                      <a:cubicBezTo>
                        <a:pt x="243" y="217"/>
                        <a:pt x="243" y="217"/>
                        <a:pt x="243" y="217"/>
                      </a:cubicBezTo>
                      <a:cubicBezTo>
                        <a:pt x="243" y="217"/>
                        <a:pt x="220" y="194"/>
                        <a:pt x="220" y="193"/>
                      </a:cubicBezTo>
                      <a:cubicBezTo>
                        <a:pt x="219" y="191"/>
                        <a:pt x="211" y="179"/>
                        <a:pt x="209" y="179"/>
                      </a:cubicBezTo>
                      <a:cubicBezTo>
                        <a:pt x="208" y="180"/>
                        <a:pt x="202" y="206"/>
                        <a:pt x="201" y="209"/>
                      </a:cubicBezTo>
                      <a:cubicBezTo>
                        <a:pt x="199" y="212"/>
                        <a:pt x="211" y="231"/>
                        <a:pt x="211" y="231"/>
                      </a:cubicBezTo>
                      <a:cubicBezTo>
                        <a:pt x="211" y="231"/>
                        <a:pt x="189" y="214"/>
                        <a:pt x="185" y="217"/>
                      </a:cubicBezTo>
                      <a:cubicBezTo>
                        <a:pt x="180" y="221"/>
                        <a:pt x="171" y="226"/>
                        <a:pt x="171" y="227"/>
                      </a:cubicBezTo>
                      <a:cubicBezTo>
                        <a:pt x="170" y="229"/>
                        <a:pt x="169" y="257"/>
                        <a:pt x="169" y="257"/>
                      </a:cubicBezTo>
                      <a:cubicBezTo>
                        <a:pt x="146" y="257"/>
                        <a:pt x="146" y="257"/>
                        <a:pt x="146" y="257"/>
                      </a:cubicBezTo>
                      <a:cubicBezTo>
                        <a:pt x="145" y="292"/>
                        <a:pt x="145" y="292"/>
                        <a:pt x="145" y="292"/>
                      </a:cubicBezTo>
                      <a:cubicBezTo>
                        <a:pt x="145" y="292"/>
                        <a:pt x="170" y="306"/>
                        <a:pt x="168" y="306"/>
                      </a:cubicBezTo>
                      <a:cubicBezTo>
                        <a:pt x="166" y="306"/>
                        <a:pt x="130" y="335"/>
                        <a:pt x="130" y="335"/>
                      </a:cubicBezTo>
                      <a:cubicBezTo>
                        <a:pt x="115" y="320"/>
                        <a:pt x="115" y="320"/>
                        <a:pt x="115" y="320"/>
                      </a:cubicBezTo>
                      <a:cubicBezTo>
                        <a:pt x="115" y="320"/>
                        <a:pt x="101" y="339"/>
                        <a:pt x="101" y="355"/>
                      </a:cubicBezTo>
                      <a:cubicBezTo>
                        <a:pt x="102" y="371"/>
                        <a:pt x="94" y="396"/>
                        <a:pt x="94" y="396"/>
                      </a:cubicBezTo>
                      <a:cubicBezTo>
                        <a:pt x="94" y="396"/>
                        <a:pt x="33" y="439"/>
                        <a:pt x="51" y="452"/>
                      </a:cubicBezTo>
                      <a:cubicBezTo>
                        <a:pt x="69" y="465"/>
                        <a:pt x="85" y="475"/>
                        <a:pt x="85" y="475"/>
                      </a:cubicBezTo>
                      <a:cubicBezTo>
                        <a:pt x="85" y="475"/>
                        <a:pt x="99" y="470"/>
                        <a:pt x="103" y="467"/>
                      </a:cubicBezTo>
                      <a:cubicBezTo>
                        <a:pt x="98" y="471"/>
                        <a:pt x="81" y="487"/>
                        <a:pt x="87" y="491"/>
                      </a:cubicBezTo>
                      <a:cubicBezTo>
                        <a:pt x="94" y="495"/>
                        <a:pt x="98" y="501"/>
                        <a:pt x="101" y="501"/>
                      </a:cubicBezTo>
                      <a:cubicBezTo>
                        <a:pt x="105" y="501"/>
                        <a:pt x="127" y="493"/>
                        <a:pt x="127" y="493"/>
                      </a:cubicBezTo>
                      <a:cubicBezTo>
                        <a:pt x="127" y="493"/>
                        <a:pt x="117" y="518"/>
                        <a:pt x="81" y="507"/>
                      </a:cubicBezTo>
                      <a:cubicBezTo>
                        <a:pt x="99" y="552"/>
                        <a:pt x="99" y="552"/>
                        <a:pt x="99" y="552"/>
                      </a:cubicBezTo>
                      <a:cubicBezTo>
                        <a:pt x="99" y="552"/>
                        <a:pt x="57" y="507"/>
                        <a:pt x="50" y="507"/>
                      </a:cubicBezTo>
                      <a:cubicBezTo>
                        <a:pt x="43" y="508"/>
                        <a:pt x="41" y="548"/>
                        <a:pt x="41" y="548"/>
                      </a:cubicBezTo>
                      <a:cubicBezTo>
                        <a:pt x="30" y="556"/>
                        <a:pt x="30" y="556"/>
                        <a:pt x="30" y="556"/>
                      </a:cubicBezTo>
                      <a:cubicBezTo>
                        <a:pt x="30" y="556"/>
                        <a:pt x="33" y="525"/>
                        <a:pt x="20" y="519"/>
                      </a:cubicBezTo>
                      <a:cubicBezTo>
                        <a:pt x="9" y="514"/>
                        <a:pt x="12" y="510"/>
                        <a:pt x="0" y="508"/>
                      </a:cubicBezTo>
                      <a:cubicBezTo>
                        <a:pt x="57" y="1927"/>
                        <a:pt x="57" y="1927"/>
                        <a:pt x="57" y="1927"/>
                      </a:cubicBezTo>
                      <a:cubicBezTo>
                        <a:pt x="270" y="1923"/>
                        <a:pt x="759" y="1914"/>
                        <a:pt x="806" y="1914"/>
                      </a:cubicBezTo>
                      <a:cubicBezTo>
                        <a:pt x="866" y="1914"/>
                        <a:pt x="1083" y="1914"/>
                        <a:pt x="1083" y="1914"/>
                      </a:cubicBezTo>
                      <a:cubicBezTo>
                        <a:pt x="1131" y="727"/>
                        <a:pt x="1131" y="727"/>
                        <a:pt x="1131" y="727"/>
                      </a:cubicBezTo>
                      <a:cubicBezTo>
                        <a:pt x="1116" y="710"/>
                        <a:pt x="1107" y="692"/>
                        <a:pt x="1097" y="687"/>
                      </a:cubicBez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18452" name="Freeform 20" descr="© INSCALE GmbH, 05.05.2010&#10;http://www.presentationload.com/"/>
                <p:cNvSpPr>
                  <a:spLocks noChangeAspect="1" noEditPoints="1"/>
                </p:cNvSpPr>
                <p:nvPr/>
              </p:nvSpPr>
              <p:spPr bwMode="auto">
                <a:xfrm>
                  <a:off x="3843" y="2024"/>
                  <a:ext cx="770" cy="876"/>
                </a:xfrm>
                <a:custGeom>
                  <a:avLst/>
                  <a:gdLst/>
                  <a:ahLst/>
                  <a:cxnLst>
                    <a:cxn ang="0">
                      <a:pos x="694" y="1084"/>
                    </a:cxn>
                    <a:cxn ang="0">
                      <a:pos x="713" y="1086"/>
                    </a:cxn>
                    <a:cxn ang="0">
                      <a:pos x="683" y="1086"/>
                    </a:cxn>
                    <a:cxn ang="0">
                      <a:pos x="943" y="1224"/>
                    </a:cxn>
                    <a:cxn ang="0">
                      <a:pos x="831" y="1241"/>
                    </a:cxn>
                    <a:cxn ang="0">
                      <a:pos x="844" y="1269"/>
                    </a:cxn>
                    <a:cxn ang="0">
                      <a:pos x="904" y="1268"/>
                    </a:cxn>
                    <a:cxn ang="0">
                      <a:pos x="943" y="1262"/>
                    </a:cxn>
                    <a:cxn ang="0">
                      <a:pos x="959" y="1244"/>
                    </a:cxn>
                    <a:cxn ang="0">
                      <a:pos x="979" y="1239"/>
                    </a:cxn>
                    <a:cxn ang="0">
                      <a:pos x="983" y="1260"/>
                    </a:cxn>
                    <a:cxn ang="0">
                      <a:pos x="979" y="1239"/>
                    </a:cxn>
                    <a:cxn ang="0">
                      <a:pos x="996" y="0"/>
                    </a:cxn>
                    <a:cxn ang="0">
                      <a:pos x="0" y="13"/>
                    </a:cxn>
                    <a:cxn ang="0">
                      <a:pos x="129" y="713"/>
                    </a:cxn>
                    <a:cxn ang="0">
                      <a:pos x="265" y="697"/>
                    </a:cxn>
                    <a:cxn ang="0">
                      <a:pos x="403" y="765"/>
                    </a:cxn>
                    <a:cxn ang="0">
                      <a:pos x="485" y="787"/>
                    </a:cxn>
                    <a:cxn ang="0">
                      <a:pos x="514" y="781"/>
                    </a:cxn>
                    <a:cxn ang="0">
                      <a:pos x="547" y="792"/>
                    </a:cxn>
                    <a:cxn ang="0">
                      <a:pos x="554" y="829"/>
                    </a:cxn>
                    <a:cxn ang="0">
                      <a:pos x="600" y="843"/>
                    </a:cxn>
                    <a:cxn ang="0">
                      <a:pos x="585" y="865"/>
                    </a:cxn>
                    <a:cxn ang="0">
                      <a:pos x="609" y="910"/>
                    </a:cxn>
                    <a:cxn ang="0">
                      <a:pos x="659" y="944"/>
                    </a:cxn>
                    <a:cxn ang="0">
                      <a:pos x="688" y="1000"/>
                    </a:cxn>
                    <a:cxn ang="0">
                      <a:pos x="716" y="1054"/>
                    </a:cxn>
                    <a:cxn ang="0">
                      <a:pos x="724" y="1098"/>
                    </a:cxn>
                    <a:cxn ang="0">
                      <a:pos x="746" y="1136"/>
                    </a:cxn>
                    <a:cxn ang="0">
                      <a:pos x="766" y="1086"/>
                    </a:cxn>
                    <a:cxn ang="0">
                      <a:pos x="796" y="1062"/>
                    </a:cxn>
                    <a:cxn ang="0">
                      <a:pos x="865" y="998"/>
                    </a:cxn>
                    <a:cxn ang="0">
                      <a:pos x="925" y="943"/>
                    </a:cxn>
                    <a:cxn ang="0">
                      <a:pos x="973" y="885"/>
                    </a:cxn>
                    <a:cxn ang="0">
                      <a:pos x="989" y="863"/>
                    </a:cxn>
                    <a:cxn ang="0">
                      <a:pos x="974" y="923"/>
                    </a:cxn>
                    <a:cxn ang="0">
                      <a:pos x="930" y="1050"/>
                    </a:cxn>
                    <a:cxn ang="0">
                      <a:pos x="895" y="1135"/>
                    </a:cxn>
                    <a:cxn ang="0">
                      <a:pos x="906" y="1182"/>
                    </a:cxn>
                    <a:cxn ang="0">
                      <a:pos x="931" y="1182"/>
                    </a:cxn>
                    <a:cxn ang="0">
                      <a:pos x="957" y="1159"/>
                    </a:cxn>
                    <a:cxn ang="0">
                      <a:pos x="982" y="1075"/>
                    </a:cxn>
                    <a:cxn ang="0">
                      <a:pos x="1006" y="1036"/>
                    </a:cxn>
                    <a:cxn ang="0">
                      <a:pos x="1018" y="1076"/>
                    </a:cxn>
                    <a:cxn ang="0">
                      <a:pos x="1051" y="1138"/>
                    </a:cxn>
                    <a:cxn ang="0">
                      <a:pos x="1030" y="1195"/>
                    </a:cxn>
                    <a:cxn ang="0">
                      <a:pos x="1036" y="1235"/>
                    </a:cxn>
                    <a:cxn ang="0">
                      <a:pos x="1095" y="1200"/>
                    </a:cxn>
                    <a:cxn ang="0">
                      <a:pos x="1112" y="1241"/>
                    </a:cxn>
                    <a:cxn ang="0">
                      <a:pos x="1155" y="1316"/>
                    </a:cxn>
                    <a:cxn ang="0">
                      <a:pos x="1145" y="1411"/>
                    </a:cxn>
                    <a:cxn ang="0">
                      <a:pos x="1241" y="1556"/>
                    </a:cxn>
                    <a:cxn ang="0">
                      <a:pos x="1369" y="25"/>
                    </a:cxn>
                  </a:cxnLst>
                  <a:rect l="0" t="0" r="r" b="b"/>
                  <a:pathLst>
                    <a:path w="1369" h="1556">
                      <a:moveTo>
                        <a:pt x="683" y="1086"/>
                      </a:moveTo>
                      <a:cubicBezTo>
                        <a:pt x="694" y="1084"/>
                        <a:pt x="694" y="1084"/>
                        <a:pt x="694" y="1084"/>
                      </a:cubicBezTo>
                      <a:cubicBezTo>
                        <a:pt x="705" y="1095"/>
                        <a:pt x="705" y="1095"/>
                        <a:pt x="705" y="1095"/>
                      </a:cubicBezTo>
                      <a:cubicBezTo>
                        <a:pt x="713" y="1086"/>
                        <a:pt x="713" y="1086"/>
                        <a:pt x="713" y="1086"/>
                      </a:cubicBezTo>
                      <a:cubicBezTo>
                        <a:pt x="691" y="1070"/>
                        <a:pt x="691" y="1070"/>
                        <a:pt x="691" y="1070"/>
                      </a:cubicBezTo>
                      <a:lnTo>
                        <a:pt x="683" y="1086"/>
                      </a:lnTo>
                      <a:close/>
                      <a:moveTo>
                        <a:pt x="947" y="1239"/>
                      </a:moveTo>
                      <a:cubicBezTo>
                        <a:pt x="943" y="1224"/>
                        <a:pt x="943" y="1224"/>
                        <a:pt x="943" y="1224"/>
                      </a:cubicBezTo>
                      <a:cubicBezTo>
                        <a:pt x="911" y="1203"/>
                        <a:pt x="910" y="1220"/>
                        <a:pt x="887" y="1228"/>
                      </a:cubicBezTo>
                      <a:cubicBezTo>
                        <a:pt x="864" y="1236"/>
                        <a:pt x="831" y="1241"/>
                        <a:pt x="831" y="1241"/>
                      </a:cubicBezTo>
                      <a:cubicBezTo>
                        <a:pt x="830" y="1262"/>
                        <a:pt x="830" y="1262"/>
                        <a:pt x="830" y="1262"/>
                      </a:cubicBezTo>
                      <a:cubicBezTo>
                        <a:pt x="844" y="1269"/>
                        <a:pt x="844" y="1269"/>
                        <a:pt x="844" y="1269"/>
                      </a:cubicBezTo>
                      <a:cubicBezTo>
                        <a:pt x="844" y="1269"/>
                        <a:pt x="867" y="1280"/>
                        <a:pt x="880" y="1280"/>
                      </a:cubicBezTo>
                      <a:cubicBezTo>
                        <a:pt x="894" y="1280"/>
                        <a:pt x="896" y="1269"/>
                        <a:pt x="904" y="1268"/>
                      </a:cubicBezTo>
                      <a:cubicBezTo>
                        <a:pt x="912" y="1266"/>
                        <a:pt x="919" y="1282"/>
                        <a:pt x="931" y="1284"/>
                      </a:cubicBezTo>
                      <a:cubicBezTo>
                        <a:pt x="943" y="1285"/>
                        <a:pt x="943" y="1262"/>
                        <a:pt x="943" y="1262"/>
                      </a:cubicBezTo>
                      <a:cubicBezTo>
                        <a:pt x="961" y="1260"/>
                        <a:pt x="961" y="1260"/>
                        <a:pt x="961" y="1260"/>
                      </a:cubicBezTo>
                      <a:cubicBezTo>
                        <a:pt x="961" y="1260"/>
                        <a:pt x="959" y="1248"/>
                        <a:pt x="959" y="1244"/>
                      </a:cubicBezTo>
                      <a:cubicBezTo>
                        <a:pt x="959" y="1240"/>
                        <a:pt x="947" y="1239"/>
                        <a:pt x="947" y="1239"/>
                      </a:cubicBezTo>
                      <a:close/>
                      <a:moveTo>
                        <a:pt x="979" y="1239"/>
                      </a:moveTo>
                      <a:cubicBezTo>
                        <a:pt x="968" y="1249"/>
                        <a:pt x="968" y="1249"/>
                        <a:pt x="968" y="1249"/>
                      </a:cubicBezTo>
                      <a:cubicBezTo>
                        <a:pt x="983" y="1260"/>
                        <a:pt x="983" y="1260"/>
                        <a:pt x="983" y="1260"/>
                      </a:cubicBezTo>
                      <a:cubicBezTo>
                        <a:pt x="996" y="1256"/>
                        <a:pt x="996" y="1256"/>
                        <a:pt x="996" y="1256"/>
                      </a:cubicBezTo>
                      <a:cubicBezTo>
                        <a:pt x="996" y="1256"/>
                        <a:pt x="992" y="1239"/>
                        <a:pt x="979" y="1239"/>
                      </a:cubicBezTo>
                      <a:close/>
                      <a:moveTo>
                        <a:pt x="1016" y="15"/>
                      </a:moveTo>
                      <a:cubicBezTo>
                        <a:pt x="1016" y="15"/>
                        <a:pt x="1008" y="9"/>
                        <a:pt x="996" y="0"/>
                      </a:cubicBezTo>
                      <a:cubicBezTo>
                        <a:pt x="749" y="0"/>
                        <a:pt x="749" y="0"/>
                        <a:pt x="749" y="0"/>
                      </a:cubicBezTo>
                      <a:cubicBezTo>
                        <a:pt x="702" y="0"/>
                        <a:pt x="213" y="9"/>
                        <a:pt x="0" y="13"/>
                      </a:cubicBezTo>
                      <a:cubicBezTo>
                        <a:pt x="28" y="725"/>
                        <a:pt x="28" y="725"/>
                        <a:pt x="28" y="725"/>
                      </a:cubicBezTo>
                      <a:cubicBezTo>
                        <a:pt x="48" y="720"/>
                        <a:pt x="116" y="713"/>
                        <a:pt x="129" y="713"/>
                      </a:cubicBezTo>
                      <a:cubicBezTo>
                        <a:pt x="143" y="713"/>
                        <a:pt x="239" y="715"/>
                        <a:pt x="240" y="713"/>
                      </a:cubicBezTo>
                      <a:cubicBezTo>
                        <a:pt x="241" y="712"/>
                        <a:pt x="243" y="692"/>
                        <a:pt x="265" y="697"/>
                      </a:cubicBezTo>
                      <a:cubicBezTo>
                        <a:pt x="287" y="702"/>
                        <a:pt x="379" y="766"/>
                        <a:pt x="379" y="766"/>
                      </a:cubicBezTo>
                      <a:cubicBezTo>
                        <a:pt x="379" y="766"/>
                        <a:pt x="402" y="767"/>
                        <a:pt x="403" y="765"/>
                      </a:cubicBezTo>
                      <a:cubicBezTo>
                        <a:pt x="404" y="764"/>
                        <a:pt x="403" y="751"/>
                        <a:pt x="417" y="753"/>
                      </a:cubicBezTo>
                      <a:cubicBezTo>
                        <a:pt x="430" y="755"/>
                        <a:pt x="485" y="787"/>
                        <a:pt x="485" y="787"/>
                      </a:cubicBezTo>
                      <a:cubicBezTo>
                        <a:pt x="497" y="796"/>
                        <a:pt x="497" y="796"/>
                        <a:pt x="497" y="796"/>
                      </a:cubicBezTo>
                      <a:cubicBezTo>
                        <a:pt x="514" y="781"/>
                        <a:pt x="514" y="781"/>
                        <a:pt x="514" y="781"/>
                      </a:cubicBezTo>
                      <a:cubicBezTo>
                        <a:pt x="527" y="799"/>
                        <a:pt x="527" y="799"/>
                        <a:pt x="527" y="799"/>
                      </a:cubicBezTo>
                      <a:cubicBezTo>
                        <a:pt x="527" y="799"/>
                        <a:pt x="527" y="777"/>
                        <a:pt x="547" y="792"/>
                      </a:cubicBezTo>
                      <a:cubicBezTo>
                        <a:pt x="566" y="807"/>
                        <a:pt x="566" y="814"/>
                        <a:pt x="564" y="814"/>
                      </a:cubicBezTo>
                      <a:cubicBezTo>
                        <a:pt x="562" y="814"/>
                        <a:pt x="545" y="828"/>
                        <a:pt x="554" y="829"/>
                      </a:cubicBezTo>
                      <a:cubicBezTo>
                        <a:pt x="562" y="830"/>
                        <a:pt x="582" y="819"/>
                        <a:pt x="582" y="819"/>
                      </a:cubicBezTo>
                      <a:cubicBezTo>
                        <a:pt x="582" y="819"/>
                        <a:pt x="601" y="840"/>
                        <a:pt x="600" y="843"/>
                      </a:cubicBezTo>
                      <a:cubicBezTo>
                        <a:pt x="599" y="846"/>
                        <a:pt x="579" y="853"/>
                        <a:pt x="579" y="853"/>
                      </a:cubicBezTo>
                      <a:cubicBezTo>
                        <a:pt x="579" y="853"/>
                        <a:pt x="592" y="859"/>
                        <a:pt x="585" y="865"/>
                      </a:cubicBezTo>
                      <a:cubicBezTo>
                        <a:pt x="577" y="872"/>
                        <a:pt x="576" y="877"/>
                        <a:pt x="576" y="877"/>
                      </a:cubicBezTo>
                      <a:cubicBezTo>
                        <a:pt x="609" y="910"/>
                        <a:pt x="609" y="910"/>
                        <a:pt x="609" y="910"/>
                      </a:cubicBezTo>
                      <a:cubicBezTo>
                        <a:pt x="609" y="910"/>
                        <a:pt x="623" y="900"/>
                        <a:pt x="637" y="910"/>
                      </a:cubicBezTo>
                      <a:cubicBezTo>
                        <a:pt x="651" y="921"/>
                        <a:pt x="659" y="939"/>
                        <a:pt x="659" y="944"/>
                      </a:cubicBezTo>
                      <a:cubicBezTo>
                        <a:pt x="659" y="949"/>
                        <a:pt x="663" y="973"/>
                        <a:pt x="663" y="973"/>
                      </a:cubicBezTo>
                      <a:cubicBezTo>
                        <a:pt x="663" y="973"/>
                        <a:pt x="677" y="994"/>
                        <a:pt x="688" y="1000"/>
                      </a:cubicBezTo>
                      <a:cubicBezTo>
                        <a:pt x="699" y="1006"/>
                        <a:pt x="708" y="1019"/>
                        <a:pt x="704" y="1024"/>
                      </a:cubicBezTo>
                      <a:cubicBezTo>
                        <a:pt x="700" y="1030"/>
                        <a:pt x="717" y="1052"/>
                        <a:pt x="716" y="1054"/>
                      </a:cubicBezTo>
                      <a:cubicBezTo>
                        <a:pt x="715" y="1055"/>
                        <a:pt x="714" y="1076"/>
                        <a:pt x="719" y="1078"/>
                      </a:cubicBezTo>
                      <a:cubicBezTo>
                        <a:pt x="724" y="1080"/>
                        <a:pt x="724" y="1098"/>
                        <a:pt x="724" y="1098"/>
                      </a:cubicBezTo>
                      <a:cubicBezTo>
                        <a:pt x="724" y="1098"/>
                        <a:pt x="717" y="1102"/>
                        <a:pt x="717" y="1104"/>
                      </a:cubicBezTo>
                      <a:cubicBezTo>
                        <a:pt x="717" y="1106"/>
                        <a:pt x="742" y="1142"/>
                        <a:pt x="746" y="1136"/>
                      </a:cubicBezTo>
                      <a:cubicBezTo>
                        <a:pt x="750" y="1130"/>
                        <a:pt x="773" y="1115"/>
                        <a:pt x="772" y="1111"/>
                      </a:cubicBezTo>
                      <a:cubicBezTo>
                        <a:pt x="771" y="1108"/>
                        <a:pt x="758" y="1091"/>
                        <a:pt x="766" y="1086"/>
                      </a:cubicBezTo>
                      <a:cubicBezTo>
                        <a:pt x="774" y="1081"/>
                        <a:pt x="788" y="1085"/>
                        <a:pt x="789" y="1082"/>
                      </a:cubicBezTo>
                      <a:cubicBezTo>
                        <a:pt x="789" y="1078"/>
                        <a:pt x="796" y="1065"/>
                        <a:pt x="796" y="1062"/>
                      </a:cubicBezTo>
                      <a:cubicBezTo>
                        <a:pt x="796" y="1060"/>
                        <a:pt x="815" y="1029"/>
                        <a:pt x="824" y="1021"/>
                      </a:cubicBezTo>
                      <a:cubicBezTo>
                        <a:pt x="834" y="1013"/>
                        <a:pt x="853" y="998"/>
                        <a:pt x="865" y="998"/>
                      </a:cubicBezTo>
                      <a:cubicBezTo>
                        <a:pt x="877" y="998"/>
                        <a:pt x="886" y="990"/>
                        <a:pt x="896" y="986"/>
                      </a:cubicBezTo>
                      <a:cubicBezTo>
                        <a:pt x="906" y="982"/>
                        <a:pt x="920" y="953"/>
                        <a:pt x="925" y="943"/>
                      </a:cubicBezTo>
                      <a:cubicBezTo>
                        <a:pt x="929" y="934"/>
                        <a:pt x="937" y="921"/>
                        <a:pt x="942" y="911"/>
                      </a:cubicBezTo>
                      <a:cubicBezTo>
                        <a:pt x="947" y="901"/>
                        <a:pt x="973" y="895"/>
                        <a:pt x="973" y="885"/>
                      </a:cubicBezTo>
                      <a:cubicBezTo>
                        <a:pt x="973" y="874"/>
                        <a:pt x="970" y="851"/>
                        <a:pt x="973" y="847"/>
                      </a:cubicBezTo>
                      <a:cubicBezTo>
                        <a:pt x="976" y="842"/>
                        <a:pt x="989" y="855"/>
                        <a:pt x="989" y="863"/>
                      </a:cubicBezTo>
                      <a:cubicBezTo>
                        <a:pt x="989" y="870"/>
                        <a:pt x="1002" y="903"/>
                        <a:pt x="996" y="911"/>
                      </a:cubicBezTo>
                      <a:cubicBezTo>
                        <a:pt x="990" y="919"/>
                        <a:pt x="974" y="915"/>
                        <a:pt x="974" y="923"/>
                      </a:cubicBezTo>
                      <a:cubicBezTo>
                        <a:pt x="975" y="931"/>
                        <a:pt x="991" y="954"/>
                        <a:pt x="988" y="961"/>
                      </a:cubicBezTo>
                      <a:cubicBezTo>
                        <a:pt x="984" y="968"/>
                        <a:pt x="925" y="1039"/>
                        <a:pt x="930" y="1050"/>
                      </a:cubicBezTo>
                      <a:cubicBezTo>
                        <a:pt x="935" y="1061"/>
                        <a:pt x="940" y="1129"/>
                        <a:pt x="930" y="1134"/>
                      </a:cubicBezTo>
                      <a:cubicBezTo>
                        <a:pt x="919" y="1140"/>
                        <a:pt x="910" y="1129"/>
                        <a:pt x="895" y="1135"/>
                      </a:cubicBezTo>
                      <a:cubicBezTo>
                        <a:pt x="881" y="1141"/>
                        <a:pt x="866" y="1158"/>
                        <a:pt x="879" y="1168"/>
                      </a:cubicBezTo>
                      <a:cubicBezTo>
                        <a:pt x="892" y="1177"/>
                        <a:pt x="905" y="1184"/>
                        <a:pt x="906" y="1182"/>
                      </a:cubicBezTo>
                      <a:cubicBezTo>
                        <a:pt x="907" y="1179"/>
                        <a:pt x="931" y="1157"/>
                        <a:pt x="931" y="1157"/>
                      </a:cubicBezTo>
                      <a:cubicBezTo>
                        <a:pt x="931" y="1157"/>
                        <a:pt x="931" y="1176"/>
                        <a:pt x="931" y="1182"/>
                      </a:cubicBezTo>
                      <a:cubicBezTo>
                        <a:pt x="931" y="1187"/>
                        <a:pt x="938" y="1203"/>
                        <a:pt x="948" y="1203"/>
                      </a:cubicBezTo>
                      <a:cubicBezTo>
                        <a:pt x="958" y="1203"/>
                        <a:pt x="957" y="1175"/>
                        <a:pt x="957" y="1159"/>
                      </a:cubicBezTo>
                      <a:cubicBezTo>
                        <a:pt x="957" y="1143"/>
                        <a:pt x="977" y="1126"/>
                        <a:pt x="977" y="1112"/>
                      </a:cubicBezTo>
                      <a:cubicBezTo>
                        <a:pt x="977" y="1098"/>
                        <a:pt x="977" y="1080"/>
                        <a:pt x="982" y="1075"/>
                      </a:cubicBezTo>
                      <a:cubicBezTo>
                        <a:pt x="988" y="1070"/>
                        <a:pt x="993" y="1074"/>
                        <a:pt x="993" y="1061"/>
                      </a:cubicBezTo>
                      <a:cubicBezTo>
                        <a:pt x="993" y="1049"/>
                        <a:pt x="1002" y="1041"/>
                        <a:pt x="1006" y="1036"/>
                      </a:cubicBezTo>
                      <a:cubicBezTo>
                        <a:pt x="1010" y="1031"/>
                        <a:pt x="1026" y="1054"/>
                        <a:pt x="1026" y="1054"/>
                      </a:cubicBezTo>
                      <a:cubicBezTo>
                        <a:pt x="1026" y="1054"/>
                        <a:pt x="1019" y="1065"/>
                        <a:pt x="1018" y="1076"/>
                      </a:cubicBezTo>
                      <a:cubicBezTo>
                        <a:pt x="1017" y="1087"/>
                        <a:pt x="1031" y="1105"/>
                        <a:pt x="1034" y="1112"/>
                      </a:cubicBezTo>
                      <a:cubicBezTo>
                        <a:pt x="1037" y="1118"/>
                        <a:pt x="1051" y="1125"/>
                        <a:pt x="1051" y="1138"/>
                      </a:cubicBezTo>
                      <a:cubicBezTo>
                        <a:pt x="1050" y="1151"/>
                        <a:pt x="1042" y="1162"/>
                        <a:pt x="1039" y="1163"/>
                      </a:cubicBezTo>
                      <a:cubicBezTo>
                        <a:pt x="1036" y="1165"/>
                        <a:pt x="1038" y="1187"/>
                        <a:pt x="1030" y="1195"/>
                      </a:cubicBezTo>
                      <a:cubicBezTo>
                        <a:pt x="1021" y="1203"/>
                        <a:pt x="988" y="1215"/>
                        <a:pt x="994" y="1226"/>
                      </a:cubicBezTo>
                      <a:cubicBezTo>
                        <a:pt x="1000" y="1236"/>
                        <a:pt x="1012" y="1238"/>
                        <a:pt x="1036" y="1235"/>
                      </a:cubicBezTo>
                      <a:cubicBezTo>
                        <a:pt x="1060" y="1231"/>
                        <a:pt x="1045" y="1227"/>
                        <a:pt x="1057" y="1220"/>
                      </a:cubicBezTo>
                      <a:cubicBezTo>
                        <a:pt x="1069" y="1214"/>
                        <a:pt x="1077" y="1203"/>
                        <a:pt x="1095" y="1200"/>
                      </a:cubicBezTo>
                      <a:cubicBezTo>
                        <a:pt x="1114" y="1196"/>
                        <a:pt x="1137" y="1181"/>
                        <a:pt x="1127" y="1196"/>
                      </a:cubicBezTo>
                      <a:cubicBezTo>
                        <a:pt x="1116" y="1211"/>
                        <a:pt x="1110" y="1225"/>
                        <a:pt x="1112" y="1241"/>
                      </a:cubicBezTo>
                      <a:cubicBezTo>
                        <a:pt x="1114" y="1257"/>
                        <a:pt x="1122" y="1261"/>
                        <a:pt x="1131" y="1270"/>
                      </a:cubicBezTo>
                      <a:cubicBezTo>
                        <a:pt x="1140" y="1279"/>
                        <a:pt x="1153" y="1305"/>
                        <a:pt x="1155" y="1316"/>
                      </a:cubicBezTo>
                      <a:cubicBezTo>
                        <a:pt x="1157" y="1327"/>
                        <a:pt x="1179" y="1379"/>
                        <a:pt x="1169" y="1388"/>
                      </a:cubicBezTo>
                      <a:cubicBezTo>
                        <a:pt x="1158" y="1398"/>
                        <a:pt x="1145" y="1409"/>
                        <a:pt x="1145" y="1411"/>
                      </a:cubicBezTo>
                      <a:cubicBezTo>
                        <a:pt x="1145" y="1414"/>
                        <a:pt x="1138" y="1442"/>
                        <a:pt x="1189" y="1486"/>
                      </a:cubicBezTo>
                      <a:cubicBezTo>
                        <a:pt x="1232" y="1543"/>
                        <a:pt x="1241" y="1556"/>
                        <a:pt x="1241" y="1556"/>
                      </a:cubicBezTo>
                      <a:cubicBezTo>
                        <a:pt x="1278" y="1555"/>
                        <a:pt x="1278" y="1555"/>
                        <a:pt x="1278" y="1555"/>
                      </a:cubicBezTo>
                      <a:cubicBezTo>
                        <a:pt x="1369" y="25"/>
                        <a:pt x="1369" y="25"/>
                        <a:pt x="1369" y="25"/>
                      </a:cubicBezTo>
                      <a:lnTo>
                        <a:pt x="1016" y="15"/>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18453" name="Freeform 21" descr="© INSCALE GmbH, 05.05.2010&#10;http://www.presentationload.com/"/>
                <p:cNvSpPr>
                  <a:spLocks noChangeAspect="1" noEditPoints="1"/>
                </p:cNvSpPr>
                <p:nvPr/>
              </p:nvSpPr>
              <p:spPr bwMode="auto">
                <a:xfrm>
                  <a:off x="4562" y="2612"/>
                  <a:ext cx="513" cy="450"/>
                </a:xfrm>
                <a:custGeom>
                  <a:avLst/>
                  <a:gdLst/>
                  <a:ahLst/>
                  <a:cxnLst>
                    <a:cxn ang="0">
                      <a:pos x="527" y="691"/>
                    </a:cxn>
                    <a:cxn ang="0">
                      <a:pos x="517" y="672"/>
                    </a:cxn>
                    <a:cxn ang="0">
                      <a:pos x="279" y="716"/>
                    </a:cxn>
                    <a:cxn ang="0">
                      <a:pos x="266" y="756"/>
                    </a:cxn>
                    <a:cxn ang="0">
                      <a:pos x="274" y="799"/>
                    </a:cxn>
                    <a:cxn ang="0">
                      <a:pos x="293" y="765"/>
                    </a:cxn>
                    <a:cxn ang="0">
                      <a:pos x="738" y="410"/>
                    </a:cxn>
                    <a:cxn ang="0">
                      <a:pos x="726" y="345"/>
                    </a:cxn>
                    <a:cxn ang="0">
                      <a:pos x="721" y="304"/>
                    </a:cxn>
                    <a:cxn ang="0">
                      <a:pos x="679" y="305"/>
                    </a:cxn>
                    <a:cxn ang="0">
                      <a:pos x="649" y="310"/>
                    </a:cxn>
                    <a:cxn ang="0">
                      <a:pos x="631" y="340"/>
                    </a:cxn>
                    <a:cxn ang="0">
                      <a:pos x="585" y="290"/>
                    </a:cxn>
                    <a:cxn ang="0">
                      <a:pos x="514" y="288"/>
                    </a:cxn>
                    <a:cxn ang="0">
                      <a:pos x="472" y="275"/>
                    </a:cxn>
                    <a:cxn ang="0">
                      <a:pos x="420" y="293"/>
                    </a:cxn>
                    <a:cxn ang="0">
                      <a:pos x="366" y="261"/>
                    </a:cxn>
                    <a:cxn ang="0">
                      <a:pos x="312" y="193"/>
                    </a:cxn>
                    <a:cxn ang="0">
                      <a:pos x="285" y="166"/>
                    </a:cxn>
                    <a:cxn ang="0">
                      <a:pos x="266" y="114"/>
                    </a:cxn>
                    <a:cxn ang="0">
                      <a:pos x="193" y="110"/>
                    </a:cxn>
                    <a:cxn ang="0">
                      <a:pos x="169" y="73"/>
                    </a:cxn>
                    <a:cxn ang="0">
                      <a:pos x="128" y="8"/>
                    </a:cxn>
                    <a:cxn ang="0">
                      <a:pos x="81" y="25"/>
                    </a:cxn>
                    <a:cxn ang="0">
                      <a:pos x="30" y="0"/>
                    </a:cxn>
                    <a:cxn ang="0">
                      <a:pos x="6" y="509"/>
                    </a:cxn>
                    <a:cxn ang="0">
                      <a:pos x="49" y="561"/>
                    </a:cxn>
                    <a:cxn ang="0">
                      <a:pos x="112" y="560"/>
                    </a:cxn>
                    <a:cxn ang="0">
                      <a:pos x="199" y="611"/>
                    </a:cxn>
                    <a:cxn ang="0">
                      <a:pos x="258" y="603"/>
                    </a:cxn>
                    <a:cxn ang="0">
                      <a:pos x="324" y="575"/>
                    </a:cxn>
                    <a:cxn ang="0">
                      <a:pos x="373" y="550"/>
                    </a:cxn>
                    <a:cxn ang="0">
                      <a:pos x="370" y="513"/>
                    </a:cxn>
                    <a:cxn ang="0">
                      <a:pos x="417" y="556"/>
                    </a:cxn>
                    <a:cxn ang="0">
                      <a:pos x="407" y="595"/>
                    </a:cxn>
                    <a:cxn ang="0">
                      <a:pos x="448" y="587"/>
                    </a:cxn>
                    <a:cxn ang="0">
                      <a:pos x="458" y="627"/>
                    </a:cxn>
                    <a:cxn ang="0">
                      <a:pos x="488" y="657"/>
                    </a:cxn>
                    <a:cxn ang="0">
                      <a:pos x="557" y="645"/>
                    </a:cxn>
                    <a:cxn ang="0">
                      <a:pos x="691" y="555"/>
                    </a:cxn>
                    <a:cxn ang="0">
                      <a:pos x="770" y="550"/>
                    </a:cxn>
                    <a:cxn ang="0">
                      <a:pos x="890" y="535"/>
                    </a:cxn>
                    <a:cxn ang="0">
                      <a:pos x="738" y="410"/>
                    </a:cxn>
                  </a:cxnLst>
                  <a:rect l="0" t="0" r="r" b="b"/>
                  <a:pathLst>
                    <a:path w="912" h="799">
                      <a:moveTo>
                        <a:pt x="517" y="672"/>
                      </a:moveTo>
                      <a:cubicBezTo>
                        <a:pt x="517" y="672"/>
                        <a:pt x="520" y="690"/>
                        <a:pt x="527" y="691"/>
                      </a:cubicBezTo>
                      <a:cubicBezTo>
                        <a:pt x="533" y="692"/>
                        <a:pt x="537" y="676"/>
                        <a:pt x="540" y="668"/>
                      </a:cubicBezTo>
                      <a:cubicBezTo>
                        <a:pt x="543" y="660"/>
                        <a:pt x="523" y="660"/>
                        <a:pt x="517" y="672"/>
                      </a:cubicBezTo>
                      <a:close/>
                      <a:moveTo>
                        <a:pt x="291" y="734"/>
                      </a:moveTo>
                      <a:cubicBezTo>
                        <a:pt x="279" y="716"/>
                        <a:pt x="279" y="716"/>
                        <a:pt x="279" y="716"/>
                      </a:cubicBezTo>
                      <a:cubicBezTo>
                        <a:pt x="279" y="716"/>
                        <a:pt x="269" y="730"/>
                        <a:pt x="266" y="736"/>
                      </a:cubicBezTo>
                      <a:cubicBezTo>
                        <a:pt x="263" y="743"/>
                        <a:pt x="266" y="752"/>
                        <a:pt x="266" y="756"/>
                      </a:cubicBezTo>
                      <a:cubicBezTo>
                        <a:pt x="266" y="760"/>
                        <a:pt x="262" y="772"/>
                        <a:pt x="262" y="772"/>
                      </a:cubicBezTo>
                      <a:cubicBezTo>
                        <a:pt x="274" y="799"/>
                        <a:pt x="274" y="799"/>
                        <a:pt x="274" y="799"/>
                      </a:cubicBezTo>
                      <a:cubicBezTo>
                        <a:pt x="295" y="775"/>
                        <a:pt x="295" y="775"/>
                        <a:pt x="295" y="775"/>
                      </a:cubicBezTo>
                      <a:cubicBezTo>
                        <a:pt x="293" y="765"/>
                        <a:pt x="293" y="765"/>
                        <a:pt x="293" y="765"/>
                      </a:cubicBezTo>
                      <a:lnTo>
                        <a:pt x="291" y="734"/>
                      </a:lnTo>
                      <a:close/>
                      <a:moveTo>
                        <a:pt x="738" y="410"/>
                      </a:moveTo>
                      <a:cubicBezTo>
                        <a:pt x="754" y="383"/>
                        <a:pt x="754" y="383"/>
                        <a:pt x="754" y="383"/>
                      </a:cubicBezTo>
                      <a:cubicBezTo>
                        <a:pt x="726" y="345"/>
                        <a:pt x="726" y="345"/>
                        <a:pt x="726" y="345"/>
                      </a:cubicBezTo>
                      <a:cubicBezTo>
                        <a:pt x="734" y="329"/>
                        <a:pt x="734" y="329"/>
                        <a:pt x="734" y="329"/>
                      </a:cubicBezTo>
                      <a:cubicBezTo>
                        <a:pt x="721" y="304"/>
                        <a:pt x="721" y="304"/>
                        <a:pt x="721" y="304"/>
                      </a:cubicBezTo>
                      <a:cubicBezTo>
                        <a:pt x="698" y="307"/>
                        <a:pt x="698" y="307"/>
                        <a:pt x="698" y="307"/>
                      </a:cubicBezTo>
                      <a:cubicBezTo>
                        <a:pt x="679" y="305"/>
                        <a:pt x="679" y="305"/>
                        <a:pt x="679" y="305"/>
                      </a:cubicBezTo>
                      <a:cubicBezTo>
                        <a:pt x="670" y="312"/>
                        <a:pt x="670" y="312"/>
                        <a:pt x="670" y="312"/>
                      </a:cubicBezTo>
                      <a:cubicBezTo>
                        <a:pt x="649" y="310"/>
                        <a:pt x="649" y="310"/>
                        <a:pt x="649" y="310"/>
                      </a:cubicBezTo>
                      <a:cubicBezTo>
                        <a:pt x="648" y="329"/>
                        <a:pt x="648" y="329"/>
                        <a:pt x="648" y="329"/>
                      </a:cubicBezTo>
                      <a:cubicBezTo>
                        <a:pt x="631" y="340"/>
                        <a:pt x="631" y="340"/>
                        <a:pt x="631" y="340"/>
                      </a:cubicBezTo>
                      <a:cubicBezTo>
                        <a:pt x="629" y="312"/>
                        <a:pt x="629" y="312"/>
                        <a:pt x="629" y="312"/>
                      </a:cubicBezTo>
                      <a:cubicBezTo>
                        <a:pt x="629" y="312"/>
                        <a:pt x="588" y="290"/>
                        <a:pt x="585" y="290"/>
                      </a:cubicBezTo>
                      <a:cubicBezTo>
                        <a:pt x="582" y="290"/>
                        <a:pt x="569" y="299"/>
                        <a:pt x="553" y="300"/>
                      </a:cubicBezTo>
                      <a:cubicBezTo>
                        <a:pt x="536" y="301"/>
                        <a:pt x="514" y="288"/>
                        <a:pt x="514" y="288"/>
                      </a:cubicBezTo>
                      <a:cubicBezTo>
                        <a:pt x="502" y="271"/>
                        <a:pt x="502" y="271"/>
                        <a:pt x="502" y="271"/>
                      </a:cubicBezTo>
                      <a:cubicBezTo>
                        <a:pt x="472" y="275"/>
                        <a:pt x="472" y="275"/>
                        <a:pt x="472" y="275"/>
                      </a:cubicBezTo>
                      <a:cubicBezTo>
                        <a:pt x="472" y="275"/>
                        <a:pt x="451" y="261"/>
                        <a:pt x="431" y="261"/>
                      </a:cubicBezTo>
                      <a:cubicBezTo>
                        <a:pt x="411" y="261"/>
                        <a:pt x="420" y="293"/>
                        <a:pt x="420" y="293"/>
                      </a:cubicBezTo>
                      <a:cubicBezTo>
                        <a:pt x="402" y="294"/>
                        <a:pt x="402" y="294"/>
                        <a:pt x="402" y="294"/>
                      </a:cubicBezTo>
                      <a:cubicBezTo>
                        <a:pt x="366" y="261"/>
                        <a:pt x="366" y="261"/>
                        <a:pt x="366" y="261"/>
                      </a:cubicBezTo>
                      <a:cubicBezTo>
                        <a:pt x="366" y="244"/>
                        <a:pt x="366" y="244"/>
                        <a:pt x="366" y="244"/>
                      </a:cubicBezTo>
                      <a:cubicBezTo>
                        <a:pt x="312" y="193"/>
                        <a:pt x="312" y="193"/>
                        <a:pt x="312" y="193"/>
                      </a:cubicBezTo>
                      <a:cubicBezTo>
                        <a:pt x="287" y="190"/>
                        <a:pt x="287" y="190"/>
                        <a:pt x="287" y="190"/>
                      </a:cubicBezTo>
                      <a:cubicBezTo>
                        <a:pt x="285" y="166"/>
                        <a:pt x="285" y="166"/>
                        <a:pt x="285" y="166"/>
                      </a:cubicBezTo>
                      <a:cubicBezTo>
                        <a:pt x="265" y="163"/>
                        <a:pt x="265" y="163"/>
                        <a:pt x="265" y="163"/>
                      </a:cubicBezTo>
                      <a:cubicBezTo>
                        <a:pt x="266" y="114"/>
                        <a:pt x="266" y="114"/>
                        <a:pt x="266" y="114"/>
                      </a:cubicBezTo>
                      <a:cubicBezTo>
                        <a:pt x="212" y="85"/>
                        <a:pt x="212" y="85"/>
                        <a:pt x="212" y="85"/>
                      </a:cubicBezTo>
                      <a:cubicBezTo>
                        <a:pt x="212" y="85"/>
                        <a:pt x="198" y="106"/>
                        <a:pt x="193" y="110"/>
                      </a:cubicBezTo>
                      <a:cubicBezTo>
                        <a:pt x="187" y="115"/>
                        <a:pt x="182" y="80"/>
                        <a:pt x="182" y="80"/>
                      </a:cubicBezTo>
                      <a:cubicBezTo>
                        <a:pt x="169" y="73"/>
                        <a:pt x="169" y="73"/>
                        <a:pt x="169" y="73"/>
                      </a:cubicBezTo>
                      <a:cubicBezTo>
                        <a:pt x="172" y="48"/>
                        <a:pt x="172" y="48"/>
                        <a:pt x="172" y="48"/>
                      </a:cubicBezTo>
                      <a:cubicBezTo>
                        <a:pt x="128" y="8"/>
                        <a:pt x="128" y="8"/>
                        <a:pt x="128" y="8"/>
                      </a:cubicBezTo>
                      <a:cubicBezTo>
                        <a:pt x="96" y="11"/>
                        <a:pt x="96" y="11"/>
                        <a:pt x="96" y="11"/>
                      </a:cubicBezTo>
                      <a:cubicBezTo>
                        <a:pt x="81" y="25"/>
                        <a:pt x="81" y="25"/>
                        <a:pt x="81" y="25"/>
                      </a:cubicBezTo>
                      <a:cubicBezTo>
                        <a:pt x="50" y="3"/>
                        <a:pt x="50" y="3"/>
                        <a:pt x="50" y="3"/>
                      </a:cubicBezTo>
                      <a:cubicBezTo>
                        <a:pt x="30" y="0"/>
                        <a:pt x="30" y="0"/>
                        <a:pt x="30" y="0"/>
                      </a:cubicBezTo>
                      <a:cubicBezTo>
                        <a:pt x="0" y="510"/>
                        <a:pt x="0" y="510"/>
                        <a:pt x="0" y="510"/>
                      </a:cubicBezTo>
                      <a:cubicBezTo>
                        <a:pt x="6" y="509"/>
                        <a:pt x="6" y="509"/>
                        <a:pt x="6" y="509"/>
                      </a:cubicBezTo>
                      <a:cubicBezTo>
                        <a:pt x="6" y="509"/>
                        <a:pt x="29" y="550"/>
                        <a:pt x="33" y="552"/>
                      </a:cubicBezTo>
                      <a:cubicBezTo>
                        <a:pt x="36" y="553"/>
                        <a:pt x="42" y="562"/>
                        <a:pt x="49" y="561"/>
                      </a:cubicBezTo>
                      <a:cubicBezTo>
                        <a:pt x="56" y="560"/>
                        <a:pt x="58" y="525"/>
                        <a:pt x="71" y="528"/>
                      </a:cubicBezTo>
                      <a:cubicBezTo>
                        <a:pt x="83" y="532"/>
                        <a:pt x="108" y="560"/>
                        <a:pt x="112" y="560"/>
                      </a:cubicBezTo>
                      <a:cubicBezTo>
                        <a:pt x="116" y="560"/>
                        <a:pt x="150" y="559"/>
                        <a:pt x="152" y="560"/>
                      </a:cubicBezTo>
                      <a:cubicBezTo>
                        <a:pt x="154" y="560"/>
                        <a:pt x="193" y="611"/>
                        <a:pt x="199" y="611"/>
                      </a:cubicBezTo>
                      <a:cubicBezTo>
                        <a:pt x="204" y="610"/>
                        <a:pt x="241" y="621"/>
                        <a:pt x="242" y="620"/>
                      </a:cubicBezTo>
                      <a:cubicBezTo>
                        <a:pt x="242" y="618"/>
                        <a:pt x="245" y="603"/>
                        <a:pt x="258" y="603"/>
                      </a:cubicBezTo>
                      <a:cubicBezTo>
                        <a:pt x="272" y="602"/>
                        <a:pt x="286" y="616"/>
                        <a:pt x="292" y="611"/>
                      </a:cubicBezTo>
                      <a:cubicBezTo>
                        <a:pt x="298" y="607"/>
                        <a:pt x="309" y="583"/>
                        <a:pt x="324" y="575"/>
                      </a:cubicBezTo>
                      <a:cubicBezTo>
                        <a:pt x="338" y="566"/>
                        <a:pt x="351" y="568"/>
                        <a:pt x="359" y="564"/>
                      </a:cubicBezTo>
                      <a:cubicBezTo>
                        <a:pt x="366" y="560"/>
                        <a:pt x="374" y="551"/>
                        <a:pt x="373" y="550"/>
                      </a:cubicBezTo>
                      <a:cubicBezTo>
                        <a:pt x="371" y="549"/>
                        <a:pt x="350" y="544"/>
                        <a:pt x="349" y="540"/>
                      </a:cubicBezTo>
                      <a:cubicBezTo>
                        <a:pt x="348" y="536"/>
                        <a:pt x="352" y="518"/>
                        <a:pt x="370" y="513"/>
                      </a:cubicBezTo>
                      <a:cubicBezTo>
                        <a:pt x="387" y="508"/>
                        <a:pt x="414" y="512"/>
                        <a:pt x="414" y="519"/>
                      </a:cubicBezTo>
                      <a:cubicBezTo>
                        <a:pt x="414" y="526"/>
                        <a:pt x="432" y="549"/>
                        <a:pt x="417" y="556"/>
                      </a:cubicBezTo>
                      <a:cubicBezTo>
                        <a:pt x="402" y="563"/>
                        <a:pt x="376" y="580"/>
                        <a:pt x="381" y="583"/>
                      </a:cubicBezTo>
                      <a:cubicBezTo>
                        <a:pt x="386" y="587"/>
                        <a:pt x="402" y="598"/>
                        <a:pt x="407" y="595"/>
                      </a:cubicBezTo>
                      <a:cubicBezTo>
                        <a:pt x="413" y="592"/>
                        <a:pt x="430" y="560"/>
                        <a:pt x="440" y="564"/>
                      </a:cubicBezTo>
                      <a:cubicBezTo>
                        <a:pt x="450" y="568"/>
                        <a:pt x="460" y="577"/>
                        <a:pt x="448" y="587"/>
                      </a:cubicBezTo>
                      <a:cubicBezTo>
                        <a:pt x="436" y="597"/>
                        <a:pt x="424" y="605"/>
                        <a:pt x="432" y="609"/>
                      </a:cubicBezTo>
                      <a:cubicBezTo>
                        <a:pt x="440" y="613"/>
                        <a:pt x="458" y="627"/>
                        <a:pt x="458" y="627"/>
                      </a:cubicBezTo>
                      <a:cubicBezTo>
                        <a:pt x="469" y="625"/>
                        <a:pt x="469" y="625"/>
                        <a:pt x="469" y="625"/>
                      </a:cubicBezTo>
                      <a:cubicBezTo>
                        <a:pt x="469" y="625"/>
                        <a:pt x="474" y="661"/>
                        <a:pt x="488" y="657"/>
                      </a:cubicBezTo>
                      <a:cubicBezTo>
                        <a:pt x="501" y="654"/>
                        <a:pt x="499" y="635"/>
                        <a:pt x="522" y="636"/>
                      </a:cubicBezTo>
                      <a:cubicBezTo>
                        <a:pt x="545" y="637"/>
                        <a:pt x="547" y="647"/>
                        <a:pt x="557" y="645"/>
                      </a:cubicBezTo>
                      <a:cubicBezTo>
                        <a:pt x="566" y="644"/>
                        <a:pt x="594" y="630"/>
                        <a:pt x="597" y="627"/>
                      </a:cubicBezTo>
                      <a:cubicBezTo>
                        <a:pt x="600" y="624"/>
                        <a:pt x="673" y="559"/>
                        <a:pt x="691" y="555"/>
                      </a:cubicBezTo>
                      <a:cubicBezTo>
                        <a:pt x="710" y="551"/>
                        <a:pt x="748" y="538"/>
                        <a:pt x="748" y="538"/>
                      </a:cubicBezTo>
                      <a:cubicBezTo>
                        <a:pt x="748" y="538"/>
                        <a:pt x="768" y="550"/>
                        <a:pt x="770" y="550"/>
                      </a:cubicBezTo>
                      <a:cubicBezTo>
                        <a:pt x="773" y="549"/>
                        <a:pt x="845" y="562"/>
                        <a:pt x="856" y="554"/>
                      </a:cubicBezTo>
                      <a:cubicBezTo>
                        <a:pt x="866" y="547"/>
                        <a:pt x="890" y="535"/>
                        <a:pt x="890" y="535"/>
                      </a:cubicBezTo>
                      <a:cubicBezTo>
                        <a:pt x="912" y="534"/>
                        <a:pt x="912" y="534"/>
                        <a:pt x="912" y="534"/>
                      </a:cubicBezTo>
                      <a:lnTo>
                        <a:pt x="738" y="410"/>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18454" name="Freeform 22" descr="© INSCALE GmbH, 05.05.2010&#10;http://www.presentationload.com/"/>
                <p:cNvSpPr>
                  <a:spLocks noChangeAspect="1" noEditPoints="1"/>
                </p:cNvSpPr>
                <p:nvPr/>
              </p:nvSpPr>
              <p:spPr bwMode="auto">
                <a:xfrm>
                  <a:off x="4579" y="2251"/>
                  <a:ext cx="803" cy="661"/>
                </a:xfrm>
                <a:custGeom>
                  <a:avLst/>
                  <a:gdLst/>
                  <a:ahLst/>
                  <a:cxnLst>
                    <a:cxn ang="0">
                      <a:pos x="1395" y="59"/>
                    </a:cxn>
                    <a:cxn ang="0">
                      <a:pos x="1359" y="67"/>
                    </a:cxn>
                    <a:cxn ang="0">
                      <a:pos x="1251" y="67"/>
                    </a:cxn>
                    <a:cxn ang="0">
                      <a:pos x="1207" y="111"/>
                    </a:cxn>
                    <a:cxn ang="0">
                      <a:pos x="1167" y="107"/>
                    </a:cxn>
                    <a:cxn ang="0">
                      <a:pos x="1083" y="75"/>
                    </a:cxn>
                    <a:cxn ang="0">
                      <a:pos x="1019" y="47"/>
                    </a:cxn>
                    <a:cxn ang="0">
                      <a:pos x="915" y="83"/>
                    </a:cxn>
                    <a:cxn ang="0">
                      <a:pos x="0" y="643"/>
                    </a:cxn>
                    <a:cxn ang="0">
                      <a:pos x="51" y="668"/>
                    </a:cxn>
                    <a:cxn ang="0">
                      <a:pos x="98" y="651"/>
                    </a:cxn>
                    <a:cxn ang="0">
                      <a:pos x="139" y="716"/>
                    </a:cxn>
                    <a:cxn ang="0">
                      <a:pos x="163" y="753"/>
                    </a:cxn>
                    <a:cxn ang="0">
                      <a:pos x="236" y="757"/>
                    </a:cxn>
                    <a:cxn ang="0">
                      <a:pos x="255" y="809"/>
                    </a:cxn>
                    <a:cxn ang="0">
                      <a:pos x="282" y="836"/>
                    </a:cxn>
                    <a:cxn ang="0">
                      <a:pos x="336" y="904"/>
                    </a:cxn>
                    <a:cxn ang="0">
                      <a:pos x="390" y="936"/>
                    </a:cxn>
                    <a:cxn ang="0">
                      <a:pos x="442" y="918"/>
                    </a:cxn>
                    <a:cxn ang="0">
                      <a:pos x="484" y="931"/>
                    </a:cxn>
                    <a:cxn ang="0">
                      <a:pos x="555" y="933"/>
                    </a:cxn>
                    <a:cxn ang="0">
                      <a:pos x="601" y="983"/>
                    </a:cxn>
                    <a:cxn ang="0">
                      <a:pos x="619" y="953"/>
                    </a:cxn>
                    <a:cxn ang="0">
                      <a:pos x="649" y="948"/>
                    </a:cxn>
                    <a:cxn ang="0">
                      <a:pos x="691" y="947"/>
                    </a:cxn>
                    <a:cxn ang="0">
                      <a:pos x="696" y="988"/>
                    </a:cxn>
                    <a:cxn ang="0">
                      <a:pos x="708" y="1053"/>
                    </a:cxn>
                    <a:cxn ang="0">
                      <a:pos x="888" y="1177"/>
                    </a:cxn>
                    <a:cxn ang="0">
                      <a:pos x="884" y="1105"/>
                    </a:cxn>
                    <a:cxn ang="0">
                      <a:pos x="924" y="983"/>
                    </a:cxn>
                    <a:cxn ang="0">
                      <a:pos x="989" y="886"/>
                    </a:cxn>
                    <a:cxn ang="0">
                      <a:pos x="1015" y="873"/>
                    </a:cxn>
                    <a:cxn ang="0">
                      <a:pos x="1025" y="828"/>
                    </a:cxn>
                    <a:cxn ang="0">
                      <a:pos x="1056" y="768"/>
                    </a:cxn>
                    <a:cxn ang="0">
                      <a:pos x="1091" y="691"/>
                    </a:cxn>
                    <a:cxn ang="0">
                      <a:pos x="1175" y="614"/>
                    </a:cxn>
                    <a:cxn ang="0">
                      <a:pos x="1215" y="582"/>
                    </a:cxn>
                    <a:cxn ang="0">
                      <a:pos x="1239" y="562"/>
                    </a:cxn>
                    <a:cxn ang="0">
                      <a:pos x="1296" y="463"/>
                    </a:cxn>
                    <a:cxn ang="0">
                      <a:pos x="1322" y="357"/>
                    </a:cxn>
                    <a:cxn ang="0">
                      <a:pos x="1388" y="190"/>
                    </a:cxn>
                    <a:cxn ang="0">
                      <a:pos x="1423" y="99"/>
                    </a:cxn>
                    <a:cxn ang="0">
                      <a:pos x="1427" y="59"/>
                    </a:cxn>
                    <a:cxn ang="0">
                      <a:pos x="831" y="943"/>
                    </a:cxn>
                    <a:cxn ang="0">
                      <a:pos x="803" y="948"/>
                    </a:cxn>
                    <a:cxn ang="0">
                      <a:pos x="791" y="932"/>
                    </a:cxn>
                    <a:cxn ang="0">
                      <a:pos x="800" y="881"/>
                    </a:cxn>
                    <a:cxn ang="0">
                      <a:pos x="842" y="881"/>
                    </a:cxn>
                    <a:cxn ang="0">
                      <a:pos x="837" y="914"/>
                    </a:cxn>
                  </a:cxnLst>
                  <a:rect l="0" t="0" r="r" b="b"/>
                  <a:pathLst>
                    <a:path w="1429" h="1177">
                      <a:moveTo>
                        <a:pt x="1427" y="59"/>
                      </a:moveTo>
                      <a:cubicBezTo>
                        <a:pt x="1395" y="59"/>
                        <a:pt x="1395" y="59"/>
                        <a:pt x="1395" y="59"/>
                      </a:cubicBezTo>
                      <a:cubicBezTo>
                        <a:pt x="1391" y="75"/>
                        <a:pt x="1391" y="75"/>
                        <a:pt x="1391" y="75"/>
                      </a:cubicBezTo>
                      <a:cubicBezTo>
                        <a:pt x="1359" y="67"/>
                        <a:pt x="1359" y="67"/>
                        <a:pt x="1359" y="67"/>
                      </a:cubicBezTo>
                      <a:cubicBezTo>
                        <a:pt x="1311" y="51"/>
                        <a:pt x="1311" y="51"/>
                        <a:pt x="1311" y="51"/>
                      </a:cubicBezTo>
                      <a:cubicBezTo>
                        <a:pt x="1251" y="67"/>
                        <a:pt x="1251" y="67"/>
                        <a:pt x="1251" y="67"/>
                      </a:cubicBezTo>
                      <a:cubicBezTo>
                        <a:pt x="1251" y="67"/>
                        <a:pt x="1243" y="95"/>
                        <a:pt x="1239" y="111"/>
                      </a:cubicBezTo>
                      <a:cubicBezTo>
                        <a:pt x="1235" y="127"/>
                        <a:pt x="1207" y="111"/>
                        <a:pt x="1207" y="111"/>
                      </a:cubicBezTo>
                      <a:cubicBezTo>
                        <a:pt x="1171" y="139"/>
                        <a:pt x="1171" y="139"/>
                        <a:pt x="1171" y="139"/>
                      </a:cubicBezTo>
                      <a:cubicBezTo>
                        <a:pt x="1167" y="107"/>
                        <a:pt x="1167" y="107"/>
                        <a:pt x="1167" y="107"/>
                      </a:cubicBezTo>
                      <a:cubicBezTo>
                        <a:pt x="1127" y="71"/>
                        <a:pt x="1127" y="71"/>
                        <a:pt x="1127" y="71"/>
                      </a:cubicBezTo>
                      <a:cubicBezTo>
                        <a:pt x="1083" y="75"/>
                        <a:pt x="1083" y="75"/>
                        <a:pt x="1083" y="75"/>
                      </a:cubicBezTo>
                      <a:cubicBezTo>
                        <a:pt x="1059" y="47"/>
                        <a:pt x="1059" y="47"/>
                        <a:pt x="1059" y="47"/>
                      </a:cubicBezTo>
                      <a:cubicBezTo>
                        <a:pt x="1019" y="47"/>
                        <a:pt x="1019" y="47"/>
                        <a:pt x="1019" y="47"/>
                      </a:cubicBezTo>
                      <a:cubicBezTo>
                        <a:pt x="979" y="39"/>
                        <a:pt x="979" y="39"/>
                        <a:pt x="979" y="39"/>
                      </a:cubicBezTo>
                      <a:cubicBezTo>
                        <a:pt x="915" y="83"/>
                        <a:pt x="915" y="83"/>
                        <a:pt x="915" y="83"/>
                      </a:cubicBezTo>
                      <a:cubicBezTo>
                        <a:pt x="39" y="0"/>
                        <a:pt x="39" y="0"/>
                        <a:pt x="39" y="0"/>
                      </a:cubicBezTo>
                      <a:cubicBezTo>
                        <a:pt x="0" y="643"/>
                        <a:pt x="0" y="643"/>
                        <a:pt x="0" y="643"/>
                      </a:cubicBezTo>
                      <a:cubicBezTo>
                        <a:pt x="20" y="646"/>
                        <a:pt x="20" y="646"/>
                        <a:pt x="20" y="646"/>
                      </a:cubicBezTo>
                      <a:cubicBezTo>
                        <a:pt x="51" y="668"/>
                        <a:pt x="51" y="668"/>
                        <a:pt x="51" y="668"/>
                      </a:cubicBezTo>
                      <a:cubicBezTo>
                        <a:pt x="66" y="654"/>
                        <a:pt x="66" y="654"/>
                        <a:pt x="66" y="654"/>
                      </a:cubicBezTo>
                      <a:cubicBezTo>
                        <a:pt x="98" y="651"/>
                        <a:pt x="98" y="651"/>
                        <a:pt x="98" y="651"/>
                      </a:cubicBezTo>
                      <a:cubicBezTo>
                        <a:pt x="142" y="691"/>
                        <a:pt x="142" y="691"/>
                        <a:pt x="142" y="691"/>
                      </a:cubicBezTo>
                      <a:cubicBezTo>
                        <a:pt x="139" y="716"/>
                        <a:pt x="139" y="716"/>
                        <a:pt x="139" y="716"/>
                      </a:cubicBezTo>
                      <a:cubicBezTo>
                        <a:pt x="152" y="723"/>
                        <a:pt x="152" y="723"/>
                        <a:pt x="152" y="723"/>
                      </a:cubicBezTo>
                      <a:cubicBezTo>
                        <a:pt x="152" y="723"/>
                        <a:pt x="157" y="758"/>
                        <a:pt x="163" y="753"/>
                      </a:cubicBezTo>
                      <a:cubicBezTo>
                        <a:pt x="168" y="749"/>
                        <a:pt x="182" y="728"/>
                        <a:pt x="182" y="728"/>
                      </a:cubicBezTo>
                      <a:cubicBezTo>
                        <a:pt x="236" y="757"/>
                        <a:pt x="236" y="757"/>
                        <a:pt x="236" y="757"/>
                      </a:cubicBezTo>
                      <a:cubicBezTo>
                        <a:pt x="235" y="806"/>
                        <a:pt x="235" y="806"/>
                        <a:pt x="235" y="806"/>
                      </a:cubicBezTo>
                      <a:cubicBezTo>
                        <a:pt x="255" y="809"/>
                        <a:pt x="255" y="809"/>
                        <a:pt x="255" y="809"/>
                      </a:cubicBezTo>
                      <a:cubicBezTo>
                        <a:pt x="257" y="833"/>
                        <a:pt x="257" y="833"/>
                        <a:pt x="257" y="833"/>
                      </a:cubicBezTo>
                      <a:cubicBezTo>
                        <a:pt x="282" y="836"/>
                        <a:pt x="282" y="836"/>
                        <a:pt x="282" y="836"/>
                      </a:cubicBezTo>
                      <a:cubicBezTo>
                        <a:pt x="336" y="887"/>
                        <a:pt x="336" y="887"/>
                        <a:pt x="336" y="887"/>
                      </a:cubicBezTo>
                      <a:cubicBezTo>
                        <a:pt x="336" y="904"/>
                        <a:pt x="336" y="904"/>
                        <a:pt x="336" y="904"/>
                      </a:cubicBezTo>
                      <a:cubicBezTo>
                        <a:pt x="372" y="937"/>
                        <a:pt x="372" y="937"/>
                        <a:pt x="372" y="937"/>
                      </a:cubicBezTo>
                      <a:cubicBezTo>
                        <a:pt x="390" y="936"/>
                        <a:pt x="390" y="936"/>
                        <a:pt x="390" y="936"/>
                      </a:cubicBezTo>
                      <a:cubicBezTo>
                        <a:pt x="390" y="936"/>
                        <a:pt x="381" y="904"/>
                        <a:pt x="401" y="904"/>
                      </a:cubicBezTo>
                      <a:cubicBezTo>
                        <a:pt x="421" y="904"/>
                        <a:pt x="442" y="918"/>
                        <a:pt x="442" y="918"/>
                      </a:cubicBezTo>
                      <a:cubicBezTo>
                        <a:pt x="472" y="914"/>
                        <a:pt x="472" y="914"/>
                        <a:pt x="472" y="914"/>
                      </a:cubicBezTo>
                      <a:cubicBezTo>
                        <a:pt x="484" y="931"/>
                        <a:pt x="484" y="931"/>
                        <a:pt x="484" y="931"/>
                      </a:cubicBezTo>
                      <a:cubicBezTo>
                        <a:pt x="484" y="931"/>
                        <a:pt x="506" y="944"/>
                        <a:pt x="523" y="943"/>
                      </a:cubicBezTo>
                      <a:cubicBezTo>
                        <a:pt x="539" y="942"/>
                        <a:pt x="552" y="933"/>
                        <a:pt x="555" y="933"/>
                      </a:cubicBezTo>
                      <a:cubicBezTo>
                        <a:pt x="558" y="933"/>
                        <a:pt x="599" y="955"/>
                        <a:pt x="599" y="955"/>
                      </a:cubicBezTo>
                      <a:cubicBezTo>
                        <a:pt x="601" y="983"/>
                        <a:pt x="601" y="983"/>
                        <a:pt x="601" y="983"/>
                      </a:cubicBezTo>
                      <a:cubicBezTo>
                        <a:pt x="618" y="972"/>
                        <a:pt x="618" y="972"/>
                        <a:pt x="618" y="972"/>
                      </a:cubicBezTo>
                      <a:cubicBezTo>
                        <a:pt x="619" y="953"/>
                        <a:pt x="619" y="953"/>
                        <a:pt x="619" y="953"/>
                      </a:cubicBezTo>
                      <a:cubicBezTo>
                        <a:pt x="640" y="955"/>
                        <a:pt x="640" y="955"/>
                        <a:pt x="640" y="955"/>
                      </a:cubicBezTo>
                      <a:cubicBezTo>
                        <a:pt x="649" y="948"/>
                        <a:pt x="649" y="948"/>
                        <a:pt x="649" y="948"/>
                      </a:cubicBezTo>
                      <a:cubicBezTo>
                        <a:pt x="668" y="950"/>
                        <a:pt x="668" y="950"/>
                        <a:pt x="668" y="950"/>
                      </a:cubicBezTo>
                      <a:cubicBezTo>
                        <a:pt x="691" y="947"/>
                        <a:pt x="691" y="947"/>
                        <a:pt x="691" y="947"/>
                      </a:cubicBezTo>
                      <a:cubicBezTo>
                        <a:pt x="704" y="972"/>
                        <a:pt x="704" y="972"/>
                        <a:pt x="704" y="972"/>
                      </a:cubicBezTo>
                      <a:cubicBezTo>
                        <a:pt x="696" y="988"/>
                        <a:pt x="696" y="988"/>
                        <a:pt x="696" y="988"/>
                      </a:cubicBezTo>
                      <a:cubicBezTo>
                        <a:pt x="724" y="1026"/>
                        <a:pt x="724" y="1026"/>
                        <a:pt x="724" y="1026"/>
                      </a:cubicBezTo>
                      <a:cubicBezTo>
                        <a:pt x="708" y="1053"/>
                        <a:pt x="708" y="1053"/>
                        <a:pt x="708" y="1053"/>
                      </a:cubicBezTo>
                      <a:cubicBezTo>
                        <a:pt x="882" y="1177"/>
                        <a:pt x="882" y="1177"/>
                        <a:pt x="882" y="1177"/>
                      </a:cubicBezTo>
                      <a:cubicBezTo>
                        <a:pt x="888" y="1177"/>
                        <a:pt x="888" y="1177"/>
                        <a:pt x="888" y="1177"/>
                      </a:cubicBezTo>
                      <a:cubicBezTo>
                        <a:pt x="888" y="1177"/>
                        <a:pt x="899" y="1137"/>
                        <a:pt x="895" y="1130"/>
                      </a:cubicBezTo>
                      <a:cubicBezTo>
                        <a:pt x="891" y="1122"/>
                        <a:pt x="884" y="1115"/>
                        <a:pt x="884" y="1105"/>
                      </a:cubicBezTo>
                      <a:cubicBezTo>
                        <a:pt x="884" y="1094"/>
                        <a:pt x="910" y="1043"/>
                        <a:pt x="913" y="1033"/>
                      </a:cubicBezTo>
                      <a:cubicBezTo>
                        <a:pt x="917" y="1022"/>
                        <a:pt x="924" y="1004"/>
                        <a:pt x="924" y="983"/>
                      </a:cubicBezTo>
                      <a:cubicBezTo>
                        <a:pt x="924" y="963"/>
                        <a:pt x="954" y="931"/>
                        <a:pt x="967" y="915"/>
                      </a:cubicBezTo>
                      <a:cubicBezTo>
                        <a:pt x="980" y="900"/>
                        <a:pt x="989" y="886"/>
                        <a:pt x="989" y="886"/>
                      </a:cubicBezTo>
                      <a:cubicBezTo>
                        <a:pt x="1008" y="886"/>
                        <a:pt x="1008" y="886"/>
                        <a:pt x="1008" y="886"/>
                      </a:cubicBezTo>
                      <a:cubicBezTo>
                        <a:pt x="1015" y="873"/>
                        <a:pt x="1015" y="873"/>
                        <a:pt x="1015" y="873"/>
                      </a:cubicBezTo>
                      <a:cubicBezTo>
                        <a:pt x="1015" y="873"/>
                        <a:pt x="1003" y="854"/>
                        <a:pt x="1005" y="851"/>
                      </a:cubicBezTo>
                      <a:cubicBezTo>
                        <a:pt x="1007" y="847"/>
                        <a:pt x="1022" y="839"/>
                        <a:pt x="1025" y="828"/>
                      </a:cubicBezTo>
                      <a:cubicBezTo>
                        <a:pt x="1029" y="818"/>
                        <a:pt x="1028" y="799"/>
                        <a:pt x="1030" y="793"/>
                      </a:cubicBezTo>
                      <a:cubicBezTo>
                        <a:pt x="1033" y="787"/>
                        <a:pt x="1049" y="775"/>
                        <a:pt x="1056" y="768"/>
                      </a:cubicBezTo>
                      <a:cubicBezTo>
                        <a:pt x="1062" y="760"/>
                        <a:pt x="1071" y="747"/>
                        <a:pt x="1075" y="735"/>
                      </a:cubicBezTo>
                      <a:cubicBezTo>
                        <a:pt x="1078" y="723"/>
                        <a:pt x="1085" y="698"/>
                        <a:pt x="1091" y="691"/>
                      </a:cubicBezTo>
                      <a:cubicBezTo>
                        <a:pt x="1098" y="684"/>
                        <a:pt x="1150" y="622"/>
                        <a:pt x="1150" y="622"/>
                      </a:cubicBezTo>
                      <a:cubicBezTo>
                        <a:pt x="1150" y="622"/>
                        <a:pt x="1172" y="616"/>
                        <a:pt x="1175" y="614"/>
                      </a:cubicBezTo>
                      <a:cubicBezTo>
                        <a:pt x="1178" y="612"/>
                        <a:pt x="1196" y="596"/>
                        <a:pt x="1196" y="596"/>
                      </a:cubicBezTo>
                      <a:cubicBezTo>
                        <a:pt x="1196" y="596"/>
                        <a:pt x="1215" y="586"/>
                        <a:pt x="1215" y="582"/>
                      </a:cubicBezTo>
                      <a:cubicBezTo>
                        <a:pt x="1215" y="579"/>
                        <a:pt x="1216" y="566"/>
                        <a:pt x="1216" y="566"/>
                      </a:cubicBezTo>
                      <a:cubicBezTo>
                        <a:pt x="1239" y="562"/>
                        <a:pt x="1239" y="562"/>
                        <a:pt x="1239" y="562"/>
                      </a:cubicBezTo>
                      <a:cubicBezTo>
                        <a:pt x="1239" y="562"/>
                        <a:pt x="1245" y="528"/>
                        <a:pt x="1247" y="525"/>
                      </a:cubicBezTo>
                      <a:cubicBezTo>
                        <a:pt x="1248" y="522"/>
                        <a:pt x="1293" y="471"/>
                        <a:pt x="1296" y="463"/>
                      </a:cubicBezTo>
                      <a:cubicBezTo>
                        <a:pt x="1298" y="454"/>
                        <a:pt x="1317" y="408"/>
                        <a:pt x="1327" y="398"/>
                      </a:cubicBezTo>
                      <a:cubicBezTo>
                        <a:pt x="1337" y="388"/>
                        <a:pt x="1317" y="369"/>
                        <a:pt x="1322" y="357"/>
                      </a:cubicBezTo>
                      <a:cubicBezTo>
                        <a:pt x="1326" y="344"/>
                        <a:pt x="1373" y="255"/>
                        <a:pt x="1373" y="254"/>
                      </a:cubicBezTo>
                      <a:cubicBezTo>
                        <a:pt x="1373" y="252"/>
                        <a:pt x="1380" y="202"/>
                        <a:pt x="1388" y="190"/>
                      </a:cubicBezTo>
                      <a:cubicBezTo>
                        <a:pt x="1396" y="178"/>
                        <a:pt x="1423" y="147"/>
                        <a:pt x="1423" y="145"/>
                      </a:cubicBezTo>
                      <a:cubicBezTo>
                        <a:pt x="1424" y="144"/>
                        <a:pt x="1425" y="111"/>
                        <a:pt x="1423" y="99"/>
                      </a:cubicBezTo>
                      <a:cubicBezTo>
                        <a:pt x="1421" y="87"/>
                        <a:pt x="1428" y="78"/>
                        <a:pt x="1429" y="70"/>
                      </a:cubicBezTo>
                      <a:cubicBezTo>
                        <a:pt x="1429" y="68"/>
                        <a:pt x="1428" y="64"/>
                        <a:pt x="1427" y="59"/>
                      </a:cubicBezTo>
                      <a:close/>
                      <a:moveTo>
                        <a:pt x="837" y="914"/>
                      </a:moveTo>
                      <a:cubicBezTo>
                        <a:pt x="835" y="917"/>
                        <a:pt x="833" y="928"/>
                        <a:pt x="831" y="943"/>
                      </a:cubicBezTo>
                      <a:cubicBezTo>
                        <a:pt x="829" y="957"/>
                        <a:pt x="825" y="970"/>
                        <a:pt x="825" y="970"/>
                      </a:cubicBezTo>
                      <a:cubicBezTo>
                        <a:pt x="803" y="948"/>
                        <a:pt x="803" y="948"/>
                        <a:pt x="803" y="948"/>
                      </a:cubicBezTo>
                      <a:cubicBezTo>
                        <a:pt x="803" y="933"/>
                        <a:pt x="803" y="933"/>
                        <a:pt x="803" y="933"/>
                      </a:cubicBezTo>
                      <a:cubicBezTo>
                        <a:pt x="791" y="932"/>
                        <a:pt x="791" y="932"/>
                        <a:pt x="791" y="932"/>
                      </a:cubicBezTo>
                      <a:cubicBezTo>
                        <a:pt x="800" y="896"/>
                        <a:pt x="800" y="896"/>
                        <a:pt x="800" y="896"/>
                      </a:cubicBezTo>
                      <a:cubicBezTo>
                        <a:pt x="800" y="881"/>
                        <a:pt x="800" y="881"/>
                        <a:pt x="800" y="881"/>
                      </a:cubicBezTo>
                      <a:cubicBezTo>
                        <a:pt x="816" y="877"/>
                        <a:pt x="816" y="877"/>
                        <a:pt x="816" y="877"/>
                      </a:cubicBezTo>
                      <a:cubicBezTo>
                        <a:pt x="831" y="853"/>
                        <a:pt x="842" y="881"/>
                        <a:pt x="842" y="881"/>
                      </a:cubicBezTo>
                      <a:cubicBezTo>
                        <a:pt x="863" y="886"/>
                        <a:pt x="863" y="886"/>
                        <a:pt x="863" y="886"/>
                      </a:cubicBezTo>
                      <a:cubicBezTo>
                        <a:pt x="863" y="886"/>
                        <a:pt x="840" y="911"/>
                        <a:pt x="837" y="914"/>
                      </a:cubicBez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18455" name="Freeform 23" descr="© INSCALE GmbH, 05.05.2010&#10;http://www.presentationload.com/"/>
                <p:cNvSpPr>
                  <a:spLocks noChangeAspect="1" noEditPoints="1"/>
                </p:cNvSpPr>
                <p:nvPr/>
              </p:nvSpPr>
              <p:spPr bwMode="auto">
                <a:xfrm>
                  <a:off x="4403" y="850"/>
                  <a:ext cx="1172" cy="1478"/>
                </a:xfrm>
                <a:custGeom>
                  <a:avLst/>
                  <a:gdLst/>
                  <a:ahLst/>
                  <a:cxnLst>
                    <a:cxn ang="0">
                      <a:pos x="638" y="132"/>
                    </a:cxn>
                    <a:cxn ang="0">
                      <a:pos x="1113" y="1095"/>
                    </a:cxn>
                    <a:cxn ang="0">
                      <a:pos x="1189" y="644"/>
                    </a:cxn>
                    <a:cxn ang="0">
                      <a:pos x="1321" y="1319"/>
                    </a:cxn>
                    <a:cxn ang="0">
                      <a:pos x="1023" y="862"/>
                    </a:cxn>
                    <a:cxn ang="0">
                      <a:pos x="1367" y="1374"/>
                    </a:cxn>
                    <a:cxn ang="0">
                      <a:pos x="932" y="637"/>
                    </a:cxn>
                    <a:cxn ang="0">
                      <a:pos x="1037" y="829"/>
                    </a:cxn>
                    <a:cxn ang="0">
                      <a:pos x="1014" y="713"/>
                    </a:cxn>
                    <a:cxn ang="0">
                      <a:pos x="1043" y="910"/>
                    </a:cxn>
                    <a:cxn ang="0">
                      <a:pos x="1007" y="670"/>
                    </a:cxn>
                    <a:cxn ang="0">
                      <a:pos x="1754" y="1704"/>
                    </a:cxn>
                    <a:cxn ang="0">
                      <a:pos x="1753" y="1806"/>
                    </a:cxn>
                    <a:cxn ang="0">
                      <a:pos x="1715" y="1673"/>
                    </a:cxn>
                    <a:cxn ang="0">
                      <a:pos x="1366" y="1510"/>
                    </a:cxn>
                    <a:cxn ang="0">
                      <a:pos x="1347" y="1162"/>
                    </a:cxn>
                    <a:cxn ang="0">
                      <a:pos x="1506" y="1688"/>
                    </a:cxn>
                    <a:cxn ang="0">
                      <a:pos x="1564" y="1494"/>
                    </a:cxn>
                    <a:cxn ang="0">
                      <a:pos x="878" y="213"/>
                    </a:cxn>
                    <a:cxn ang="0">
                      <a:pos x="1736" y="2453"/>
                    </a:cxn>
                    <a:cxn ang="0">
                      <a:pos x="1723" y="2339"/>
                    </a:cxn>
                    <a:cxn ang="0">
                      <a:pos x="1649" y="2071"/>
                    </a:cxn>
                    <a:cxn ang="0">
                      <a:pos x="1548" y="1928"/>
                    </a:cxn>
                    <a:cxn ang="0">
                      <a:pos x="1506" y="1759"/>
                    </a:cxn>
                    <a:cxn ang="0">
                      <a:pos x="1408" y="1788"/>
                    </a:cxn>
                    <a:cxn ang="0">
                      <a:pos x="1329" y="1521"/>
                    </a:cxn>
                    <a:cxn ang="0">
                      <a:pos x="1238" y="1422"/>
                    </a:cxn>
                    <a:cxn ang="0">
                      <a:pos x="1131" y="1334"/>
                    </a:cxn>
                    <a:cxn ang="0">
                      <a:pos x="1063" y="1129"/>
                    </a:cxn>
                    <a:cxn ang="0">
                      <a:pos x="998" y="922"/>
                    </a:cxn>
                    <a:cxn ang="0">
                      <a:pos x="970" y="735"/>
                    </a:cxn>
                    <a:cxn ang="0">
                      <a:pos x="846" y="677"/>
                    </a:cxn>
                    <a:cxn ang="0">
                      <a:pos x="771" y="461"/>
                    </a:cxn>
                    <a:cxn ang="0">
                      <a:pos x="718" y="328"/>
                    </a:cxn>
                    <a:cxn ang="0">
                      <a:pos x="660" y="204"/>
                    </a:cxn>
                    <a:cxn ang="0">
                      <a:pos x="583" y="426"/>
                    </a:cxn>
                    <a:cxn ang="0">
                      <a:pos x="524" y="578"/>
                    </a:cxn>
                    <a:cxn ang="0">
                      <a:pos x="425" y="1024"/>
                    </a:cxn>
                    <a:cxn ang="0">
                      <a:pos x="171" y="946"/>
                    </a:cxn>
                    <a:cxn ang="0">
                      <a:pos x="351" y="2490"/>
                    </a:cxn>
                    <a:cxn ang="0">
                      <a:pos x="1483" y="2629"/>
                    </a:cxn>
                    <a:cxn ang="0">
                      <a:pos x="1739" y="2549"/>
                    </a:cxn>
                    <a:cxn ang="0">
                      <a:pos x="775" y="333"/>
                    </a:cxn>
                    <a:cxn ang="0">
                      <a:pos x="656" y="12"/>
                    </a:cxn>
                    <a:cxn ang="0">
                      <a:pos x="1770" y="1403"/>
                    </a:cxn>
                    <a:cxn ang="0">
                      <a:pos x="1903" y="1741"/>
                    </a:cxn>
                    <a:cxn ang="0">
                      <a:pos x="1760" y="1648"/>
                    </a:cxn>
                    <a:cxn ang="0">
                      <a:pos x="1765" y="2156"/>
                    </a:cxn>
                    <a:cxn ang="0">
                      <a:pos x="1760" y="2196"/>
                    </a:cxn>
                    <a:cxn ang="0">
                      <a:pos x="229" y="898"/>
                    </a:cxn>
                    <a:cxn ang="0">
                      <a:pos x="826" y="411"/>
                    </a:cxn>
                    <a:cxn ang="0">
                      <a:pos x="837" y="505"/>
                    </a:cxn>
                    <a:cxn ang="0">
                      <a:pos x="781" y="262"/>
                    </a:cxn>
                    <a:cxn ang="0">
                      <a:pos x="795" y="470"/>
                    </a:cxn>
                    <a:cxn ang="0">
                      <a:pos x="826" y="529"/>
                    </a:cxn>
                    <a:cxn ang="0">
                      <a:pos x="869" y="165"/>
                    </a:cxn>
                    <a:cxn ang="0">
                      <a:pos x="890" y="57"/>
                    </a:cxn>
                    <a:cxn ang="0">
                      <a:pos x="906" y="39"/>
                    </a:cxn>
                    <a:cxn ang="0">
                      <a:pos x="871" y="618"/>
                    </a:cxn>
                  </a:cxnLst>
                  <a:rect l="0" t="0" r="r" b="b"/>
                  <a:pathLst>
                    <a:path w="2083" h="2629">
                      <a:moveTo>
                        <a:pt x="641" y="162"/>
                      </a:moveTo>
                      <a:cubicBezTo>
                        <a:pt x="636" y="162"/>
                        <a:pt x="633" y="173"/>
                        <a:pt x="633" y="173"/>
                      </a:cubicBezTo>
                      <a:cubicBezTo>
                        <a:pt x="633" y="173"/>
                        <a:pt x="653" y="181"/>
                        <a:pt x="654" y="177"/>
                      </a:cubicBezTo>
                      <a:cubicBezTo>
                        <a:pt x="656" y="173"/>
                        <a:pt x="661" y="165"/>
                        <a:pt x="654" y="160"/>
                      </a:cubicBezTo>
                      <a:cubicBezTo>
                        <a:pt x="648" y="154"/>
                        <a:pt x="649" y="144"/>
                        <a:pt x="649" y="137"/>
                      </a:cubicBezTo>
                      <a:cubicBezTo>
                        <a:pt x="649" y="130"/>
                        <a:pt x="650" y="129"/>
                        <a:pt x="653" y="118"/>
                      </a:cubicBezTo>
                      <a:cubicBezTo>
                        <a:pt x="656" y="108"/>
                        <a:pt x="653" y="96"/>
                        <a:pt x="646" y="104"/>
                      </a:cubicBezTo>
                      <a:cubicBezTo>
                        <a:pt x="640" y="112"/>
                        <a:pt x="646" y="128"/>
                        <a:pt x="638" y="132"/>
                      </a:cubicBezTo>
                      <a:cubicBezTo>
                        <a:pt x="630" y="136"/>
                        <a:pt x="633" y="145"/>
                        <a:pt x="637" y="148"/>
                      </a:cubicBezTo>
                      <a:cubicBezTo>
                        <a:pt x="641" y="150"/>
                        <a:pt x="646" y="162"/>
                        <a:pt x="641" y="162"/>
                      </a:cubicBezTo>
                      <a:close/>
                      <a:moveTo>
                        <a:pt x="1133" y="1145"/>
                      </a:moveTo>
                      <a:cubicBezTo>
                        <a:pt x="1143" y="1135"/>
                        <a:pt x="1116" y="1139"/>
                        <a:pt x="1116" y="1139"/>
                      </a:cubicBezTo>
                      <a:cubicBezTo>
                        <a:pt x="1116" y="1139"/>
                        <a:pt x="1124" y="1156"/>
                        <a:pt x="1133" y="1145"/>
                      </a:cubicBezTo>
                      <a:close/>
                      <a:moveTo>
                        <a:pt x="1104" y="1124"/>
                      </a:moveTo>
                      <a:cubicBezTo>
                        <a:pt x="1109" y="1112"/>
                        <a:pt x="1109" y="1112"/>
                        <a:pt x="1109" y="1112"/>
                      </a:cubicBezTo>
                      <a:cubicBezTo>
                        <a:pt x="1113" y="1095"/>
                        <a:pt x="1113" y="1095"/>
                        <a:pt x="1113" y="1095"/>
                      </a:cubicBezTo>
                      <a:cubicBezTo>
                        <a:pt x="1107" y="1092"/>
                        <a:pt x="1085" y="1113"/>
                        <a:pt x="1088" y="1124"/>
                      </a:cubicBezTo>
                      <a:cubicBezTo>
                        <a:pt x="1091" y="1135"/>
                        <a:pt x="1104" y="1124"/>
                        <a:pt x="1104" y="1124"/>
                      </a:cubicBezTo>
                      <a:close/>
                      <a:moveTo>
                        <a:pt x="1189" y="644"/>
                      </a:moveTo>
                      <a:cubicBezTo>
                        <a:pt x="1168" y="617"/>
                        <a:pt x="1168" y="617"/>
                        <a:pt x="1168" y="617"/>
                      </a:cubicBezTo>
                      <a:cubicBezTo>
                        <a:pt x="1168" y="632"/>
                        <a:pt x="1168" y="632"/>
                        <a:pt x="1168" y="632"/>
                      </a:cubicBezTo>
                      <a:cubicBezTo>
                        <a:pt x="1148" y="634"/>
                        <a:pt x="1148" y="634"/>
                        <a:pt x="1148" y="634"/>
                      </a:cubicBezTo>
                      <a:cubicBezTo>
                        <a:pt x="1172" y="654"/>
                        <a:pt x="1172" y="654"/>
                        <a:pt x="1172" y="654"/>
                      </a:cubicBezTo>
                      <a:lnTo>
                        <a:pt x="1189" y="644"/>
                      </a:lnTo>
                      <a:close/>
                      <a:moveTo>
                        <a:pt x="1290" y="996"/>
                      </a:moveTo>
                      <a:cubicBezTo>
                        <a:pt x="1315" y="984"/>
                        <a:pt x="1315" y="984"/>
                        <a:pt x="1315" y="984"/>
                      </a:cubicBezTo>
                      <a:cubicBezTo>
                        <a:pt x="1315" y="984"/>
                        <a:pt x="1296" y="963"/>
                        <a:pt x="1286" y="967"/>
                      </a:cubicBezTo>
                      <a:cubicBezTo>
                        <a:pt x="1294" y="983"/>
                        <a:pt x="1294" y="983"/>
                        <a:pt x="1294" y="983"/>
                      </a:cubicBezTo>
                      <a:lnTo>
                        <a:pt x="1290" y="996"/>
                      </a:lnTo>
                      <a:close/>
                      <a:moveTo>
                        <a:pt x="1286" y="1353"/>
                      </a:moveTo>
                      <a:cubicBezTo>
                        <a:pt x="1288" y="1342"/>
                        <a:pt x="1305" y="1329"/>
                        <a:pt x="1305" y="1329"/>
                      </a:cubicBezTo>
                      <a:cubicBezTo>
                        <a:pt x="1321" y="1319"/>
                        <a:pt x="1321" y="1319"/>
                        <a:pt x="1321" y="1319"/>
                      </a:cubicBezTo>
                      <a:cubicBezTo>
                        <a:pt x="1306" y="1313"/>
                        <a:pt x="1306" y="1313"/>
                        <a:pt x="1306" y="1313"/>
                      </a:cubicBezTo>
                      <a:cubicBezTo>
                        <a:pt x="1298" y="1305"/>
                        <a:pt x="1298" y="1305"/>
                        <a:pt x="1298" y="1305"/>
                      </a:cubicBezTo>
                      <a:cubicBezTo>
                        <a:pt x="1292" y="1323"/>
                        <a:pt x="1292" y="1323"/>
                        <a:pt x="1292" y="1323"/>
                      </a:cubicBezTo>
                      <a:cubicBezTo>
                        <a:pt x="1292" y="1323"/>
                        <a:pt x="1260" y="1343"/>
                        <a:pt x="1266" y="1358"/>
                      </a:cubicBezTo>
                      <a:cubicBezTo>
                        <a:pt x="1266" y="1358"/>
                        <a:pt x="1285" y="1363"/>
                        <a:pt x="1286" y="1353"/>
                      </a:cubicBezTo>
                      <a:close/>
                      <a:moveTo>
                        <a:pt x="1023" y="862"/>
                      </a:moveTo>
                      <a:cubicBezTo>
                        <a:pt x="1026" y="850"/>
                        <a:pt x="1002" y="849"/>
                        <a:pt x="1002" y="849"/>
                      </a:cubicBezTo>
                      <a:cubicBezTo>
                        <a:pt x="1002" y="849"/>
                        <a:pt x="1020" y="874"/>
                        <a:pt x="1023" y="862"/>
                      </a:cubicBezTo>
                      <a:close/>
                      <a:moveTo>
                        <a:pt x="936" y="158"/>
                      </a:moveTo>
                      <a:cubicBezTo>
                        <a:pt x="943" y="158"/>
                        <a:pt x="944" y="140"/>
                        <a:pt x="944" y="132"/>
                      </a:cubicBezTo>
                      <a:cubicBezTo>
                        <a:pt x="944" y="124"/>
                        <a:pt x="954" y="112"/>
                        <a:pt x="950" y="108"/>
                      </a:cubicBezTo>
                      <a:cubicBezTo>
                        <a:pt x="946" y="104"/>
                        <a:pt x="934" y="116"/>
                        <a:pt x="932" y="121"/>
                      </a:cubicBezTo>
                      <a:cubicBezTo>
                        <a:pt x="931" y="126"/>
                        <a:pt x="930" y="158"/>
                        <a:pt x="936" y="158"/>
                      </a:cubicBezTo>
                      <a:close/>
                      <a:moveTo>
                        <a:pt x="1337" y="1366"/>
                      </a:moveTo>
                      <a:cubicBezTo>
                        <a:pt x="1357" y="1363"/>
                        <a:pt x="1357" y="1363"/>
                        <a:pt x="1357" y="1363"/>
                      </a:cubicBezTo>
                      <a:cubicBezTo>
                        <a:pt x="1357" y="1363"/>
                        <a:pt x="1354" y="1374"/>
                        <a:pt x="1367" y="1374"/>
                      </a:cubicBezTo>
                      <a:cubicBezTo>
                        <a:pt x="1381" y="1374"/>
                        <a:pt x="1395" y="1374"/>
                        <a:pt x="1395" y="1374"/>
                      </a:cubicBezTo>
                      <a:cubicBezTo>
                        <a:pt x="1371" y="1363"/>
                        <a:pt x="1371" y="1363"/>
                        <a:pt x="1371" y="1363"/>
                      </a:cubicBezTo>
                      <a:cubicBezTo>
                        <a:pt x="1342" y="1350"/>
                        <a:pt x="1342" y="1350"/>
                        <a:pt x="1342" y="1350"/>
                      </a:cubicBezTo>
                      <a:cubicBezTo>
                        <a:pt x="1342" y="1350"/>
                        <a:pt x="1342" y="1339"/>
                        <a:pt x="1337" y="1334"/>
                      </a:cubicBezTo>
                      <a:cubicBezTo>
                        <a:pt x="1331" y="1329"/>
                        <a:pt x="1333" y="1354"/>
                        <a:pt x="1333" y="1354"/>
                      </a:cubicBezTo>
                      <a:lnTo>
                        <a:pt x="1337" y="1366"/>
                      </a:lnTo>
                      <a:close/>
                      <a:moveTo>
                        <a:pt x="943" y="621"/>
                      </a:moveTo>
                      <a:cubicBezTo>
                        <a:pt x="943" y="621"/>
                        <a:pt x="930" y="633"/>
                        <a:pt x="932" y="637"/>
                      </a:cubicBezTo>
                      <a:cubicBezTo>
                        <a:pt x="935" y="641"/>
                        <a:pt x="943" y="654"/>
                        <a:pt x="943" y="654"/>
                      </a:cubicBezTo>
                      <a:cubicBezTo>
                        <a:pt x="943" y="654"/>
                        <a:pt x="918" y="653"/>
                        <a:pt x="919" y="657"/>
                      </a:cubicBezTo>
                      <a:cubicBezTo>
                        <a:pt x="920" y="661"/>
                        <a:pt x="935" y="664"/>
                        <a:pt x="946" y="662"/>
                      </a:cubicBezTo>
                      <a:cubicBezTo>
                        <a:pt x="956" y="661"/>
                        <a:pt x="966" y="656"/>
                        <a:pt x="955" y="644"/>
                      </a:cubicBezTo>
                      <a:cubicBezTo>
                        <a:pt x="944" y="632"/>
                        <a:pt x="963" y="617"/>
                        <a:pt x="943" y="621"/>
                      </a:cubicBezTo>
                      <a:close/>
                      <a:moveTo>
                        <a:pt x="1037" y="797"/>
                      </a:moveTo>
                      <a:cubicBezTo>
                        <a:pt x="1032" y="811"/>
                        <a:pt x="1028" y="822"/>
                        <a:pt x="1028" y="822"/>
                      </a:cubicBezTo>
                      <a:cubicBezTo>
                        <a:pt x="1028" y="822"/>
                        <a:pt x="1037" y="814"/>
                        <a:pt x="1037" y="829"/>
                      </a:cubicBezTo>
                      <a:cubicBezTo>
                        <a:pt x="1037" y="843"/>
                        <a:pt x="1035" y="870"/>
                        <a:pt x="1035" y="870"/>
                      </a:cubicBezTo>
                      <a:cubicBezTo>
                        <a:pt x="1035" y="870"/>
                        <a:pt x="1053" y="873"/>
                        <a:pt x="1052" y="850"/>
                      </a:cubicBezTo>
                      <a:cubicBezTo>
                        <a:pt x="1051" y="827"/>
                        <a:pt x="1044" y="813"/>
                        <a:pt x="1044" y="813"/>
                      </a:cubicBezTo>
                      <a:cubicBezTo>
                        <a:pt x="1044" y="813"/>
                        <a:pt x="1052" y="773"/>
                        <a:pt x="1049" y="758"/>
                      </a:cubicBezTo>
                      <a:cubicBezTo>
                        <a:pt x="1047" y="743"/>
                        <a:pt x="1053" y="714"/>
                        <a:pt x="1045" y="714"/>
                      </a:cubicBezTo>
                      <a:cubicBezTo>
                        <a:pt x="1037" y="714"/>
                        <a:pt x="1033" y="718"/>
                        <a:pt x="1033" y="718"/>
                      </a:cubicBezTo>
                      <a:cubicBezTo>
                        <a:pt x="1033" y="718"/>
                        <a:pt x="1043" y="782"/>
                        <a:pt x="1037" y="797"/>
                      </a:cubicBezTo>
                      <a:close/>
                      <a:moveTo>
                        <a:pt x="1014" y="713"/>
                      </a:moveTo>
                      <a:cubicBezTo>
                        <a:pt x="1014" y="713"/>
                        <a:pt x="1006" y="718"/>
                        <a:pt x="1011" y="722"/>
                      </a:cubicBezTo>
                      <a:cubicBezTo>
                        <a:pt x="1016" y="726"/>
                        <a:pt x="1024" y="736"/>
                        <a:pt x="1024" y="736"/>
                      </a:cubicBezTo>
                      <a:lnTo>
                        <a:pt x="1014" y="713"/>
                      </a:lnTo>
                      <a:close/>
                      <a:moveTo>
                        <a:pt x="1049" y="879"/>
                      </a:moveTo>
                      <a:cubicBezTo>
                        <a:pt x="1044" y="877"/>
                        <a:pt x="1032" y="883"/>
                        <a:pt x="1032" y="883"/>
                      </a:cubicBezTo>
                      <a:cubicBezTo>
                        <a:pt x="1043" y="890"/>
                        <a:pt x="1043" y="890"/>
                        <a:pt x="1043" y="890"/>
                      </a:cubicBezTo>
                      <a:cubicBezTo>
                        <a:pt x="1036" y="900"/>
                        <a:pt x="1036" y="900"/>
                        <a:pt x="1036" y="900"/>
                      </a:cubicBezTo>
                      <a:cubicBezTo>
                        <a:pt x="1043" y="910"/>
                        <a:pt x="1043" y="910"/>
                        <a:pt x="1043" y="910"/>
                      </a:cubicBezTo>
                      <a:cubicBezTo>
                        <a:pt x="1035" y="915"/>
                        <a:pt x="1035" y="915"/>
                        <a:pt x="1035" y="915"/>
                      </a:cubicBezTo>
                      <a:cubicBezTo>
                        <a:pt x="1035" y="915"/>
                        <a:pt x="1061" y="920"/>
                        <a:pt x="1056" y="907"/>
                      </a:cubicBezTo>
                      <a:cubicBezTo>
                        <a:pt x="1051" y="894"/>
                        <a:pt x="1055" y="882"/>
                        <a:pt x="1049" y="879"/>
                      </a:cubicBezTo>
                      <a:close/>
                      <a:moveTo>
                        <a:pt x="968" y="658"/>
                      </a:moveTo>
                      <a:cubicBezTo>
                        <a:pt x="986" y="680"/>
                        <a:pt x="986" y="680"/>
                        <a:pt x="986" y="680"/>
                      </a:cubicBezTo>
                      <a:cubicBezTo>
                        <a:pt x="1012" y="688"/>
                        <a:pt x="1012" y="688"/>
                        <a:pt x="1012" y="688"/>
                      </a:cubicBezTo>
                      <a:cubicBezTo>
                        <a:pt x="1012" y="688"/>
                        <a:pt x="1022" y="702"/>
                        <a:pt x="1028" y="701"/>
                      </a:cubicBezTo>
                      <a:cubicBezTo>
                        <a:pt x="1035" y="700"/>
                        <a:pt x="1016" y="672"/>
                        <a:pt x="1007" y="670"/>
                      </a:cubicBezTo>
                      <a:cubicBezTo>
                        <a:pt x="998" y="669"/>
                        <a:pt x="971" y="652"/>
                        <a:pt x="971" y="652"/>
                      </a:cubicBezTo>
                      <a:lnTo>
                        <a:pt x="968" y="658"/>
                      </a:lnTo>
                      <a:close/>
                      <a:moveTo>
                        <a:pt x="971" y="98"/>
                      </a:moveTo>
                      <a:cubicBezTo>
                        <a:pt x="968" y="93"/>
                        <a:pt x="967" y="117"/>
                        <a:pt x="967" y="117"/>
                      </a:cubicBezTo>
                      <a:cubicBezTo>
                        <a:pt x="967" y="117"/>
                        <a:pt x="974" y="104"/>
                        <a:pt x="971" y="98"/>
                      </a:cubicBezTo>
                      <a:close/>
                      <a:moveTo>
                        <a:pt x="1784" y="1774"/>
                      </a:moveTo>
                      <a:cubicBezTo>
                        <a:pt x="1761" y="1705"/>
                        <a:pt x="1761" y="1705"/>
                        <a:pt x="1761" y="1705"/>
                      </a:cubicBezTo>
                      <a:cubicBezTo>
                        <a:pt x="1754" y="1704"/>
                        <a:pt x="1754" y="1704"/>
                        <a:pt x="1754" y="1704"/>
                      </a:cubicBezTo>
                      <a:cubicBezTo>
                        <a:pt x="1774" y="1776"/>
                        <a:pt x="1774" y="1776"/>
                        <a:pt x="1774" y="1776"/>
                      </a:cubicBezTo>
                      <a:lnTo>
                        <a:pt x="1784" y="1774"/>
                      </a:lnTo>
                      <a:close/>
                      <a:moveTo>
                        <a:pt x="1736" y="1180"/>
                      </a:moveTo>
                      <a:cubicBezTo>
                        <a:pt x="1737" y="1170"/>
                        <a:pt x="1748" y="1161"/>
                        <a:pt x="1748" y="1161"/>
                      </a:cubicBezTo>
                      <a:cubicBezTo>
                        <a:pt x="1709" y="1180"/>
                        <a:pt x="1709" y="1180"/>
                        <a:pt x="1709" y="1180"/>
                      </a:cubicBezTo>
                      <a:cubicBezTo>
                        <a:pt x="1709" y="1180"/>
                        <a:pt x="1734" y="1189"/>
                        <a:pt x="1736" y="1180"/>
                      </a:cubicBezTo>
                      <a:close/>
                      <a:moveTo>
                        <a:pt x="1773" y="1785"/>
                      </a:moveTo>
                      <a:cubicBezTo>
                        <a:pt x="1770" y="1780"/>
                        <a:pt x="1742" y="1778"/>
                        <a:pt x="1753" y="1806"/>
                      </a:cubicBezTo>
                      <a:cubicBezTo>
                        <a:pt x="1758" y="1820"/>
                        <a:pt x="1776" y="1790"/>
                        <a:pt x="1773" y="1785"/>
                      </a:cubicBezTo>
                      <a:close/>
                      <a:moveTo>
                        <a:pt x="1793" y="1157"/>
                      </a:moveTo>
                      <a:cubicBezTo>
                        <a:pt x="1786" y="1151"/>
                        <a:pt x="1777" y="1166"/>
                        <a:pt x="1777" y="1166"/>
                      </a:cubicBezTo>
                      <a:cubicBezTo>
                        <a:pt x="1781" y="1166"/>
                        <a:pt x="1800" y="1164"/>
                        <a:pt x="1793" y="1157"/>
                      </a:cubicBezTo>
                      <a:close/>
                      <a:moveTo>
                        <a:pt x="1800" y="1132"/>
                      </a:moveTo>
                      <a:cubicBezTo>
                        <a:pt x="1786" y="1129"/>
                        <a:pt x="1786" y="1127"/>
                        <a:pt x="1801" y="1145"/>
                      </a:cubicBezTo>
                      <a:cubicBezTo>
                        <a:pt x="1801" y="1145"/>
                        <a:pt x="1813" y="1135"/>
                        <a:pt x="1800" y="1132"/>
                      </a:cubicBezTo>
                      <a:close/>
                      <a:moveTo>
                        <a:pt x="1715" y="1673"/>
                      </a:moveTo>
                      <a:cubicBezTo>
                        <a:pt x="1718" y="1664"/>
                        <a:pt x="1712" y="1651"/>
                        <a:pt x="1712" y="1651"/>
                      </a:cubicBezTo>
                      <a:cubicBezTo>
                        <a:pt x="1688" y="1671"/>
                        <a:pt x="1688" y="1671"/>
                        <a:pt x="1688" y="1671"/>
                      </a:cubicBezTo>
                      <a:cubicBezTo>
                        <a:pt x="1688" y="1671"/>
                        <a:pt x="1711" y="1683"/>
                        <a:pt x="1715" y="1673"/>
                      </a:cubicBezTo>
                      <a:close/>
                      <a:moveTo>
                        <a:pt x="1385" y="1506"/>
                      </a:moveTo>
                      <a:cubicBezTo>
                        <a:pt x="1375" y="1488"/>
                        <a:pt x="1370" y="1455"/>
                        <a:pt x="1370" y="1455"/>
                      </a:cubicBezTo>
                      <a:cubicBezTo>
                        <a:pt x="1354" y="1463"/>
                        <a:pt x="1354" y="1463"/>
                        <a:pt x="1354" y="1463"/>
                      </a:cubicBezTo>
                      <a:cubicBezTo>
                        <a:pt x="1366" y="1491"/>
                        <a:pt x="1366" y="1491"/>
                        <a:pt x="1366" y="1491"/>
                      </a:cubicBezTo>
                      <a:cubicBezTo>
                        <a:pt x="1366" y="1510"/>
                        <a:pt x="1366" y="1510"/>
                        <a:pt x="1366" y="1510"/>
                      </a:cubicBezTo>
                      <a:cubicBezTo>
                        <a:pt x="1366" y="1510"/>
                        <a:pt x="1394" y="1523"/>
                        <a:pt x="1385" y="1506"/>
                      </a:cubicBezTo>
                      <a:close/>
                      <a:moveTo>
                        <a:pt x="1387" y="1430"/>
                      </a:moveTo>
                      <a:cubicBezTo>
                        <a:pt x="1391" y="1433"/>
                        <a:pt x="1401" y="1413"/>
                        <a:pt x="1401" y="1413"/>
                      </a:cubicBezTo>
                      <a:cubicBezTo>
                        <a:pt x="1397" y="1398"/>
                        <a:pt x="1397" y="1398"/>
                        <a:pt x="1397" y="1398"/>
                      </a:cubicBezTo>
                      <a:cubicBezTo>
                        <a:pt x="1397" y="1398"/>
                        <a:pt x="1375" y="1421"/>
                        <a:pt x="1387" y="1430"/>
                      </a:cubicBezTo>
                      <a:close/>
                      <a:moveTo>
                        <a:pt x="1366" y="1135"/>
                      </a:moveTo>
                      <a:cubicBezTo>
                        <a:pt x="1358" y="1124"/>
                        <a:pt x="1334" y="1158"/>
                        <a:pt x="1334" y="1158"/>
                      </a:cubicBezTo>
                      <a:cubicBezTo>
                        <a:pt x="1341" y="1160"/>
                        <a:pt x="1347" y="1162"/>
                        <a:pt x="1347" y="1162"/>
                      </a:cubicBezTo>
                      <a:cubicBezTo>
                        <a:pt x="1347" y="1162"/>
                        <a:pt x="1374" y="1145"/>
                        <a:pt x="1366" y="1135"/>
                      </a:cubicBezTo>
                      <a:close/>
                      <a:moveTo>
                        <a:pt x="1462" y="1432"/>
                      </a:moveTo>
                      <a:cubicBezTo>
                        <a:pt x="1468" y="1423"/>
                        <a:pt x="1451" y="1398"/>
                        <a:pt x="1451" y="1398"/>
                      </a:cubicBezTo>
                      <a:cubicBezTo>
                        <a:pt x="1451" y="1398"/>
                        <a:pt x="1448" y="1411"/>
                        <a:pt x="1446" y="1415"/>
                      </a:cubicBezTo>
                      <a:cubicBezTo>
                        <a:pt x="1443" y="1419"/>
                        <a:pt x="1417" y="1406"/>
                        <a:pt x="1411" y="1421"/>
                      </a:cubicBezTo>
                      <a:cubicBezTo>
                        <a:pt x="1426" y="1430"/>
                        <a:pt x="1426" y="1430"/>
                        <a:pt x="1426" y="1430"/>
                      </a:cubicBezTo>
                      <a:cubicBezTo>
                        <a:pt x="1426" y="1430"/>
                        <a:pt x="1455" y="1442"/>
                        <a:pt x="1462" y="1432"/>
                      </a:cubicBezTo>
                      <a:close/>
                      <a:moveTo>
                        <a:pt x="1506" y="1688"/>
                      </a:moveTo>
                      <a:cubicBezTo>
                        <a:pt x="1515" y="1685"/>
                        <a:pt x="1479" y="1668"/>
                        <a:pt x="1479" y="1668"/>
                      </a:cubicBezTo>
                      <a:cubicBezTo>
                        <a:pt x="1482" y="1689"/>
                        <a:pt x="1496" y="1691"/>
                        <a:pt x="1506" y="1688"/>
                      </a:cubicBezTo>
                      <a:close/>
                      <a:moveTo>
                        <a:pt x="1676" y="1664"/>
                      </a:moveTo>
                      <a:cubicBezTo>
                        <a:pt x="1677" y="1643"/>
                        <a:pt x="1677" y="1643"/>
                        <a:pt x="1677" y="1643"/>
                      </a:cubicBezTo>
                      <a:cubicBezTo>
                        <a:pt x="1677" y="1643"/>
                        <a:pt x="1643" y="1633"/>
                        <a:pt x="1627" y="1673"/>
                      </a:cubicBezTo>
                      <a:cubicBezTo>
                        <a:pt x="1664" y="1652"/>
                        <a:pt x="1664" y="1652"/>
                        <a:pt x="1664" y="1652"/>
                      </a:cubicBezTo>
                      <a:lnTo>
                        <a:pt x="1676" y="1664"/>
                      </a:lnTo>
                      <a:close/>
                      <a:moveTo>
                        <a:pt x="1564" y="1494"/>
                      </a:moveTo>
                      <a:cubicBezTo>
                        <a:pt x="1580" y="1507"/>
                        <a:pt x="1580" y="1507"/>
                        <a:pt x="1580" y="1507"/>
                      </a:cubicBezTo>
                      <a:cubicBezTo>
                        <a:pt x="1580" y="1507"/>
                        <a:pt x="1571" y="1464"/>
                        <a:pt x="1564" y="1494"/>
                      </a:cubicBezTo>
                      <a:close/>
                      <a:moveTo>
                        <a:pt x="874" y="251"/>
                      </a:moveTo>
                      <a:cubicBezTo>
                        <a:pt x="867" y="255"/>
                        <a:pt x="853" y="295"/>
                        <a:pt x="853" y="295"/>
                      </a:cubicBezTo>
                      <a:cubicBezTo>
                        <a:pt x="886" y="278"/>
                        <a:pt x="886" y="278"/>
                        <a:pt x="886" y="278"/>
                      </a:cubicBezTo>
                      <a:cubicBezTo>
                        <a:pt x="867" y="273"/>
                        <a:pt x="867" y="273"/>
                        <a:pt x="867" y="273"/>
                      </a:cubicBezTo>
                      <a:cubicBezTo>
                        <a:pt x="867" y="273"/>
                        <a:pt x="887" y="265"/>
                        <a:pt x="886" y="254"/>
                      </a:cubicBezTo>
                      <a:cubicBezTo>
                        <a:pt x="885" y="243"/>
                        <a:pt x="877" y="217"/>
                        <a:pt x="878" y="213"/>
                      </a:cubicBezTo>
                      <a:cubicBezTo>
                        <a:pt x="879" y="209"/>
                        <a:pt x="881" y="194"/>
                        <a:pt x="877" y="190"/>
                      </a:cubicBezTo>
                      <a:cubicBezTo>
                        <a:pt x="873" y="186"/>
                        <a:pt x="866" y="190"/>
                        <a:pt x="866" y="206"/>
                      </a:cubicBezTo>
                      <a:cubicBezTo>
                        <a:pt x="866" y="222"/>
                        <a:pt x="881" y="247"/>
                        <a:pt x="874" y="251"/>
                      </a:cubicBezTo>
                      <a:close/>
                      <a:moveTo>
                        <a:pt x="878" y="605"/>
                      </a:moveTo>
                      <a:cubicBezTo>
                        <a:pt x="878" y="605"/>
                        <a:pt x="919" y="625"/>
                        <a:pt x="928" y="618"/>
                      </a:cubicBezTo>
                      <a:cubicBezTo>
                        <a:pt x="938" y="612"/>
                        <a:pt x="938" y="607"/>
                        <a:pt x="931" y="607"/>
                      </a:cubicBezTo>
                      <a:cubicBezTo>
                        <a:pt x="924" y="607"/>
                        <a:pt x="878" y="596"/>
                        <a:pt x="878" y="605"/>
                      </a:cubicBezTo>
                      <a:close/>
                      <a:moveTo>
                        <a:pt x="1736" y="2453"/>
                      </a:moveTo>
                      <a:cubicBezTo>
                        <a:pt x="1732" y="2461"/>
                        <a:pt x="1748" y="2474"/>
                        <a:pt x="1748" y="2474"/>
                      </a:cubicBezTo>
                      <a:cubicBezTo>
                        <a:pt x="1758" y="2459"/>
                        <a:pt x="1758" y="2459"/>
                        <a:pt x="1758" y="2459"/>
                      </a:cubicBezTo>
                      <a:cubicBezTo>
                        <a:pt x="1756" y="2446"/>
                        <a:pt x="1756" y="2446"/>
                        <a:pt x="1756" y="2446"/>
                      </a:cubicBezTo>
                      <a:cubicBezTo>
                        <a:pt x="1752" y="2413"/>
                        <a:pt x="1740" y="2445"/>
                        <a:pt x="1736" y="2453"/>
                      </a:cubicBezTo>
                      <a:close/>
                      <a:moveTo>
                        <a:pt x="1728" y="2408"/>
                      </a:moveTo>
                      <a:cubicBezTo>
                        <a:pt x="1728" y="2408"/>
                        <a:pt x="1719" y="2386"/>
                        <a:pt x="1726" y="2374"/>
                      </a:cubicBezTo>
                      <a:cubicBezTo>
                        <a:pt x="1733" y="2362"/>
                        <a:pt x="1733" y="2362"/>
                        <a:pt x="1733" y="2362"/>
                      </a:cubicBezTo>
                      <a:cubicBezTo>
                        <a:pt x="1733" y="2362"/>
                        <a:pt x="1717" y="2347"/>
                        <a:pt x="1723" y="2339"/>
                      </a:cubicBezTo>
                      <a:cubicBezTo>
                        <a:pt x="1728" y="2331"/>
                        <a:pt x="1728" y="2300"/>
                        <a:pt x="1728" y="2298"/>
                      </a:cubicBezTo>
                      <a:cubicBezTo>
                        <a:pt x="1728" y="2296"/>
                        <a:pt x="1750" y="2267"/>
                        <a:pt x="1750" y="2267"/>
                      </a:cubicBezTo>
                      <a:cubicBezTo>
                        <a:pt x="1750" y="2267"/>
                        <a:pt x="1738" y="2250"/>
                        <a:pt x="1734" y="2243"/>
                      </a:cubicBezTo>
                      <a:cubicBezTo>
                        <a:pt x="1730" y="2237"/>
                        <a:pt x="1704" y="2236"/>
                        <a:pt x="1719" y="2220"/>
                      </a:cubicBezTo>
                      <a:cubicBezTo>
                        <a:pt x="1734" y="2204"/>
                        <a:pt x="1739" y="2193"/>
                        <a:pt x="1731" y="2182"/>
                      </a:cubicBezTo>
                      <a:cubicBezTo>
                        <a:pt x="1723" y="2170"/>
                        <a:pt x="1709" y="2169"/>
                        <a:pt x="1699" y="2155"/>
                      </a:cubicBezTo>
                      <a:cubicBezTo>
                        <a:pt x="1689" y="2140"/>
                        <a:pt x="1688" y="2106"/>
                        <a:pt x="1688" y="2106"/>
                      </a:cubicBezTo>
                      <a:cubicBezTo>
                        <a:pt x="1688" y="2106"/>
                        <a:pt x="1655" y="2097"/>
                        <a:pt x="1649" y="2071"/>
                      </a:cubicBezTo>
                      <a:cubicBezTo>
                        <a:pt x="1643" y="2046"/>
                        <a:pt x="1643" y="2029"/>
                        <a:pt x="1641" y="2026"/>
                      </a:cubicBezTo>
                      <a:cubicBezTo>
                        <a:pt x="1639" y="2024"/>
                        <a:pt x="1612" y="1991"/>
                        <a:pt x="1612" y="1991"/>
                      </a:cubicBezTo>
                      <a:cubicBezTo>
                        <a:pt x="1587" y="2001"/>
                        <a:pt x="1587" y="2001"/>
                        <a:pt x="1587" y="2001"/>
                      </a:cubicBezTo>
                      <a:cubicBezTo>
                        <a:pt x="1573" y="1974"/>
                        <a:pt x="1573" y="1974"/>
                        <a:pt x="1573" y="1974"/>
                      </a:cubicBezTo>
                      <a:cubicBezTo>
                        <a:pt x="1573" y="1974"/>
                        <a:pt x="1583" y="1965"/>
                        <a:pt x="1582" y="1962"/>
                      </a:cubicBezTo>
                      <a:cubicBezTo>
                        <a:pt x="1581" y="1958"/>
                        <a:pt x="1567" y="1926"/>
                        <a:pt x="1567" y="1926"/>
                      </a:cubicBezTo>
                      <a:cubicBezTo>
                        <a:pt x="1567" y="1926"/>
                        <a:pt x="1574" y="1965"/>
                        <a:pt x="1566" y="1957"/>
                      </a:cubicBezTo>
                      <a:cubicBezTo>
                        <a:pt x="1558" y="1950"/>
                        <a:pt x="1548" y="1928"/>
                        <a:pt x="1548" y="1928"/>
                      </a:cubicBezTo>
                      <a:cubicBezTo>
                        <a:pt x="1548" y="1928"/>
                        <a:pt x="1532" y="1926"/>
                        <a:pt x="1529" y="1923"/>
                      </a:cubicBezTo>
                      <a:cubicBezTo>
                        <a:pt x="1527" y="1921"/>
                        <a:pt x="1527" y="1902"/>
                        <a:pt x="1529" y="1892"/>
                      </a:cubicBezTo>
                      <a:cubicBezTo>
                        <a:pt x="1531" y="1882"/>
                        <a:pt x="1541" y="1879"/>
                        <a:pt x="1539" y="1865"/>
                      </a:cubicBezTo>
                      <a:cubicBezTo>
                        <a:pt x="1537" y="1850"/>
                        <a:pt x="1533" y="1841"/>
                        <a:pt x="1535" y="1835"/>
                      </a:cubicBezTo>
                      <a:cubicBezTo>
                        <a:pt x="1536" y="1830"/>
                        <a:pt x="1550" y="1820"/>
                        <a:pt x="1544" y="1813"/>
                      </a:cubicBezTo>
                      <a:cubicBezTo>
                        <a:pt x="1539" y="1806"/>
                        <a:pt x="1548" y="1791"/>
                        <a:pt x="1538" y="1781"/>
                      </a:cubicBezTo>
                      <a:cubicBezTo>
                        <a:pt x="1528" y="1770"/>
                        <a:pt x="1506" y="1747"/>
                        <a:pt x="1504" y="1747"/>
                      </a:cubicBezTo>
                      <a:cubicBezTo>
                        <a:pt x="1503" y="1747"/>
                        <a:pt x="1506" y="1759"/>
                        <a:pt x="1506" y="1759"/>
                      </a:cubicBezTo>
                      <a:cubicBezTo>
                        <a:pt x="1506" y="1759"/>
                        <a:pt x="1531" y="1783"/>
                        <a:pt x="1530" y="1789"/>
                      </a:cubicBezTo>
                      <a:cubicBezTo>
                        <a:pt x="1530" y="1796"/>
                        <a:pt x="1525" y="1803"/>
                        <a:pt x="1518" y="1800"/>
                      </a:cubicBezTo>
                      <a:cubicBezTo>
                        <a:pt x="1511" y="1796"/>
                        <a:pt x="1477" y="1773"/>
                        <a:pt x="1474" y="1767"/>
                      </a:cubicBezTo>
                      <a:cubicBezTo>
                        <a:pt x="1471" y="1762"/>
                        <a:pt x="1456" y="1728"/>
                        <a:pt x="1449" y="1727"/>
                      </a:cubicBezTo>
                      <a:cubicBezTo>
                        <a:pt x="1441" y="1725"/>
                        <a:pt x="1439" y="1741"/>
                        <a:pt x="1439" y="1741"/>
                      </a:cubicBezTo>
                      <a:cubicBezTo>
                        <a:pt x="1439" y="1741"/>
                        <a:pt x="1457" y="1792"/>
                        <a:pt x="1450" y="1790"/>
                      </a:cubicBezTo>
                      <a:cubicBezTo>
                        <a:pt x="1444" y="1788"/>
                        <a:pt x="1426" y="1763"/>
                        <a:pt x="1426" y="1763"/>
                      </a:cubicBezTo>
                      <a:cubicBezTo>
                        <a:pt x="1426" y="1763"/>
                        <a:pt x="1413" y="1794"/>
                        <a:pt x="1408" y="1788"/>
                      </a:cubicBezTo>
                      <a:cubicBezTo>
                        <a:pt x="1404" y="1781"/>
                        <a:pt x="1394" y="1780"/>
                        <a:pt x="1397" y="1768"/>
                      </a:cubicBezTo>
                      <a:cubicBezTo>
                        <a:pt x="1400" y="1756"/>
                        <a:pt x="1406" y="1743"/>
                        <a:pt x="1404" y="1738"/>
                      </a:cubicBezTo>
                      <a:cubicBezTo>
                        <a:pt x="1402" y="1732"/>
                        <a:pt x="1409" y="1717"/>
                        <a:pt x="1404" y="1711"/>
                      </a:cubicBezTo>
                      <a:cubicBezTo>
                        <a:pt x="1400" y="1705"/>
                        <a:pt x="1394" y="1707"/>
                        <a:pt x="1394" y="1693"/>
                      </a:cubicBezTo>
                      <a:cubicBezTo>
                        <a:pt x="1395" y="1678"/>
                        <a:pt x="1403" y="1661"/>
                        <a:pt x="1401" y="1654"/>
                      </a:cubicBezTo>
                      <a:cubicBezTo>
                        <a:pt x="1398" y="1646"/>
                        <a:pt x="1382" y="1636"/>
                        <a:pt x="1380" y="1623"/>
                      </a:cubicBezTo>
                      <a:cubicBezTo>
                        <a:pt x="1378" y="1610"/>
                        <a:pt x="1373" y="1578"/>
                        <a:pt x="1368" y="1572"/>
                      </a:cubicBezTo>
                      <a:cubicBezTo>
                        <a:pt x="1363" y="1566"/>
                        <a:pt x="1331" y="1528"/>
                        <a:pt x="1329" y="1521"/>
                      </a:cubicBezTo>
                      <a:cubicBezTo>
                        <a:pt x="1326" y="1513"/>
                        <a:pt x="1326" y="1498"/>
                        <a:pt x="1338" y="1499"/>
                      </a:cubicBezTo>
                      <a:cubicBezTo>
                        <a:pt x="1350" y="1500"/>
                        <a:pt x="1356" y="1510"/>
                        <a:pt x="1356" y="1510"/>
                      </a:cubicBezTo>
                      <a:cubicBezTo>
                        <a:pt x="1356" y="1510"/>
                        <a:pt x="1348" y="1483"/>
                        <a:pt x="1340" y="1474"/>
                      </a:cubicBezTo>
                      <a:cubicBezTo>
                        <a:pt x="1332" y="1465"/>
                        <a:pt x="1312" y="1442"/>
                        <a:pt x="1312" y="1442"/>
                      </a:cubicBezTo>
                      <a:cubicBezTo>
                        <a:pt x="1312" y="1442"/>
                        <a:pt x="1312" y="1467"/>
                        <a:pt x="1302" y="1465"/>
                      </a:cubicBezTo>
                      <a:cubicBezTo>
                        <a:pt x="1291" y="1463"/>
                        <a:pt x="1292" y="1442"/>
                        <a:pt x="1285" y="1436"/>
                      </a:cubicBezTo>
                      <a:cubicBezTo>
                        <a:pt x="1279" y="1430"/>
                        <a:pt x="1257" y="1415"/>
                        <a:pt x="1257" y="1415"/>
                      </a:cubicBezTo>
                      <a:cubicBezTo>
                        <a:pt x="1257" y="1415"/>
                        <a:pt x="1238" y="1425"/>
                        <a:pt x="1238" y="1422"/>
                      </a:cubicBezTo>
                      <a:cubicBezTo>
                        <a:pt x="1238" y="1418"/>
                        <a:pt x="1240" y="1393"/>
                        <a:pt x="1237" y="1393"/>
                      </a:cubicBezTo>
                      <a:cubicBezTo>
                        <a:pt x="1235" y="1392"/>
                        <a:pt x="1213" y="1408"/>
                        <a:pt x="1213" y="1408"/>
                      </a:cubicBezTo>
                      <a:cubicBezTo>
                        <a:pt x="1213" y="1408"/>
                        <a:pt x="1210" y="1369"/>
                        <a:pt x="1207" y="1363"/>
                      </a:cubicBezTo>
                      <a:cubicBezTo>
                        <a:pt x="1203" y="1358"/>
                        <a:pt x="1194" y="1341"/>
                        <a:pt x="1194" y="1341"/>
                      </a:cubicBezTo>
                      <a:cubicBezTo>
                        <a:pt x="1194" y="1341"/>
                        <a:pt x="1179" y="1360"/>
                        <a:pt x="1176" y="1358"/>
                      </a:cubicBezTo>
                      <a:cubicBezTo>
                        <a:pt x="1174" y="1357"/>
                        <a:pt x="1146" y="1339"/>
                        <a:pt x="1146" y="1339"/>
                      </a:cubicBezTo>
                      <a:cubicBezTo>
                        <a:pt x="1153" y="1321"/>
                        <a:pt x="1153" y="1321"/>
                        <a:pt x="1153" y="1321"/>
                      </a:cubicBezTo>
                      <a:cubicBezTo>
                        <a:pt x="1153" y="1321"/>
                        <a:pt x="1136" y="1339"/>
                        <a:pt x="1131" y="1334"/>
                      </a:cubicBezTo>
                      <a:cubicBezTo>
                        <a:pt x="1127" y="1329"/>
                        <a:pt x="1105" y="1309"/>
                        <a:pt x="1093" y="1298"/>
                      </a:cubicBezTo>
                      <a:cubicBezTo>
                        <a:pt x="1080" y="1287"/>
                        <a:pt x="1060" y="1263"/>
                        <a:pt x="1060" y="1261"/>
                      </a:cubicBezTo>
                      <a:cubicBezTo>
                        <a:pt x="1060" y="1259"/>
                        <a:pt x="1076" y="1241"/>
                        <a:pt x="1076" y="1241"/>
                      </a:cubicBezTo>
                      <a:cubicBezTo>
                        <a:pt x="1076" y="1241"/>
                        <a:pt x="1083" y="1215"/>
                        <a:pt x="1078" y="1208"/>
                      </a:cubicBezTo>
                      <a:cubicBezTo>
                        <a:pt x="1072" y="1200"/>
                        <a:pt x="1069" y="1188"/>
                        <a:pt x="1068" y="1188"/>
                      </a:cubicBezTo>
                      <a:cubicBezTo>
                        <a:pt x="1066" y="1188"/>
                        <a:pt x="1050" y="1192"/>
                        <a:pt x="1050" y="1192"/>
                      </a:cubicBezTo>
                      <a:cubicBezTo>
                        <a:pt x="1050" y="1192"/>
                        <a:pt x="1041" y="1161"/>
                        <a:pt x="1043" y="1158"/>
                      </a:cubicBezTo>
                      <a:cubicBezTo>
                        <a:pt x="1044" y="1155"/>
                        <a:pt x="1063" y="1149"/>
                        <a:pt x="1063" y="1129"/>
                      </a:cubicBezTo>
                      <a:cubicBezTo>
                        <a:pt x="1063" y="1109"/>
                        <a:pt x="1057" y="1076"/>
                        <a:pt x="1057" y="1074"/>
                      </a:cubicBezTo>
                      <a:cubicBezTo>
                        <a:pt x="1057" y="1073"/>
                        <a:pt x="1050" y="1070"/>
                        <a:pt x="1048" y="1058"/>
                      </a:cubicBezTo>
                      <a:cubicBezTo>
                        <a:pt x="1046" y="1045"/>
                        <a:pt x="1038" y="1029"/>
                        <a:pt x="1038" y="1028"/>
                      </a:cubicBezTo>
                      <a:cubicBezTo>
                        <a:pt x="1038" y="1026"/>
                        <a:pt x="1050" y="1014"/>
                        <a:pt x="1050" y="1014"/>
                      </a:cubicBezTo>
                      <a:cubicBezTo>
                        <a:pt x="1050" y="1014"/>
                        <a:pt x="1030" y="1023"/>
                        <a:pt x="1030" y="1020"/>
                      </a:cubicBezTo>
                      <a:cubicBezTo>
                        <a:pt x="1030" y="1017"/>
                        <a:pt x="1015" y="994"/>
                        <a:pt x="1011" y="984"/>
                      </a:cubicBezTo>
                      <a:cubicBezTo>
                        <a:pt x="1008" y="975"/>
                        <a:pt x="996" y="961"/>
                        <a:pt x="992" y="947"/>
                      </a:cubicBezTo>
                      <a:cubicBezTo>
                        <a:pt x="988" y="934"/>
                        <a:pt x="998" y="922"/>
                        <a:pt x="998" y="922"/>
                      </a:cubicBezTo>
                      <a:cubicBezTo>
                        <a:pt x="992" y="910"/>
                        <a:pt x="992" y="910"/>
                        <a:pt x="992" y="910"/>
                      </a:cubicBezTo>
                      <a:cubicBezTo>
                        <a:pt x="992" y="910"/>
                        <a:pt x="1002" y="912"/>
                        <a:pt x="999" y="900"/>
                      </a:cubicBezTo>
                      <a:cubicBezTo>
                        <a:pt x="997" y="887"/>
                        <a:pt x="996" y="882"/>
                        <a:pt x="992" y="877"/>
                      </a:cubicBezTo>
                      <a:cubicBezTo>
                        <a:pt x="988" y="872"/>
                        <a:pt x="988" y="840"/>
                        <a:pt x="985" y="824"/>
                      </a:cubicBezTo>
                      <a:cubicBezTo>
                        <a:pt x="983" y="808"/>
                        <a:pt x="992" y="796"/>
                        <a:pt x="992" y="796"/>
                      </a:cubicBezTo>
                      <a:cubicBezTo>
                        <a:pt x="982" y="783"/>
                        <a:pt x="982" y="783"/>
                        <a:pt x="982" y="783"/>
                      </a:cubicBezTo>
                      <a:cubicBezTo>
                        <a:pt x="994" y="761"/>
                        <a:pt x="994" y="761"/>
                        <a:pt x="994" y="761"/>
                      </a:cubicBezTo>
                      <a:cubicBezTo>
                        <a:pt x="994" y="761"/>
                        <a:pt x="979" y="739"/>
                        <a:pt x="970" y="735"/>
                      </a:cubicBezTo>
                      <a:cubicBezTo>
                        <a:pt x="960" y="731"/>
                        <a:pt x="949" y="725"/>
                        <a:pt x="949" y="725"/>
                      </a:cubicBezTo>
                      <a:cubicBezTo>
                        <a:pt x="948" y="712"/>
                        <a:pt x="948" y="712"/>
                        <a:pt x="948" y="712"/>
                      </a:cubicBezTo>
                      <a:cubicBezTo>
                        <a:pt x="918" y="691"/>
                        <a:pt x="918" y="691"/>
                        <a:pt x="918" y="691"/>
                      </a:cubicBezTo>
                      <a:cubicBezTo>
                        <a:pt x="918" y="691"/>
                        <a:pt x="912" y="658"/>
                        <a:pt x="908" y="654"/>
                      </a:cubicBezTo>
                      <a:cubicBezTo>
                        <a:pt x="903" y="651"/>
                        <a:pt x="898" y="647"/>
                        <a:pt x="898" y="647"/>
                      </a:cubicBezTo>
                      <a:cubicBezTo>
                        <a:pt x="898" y="647"/>
                        <a:pt x="880" y="667"/>
                        <a:pt x="878" y="667"/>
                      </a:cubicBezTo>
                      <a:cubicBezTo>
                        <a:pt x="877" y="667"/>
                        <a:pt x="864" y="656"/>
                        <a:pt x="864" y="656"/>
                      </a:cubicBezTo>
                      <a:cubicBezTo>
                        <a:pt x="864" y="656"/>
                        <a:pt x="856" y="672"/>
                        <a:pt x="846" y="677"/>
                      </a:cubicBezTo>
                      <a:cubicBezTo>
                        <a:pt x="836" y="682"/>
                        <a:pt x="827" y="690"/>
                        <a:pt x="821" y="684"/>
                      </a:cubicBezTo>
                      <a:cubicBezTo>
                        <a:pt x="816" y="678"/>
                        <a:pt x="798" y="661"/>
                        <a:pt x="801" y="653"/>
                      </a:cubicBezTo>
                      <a:cubicBezTo>
                        <a:pt x="803" y="644"/>
                        <a:pt x="801" y="618"/>
                        <a:pt x="798" y="616"/>
                      </a:cubicBezTo>
                      <a:cubicBezTo>
                        <a:pt x="796" y="613"/>
                        <a:pt x="786" y="595"/>
                        <a:pt x="786" y="583"/>
                      </a:cubicBezTo>
                      <a:cubicBezTo>
                        <a:pt x="786" y="572"/>
                        <a:pt x="805" y="560"/>
                        <a:pt x="804" y="553"/>
                      </a:cubicBezTo>
                      <a:cubicBezTo>
                        <a:pt x="804" y="547"/>
                        <a:pt x="792" y="530"/>
                        <a:pt x="792" y="530"/>
                      </a:cubicBezTo>
                      <a:cubicBezTo>
                        <a:pt x="792" y="530"/>
                        <a:pt x="798" y="493"/>
                        <a:pt x="792" y="480"/>
                      </a:cubicBezTo>
                      <a:cubicBezTo>
                        <a:pt x="787" y="468"/>
                        <a:pt x="771" y="464"/>
                        <a:pt x="771" y="461"/>
                      </a:cubicBezTo>
                      <a:cubicBezTo>
                        <a:pt x="772" y="457"/>
                        <a:pt x="785" y="446"/>
                        <a:pt x="782" y="435"/>
                      </a:cubicBezTo>
                      <a:cubicBezTo>
                        <a:pt x="779" y="423"/>
                        <a:pt x="764" y="422"/>
                        <a:pt x="764" y="422"/>
                      </a:cubicBezTo>
                      <a:cubicBezTo>
                        <a:pt x="759" y="403"/>
                        <a:pt x="759" y="403"/>
                        <a:pt x="759" y="403"/>
                      </a:cubicBezTo>
                      <a:cubicBezTo>
                        <a:pt x="759" y="403"/>
                        <a:pt x="739" y="398"/>
                        <a:pt x="737" y="385"/>
                      </a:cubicBezTo>
                      <a:cubicBezTo>
                        <a:pt x="735" y="373"/>
                        <a:pt x="754" y="365"/>
                        <a:pt x="756" y="356"/>
                      </a:cubicBezTo>
                      <a:cubicBezTo>
                        <a:pt x="759" y="347"/>
                        <a:pt x="764" y="347"/>
                        <a:pt x="764" y="347"/>
                      </a:cubicBezTo>
                      <a:cubicBezTo>
                        <a:pt x="733" y="341"/>
                        <a:pt x="733" y="341"/>
                        <a:pt x="733" y="341"/>
                      </a:cubicBezTo>
                      <a:cubicBezTo>
                        <a:pt x="733" y="341"/>
                        <a:pt x="718" y="335"/>
                        <a:pt x="718" y="328"/>
                      </a:cubicBezTo>
                      <a:cubicBezTo>
                        <a:pt x="718" y="321"/>
                        <a:pt x="717" y="280"/>
                        <a:pt x="717" y="280"/>
                      </a:cubicBezTo>
                      <a:cubicBezTo>
                        <a:pt x="717" y="280"/>
                        <a:pt x="728" y="274"/>
                        <a:pt x="726" y="271"/>
                      </a:cubicBezTo>
                      <a:cubicBezTo>
                        <a:pt x="725" y="268"/>
                        <a:pt x="713" y="253"/>
                        <a:pt x="713" y="253"/>
                      </a:cubicBezTo>
                      <a:cubicBezTo>
                        <a:pt x="715" y="221"/>
                        <a:pt x="715" y="221"/>
                        <a:pt x="715" y="221"/>
                      </a:cubicBezTo>
                      <a:cubicBezTo>
                        <a:pt x="715" y="221"/>
                        <a:pt x="694" y="203"/>
                        <a:pt x="687" y="205"/>
                      </a:cubicBezTo>
                      <a:cubicBezTo>
                        <a:pt x="680" y="206"/>
                        <a:pt x="707" y="191"/>
                        <a:pt x="699" y="184"/>
                      </a:cubicBezTo>
                      <a:cubicBezTo>
                        <a:pt x="691" y="177"/>
                        <a:pt x="681" y="172"/>
                        <a:pt x="675" y="177"/>
                      </a:cubicBezTo>
                      <a:cubicBezTo>
                        <a:pt x="669" y="182"/>
                        <a:pt x="662" y="203"/>
                        <a:pt x="660" y="204"/>
                      </a:cubicBezTo>
                      <a:cubicBezTo>
                        <a:pt x="658" y="205"/>
                        <a:pt x="634" y="207"/>
                        <a:pt x="634" y="207"/>
                      </a:cubicBezTo>
                      <a:cubicBezTo>
                        <a:pt x="634" y="207"/>
                        <a:pt x="656" y="233"/>
                        <a:pt x="628" y="269"/>
                      </a:cubicBezTo>
                      <a:cubicBezTo>
                        <a:pt x="600" y="305"/>
                        <a:pt x="594" y="337"/>
                        <a:pt x="594" y="337"/>
                      </a:cubicBezTo>
                      <a:cubicBezTo>
                        <a:pt x="593" y="352"/>
                        <a:pt x="593" y="352"/>
                        <a:pt x="593" y="352"/>
                      </a:cubicBezTo>
                      <a:cubicBezTo>
                        <a:pt x="581" y="351"/>
                        <a:pt x="581" y="351"/>
                        <a:pt x="581" y="351"/>
                      </a:cubicBezTo>
                      <a:cubicBezTo>
                        <a:pt x="554" y="411"/>
                        <a:pt x="554" y="411"/>
                        <a:pt x="554" y="411"/>
                      </a:cubicBezTo>
                      <a:cubicBezTo>
                        <a:pt x="554" y="411"/>
                        <a:pt x="563" y="403"/>
                        <a:pt x="569" y="408"/>
                      </a:cubicBezTo>
                      <a:cubicBezTo>
                        <a:pt x="574" y="414"/>
                        <a:pt x="583" y="426"/>
                        <a:pt x="583" y="426"/>
                      </a:cubicBezTo>
                      <a:cubicBezTo>
                        <a:pt x="583" y="426"/>
                        <a:pt x="607" y="410"/>
                        <a:pt x="609" y="417"/>
                      </a:cubicBezTo>
                      <a:cubicBezTo>
                        <a:pt x="611" y="423"/>
                        <a:pt x="594" y="439"/>
                        <a:pt x="594" y="439"/>
                      </a:cubicBezTo>
                      <a:cubicBezTo>
                        <a:pt x="589" y="457"/>
                        <a:pt x="589" y="457"/>
                        <a:pt x="589" y="457"/>
                      </a:cubicBezTo>
                      <a:cubicBezTo>
                        <a:pt x="589" y="457"/>
                        <a:pt x="584" y="432"/>
                        <a:pt x="579" y="432"/>
                      </a:cubicBezTo>
                      <a:cubicBezTo>
                        <a:pt x="574" y="432"/>
                        <a:pt x="553" y="459"/>
                        <a:pt x="550" y="460"/>
                      </a:cubicBezTo>
                      <a:cubicBezTo>
                        <a:pt x="546" y="460"/>
                        <a:pt x="549" y="491"/>
                        <a:pt x="552" y="492"/>
                      </a:cubicBezTo>
                      <a:cubicBezTo>
                        <a:pt x="554" y="493"/>
                        <a:pt x="558" y="508"/>
                        <a:pt x="555" y="509"/>
                      </a:cubicBezTo>
                      <a:cubicBezTo>
                        <a:pt x="552" y="511"/>
                        <a:pt x="516" y="563"/>
                        <a:pt x="524" y="578"/>
                      </a:cubicBezTo>
                      <a:cubicBezTo>
                        <a:pt x="532" y="592"/>
                        <a:pt x="543" y="607"/>
                        <a:pt x="540" y="615"/>
                      </a:cubicBezTo>
                      <a:cubicBezTo>
                        <a:pt x="538" y="623"/>
                        <a:pt x="525" y="670"/>
                        <a:pt x="524" y="684"/>
                      </a:cubicBezTo>
                      <a:cubicBezTo>
                        <a:pt x="523" y="698"/>
                        <a:pt x="541" y="735"/>
                        <a:pt x="541" y="735"/>
                      </a:cubicBezTo>
                      <a:cubicBezTo>
                        <a:pt x="541" y="735"/>
                        <a:pt x="511" y="768"/>
                        <a:pt x="506" y="801"/>
                      </a:cubicBezTo>
                      <a:cubicBezTo>
                        <a:pt x="501" y="834"/>
                        <a:pt x="499" y="867"/>
                        <a:pt x="499" y="867"/>
                      </a:cubicBezTo>
                      <a:cubicBezTo>
                        <a:pt x="499" y="867"/>
                        <a:pt x="485" y="902"/>
                        <a:pt x="479" y="917"/>
                      </a:cubicBezTo>
                      <a:cubicBezTo>
                        <a:pt x="472" y="931"/>
                        <a:pt x="455" y="965"/>
                        <a:pt x="442" y="970"/>
                      </a:cubicBezTo>
                      <a:cubicBezTo>
                        <a:pt x="430" y="974"/>
                        <a:pt x="425" y="1024"/>
                        <a:pt x="425" y="1024"/>
                      </a:cubicBezTo>
                      <a:cubicBezTo>
                        <a:pt x="425" y="1024"/>
                        <a:pt x="382" y="1055"/>
                        <a:pt x="371" y="1057"/>
                      </a:cubicBezTo>
                      <a:cubicBezTo>
                        <a:pt x="360" y="1058"/>
                        <a:pt x="323" y="1065"/>
                        <a:pt x="320" y="1063"/>
                      </a:cubicBezTo>
                      <a:cubicBezTo>
                        <a:pt x="316" y="1061"/>
                        <a:pt x="291" y="1045"/>
                        <a:pt x="285" y="1042"/>
                      </a:cubicBezTo>
                      <a:cubicBezTo>
                        <a:pt x="279" y="1039"/>
                        <a:pt x="265" y="1037"/>
                        <a:pt x="264" y="1035"/>
                      </a:cubicBezTo>
                      <a:cubicBezTo>
                        <a:pt x="264" y="1033"/>
                        <a:pt x="255" y="1012"/>
                        <a:pt x="246" y="1011"/>
                      </a:cubicBezTo>
                      <a:cubicBezTo>
                        <a:pt x="238" y="1010"/>
                        <a:pt x="219" y="1007"/>
                        <a:pt x="216" y="998"/>
                      </a:cubicBezTo>
                      <a:cubicBezTo>
                        <a:pt x="213" y="989"/>
                        <a:pt x="235" y="979"/>
                        <a:pt x="205" y="959"/>
                      </a:cubicBezTo>
                      <a:cubicBezTo>
                        <a:pt x="175" y="940"/>
                        <a:pt x="173" y="947"/>
                        <a:pt x="171" y="946"/>
                      </a:cubicBezTo>
                      <a:cubicBezTo>
                        <a:pt x="170" y="945"/>
                        <a:pt x="153" y="930"/>
                        <a:pt x="153" y="930"/>
                      </a:cubicBezTo>
                      <a:cubicBezTo>
                        <a:pt x="153" y="930"/>
                        <a:pt x="121" y="937"/>
                        <a:pt x="95" y="918"/>
                      </a:cubicBezTo>
                      <a:cubicBezTo>
                        <a:pt x="89" y="913"/>
                        <a:pt x="83" y="907"/>
                        <a:pt x="78" y="901"/>
                      </a:cubicBezTo>
                      <a:cubicBezTo>
                        <a:pt x="30" y="2088"/>
                        <a:pt x="30" y="2088"/>
                        <a:pt x="30" y="2088"/>
                      </a:cubicBezTo>
                      <a:cubicBezTo>
                        <a:pt x="30" y="2088"/>
                        <a:pt x="18" y="2088"/>
                        <a:pt x="0" y="2088"/>
                      </a:cubicBezTo>
                      <a:cubicBezTo>
                        <a:pt x="12" y="2097"/>
                        <a:pt x="20" y="2103"/>
                        <a:pt x="20" y="2103"/>
                      </a:cubicBezTo>
                      <a:cubicBezTo>
                        <a:pt x="373" y="2113"/>
                        <a:pt x="373" y="2113"/>
                        <a:pt x="373" y="2113"/>
                      </a:cubicBezTo>
                      <a:cubicBezTo>
                        <a:pt x="351" y="2490"/>
                        <a:pt x="351" y="2490"/>
                        <a:pt x="351" y="2490"/>
                      </a:cubicBezTo>
                      <a:cubicBezTo>
                        <a:pt x="1227" y="2573"/>
                        <a:pt x="1227" y="2573"/>
                        <a:pt x="1227" y="2573"/>
                      </a:cubicBezTo>
                      <a:cubicBezTo>
                        <a:pt x="1291" y="2529"/>
                        <a:pt x="1291" y="2529"/>
                        <a:pt x="1291" y="2529"/>
                      </a:cubicBezTo>
                      <a:cubicBezTo>
                        <a:pt x="1331" y="2537"/>
                        <a:pt x="1331" y="2537"/>
                        <a:pt x="1331" y="2537"/>
                      </a:cubicBezTo>
                      <a:cubicBezTo>
                        <a:pt x="1371" y="2537"/>
                        <a:pt x="1371" y="2537"/>
                        <a:pt x="1371" y="2537"/>
                      </a:cubicBezTo>
                      <a:cubicBezTo>
                        <a:pt x="1395" y="2565"/>
                        <a:pt x="1395" y="2565"/>
                        <a:pt x="1395" y="2565"/>
                      </a:cubicBezTo>
                      <a:cubicBezTo>
                        <a:pt x="1439" y="2561"/>
                        <a:pt x="1439" y="2561"/>
                        <a:pt x="1439" y="2561"/>
                      </a:cubicBezTo>
                      <a:cubicBezTo>
                        <a:pt x="1479" y="2597"/>
                        <a:pt x="1479" y="2597"/>
                        <a:pt x="1479" y="2597"/>
                      </a:cubicBezTo>
                      <a:cubicBezTo>
                        <a:pt x="1483" y="2629"/>
                        <a:pt x="1483" y="2629"/>
                        <a:pt x="1483" y="2629"/>
                      </a:cubicBezTo>
                      <a:cubicBezTo>
                        <a:pt x="1519" y="2601"/>
                        <a:pt x="1519" y="2601"/>
                        <a:pt x="1519" y="2601"/>
                      </a:cubicBezTo>
                      <a:cubicBezTo>
                        <a:pt x="1519" y="2601"/>
                        <a:pt x="1547" y="2617"/>
                        <a:pt x="1551" y="2601"/>
                      </a:cubicBezTo>
                      <a:cubicBezTo>
                        <a:pt x="1555" y="2585"/>
                        <a:pt x="1563" y="2557"/>
                        <a:pt x="1563" y="2557"/>
                      </a:cubicBezTo>
                      <a:cubicBezTo>
                        <a:pt x="1623" y="2541"/>
                        <a:pt x="1623" y="2541"/>
                        <a:pt x="1623" y="2541"/>
                      </a:cubicBezTo>
                      <a:cubicBezTo>
                        <a:pt x="1671" y="2557"/>
                        <a:pt x="1671" y="2557"/>
                        <a:pt x="1671" y="2557"/>
                      </a:cubicBezTo>
                      <a:cubicBezTo>
                        <a:pt x="1703" y="2565"/>
                        <a:pt x="1703" y="2565"/>
                        <a:pt x="1703" y="2565"/>
                      </a:cubicBezTo>
                      <a:cubicBezTo>
                        <a:pt x="1707" y="2549"/>
                        <a:pt x="1707" y="2549"/>
                        <a:pt x="1707" y="2549"/>
                      </a:cubicBezTo>
                      <a:cubicBezTo>
                        <a:pt x="1739" y="2549"/>
                        <a:pt x="1739" y="2549"/>
                        <a:pt x="1739" y="2549"/>
                      </a:cubicBezTo>
                      <a:cubicBezTo>
                        <a:pt x="1737" y="2541"/>
                        <a:pt x="1733" y="2530"/>
                        <a:pt x="1733" y="2524"/>
                      </a:cubicBezTo>
                      <a:cubicBezTo>
                        <a:pt x="1732" y="2515"/>
                        <a:pt x="1737" y="2495"/>
                        <a:pt x="1740" y="2488"/>
                      </a:cubicBezTo>
                      <a:cubicBezTo>
                        <a:pt x="1743" y="2481"/>
                        <a:pt x="1710" y="2426"/>
                        <a:pt x="1710" y="2426"/>
                      </a:cubicBezTo>
                      <a:lnTo>
                        <a:pt x="1728" y="2408"/>
                      </a:lnTo>
                      <a:close/>
                      <a:moveTo>
                        <a:pt x="790" y="348"/>
                      </a:moveTo>
                      <a:cubicBezTo>
                        <a:pt x="790" y="348"/>
                        <a:pt x="790" y="338"/>
                        <a:pt x="789" y="325"/>
                      </a:cubicBezTo>
                      <a:cubicBezTo>
                        <a:pt x="787" y="311"/>
                        <a:pt x="762" y="326"/>
                        <a:pt x="762" y="326"/>
                      </a:cubicBezTo>
                      <a:cubicBezTo>
                        <a:pt x="775" y="333"/>
                        <a:pt x="775" y="333"/>
                        <a:pt x="775" y="333"/>
                      </a:cubicBezTo>
                      <a:lnTo>
                        <a:pt x="790" y="348"/>
                      </a:lnTo>
                      <a:close/>
                      <a:moveTo>
                        <a:pt x="660" y="72"/>
                      </a:moveTo>
                      <a:cubicBezTo>
                        <a:pt x="669" y="61"/>
                        <a:pt x="686" y="43"/>
                        <a:pt x="678" y="44"/>
                      </a:cubicBezTo>
                      <a:cubicBezTo>
                        <a:pt x="670" y="45"/>
                        <a:pt x="670" y="53"/>
                        <a:pt x="658" y="59"/>
                      </a:cubicBezTo>
                      <a:cubicBezTo>
                        <a:pt x="646" y="64"/>
                        <a:pt x="642" y="85"/>
                        <a:pt x="642" y="85"/>
                      </a:cubicBezTo>
                      <a:cubicBezTo>
                        <a:pt x="642" y="85"/>
                        <a:pt x="650" y="82"/>
                        <a:pt x="660" y="72"/>
                      </a:cubicBezTo>
                      <a:close/>
                      <a:moveTo>
                        <a:pt x="678" y="12"/>
                      </a:moveTo>
                      <a:cubicBezTo>
                        <a:pt x="672" y="0"/>
                        <a:pt x="656" y="5"/>
                        <a:pt x="656" y="12"/>
                      </a:cubicBezTo>
                      <a:cubicBezTo>
                        <a:pt x="656" y="12"/>
                        <a:pt x="685" y="24"/>
                        <a:pt x="678" y="12"/>
                      </a:cubicBezTo>
                      <a:close/>
                      <a:moveTo>
                        <a:pt x="241" y="978"/>
                      </a:moveTo>
                      <a:cubicBezTo>
                        <a:pt x="241" y="978"/>
                        <a:pt x="242" y="983"/>
                        <a:pt x="253" y="983"/>
                      </a:cubicBezTo>
                      <a:cubicBezTo>
                        <a:pt x="263" y="983"/>
                        <a:pt x="269" y="978"/>
                        <a:pt x="269" y="978"/>
                      </a:cubicBezTo>
                      <a:cubicBezTo>
                        <a:pt x="258" y="966"/>
                        <a:pt x="258" y="966"/>
                        <a:pt x="258" y="966"/>
                      </a:cubicBezTo>
                      <a:lnTo>
                        <a:pt x="241" y="978"/>
                      </a:lnTo>
                      <a:close/>
                      <a:moveTo>
                        <a:pt x="1786" y="1395"/>
                      </a:moveTo>
                      <a:cubicBezTo>
                        <a:pt x="1770" y="1403"/>
                        <a:pt x="1770" y="1403"/>
                        <a:pt x="1770" y="1403"/>
                      </a:cubicBezTo>
                      <a:cubicBezTo>
                        <a:pt x="1774" y="1419"/>
                        <a:pt x="1774" y="1419"/>
                        <a:pt x="1774" y="1419"/>
                      </a:cubicBezTo>
                      <a:cubicBezTo>
                        <a:pt x="1792" y="1401"/>
                        <a:pt x="1792" y="1401"/>
                        <a:pt x="1792" y="1401"/>
                      </a:cubicBezTo>
                      <a:cubicBezTo>
                        <a:pt x="1806" y="1389"/>
                        <a:pt x="1806" y="1389"/>
                        <a:pt x="1806" y="1389"/>
                      </a:cubicBezTo>
                      <a:cubicBezTo>
                        <a:pt x="1789" y="1387"/>
                        <a:pt x="1789" y="1387"/>
                        <a:pt x="1789" y="1387"/>
                      </a:cubicBezTo>
                      <a:lnTo>
                        <a:pt x="1786" y="1395"/>
                      </a:lnTo>
                      <a:close/>
                      <a:moveTo>
                        <a:pt x="1866" y="1766"/>
                      </a:moveTo>
                      <a:cubicBezTo>
                        <a:pt x="1873" y="1773"/>
                        <a:pt x="1873" y="1773"/>
                        <a:pt x="1873" y="1773"/>
                      </a:cubicBezTo>
                      <a:cubicBezTo>
                        <a:pt x="1903" y="1741"/>
                        <a:pt x="1903" y="1741"/>
                        <a:pt x="1903" y="1741"/>
                      </a:cubicBezTo>
                      <a:cubicBezTo>
                        <a:pt x="1893" y="1738"/>
                        <a:pt x="1893" y="1738"/>
                        <a:pt x="1893" y="1738"/>
                      </a:cubicBezTo>
                      <a:lnTo>
                        <a:pt x="1866" y="1766"/>
                      </a:lnTo>
                      <a:close/>
                      <a:moveTo>
                        <a:pt x="2062" y="1825"/>
                      </a:moveTo>
                      <a:cubicBezTo>
                        <a:pt x="2058" y="1825"/>
                        <a:pt x="2043" y="1833"/>
                        <a:pt x="2043" y="1833"/>
                      </a:cubicBezTo>
                      <a:cubicBezTo>
                        <a:pt x="2043" y="1833"/>
                        <a:pt x="2036" y="1839"/>
                        <a:pt x="2058" y="1839"/>
                      </a:cubicBezTo>
                      <a:cubicBezTo>
                        <a:pt x="2079" y="1839"/>
                        <a:pt x="2083" y="1822"/>
                        <a:pt x="2083" y="1822"/>
                      </a:cubicBezTo>
                      <a:cubicBezTo>
                        <a:pt x="2083" y="1822"/>
                        <a:pt x="2066" y="1825"/>
                        <a:pt x="2062" y="1825"/>
                      </a:cubicBezTo>
                      <a:close/>
                      <a:moveTo>
                        <a:pt x="1760" y="1648"/>
                      </a:moveTo>
                      <a:cubicBezTo>
                        <a:pt x="1760" y="1648"/>
                        <a:pt x="1772" y="1653"/>
                        <a:pt x="1772" y="1661"/>
                      </a:cubicBezTo>
                      <a:cubicBezTo>
                        <a:pt x="1772" y="1669"/>
                        <a:pt x="1774" y="1681"/>
                        <a:pt x="1774" y="1681"/>
                      </a:cubicBezTo>
                      <a:cubicBezTo>
                        <a:pt x="1774" y="1681"/>
                        <a:pt x="1784" y="1671"/>
                        <a:pt x="1784" y="1665"/>
                      </a:cubicBezTo>
                      <a:cubicBezTo>
                        <a:pt x="1784" y="1660"/>
                        <a:pt x="1798" y="1652"/>
                        <a:pt x="1790" y="1637"/>
                      </a:cubicBezTo>
                      <a:cubicBezTo>
                        <a:pt x="1782" y="1623"/>
                        <a:pt x="1760" y="1648"/>
                        <a:pt x="1760" y="1648"/>
                      </a:cubicBezTo>
                      <a:close/>
                      <a:moveTo>
                        <a:pt x="1781" y="2115"/>
                      </a:moveTo>
                      <a:cubicBezTo>
                        <a:pt x="1776" y="2106"/>
                        <a:pt x="1762" y="2117"/>
                        <a:pt x="1762" y="2121"/>
                      </a:cubicBezTo>
                      <a:cubicBezTo>
                        <a:pt x="1762" y="2125"/>
                        <a:pt x="1768" y="2141"/>
                        <a:pt x="1765" y="2156"/>
                      </a:cubicBezTo>
                      <a:cubicBezTo>
                        <a:pt x="1762" y="2171"/>
                        <a:pt x="1745" y="2157"/>
                        <a:pt x="1745" y="2168"/>
                      </a:cubicBezTo>
                      <a:cubicBezTo>
                        <a:pt x="1745" y="2179"/>
                        <a:pt x="1766" y="2180"/>
                        <a:pt x="1766" y="2180"/>
                      </a:cubicBezTo>
                      <a:cubicBezTo>
                        <a:pt x="1790" y="2149"/>
                        <a:pt x="1790" y="2149"/>
                        <a:pt x="1790" y="2149"/>
                      </a:cubicBezTo>
                      <a:cubicBezTo>
                        <a:pt x="1778" y="2129"/>
                        <a:pt x="1778" y="2129"/>
                        <a:pt x="1778" y="2129"/>
                      </a:cubicBezTo>
                      <a:lnTo>
                        <a:pt x="1781" y="2115"/>
                      </a:lnTo>
                      <a:close/>
                      <a:moveTo>
                        <a:pt x="1733" y="2219"/>
                      </a:moveTo>
                      <a:cubicBezTo>
                        <a:pt x="1732" y="2228"/>
                        <a:pt x="1744" y="2229"/>
                        <a:pt x="1744" y="2229"/>
                      </a:cubicBezTo>
                      <a:cubicBezTo>
                        <a:pt x="1760" y="2196"/>
                        <a:pt x="1760" y="2196"/>
                        <a:pt x="1760" y="2196"/>
                      </a:cubicBezTo>
                      <a:cubicBezTo>
                        <a:pt x="1760" y="2196"/>
                        <a:pt x="1756" y="2188"/>
                        <a:pt x="1748" y="2180"/>
                      </a:cubicBezTo>
                      <a:cubicBezTo>
                        <a:pt x="1740" y="2172"/>
                        <a:pt x="1734" y="2209"/>
                        <a:pt x="1733" y="2219"/>
                      </a:cubicBezTo>
                      <a:close/>
                      <a:moveTo>
                        <a:pt x="243" y="932"/>
                      </a:moveTo>
                      <a:cubicBezTo>
                        <a:pt x="259" y="908"/>
                        <a:pt x="259" y="908"/>
                        <a:pt x="259" y="908"/>
                      </a:cubicBezTo>
                      <a:cubicBezTo>
                        <a:pt x="289" y="906"/>
                        <a:pt x="289" y="906"/>
                        <a:pt x="289" y="906"/>
                      </a:cubicBezTo>
                      <a:cubicBezTo>
                        <a:pt x="289" y="906"/>
                        <a:pt x="282" y="888"/>
                        <a:pt x="275" y="888"/>
                      </a:cubicBezTo>
                      <a:cubicBezTo>
                        <a:pt x="269" y="888"/>
                        <a:pt x="259" y="895"/>
                        <a:pt x="259" y="895"/>
                      </a:cubicBezTo>
                      <a:cubicBezTo>
                        <a:pt x="259" y="895"/>
                        <a:pt x="243" y="884"/>
                        <a:pt x="229" y="898"/>
                      </a:cubicBezTo>
                      <a:cubicBezTo>
                        <a:pt x="214" y="911"/>
                        <a:pt x="212" y="947"/>
                        <a:pt x="212" y="947"/>
                      </a:cubicBezTo>
                      <a:cubicBezTo>
                        <a:pt x="219" y="932"/>
                        <a:pt x="219" y="932"/>
                        <a:pt x="219" y="932"/>
                      </a:cubicBezTo>
                      <a:lnTo>
                        <a:pt x="243" y="932"/>
                      </a:lnTo>
                      <a:close/>
                      <a:moveTo>
                        <a:pt x="851" y="536"/>
                      </a:moveTo>
                      <a:cubicBezTo>
                        <a:pt x="853" y="501"/>
                        <a:pt x="853" y="501"/>
                        <a:pt x="853" y="501"/>
                      </a:cubicBezTo>
                      <a:cubicBezTo>
                        <a:pt x="853" y="501"/>
                        <a:pt x="838" y="479"/>
                        <a:pt x="833" y="467"/>
                      </a:cubicBezTo>
                      <a:cubicBezTo>
                        <a:pt x="827" y="455"/>
                        <a:pt x="833" y="434"/>
                        <a:pt x="833" y="430"/>
                      </a:cubicBezTo>
                      <a:cubicBezTo>
                        <a:pt x="833" y="426"/>
                        <a:pt x="826" y="411"/>
                        <a:pt x="826" y="411"/>
                      </a:cubicBezTo>
                      <a:cubicBezTo>
                        <a:pt x="846" y="386"/>
                        <a:pt x="846" y="386"/>
                        <a:pt x="846" y="386"/>
                      </a:cubicBezTo>
                      <a:cubicBezTo>
                        <a:pt x="846" y="386"/>
                        <a:pt x="845" y="380"/>
                        <a:pt x="837" y="380"/>
                      </a:cubicBezTo>
                      <a:cubicBezTo>
                        <a:pt x="829" y="380"/>
                        <a:pt x="835" y="362"/>
                        <a:pt x="835" y="362"/>
                      </a:cubicBezTo>
                      <a:cubicBezTo>
                        <a:pt x="826" y="348"/>
                        <a:pt x="830" y="386"/>
                        <a:pt x="830" y="386"/>
                      </a:cubicBezTo>
                      <a:cubicBezTo>
                        <a:pt x="813" y="408"/>
                        <a:pt x="813" y="408"/>
                        <a:pt x="813" y="408"/>
                      </a:cubicBezTo>
                      <a:cubicBezTo>
                        <a:pt x="813" y="408"/>
                        <a:pt x="819" y="418"/>
                        <a:pt x="825" y="430"/>
                      </a:cubicBezTo>
                      <a:cubicBezTo>
                        <a:pt x="830" y="442"/>
                        <a:pt x="822" y="458"/>
                        <a:pt x="822" y="467"/>
                      </a:cubicBezTo>
                      <a:cubicBezTo>
                        <a:pt x="822" y="476"/>
                        <a:pt x="830" y="481"/>
                        <a:pt x="837" y="505"/>
                      </a:cubicBezTo>
                      <a:cubicBezTo>
                        <a:pt x="843" y="529"/>
                        <a:pt x="851" y="536"/>
                        <a:pt x="851" y="536"/>
                      </a:cubicBezTo>
                      <a:close/>
                      <a:moveTo>
                        <a:pt x="843" y="315"/>
                      </a:moveTo>
                      <a:cubicBezTo>
                        <a:pt x="830" y="340"/>
                        <a:pt x="830" y="340"/>
                        <a:pt x="830" y="340"/>
                      </a:cubicBezTo>
                      <a:cubicBezTo>
                        <a:pt x="843" y="329"/>
                        <a:pt x="843" y="329"/>
                        <a:pt x="843" y="329"/>
                      </a:cubicBezTo>
                      <a:lnTo>
                        <a:pt x="843" y="315"/>
                      </a:lnTo>
                      <a:close/>
                      <a:moveTo>
                        <a:pt x="778" y="282"/>
                      </a:moveTo>
                      <a:cubicBezTo>
                        <a:pt x="787" y="287"/>
                        <a:pt x="799" y="287"/>
                        <a:pt x="799" y="287"/>
                      </a:cubicBezTo>
                      <a:cubicBezTo>
                        <a:pt x="781" y="262"/>
                        <a:pt x="781" y="262"/>
                        <a:pt x="781" y="262"/>
                      </a:cubicBezTo>
                      <a:cubicBezTo>
                        <a:pt x="781" y="262"/>
                        <a:pt x="769" y="277"/>
                        <a:pt x="778" y="282"/>
                      </a:cubicBezTo>
                      <a:close/>
                      <a:moveTo>
                        <a:pt x="795" y="470"/>
                      </a:moveTo>
                      <a:cubicBezTo>
                        <a:pt x="810" y="460"/>
                        <a:pt x="810" y="460"/>
                        <a:pt x="810" y="460"/>
                      </a:cubicBezTo>
                      <a:cubicBezTo>
                        <a:pt x="810" y="460"/>
                        <a:pt x="823" y="452"/>
                        <a:pt x="810" y="435"/>
                      </a:cubicBezTo>
                      <a:cubicBezTo>
                        <a:pt x="797" y="418"/>
                        <a:pt x="774" y="406"/>
                        <a:pt x="773" y="412"/>
                      </a:cubicBezTo>
                      <a:cubicBezTo>
                        <a:pt x="773" y="412"/>
                        <a:pt x="798" y="431"/>
                        <a:pt x="798" y="435"/>
                      </a:cubicBezTo>
                      <a:cubicBezTo>
                        <a:pt x="798" y="439"/>
                        <a:pt x="802" y="444"/>
                        <a:pt x="799" y="452"/>
                      </a:cubicBezTo>
                      <a:cubicBezTo>
                        <a:pt x="797" y="460"/>
                        <a:pt x="795" y="470"/>
                        <a:pt x="795" y="470"/>
                      </a:cubicBezTo>
                      <a:close/>
                      <a:moveTo>
                        <a:pt x="783" y="400"/>
                      </a:moveTo>
                      <a:cubicBezTo>
                        <a:pt x="789" y="396"/>
                        <a:pt x="759" y="382"/>
                        <a:pt x="759" y="382"/>
                      </a:cubicBezTo>
                      <a:cubicBezTo>
                        <a:pt x="759" y="382"/>
                        <a:pt x="778" y="404"/>
                        <a:pt x="783" y="400"/>
                      </a:cubicBezTo>
                      <a:close/>
                      <a:moveTo>
                        <a:pt x="877" y="588"/>
                      </a:moveTo>
                      <a:cubicBezTo>
                        <a:pt x="883" y="581"/>
                        <a:pt x="855" y="537"/>
                        <a:pt x="850" y="551"/>
                      </a:cubicBezTo>
                      <a:cubicBezTo>
                        <a:pt x="850" y="551"/>
                        <a:pt x="870" y="595"/>
                        <a:pt x="877" y="588"/>
                      </a:cubicBezTo>
                      <a:close/>
                      <a:moveTo>
                        <a:pt x="821" y="548"/>
                      </a:moveTo>
                      <a:cubicBezTo>
                        <a:pt x="826" y="529"/>
                        <a:pt x="826" y="529"/>
                        <a:pt x="826" y="529"/>
                      </a:cubicBezTo>
                      <a:cubicBezTo>
                        <a:pt x="811" y="509"/>
                        <a:pt x="814" y="557"/>
                        <a:pt x="814" y="557"/>
                      </a:cubicBezTo>
                      <a:lnTo>
                        <a:pt x="821" y="548"/>
                      </a:lnTo>
                      <a:close/>
                      <a:moveTo>
                        <a:pt x="869" y="165"/>
                      </a:moveTo>
                      <a:cubicBezTo>
                        <a:pt x="871" y="174"/>
                        <a:pt x="877" y="156"/>
                        <a:pt x="877" y="141"/>
                      </a:cubicBezTo>
                      <a:cubicBezTo>
                        <a:pt x="877" y="126"/>
                        <a:pt x="894" y="86"/>
                        <a:pt x="903" y="81"/>
                      </a:cubicBezTo>
                      <a:cubicBezTo>
                        <a:pt x="912" y="76"/>
                        <a:pt x="918" y="65"/>
                        <a:pt x="918" y="65"/>
                      </a:cubicBezTo>
                      <a:cubicBezTo>
                        <a:pt x="903" y="60"/>
                        <a:pt x="886" y="94"/>
                        <a:pt x="877" y="105"/>
                      </a:cubicBezTo>
                      <a:cubicBezTo>
                        <a:pt x="867" y="116"/>
                        <a:pt x="866" y="156"/>
                        <a:pt x="869" y="165"/>
                      </a:cubicBezTo>
                      <a:close/>
                      <a:moveTo>
                        <a:pt x="877" y="20"/>
                      </a:moveTo>
                      <a:cubicBezTo>
                        <a:pt x="878" y="5"/>
                        <a:pt x="865" y="31"/>
                        <a:pt x="863" y="37"/>
                      </a:cubicBezTo>
                      <a:cubicBezTo>
                        <a:pt x="863" y="37"/>
                        <a:pt x="875" y="35"/>
                        <a:pt x="877" y="20"/>
                      </a:cubicBezTo>
                      <a:close/>
                      <a:moveTo>
                        <a:pt x="815" y="104"/>
                      </a:moveTo>
                      <a:cubicBezTo>
                        <a:pt x="819" y="104"/>
                        <a:pt x="839" y="96"/>
                        <a:pt x="839" y="96"/>
                      </a:cubicBezTo>
                      <a:cubicBezTo>
                        <a:pt x="854" y="113"/>
                        <a:pt x="854" y="113"/>
                        <a:pt x="854" y="113"/>
                      </a:cubicBezTo>
                      <a:cubicBezTo>
                        <a:pt x="854" y="113"/>
                        <a:pt x="858" y="102"/>
                        <a:pt x="869" y="90"/>
                      </a:cubicBezTo>
                      <a:cubicBezTo>
                        <a:pt x="879" y="78"/>
                        <a:pt x="894" y="56"/>
                        <a:pt x="890" y="57"/>
                      </a:cubicBezTo>
                      <a:cubicBezTo>
                        <a:pt x="886" y="59"/>
                        <a:pt x="869" y="76"/>
                        <a:pt x="869" y="76"/>
                      </a:cubicBezTo>
                      <a:cubicBezTo>
                        <a:pt x="862" y="56"/>
                        <a:pt x="862" y="56"/>
                        <a:pt x="862" y="56"/>
                      </a:cubicBezTo>
                      <a:cubicBezTo>
                        <a:pt x="862" y="56"/>
                        <a:pt x="862" y="70"/>
                        <a:pt x="858" y="73"/>
                      </a:cubicBezTo>
                      <a:cubicBezTo>
                        <a:pt x="854" y="76"/>
                        <a:pt x="841" y="84"/>
                        <a:pt x="841" y="84"/>
                      </a:cubicBezTo>
                      <a:cubicBezTo>
                        <a:pt x="794" y="84"/>
                        <a:pt x="794" y="84"/>
                        <a:pt x="794" y="84"/>
                      </a:cubicBezTo>
                      <a:cubicBezTo>
                        <a:pt x="794" y="84"/>
                        <a:pt x="811" y="104"/>
                        <a:pt x="815" y="104"/>
                      </a:cubicBezTo>
                      <a:close/>
                      <a:moveTo>
                        <a:pt x="910" y="51"/>
                      </a:moveTo>
                      <a:cubicBezTo>
                        <a:pt x="916" y="49"/>
                        <a:pt x="906" y="39"/>
                        <a:pt x="906" y="39"/>
                      </a:cubicBezTo>
                      <a:cubicBezTo>
                        <a:pt x="906" y="39"/>
                        <a:pt x="903" y="52"/>
                        <a:pt x="910" y="51"/>
                      </a:cubicBezTo>
                      <a:close/>
                      <a:moveTo>
                        <a:pt x="881" y="315"/>
                      </a:moveTo>
                      <a:cubicBezTo>
                        <a:pt x="874" y="305"/>
                        <a:pt x="859" y="314"/>
                        <a:pt x="859" y="314"/>
                      </a:cubicBezTo>
                      <a:cubicBezTo>
                        <a:pt x="866" y="322"/>
                        <a:pt x="866" y="322"/>
                        <a:pt x="866" y="322"/>
                      </a:cubicBezTo>
                      <a:cubicBezTo>
                        <a:pt x="869" y="336"/>
                        <a:pt x="869" y="336"/>
                        <a:pt x="869" y="336"/>
                      </a:cubicBezTo>
                      <a:cubicBezTo>
                        <a:pt x="869" y="336"/>
                        <a:pt x="887" y="326"/>
                        <a:pt x="881" y="315"/>
                      </a:cubicBezTo>
                      <a:close/>
                      <a:moveTo>
                        <a:pt x="847" y="628"/>
                      </a:moveTo>
                      <a:cubicBezTo>
                        <a:pt x="871" y="618"/>
                        <a:pt x="871" y="618"/>
                        <a:pt x="871" y="618"/>
                      </a:cubicBezTo>
                      <a:cubicBezTo>
                        <a:pt x="857" y="610"/>
                        <a:pt x="857" y="610"/>
                        <a:pt x="857" y="610"/>
                      </a:cubicBezTo>
                      <a:lnTo>
                        <a:pt x="847" y="628"/>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grpSp>
        </p:grpSp>
        <p:sp>
          <p:nvSpPr>
            <p:cNvPr id="18475" name="Oval 43" descr="© INSCALE GmbH, 05.05.2010&#10;http://www.presentationload.com/"/>
            <p:cNvSpPr>
              <a:spLocks noChangeArrowheads="1"/>
            </p:cNvSpPr>
            <p:nvPr>
              <p:custDataLst>
                <p:tags r:id="rId2"/>
              </p:custDataLst>
            </p:nvPr>
          </p:nvSpPr>
          <p:spPr bwMode="auto">
            <a:xfrm>
              <a:off x="6361113" y="838200"/>
              <a:ext cx="2514600" cy="2508250"/>
            </a:xfrm>
            <a:prstGeom prst="ellipse">
              <a:avLst/>
            </a:prstGeom>
            <a:gradFill rotWithShape="1">
              <a:gsLst>
                <a:gs pos="0">
                  <a:srgbClr val="C0C0C0">
                    <a:gamma/>
                    <a:tint val="0"/>
                    <a:invGamma/>
                  </a:srgbClr>
                </a:gs>
                <a:gs pos="100000">
                  <a:srgbClr val="C0C0C0"/>
                </a:gs>
              </a:gsLst>
              <a:path path="shape">
                <a:fillToRect l="50000" t="50000" r="50000" b="50000"/>
              </a:path>
            </a:gradFill>
            <a:ln w="28575">
              <a:solidFill>
                <a:schemeClr val="bg1"/>
              </a:solidFill>
              <a:round/>
              <a:headEnd/>
              <a:tailEnd/>
            </a:ln>
            <a:effectLst/>
          </p:spPr>
          <p:txBody>
            <a:bodyPr wrap="none" anchor="ctr"/>
            <a:lstStyle/>
            <a:p>
              <a:endParaRPr lang="en-GB"/>
            </a:p>
          </p:txBody>
        </p:sp>
        <p:sp>
          <p:nvSpPr>
            <p:cNvPr id="18476" name="Freeform 44" descr="© INSCALE GmbH, 05.05.2010&#10;http://www.presentationload.com/"/>
            <p:cNvSpPr>
              <a:spLocks noChangeAspect="1" noEditPoints="1"/>
            </p:cNvSpPr>
            <p:nvPr/>
          </p:nvSpPr>
          <p:spPr bwMode="auto">
            <a:xfrm>
              <a:off x="6994526" y="1041400"/>
              <a:ext cx="1316038" cy="2109788"/>
            </a:xfrm>
            <a:custGeom>
              <a:avLst/>
              <a:gdLst/>
              <a:ahLst/>
              <a:cxnLst>
                <a:cxn ang="0">
                  <a:pos x="29" y="1896"/>
                </a:cxn>
                <a:cxn ang="0">
                  <a:pos x="179" y="1217"/>
                </a:cxn>
                <a:cxn ang="0">
                  <a:pos x="53" y="1854"/>
                </a:cxn>
                <a:cxn ang="0">
                  <a:pos x="558" y="718"/>
                </a:cxn>
                <a:cxn ang="0">
                  <a:pos x="57" y="1900"/>
                </a:cxn>
                <a:cxn ang="0">
                  <a:pos x="81" y="1968"/>
                </a:cxn>
                <a:cxn ang="0">
                  <a:pos x="182" y="2260"/>
                </a:cxn>
                <a:cxn ang="0">
                  <a:pos x="1769" y="300"/>
                </a:cxn>
                <a:cxn ang="0">
                  <a:pos x="1705" y="333"/>
                </a:cxn>
                <a:cxn ang="0">
                  <a:pos x="1652" y="356"/>
                </a:cxn>
                <a:cxn ang="0">
                  <a:pos x="1573" y="193"/>
                </a:cxn>
                <a:cxn ang="0">
                  <a:pos x="1467" y="236"/>
                </a:cxn>
                <a:cxn ang="0">
                  <a:pos x="1402" y="271"/>
                </a:cxn>
                <a:cxn ang="0">
                  <a:pos x="1328" y="296"/>
                </a:cxn>
                <a:cxn ang="0">
                  <a:pos x="1321" y="362"/>
                </a:cxn>
                <a:cxn ang="0">
                  <a:pos x="1302" y="412"/>
                </a:cxn>
                <a:cxn ang="0">
                  <a:pos x="1221" y="471"/>
                </a:cxn>
                <a:cxn ang="0">
                  <a:pos x="1244" y="519"/>
                </a:cxn>
                <a:cxn ang="0">
                  <a:pos x="1165" y="532"/>
                </a:cxn>
                <a:cxn ang="0">
                  <a:pos x="1115" y="563"/>
                </a:cxn>
                <a:cxn ang="0">
                  <a:pos x="1125" y="614"/>
                </a:cxn>
                <a:cxn ang="0">
                  <a:pos x="1044" y="540"/>
                </a:cxn>
                <a:cxn ang="0">
                  <a:pos x="995" y="620"/>
                </a:cxn>
                <a:cxn ang="0">
                  <a:pos x="951" y="810"/>
                </a:cxn>
                <a:cxn ang="0">
                  <a:pos x="785" y="1007"/>
                </a:cxn>
                <a:cxn ang="0">
                  <a:pos x="655" y="1027"/>
                </a:cxn>
                <a:cxn ang="0">
                  <a:pos x="531" y="1111"/>
                </a:cxn>
                <a:cxn ang="0">
                  <a:pos x="390" y="1156"/>
                </a:cxn>
                <a:cxn ang="0">
                  <a:pos x="314" y="1164"/>
                </a:cxn>
                <a:cxn ang="0">
                  <a:pos x="225" y="1270"/>
                </a:cxn>
                <a:cxn ang="0">
                  <a:pos x="81" y="1445"/>
                </a:cxn>
                <a:cxn ang="0">
                  <a:pos x="37" y="1429"/>
                </a:cxn>
                <a:cxn ang="0">
                  <a:pos x="29" y="1614"/>
                </a:cxn>
                <a:cxn ang="0">
                  <a:pos x="99" y="1786"/>
                </a:cxn>
                <a:cxn ang="0">
                  <a:pos x="152" y="1903"/>
                </a:cxn>
                <a:cxn ang="0">
                  <a:pos x="120" y="1928"/>
                </a:cxn>
                <a:cxn ang="0">
                  <a:pos x="180" y="2134"/>
                </a:cxn>
                <a:cxn ang="0">
                  <a:pos x="428" y="2585"/>
                </a:cxn>
                <a:cxn ang="0">
                  <a:pos x="446" y="2698"/>
                </a:cxn>
                <a:cxn ang="0">
                  <a:pos x="387" y="2802"/>
                </a:cxn>
                <a:cxn ang="0">
                  <a:pos x="548" y="2954"/>
                </a:cxn>
                <a:cxn ang="0">
                  <a:pos x="712" y="2952"/>
                </a:cxn>
                <a:cxn ang="0">
                  <a:pos x="810" y="2867"/>
                </a:cxn>
                <a:cxn ang="0">
                  <a:pos x="968" y="2789"/>
                </a:cxn>
                <a:cxn ang="0">
                  <a:pos x="1146" y="2773"/>
                </a:cxn>
                <a:cxn ang="0">
                  <a:pos x="1273" y="2757"/>
                </a:cxn>
                <a:cxn ang="0">
                  <a:pos x="1463" y="2571"/>
                </a:cxn>
                <a:cxn ang="0">
                  <a:pos x="1680" y="2520"/>
                </a:cxn>
                <a:cxn ang="0">
                  <a:pos x="153" y="2242"/>
                </a:cxn>
                <a:cxn ang="0">
                  <a:pos x="1382" y="150"/>
                </a:cxn>
                <a:cxn ang="0">
                  <a:pos x="1376" y="211"/>
                </a:cxn>
                <a:cxn ang="0">
                  <a:pos x="1250" y="347"/>
                </a:cxn>
                <a:cxn ang="0">
                  <a:pos x="1421" y="202"/>
                </a:cxn>
                <a:cxn ang="0">
                  <a:pos x="1215" y="396"/>
                </a:cxn>
                <a:cxn ang="0">
                  <a:pos x="1197" y="401"/>
                </a:cxn>
                <a:cxn ang="0">
                  <a:pos x="1009" y="0"/>
                </a:cxn>
                <a:cxn ang="0">
                  <a:pos x="1044" y="417"/>
                </a:cxn>
                <a:cxn ang="0">
                  <a:pos x="1113" y="424"/>
                </a:cxn>
              </a:cxnLst>
              <a:rect l="0" t="0" r="r" b="b"/>
              <a:pathLst>
                <a:path w="1854" h="2969">
                  <a:moveTo>
                    <a:pt x="1270" y="283"/>
                  </a:moveTo>
                  <a:cubicBezTo>
                    <a:pt x="1280" y="283"/>
                    <a:pt x="1282" y="260"/>
                    <a:pt x="1262" y="264"/>
                  </a:cubicBezTo>
                  <a:cubicBezTo>
                    <a:pt x="1262" y="264"/>
                    <a:pt x="1259" y="283"/>
                    <a:pt x="1270" y="283"/>
                  </a:cubicBezTo>
                  <a:close/>
                  <a:moveTo>
                    <a:pt x="5" y="1867"/>
                  </a:moveTo>
                  <a:cubicBezTo>
                    <a:pt x="10" y="1876"/>
                    <a:pt x="29" y="1896"/>
                    <a:pt x="29" y="1896"/>
                  </a:cubicBezTo>
                  <a:cubicBezTo>
                    <a:pt x="2" y="1839"/>
                    <a:pt x="2" y="1839"/>
                    <a:pt x="2" y="1839"/>
                  </a:cubicBezTo>
                  <a:cubicBezTo>
                    <a:pt x="2" y="1839"/>
                    <a:pt x="0" y="1858"/>
                    <a:pt x="5" y="1867"/>
                  </a:cubicBezTo>
                  <a:close/>
                  <a:moveTo>
                    <a:pt x="198" y="1195"/>
                  </a:moveTo>
                  <a:cubicBezTo>
                    <a:pt x="183" y="1198"/>
                    <a:pt x="183" y="1198"/>
                    <a:pt x="183" y="1198"/>
                  </a:cubicBezTo>
                  <a:cubicBezTo>
                    <a:pt x="179" y="1217"/>
                    <a:pt x="179" y="1217"/>
                    <a:pt x="179" y="1217"/>
                  </a:cubicBezTo>
                  <a:cubicBezTo>
                    <a:pt x="179" y="1217"/>
                    <a:pt x="186" y="1218"/>
                    <a:pt x="192" y="1218"/>
                  </a:cubicBezTo>
                  <a:cubicBezTo>
                    <a:pt x="199" y="1218"/>
                    <a:pt x="198" y="1195"/>
                    <a:pt x="198" y="1195"/>
                  </a:cubicBezTo>
                  <a:close/>
                  <a:moveTo>
                    <a:pt x="97" y="1870"/>
                  </a:moveTo>
                  <a:cubicBezTo>
                    <a:pt x="62" y="1839"/>
                    <a:pt x="62" y="1839"/>
                    <a:pt x="62" y="1839"/>
                  </a:cubicBezTo>
                  <a:cubicBezTo>
                    <a:pt x="53" y="1854"/>
                    <a:pt x="53" y="1854"/>
                    <a:pt x="53" y="1854"/>
                  </a:cubicBezTo>
                  <a:cubicBezTo>
                    <a:pt x="93" y="1910"/>
                    <a:pt x="93" y="1910"/>
                    <a:pt x="93" y="1910"/>
                  </a:cubicBezTo>
                  <a:lnTo>
                    <a:pt x="97" y="1870"/>
                  </a:lnTo>
                  <a:close/>
                  <a:moveTo>
                    <a:pt x="552" y="751"/>
                  </a:moveTo>
                  <a:cubicBezTo>
                    <a:pt x="552" y="751"/>
                    <a:pt x="574" y="739"/>
                    <a:pt x="570" y="729"/>
                  </a:cubicBezTo>
                  <a:cubicBezTo>
                    <a:pt x="566" y="718"/>
                    <a:pt x="558" y="718"/>
                    <a:pt x="558" y="718"/>
                  </a:cubicBezTo>
                  <a:cubicBezTo>
                    <a:pt x="558" y="718"/>
                    <a:pt x="533" y="747"/>
                    <a:pt x="552" y="751"/>
                  </a:cubicBezTo>
                  <a:close/>
                  <a:moveTo>
                    <a:pt x="609" y="717"/>
                  </a:moveTo>
                  <a:cubicBezTo>
                    <a:pt x="613" y="709"/>
                    <a:pt x="613" y="695"/>
                    <a:pt x="601" y="698"/>
                  </a:cubicBezTo>
                  <a:cubicBezTo>
                    <a:pt x="597" y="699"/>
                    <a:pt x="605" y="725"/>
                    <a:pt x="609" y="717"/>
                  </a:cubicBezTo>
                  <a:close/>
                  <a:moveTo>
                    <a:pt x="57" y="1900"/>
                  </a:moveTo>
                  <a:cubicBezTo>
                    <a:pt x="39" y="1892"/>
                    <a:pt x="41" y="1906"/>
                    <a:pt x="41" y="1906"/>
                  </a:cubicBezTo>
                  <a:cubicBezTo>
                    <a:pt x="41" y="1924"/>
                    <a:pt x="41" y="1924"/>
                    <a:pt x="41" y="1924"/>
                  </a:cubicBezTo>
                  <a:cubicBezTo>
                    <a:pt x="59" y="1927"/>
                    <a:pt x="59" y="1927"/>
                    <a:pt x="59" y="1927"/>
                  </a:cubicBezTo>
                  <a:cubicBezTo>
                    <a:pt x="59" y="1944"/>
                    <a:pt x="59" y="1944"/>
                    <a:pt x="59" y="1944"/>
                  </a:cubicBezTo>
                  <a:cubicBezTo>
                    <a:pt x="81" y="1968"/>
                    <a:pt x="81" y="1968"/>
                    <a:pt x="81" y="1968"/>
                  </a:cubicBezTo>
                  <a:cubicBezTo>
                    <a:pt x="95" y="1954"/>
                    <a:pt x="95" y="1954"/>
                    <a:pt x="95" y="1954"/>
                  </a:cubicBezTo>
                  <a:cubicBezTo>
                    <a:pt x="95" y="1954"/>
                    <a:pt x="74" y="1908"/>
                    <a:pt x="57" y="1900"/>
                  </a:cubicBezTo>
                  <a:close/>
                  <a:moveTo>
                    <a:pt x="180" y="2242"/>
                  </a:moveTo>
                  <a:cubicBezTo>
                    <a:pt x="171" y="2250"/>
                    <a:pt x="171" y="2250"/>
                    <a:pt x="171" y="2250"/>
                  </a:cubicBezTo>
                  <a:cubicBezTo>
                    <a:pt x="182" y="2260"/>
                    <a:pt x="182" y="2260"/>
                    <a:pt x="182" y="2260"/>
                  </a:cubicBezTo>
                  <a:cubicBezTo>
                    <a:pt x="182" y="2274"/>
                    <a:pt x="182" y="2274"/>
                    <a:pt x="182" y="2274"/>
                  </a:cubicBezTo>
                  <a:cubicBezTo>
                    <a:pt x="204" y="2268"/>
                    <a:pt x="204" y="2268"/>
                    <a:pt x="204" y="2268"/>
                  </a:cubicBezTo>
                  <a:cubicBezTo>
                    <a:pt x="191" y="2254"/>
                    <a:pt x="191" y="2254"/>
                    <a:pt x="191" y="2254"/>
                  </a:cubicBezTo>
                  <a:lnTo>
                    <a:pt x="180" y="2242"/>
                  </a:lnTo>
                  <a:close/>
                  <a:moveTo>
                    <a:pt x="1769" y="300"/>
                  </a:moveTo>
                  <a:cubicBezTo>
                    <a:pt x="1767" y="300"/>
                    <a:pt x="1765" y="300"/>
                    <a:pt x="1762" y="300"/>
                  </a:cubicBezTo>
                  <a:cubicBezTo>
                    <a:pt x="1741" y="300"/>
                    <a:pt x="1724" y="292"/>
                    <a:pt x="1722" y="291"/>
                  </a:cubicBezTo>
                  <a:cubicBezTo>
                    <a:pt x="1719" y="290"/>
                    <a:pt x="1699" y="309"/>
                    <a:pt x="1699" y="309"/>
                  </a:cubicBezTo>
                  <a:cubicBezTo>
                    <a:pt x="1710" y="328"/>
                    <a:pt x="1710" y="328"/>
                    <a:pt x="1710" y="328"/>
                  </a:cubicBezTo>
                  <a:cubicBezTo>
                    <a:pt x="1710" y="328"/>
                    <a:pt x="1707" y="333"/>
                    <a:pt x="1705" y="333"/>
                  </a:cubicBezTo>
                  <a:cubicBezTo>
                    <a:pt x="1704" y="333"/>
                    <a:pt x="1688" y="322"/>
                    <a:pt x="1688" y="322"/>
                  </a:cubicBezTo>
                  <a:cubicBezTo>
                    <a:pt x="1688" y="322"/>
                    <a:pt x="1669" y="331"/>
                    <a:pt x="1673" y="340"/>
                  </a:cubicBezTo>
                  <a:cubicBezTo>
                    <a:pt x="1677" y="348"/>
                    <a:pt x="1695" y="367"/>
                    <a:pt x="1690" y="369"/>
                  </a:cubicBezTo>
                  <a:cubicBezTo>
                    <a:pt x="1685" y="372"/>
                    <a:pt x="1666" y="382"/>
                    <a:pt x="1666" y="382"/>
                  </a:cubicBezTo>
                  <a:cubicBezTo>
                    <a:pt x="1666" y="382"/>
                    <a:pt x="1648" y="365"/>
                    <a:pt x="1652" y="356"/>
                  </a:cubicBezTo>
                  <a:cubicBezTo>
                    <a:pt x="1656" y="348"/>
                    <a:pt x="1664" y="350"/>
                    <a:pt x="1663" y="337"/>
                  </a:cubicBezTo>
                  <a:cubicBezTo>
                    <a:pt x="1662" y="324"/>
                    <a:pt x="1655" y="325"/>
                    <a:pt x="1660" y="316"/>
                  </a:cubicBezTo>
                  <a:cubicBezTo>
                    <a:pt x="1665" y="307"/>
                    <a:pt x="1678" y="293"/>
                    <a:pt x="1677" y="291"/>
                  </a:cubicBezTo>
                  <a:cubicBezTo>
                    <a:pt x="1676" y="288"/>
                    <a:pt x="1640" y="274"/>
                    <a:pt x="1631" y="261"/>
                  </a:cubicBezTo>
                  <a:cubicBezTo>
                    <a:pt x="1622" y="248"/>
                    <a:pt x="1584" y="198"/>
                    <a:pt x="1573" y="193"/>
                  </a:cubicBezTo>
                  <a:cubicBezTo>
                    <a:pt x="1561" y="188"/>
                    <a:pt x="1538" y="197"/>
                    <a:pt x="1538" y="197"/>
                  </a:cubicBezTo>
                  <a:cubicBezTo>
                    <a:pt x="1514" y="171"/>
                    <a:pt x="1514" y="171"/>
                    <a:pt x="1514" y="171"/>
                  </a:cubicBezTo>
                  <a:cubicBezTo>
                    <a:pt x="1489" y="179"/>
                    <a:pt x="1489" y="179"/>
                    <a:pt x="1489" y="179"/>
                  </a:cubicBezTo>
                  <a:cubicBezTo>
                    <a:pt x="1500" y="204"/>
                    <a:pt x="1500" y="204"/>
                    <a:pt x="1500" y="204"/>
                  </a:cubicBezTo>
                  <a:cubicBezTo>
                    <a:pt x="1467" y="236"/>
                    <a:pt x="1467" y="236"/>
                    <a:pt x="1467" y="236"/>
                  </a:cubicBezTo>
                  <a:cubicBezTo>
                    <a:pt x="1467" y="236"/>
                    <a:pt x="1449" y="215"/>
                    <a:pt x="1451" y="206"/>
                  </a:cubicBezTo>
                  <a:cubicBezTo>
                    <a:pt x="1446" y="213"/>
                    <a:pt x="1434" y="229"/>
                    <a:pt x="1434" y="234"/>
                  </a:cubicBezTo>
                  <a:cubicBezTo>
                    <a:pt x="1434" y="241"/>
                    <a:pt x="1417" y="230"/>
                    <a:pt x="1417" y="230"/>
                  </a:cubicBezTo>
                  <a:cubicBezTo>
                    <a:pt x="1390" y="256"/>
                    <a:pt x="1390" y="256"/>
                    <a:pt x="1390" y="256"/>
                  </a:cubicBezTo>
                  <a:cubicBezTo>
                    <a:pt x="1402" y="271"/>
                    <a:pt x="1402" y="271"/>
                    <a:pt x="1402" y="271"/>
                  </a:cubicBezTo>
                  <a:cubicBezTo>
                    <a:pt x="1388" y="285"/>
                    <a:pt x="1388" y="285"/>
                    <a:pt x="1388" y="285"/>
                  </a:cubicBezTo>
                  <a:cubicBezTo>
                    <a:pt x="1361" y="253"/>
                    <a:pt x="1361" y="253"/>
                    <a:pt x="1361" y="253"/>
                  </a:cubicBezTo>
                  <a:cubicBezTo>
                    <a:pt x="1356" y="294"/>
                    <a:pt x="1356" y="294"/>
                    <a:pt x="1356" y="294"/>
                  </a:cubicBezTo>
                  <a:cubicBezTo>
                    <a:pt x="1356" y="294"/>
                    <a:pt x="1342" y="279"/>
                    <a:pt x="1340" y="279"/>
                  </a:cubicBezTo>
                  <a:cubicBezTo>
                    <a:pt x="1339" y="279"/>
                    <a:pt x="1328" y="296"/>
                    <a:pt x="1328" y="296"/>
                  </a:cubicBezTo>
                  <a:cubicBezTo>
                    <a:pt x="1314" y="290"/>
                    <a:pt x="1314" y="290"/>
                    <a:pt x="1314" y="290"/>
                  </a:cubicBezTo>
                  <a:cubicBezTo>
                    <a:pt x="1296" y="315"/>
                    <a:pt x="1296" y="315"/>
                    <a:pt x="1296" y="315"/>
                  </a:cubicBezTo>
                  <a:cubicBezTo>
                    <a:pt x="1296" y="315"/>
                    <a:pt x="1302" y="334"/>
                    <a:pt x="1311" y="339"/>
                  </a:cubicBezTo>
                  <a:cubicBezTo>
                    <a:pt x="1319" y="343"/>
                    <a:pt x="1325" y="351"/>
                    <a:pt x="1325" y="351"/>
                  </a:cubicBezTo>
                  <a:cubicBezTo>
                    <a:pt x="1321" y="362"/>
                    <a:pt x="1321" y="362"/>
                    <a:pt x="1321" y="362"/>
                  </a:cubicBezTo>
                  <a:cubicBezTo>
                    <a:pt x="1321" y="362"/>
                    <a:pt x="1308" y="367"/>
                    <a:pt x="1299" y="361"/>
                  </a:cubicBezTo>
                  <a:cubicBezTo>
                    <a:pt x="1291" y="354"/>
                    <a:pt x="1283" y="347"/>
                    <a:pt x="1281" y="347"/>
                  </a:cubicBezTo>
                  <a:cubicBezTo>
                    <a:pt x="1279" y="347"/>
                    <a:pt x="1276" y="370"/>
                    <a:pt x="1276" y="370"/>
                  </a:cubicBezTo>
                  <a:cubicBezTo>
                    <a:pt x="1293" y="390"/>
                    <a:pt x="1293" y="390"/>
                    <a:pt x="1293" y="390"/>
                  </a:cubicBezTo>
                  <a:cubicBezTo>
                    <a:pt x="1302" y="412"/>
                    <a:pt x="1302" y="412"/>
                    <a:pt x="1302" y="412"/>
                  </a:cubicBezTo>
                  <a:cubicBezTo>
                    <a:pt x="1285" y="406"/>
                    <a:pt x="1285" y="406"/>
                    <a:pt x="1285" y="406"/>
                  </a:cubicBezTo>
                  <a:cubicBezTo>
                    <a:pt x="1261" y="378"/>
                    <a:pt x="1261" y="378"/>
                    <a:pt x="1261" y="378"/>
                  </a:cubicBezTo>
                  <a:cubicBezTo>
                    <a:pt x="1261" y="378"/>
                    <a:pt x="1245" y="395"/>
                    <a:pt x="1237" y="404"/>
                  </a:cubicBezTo>
                  <a:cubicBezTo>
                    <a:pt x="1228" y="414"/>
                    <a:pt x="1215" y="406"/>
                    <a:pt x="1212" y="418"/>
                  </a:cubicBezTo>
                  <a:cubicBezTo>
                    <a:pt x="1208" y="430"/>
                    <a:pt x="1210" y="472"/>
                    <a:pt x="1221" y="471"/>
                  </a:cubicBezTo>
                  <a:cubicBezTo>
                    <a:pt x="1231" y="471"/>
                    <a:pt x="1245" y="453"/>
                    <a:pt x="1245" y="453"/>
                  </a:cubicBezTo>
                  <a:cubicBezTo>
                    <a:pt x="1245" y="453"/>
                    <a:pt x="1242" y="478"/>
                    <a:pt x="1233" y="488"/>
                  </a:cubicBezTo>
                  <a:cubicBezTo>
                    <a:pt x="1224" y="498"/>
                    <a:pt x="1213" y="491"/>
                    <a:pt x="1212" y="502"/>
                  </a:cubicBezTo>
                  <a:cubicBezTo>
                    <a:pt x="1212" y="512"/>
                    <a:pt x="1213" y="520"/>
                    <a:pt x="1216" y="520"/>
                  </a:cubicBezTo>
                  <a:cubicBezTo>
                    <a:pt x="1218" y="520"/>
                    <a:pt x="1232" y="516"/>
                    <a:pt x="1244" y="519"/>
                  </a:cubicBezTo>
                  <a:cubicBezTo>
                    <a:pt x="1256" y="522"/>
                    <a:pt x="1279" y="532"/>
                    <a:pt x="1279" y="532"/>
                  </a:cubicBezTo>
                  <a:cubicBezTo>
                    <a:pt x="1279" y="532"/>
                    <a:pt x="1214" y="538"/>
                    <a:pt x="1203" y="536"/>
                  </a:cubicBezTo>
                  <a:cubicBezTo>
                    <a:pt x="1193" y="533"/>
                    <a:pt x="1201" y="517"/>
                    <a:pt x="1185" y="517"/>
                  </a:cubicBezTo>
                  <a:cubicBezTo>
                    <a:pt x="1169" y="518"/>
                    <a:pt x="1164" y="518"/>
                    <a:pt x="1161" y="520"/>
                  </a:cubicBezTo>
                  <a:cubicBezTo>
                    <a:pt x="1157" y="521"/>
                    <a:pt x="1165" y="532"/>
                    <a:pt x="1165" y="532"/>
                  </a:cubicBezTo>
                  <a:cubicBezTo>
                    <a:pt x="1147" y="532"/>
                    <a:pt x="1147" y="532"/>
                    <a:pt x="1147" y="532"/>
                  </a:cubicBezTo>
                  <a:cubicBezTo>
                    <a:pt x="1147" y="532"/>
                    <a:pt x="1136" y="504"/>
                    <a:pt x="1132" y="504"/>
                  </a:cubicBezTo>
                  <a:cubicBezTo>
                    <a:pt x="1127" y="504"/>
                    <a:pt x="1111" y="508"/>
                    <a:pt x="1113" y="516"/>
                  </a:cubicBezTo>
                  <a:cubicBezTo>
                    <a:pt x="1115" y="525"/>
                    <a:pt x="1135" y="532"/>
                    <a:pt x="1130" y="535"/>
                  </a:cubicBezTo>
                  <a:cubicBezTo>
                    <a:pt x="1126" y="538"/>
                    <a:pt x="1114" y="560"/>
                    <a:pt x="1115" y="563"/>
                  </a:cubicBezTo>
                  <a:cubicBezTo>
                    <a:pt x="1115" y="566"/>
                    <a:pt x="1134" y="599"/>
                    <a:pt x="1144" y="598"/>
                  </a:cubicBezTo>
                  <a:cubicBezTo>
                    <a:pt x="1153" y="598"/>
                    <a:pt x="1163" y="590"/>
                    <a:pt x="1163" y="590"/>
                  </a:cubicBezTo>
                  <a:cubicBezTo>
                    <a:pt x="1154" y="608"/>
                    <a:pt x="1154" y="608"/>
                    <a:pt x="1154" y="608"/>
                  </a:cubicBezTo>
                  <a:cubicBezTo>
                    <a:pt x="1166" y="639"/>
                    <a:pt x="1166" y="639"/>
                    <a:pt x="1166" y="639"/>
                  </a:cubicBezTo>
                  <a:cubicBezTo>
                    <a:pt x="1125" y="614"/>
                    <a:pt x="1125" y="614"/>
                    <a:pt x="1125" y="614"/>
                  </a:cubicBezTo>
                  <a:cubicBezTo>
                    <a:pt x="1125" y="614"/>
                    <a:pt x="1114" y="626"/>
                    <a:pt x="1125" y="642"/>
                  </a:cubicBezTo>
                  <a:cubicBezTo>
                    <a:pt x="1135" y="658"/>
                    <a:pt x="1124" y="687"/>
                    <a:pt x="1124" y="687"/>
                  </a:cubicBezTo>
                  <a:cubicBezTo>
                    <a:pt x="1044" y="571"/>
                    <a:pt x="1044" y="571"/>
                    <a:pt x="1044" y="571"/>
                  </a:cubicBezTo>
                  <a:cubicBezTo>
                    <a:pt x="1044" y="571"/>
                    <a:pt x="1044" y="556"/>
                    <a:pt x="1048" y="554"/>
                  </a:cubicBezTo>
                  <a:cubicBezTo>
                    <a:pt x="1051" y="551"/>
                    <a:pt x="1046" y="540"/>
                    <a:pt x="1044" y="540"/>
                  </a:cubicBezTo>
                  <a:cubicBezTo>
                    <a:pt x="1042" y="540"/>
                    <a:pt x="1037" y="560"/>
                    <a:pt x="1028" y="565"/>
                  </a:cubicBezTo>
                  <a:cubicBezTo>
                    <a:pt x="1019" y="571"/>
                    <a:pt x="1012" y="580"/>
                    <a:pt x="1012" y="582"/>
                  </a:cubicBezTo>
                  <a:cubicBezTo>
                    <a:pt x="1012" y="585"/>
                    <a:pt x="1023" y="596"/>
                    <a:pt x="1021" y="596"/>
                  </a:cubicBezTo>
                  <a:cubicBezTo>
                    <a:pt x="1020" y="596"/>
                    <a:pt x="1005" y="591"/>
                    <a:pt x="998" y="600"/>
                  </a:cubicBezTo>
                  <a:cubicBezTo>
                    <a:pt x="992" y="610"/>
                    <a:pt x="995" y="620"/>
                    <a:pt x="995" y="620"/>
                  </a:cubicBezTo>
                  <a:cubicBezTo>
                    <a:pt x="995" y="620"/>
                    <a:pt x="961" y="623"/>
                    <a:pt x="954" y="657"/>
                  </a:cubicBezTo>
                  <a:cubicBezTo>
                    <a:pt x="947" y="692"/>
                    <a:pt x="961" y="733"/>
                    <a:pt x="961" y="733"/>
                  </a:cubicBezTo>
                  <a:cubicBezTo>
                    <a:pt x="961" y="733"/>
                    <a:pt x="983" y="755"/>
                    <a:pt x="983" y="761"/>
                  </a:cubicBezTo>
                  <a:cubicBezTo>
                    <a:pt x="983" y="766"/>
                    <a:pt x="969" y="775"/>
                    <a:pt x="963" y="783"/>
                  </a:cubicBezTo>
                  <a:cubicBezTo>
                    <a:pt x="957" y="791"/>
                    <a:pt x="951" y="810"/>
                    <a:pt x="951" y="810"/>
                  </a:cubicBezTo>
                  <a:cubicBezTo>
                    <a:pt x="951" y="810"/>
                    <a:pt x="932" y="810"/>
                    <a:pt x="922" y="822"/>
                  </a:cubicBezTo>
                  <a:cubicBezTo>
                    <a:pt x="913" y="834"/>
                    <a:pt x="916" y="853"/>
                    <a:pt x="914" y="853"/>
                  </a:cubicBezTo>
                  <a:cubicBezTo>
                    <a:pt x="913" y="853"/>
                    <a:pt x="899" y="854"/>
                    <a:pt x="899" y="854"/>
                  </a:cubicBezTo>
                  <a:cubicBezTo>
                    <a:pt x="899" y="854"/>
                    <a:pt x="889" y="922"/>
                    <a:pt x="875" y="937"/>
                  </a:cubicBezTo>
                  <a:cubicBezTo>
                    <a:pt x="861" y="952"/>
                    <a:pt x="807" y="992"/>
                    <a:pt x="785" y="1007"/>
                  </a:cubicBezTo>
                  <a:cubicBezTo>
                    <a:pt x="763" y="1021"/>
                    <a:pt x="699" y="1036"/>
                    <a:pt x="697" y="1036"/>
                  </a:cubicBezTo>
                  <a:cubicBezTo>
                    <a:pt x="696" y="1037"/>
                    <a:pt x="675" y="1055"/>
                    <a:pt x="672" y="1053"/>
                  </a:cubicBezTo>
                  <a:cubicBezTo>
                    <a:pt x="670" y="1052"/>
                    <a:pt x="656" y="1043"/>
                    <a:pt x="646" y="1043"/>
                  </a:cubicBezTo>
                  <a:cubicBezTo>
                    <a:pt x="635" y="1043"/>
                    <a:pt x="628" y="1035"/>
                    <a:pt x="629" y="1033"/>
                  </a:cubicBezTo>
                  <a:cubicBezTo>
                    <a:pt x="630" y="1031"/>
                    <a:pt x="655" y="1027"/>
                    <a:pt x="655" y="1027"/>
                  </a:cubicBezTo>
                  <a:cubicBezTo>
                    <a:pt x="655" y="1027"/>
                    <a:pt x="628" y="1024"/>
                    <a:pt x="623" y="1032"/>
                  </a:cubicBezTo>
                  <a:cubicBezTo>
                    <a:pt x="618" y="1040"/>
                    <a:pt x="607" y="1058"/>
                    <a:pt x="604" y="1058"/>
                  </a:cubicBezTo>
                  <a:cubicBezTo>
                    <a:pt x="601" y="1058"/>
                    <a:pt x="600" y="1089"/>
                    <a:pt x="581" y="1092"/>
                  </a:cubicBezTo>
                  <a:cubicBezTo>
                    <a:pt x="562" y="1094"/>
                    <a:pt x="547" y="1098"/>
                    <a:pt x="547" y="1098"/>
                  </a:cubicBezTo>
                  <a:cubicBezTo>
                    <a:pt x="547" y="1098"/>
                    <a:pt x="534" y="1111"/>
                    <a:pt x="531" y="1111"/>
                  </a:cubicBezTo>
                  <a:cubicBezTo>
                    <a:pt x="528" y="1111"/>
                    <a:pt x="508" y="1109"/>
                    <a:pt x="508" y="1109"/>
                  </a:cubicBezTo>
                  <a:cubicBezTo>
                    <a:pt x="508" y="1109"/>
                    <a:pt x="480" y="1146"/>
                    <a:pt x="466" y="1152"/>
                  </a:cubicBezTo>
                  <a:cubicBezTo>
                    <a:pt x="452" y="1158"/>
                    <a:pt x="430" y="1168"/>
                    <a:pt x="430" y="1168"/>
                  </a:cubicBezTo>
                  <a:cubicBezTo>
                    <a:pt x="430" y="1168"/>
                    <a:pt x="414" y="1169"/>
                    <a:pt x="407" y="1168"/>
                  </a:cubicBezTo>
                  <a:cubicBezTo>
                    <a:pt x="400" y="1166"/>
                    <a:pt x="402" y="1153"/>
                    <a:pt x="390" y="1156"/>
                  </a:cubicBezTo>
                  <a:cubicBezTo>
                    <a:pt x="378" y="1159"/>
                    <a:pt x="362" y="1177"/>
                    <a:pt x="361" y="1172"/>
                  </a:cubicBezTo>
                  <a:cubicBezTo>
                    <a:pt x="359" y="1167"/>
                    <a:pt x="354" y="1147"/>
                    <a:pt x="359" y="1142"/>
                  </a:cubicBezTo>
                  <a:cubicBezTo>
                    <a:pt x="364" y="1136"/>
                    <a:pt x="355" y="1128"/>
                    <a:pt x="355" y="1128"/>
                  </a:cubicBezTo>
                  <a:cubicBezTo>
                    <a:pt x="355" y="1128"/>
                    <a:pt x="354" y="1148"/>
                    <a:pt x="346" y="1155"/>
                  </a:cubicBezTo>
                  <a:cubicBezTo>
                    <a:pt x="338" y="1161"/>
                    <a:pt x="312" y="1164"/>
                    <a:pt x="314" y="1164"/>
                  </a:cubicBezTo>
                  <a:cubicBezTo>
                    <a:pt x="316" y="1164"/>
                    <a:pt x="340" y="1169"/>
                    <a:pt x="331" y="1177"/>
                  </a:cubicBezTo>
                  <a:cubicBezTo>
                    <a:pt x="321" y="1184"/>
                    <a:pt x="309" y="1191"/>
                    <a:pt x="303" y="1194"/>
                  </a:cubicBezTo>
                  <a:cubicBezTo>
                    <a:pt x="297" y="1197"/>
                    <a:pt x="287" y="1204"/>
                    <a:pt x="286" y="1205"/>
                  </a:cubicBezTo>
                  <a:cubicBezTo>
                    <a:pt x="286" y="1207"/>
                    <a:pt x="269" y="1227"/>
                    <a:pt x="258" y="1233"/>
                  </a:cubicBezTo>
                  <a:cubicBezTo>
                    <a:pt x="247" y="1239"/>
                    <a:pt x="229" y="1267"/>
                    <a:pt x="225" y="1270"/>
                  </a:cubicBezTo>
                  <a:cubicBezTo>
                    <a:pt x="221" y="1272"/>
                    <a:pt x="210" y="1294"/>
                    <a:pt x="207" y="1297"/>
                  </a:cubicBezTo>
                  <a:cubicBezTo>
                    <a:pt x="203" y="1299"/>
                    <a:pt x="157" y="1326"/>
                    <a:pt x="140" y="1340"/>
                  </a:cubicBezTo>
                  <a:cubicBezTo>
                    <a:pt x="124" y="1354"/>
                    <a:pt x="107" y="1382"/>
                    <a:pt x="107" y="1391"/>
                  </a:cubicBezTo>
                  <a:cubicBezTo>
                    <a:pt x="107" y="1401"/>
                    <a:pt x="101" y="1438"/>
                    <a:pt x="101" y="1438"/>
                  </a:cubicBezTo>
                  <a:cubicBezTo>
                    <a:pt x="101" y="1438"/>
                    <a:pt x="86" y="1444"/>
                    <a:pt x="81" y="1445"/>
                  </a:cubicBezTo>
                  <a:cubicBezTo>
                    <a:pt x="76" y="1446"/>
                    <a:pt x="76" y="1434"/>
                    <a:pt x="73" y="1427"/>
                  </a:cubicBezTo>
                  <a:cubicBezTo>
                    <a:pt x="69" y="1420"/>
                    <a:pt x="64" y="1409"/>
                    <a:pt x="64" y="1405"/>
                  </a:cubicBezTo>
                  <a:cubicBezTo>
                    <a:pt x="64" y="1401"/>
                    <a:pt x="65" y="1356"/>
                    <a:pt x="65" y="1356"/>
                  </a:cubicBezTo>
                  <a:cubicBezTo>
                    <a:pt x="65" y="1356"/>
                    <a:pt x="64" y="1341"/>
                    <a:pt x="46" y="1366"/>
                  </a:cubicBezTo>
                  <a:cubicBezTo>
                    <a:pt x="29" y="1392"/>
                    <a:pt x="37" y="1429"/>
                    <a:pt x="37" y="1429"/>
                  </a:cubicBezTo>
                  <a:cubicBezTo>
                    <a:pt x="37" y="1429"/>
                    <a:pt x="12" y="1451"/>
                    <a:pt x="20" y="1466"/>
                  </a:cubicBezTo>
                  <a:cubicBezTo>
                    <a:pt x="28" y="1481"/>
                    <a:pt x="47" y="1506"/>
                    <a:pt x="47" y="1506"/>
                  </a:cubicBezTo>
                  <a:cubicBezTo>
                    <a:pt x="44" y="1532"/>
                    <a:pt x="44" y="1532"/>
                    <a:pt x="44" y="1532"/>
                  </a:cubicBezTo>
                  <a:cubicBezTo>
                    <a:pt x="44" y="1532"/>
                    <a:pt x="56" y="1548"/>
                    <a:pt x="54" y="1562"/>
                  </a:cubicBezTo>
                  <a:cubicBezTo>
                    <a:pt x="52" y="1576"/>
                    <a:pt x="31" y="1605"/>
                    <a:pt x="29" y="1614"/>
                  </a:cubicBezTo>
                  <a:cubicBezTo>
                    <a:pt x="26" y="1622"/>
                    <a:pt x="25" y="1698"/>
                    <a:pt x="25" y="1698"/>
                  </a:cubicBezTo>
                  <a:cubicBezTo>
                    <a:pt x="25" y="1698"/>
                    <a:pt x="64" y="1737"/>
                    <a:pt x="65" y="1746"/>
                  </a:cubicBezTo>
                  <a:cubicBezTo>
                    <a:pt x="66" y="1755"/>
                    <a:pt x="66" y="1767"/>
                    <a:pt x="69" y="1770"/>
                  </a:cubicBezTo>
                  <a:cubicBezTo>
                    <a:pt x="72" y="1773"/>
                    <a:pt x="89" y="1791"/>
                    <a:pt x="89" y="1791"/>
                  </a:cubicBezTo>
                  <a:cubicBezTo>
                    <a:pt x="99" y="1786"/>
                    <a:pt x="99" y="1786"/>
                    <a:pt x="99" y="1786"/>
                  </a:cubicBezTo>
                  <a:cubicBezTo>
                    <a:pt x="109" y="1804"/>
                    <a:pt x="109" y="1804"/>
                    <a:pt x="109" y="1804"/>
                  </a:cubicBezTo>
                  <a:cubicBezTo>
                    <a:pt x="108" y="1818"/>
                    <a:pt x="108" y="1818"/>
                    <a:pt x="108" y="1818"/>
                  </a:cubicBezTo>
                  <a:cubicBezTo>
                    <a:pt x="108" y="1818"/>
                    <a:pt x="162" y="1857"/>
                    <a:pt x="160" y="1866"/>
                  </a:cubicBezTo>
                  <a:cubicBezTo>
                    <a:pt x="158" y="1875"/>
                    <a:pt x="148" y="1882"/>
                    <a:pt x="148" y="1882"/>
                  </a:cubicBezTo>
                  <a:cubicBezTo>
                    <a:pt x="148" y="1882"/>
                    <a:pt x="154" y="1897"/>
                    <a:pt x="152" y="1903"/>
                  </a:cubicBezTo>
                  <a:cubicBezTo>
                    <a:pt x="150" y="1910"/>
                    <a:pt x="162" y="1919"/>
                    <a:pt x="162" y="1919"/>
                  </a:cubicBezTo>
                  <a:cubicBezTo>
                    <a:pt x="162" y="1919"/>
                    <a:pt x="148" y="1940"/>
                    <a:pt x="148" y="1938"/>
                  </a:cubicBezTo>
                  <a:cubicBezTo>
                    <a:pt x="148" y="1937"/>
                    <a:pt x="120" y="1897"/>
                    <a:pt x="118" y="1892"/>
                  </a:cubicBezTo>
                  <a:cubicBezTo>
                    <a:pt x="115" y="1887"/>
                    <a:pt x="107" y="1913"/>
                    <a:pt x="107" y="1913"/>
                  </a:cubicBezTo>
                  <a:cubicBezTo>
                    <a:pt x="120" y="1928"/>
                    <a:pt x="120" y="1928"/>
                    <a:pt x="120" y="1928"/>
                  </a:cubicBezTo>
                  <a:cubicBezTo>
                    <a:pt x="120" y="1928"/>
                    <a:pt x="129" y="1953"/>
                    <a:pt x="118" y="1959"/>
                  </a:cubicBezTo>
                  <a:cubicBezTo>
                    <a:pt x="107" y="1964"/>
                    <a:pt x="97" y="1966"/>
                    <a:pt x="97" y="1971"/>
                  </a:cubicBezTo>
                  <a:cubicBezTo>
                    <a:pt x="97" y="1976"/>
                    <a:pt x="95" y="1976"/>
                    <a:pt x="95" y="1976"/>
                  </a:cubicBezTo>
                  <a:cubicBezTo>
                    <a:pt x="95" y="1976"/>
                    <a:pt x="172" y="2057"/>
                    <a:pt x="175" y="2082"/>
                  </a:cubicBezTo>
                  <a:cubicBezTo>
                    <a:pt x="178" y="2107"/>
                    <a:pt x="174" y="2129"/>
                    <a:pt x="180" y="2134"/>
                  </a:cubicBezTo>
                  <a:cubicBezTo>
                    <a:pt x="186" y="2140"/>
                    <a:pt x="244" y="2185"/>
                    <a:pt x="250" y="2201"/>
                  </a:cubicBezTo>
                  <a:cubicBezTo>
                    <a:pt x="255" y="2217"/>
                    <a:pt x="245" y="2223"/>
                    <a:pt x="255" y="2233"/>
                  </a:cubicBezTo>
                  <a:cubicBezTo>
                    <a:pt x="266" y="2243"/>
                    <a:pt x="297" y="2275"/>
                    <a:pt x="299" y="2289"/>
                  </a:cubicBezTo>
                  <a:cubicBezTo>
                    <a:pt x="301" y="2303"/>
                    <a:pt x="315" y="2402"/>
                    <a:pt x="331" y="2430"/>
                  </a:cubicBezTo>
                  <a:cubicBezTo>
                    <a:pt x="347" y="2457"/>
                    <a:pt x="428" y="2575"/>
                    <a:pt x="428" y="2585"/>
                  </a:cubicBezTo>
                  <a:cubicBezTo>
                    <a:pt x="429" y="2595"/>
                    <a:pt x="435" y="2622"/>
                    <a:pt x="435" y="2622"/>
                  </a:cubicBezTo>
                  <a:cubicBezTo>
                    <a:pt x="435" y="2622"/>
                    <a:pt x="422" y="2627"/>
                    <a:pt x="423" y="2628"/>
                  </a:cubicBezTo>
                  <a:cubicBezTo>
                    <a:pt x="425" y="2629"/>
                    <a:pt x="443" y="2659"/>
                    <a:pt x="443" y="2659"/>
                  </a:cubicBezTo>
                  <a:cubicBezTo>
                    <a:pt x="433" y="2683"/>
                    <a:pt x="433" y="2683"/>
                    <a:pt x="433" y="2683"/>
                  </a:cubicBezTo>
                  <a:cubicBezTo>
                    <a:pt x="446" y="2698"/>
                    <a:pt x="446" y="2698"/>
                    <a:pt x="446" y="2698"/>
                  </a:cubicBezTo>
                  <a:cubicBezTo>
                    <a:pt x="434" y="2705"/>
                    <a:pt x="434" y="2705"/>
                    <a:pt x="434" y="2705"/>
                  </a:cubicBezTo>
                  <a:cubicBezTo>
                    <a:pt x="434" y="2705"/>
                    <a:pt x="445" y="2727"/>
                    <a:pt x="448" y="2736"/>
                  </a:cubicBezTo>
                  <a:cubicBezTo>
                    <a:pt x="451" y="2745"/>
                    <a:pt x="455" y="2779"/>
                    <a:pt x="439" y="2796"/>
                  </a:cubicBezTo>
                  <a:cubicBezTo>
                    <a:pt x="424" y="2812"/>
                    <a:pt x="417" y="2823"/>
                    <a:pt x="409" y="2819"/>
                  </a:cubicBezTo>
                  <a:cubicBezTo>
                    <a:pt x="400" y="2816"/>
                    <a:pt x="387" y="2802"/>
                    <a:pt x="387" y="2802"/>
                  </a:cubicBezTo>
                  <a:cubicBezTo>
                    <a:pt x="383" y="2825"/>
                    <a:pt x="383" y="2825"/>
                    <a:pt x="383" y="2825"/>
                  </a:cubicBezTo>
                  <a:cubicBezTo>
                    <a:pt x="383" y="2825"/>
                    <a:pt x="390" y="2908"/>
                    <a:pt x="405" y="2906"/>
                  </a:cubicBezTo>
                  <a:cubicBezTo>
                    <a:pt x="419" y="2905"/>
                    <a:pt x="410" y="2888"/>
                    <a:pt x="428" y="2896"/>
                  </a:cubicBezTo>
                  <a:cubicBezTo>
                    <a:pt x="447" y="2905"/>
                    <a:pt x="514" y="2955"/>
                    <a:pt x="514" y="2955"/>
                  </a:cubicBezTo>
                  <a:cubicBezTo>
                    <a:pt x="514" y="2955"/>
                    <a:pt x="537" y="2950"/>
                    <a:pt x="548" y="2954"/>
                  </a:cubicBezTo>
                  <a:cubicBezTo>
                    <a:pt x="559" y="2958"/>
                    <a:pt x="557" y="2966"/>
                    <a:pt x="576" y="2966"/>
                  </a:cubicBezTo>
                  <a:cubicBezTo>
                    <a:pt x="596" y="2966"/>
                    <a:pt x="619" y="2966"/>
                    <a:pt x="621" y="2965"/>
                  </a:cubicBezTo>
                  <a:cubicBezTo>
                    <a:pt x="623" y="2965"/>
                    <a:pt x="646" y="2957"/>
                    <a:pt x="655" y="2959"/>
                  </a:cubicBezTo>
                  <a:cubicBezTo>
                    <a:pt x="664" y="2960"/>
                    <a:pt x="680" y="2969"/>
                    <a:pt x="685" y="2967"/>
                  </a:cubicBezTo>
                  <a:cubicBezTo>
                    <a:pt x="690" y="2966"/>
                    <a:pt x="693" y="2954"/>
                    <a:pt x="712" y="2952"/>
                  </a:cubicBezTo>
                  <a:cubicBezTo>
                    <a:pt x="732" y="2950"/>
                    <a:pt x="737" y="2954"/>
                    <a:pt x="740" y="2950"/>
                  </a:cubicBezTo>
                  <a:cubicBezTo>
                    <a:pt x="742" y="2946"/>
                    <a:pt x="759" y="2934"/>
                    <a:pt x="763" y="2929"/>
                  </a:cubicBezTo>
                  <a:cubicBezTo>
                    <a:pt x="766" y="2925"/>
                    <a:pt x="767" y="2909"/>
                    <a:pt x="767" y="2909"/>
                  </a:cubicBezTo>
                  <a:cubicBezTo>
                    <a:pt x="767" y="2909"/>
                    <a:pt x="774" y="2911"/>
                    <a:pt x="786" y="2896"/>
                  </a:cubicBezTo>
                  <a:cubicBezTo>
                    <a:pt x="798" y="2881"/>
                    <a:pt x="785" y="2874"/>
                    <a:pt x="810" y="2867"/>
                  </a:cubicBezTo>
                  <a:cubicBezTo>
                    <a:pt x="835" y="2861"/>
                    <a:pt x="845" y="2872"/>
                    <a:pt x="849" y="2869"/>
                  </a:cubicBezTo>
                  <a:cubicBezTo>
                    <a:pt x="852" y="2866"/>
                    <a:pt x="869" y="2853"/>
                    <a:pt x="869" y="2851"/>
                  </a:cubicBezTo>
                  <a:cubicBezTo>
                    <a:pt x="869" y="2850"/>
                    <a:pt x="859" y="2843"/>
                    <a:pt x="870" y="2828"/>
                  </a:cubicBezTo>
                  <a:cubicBezTo>
                    <a:pt x="882" y="2814"/>
                    <a:pt x="910" y="2790"/>
                    <a:pt x="910" y="2790"/>
                  </a:cubicBezTo>
                  <a:cubicBezTo>
                    <a:pt x="910" y="2790"/>
                    <a:pt x="967" y="2791"/>
                    <a:pt x="968" y="2789"/>
                  </a:cubicBezTo>
                  <a:cubicBezTo>
                    <a:pt x="969" y="2786"/>
                    <a:pt x="999" y="2767"/>
                    <a:pt x="1014" y="2767"/>
                  </a:cubicBezTo>
                  <a:cubicBezTo>
                    <a:pt x="1029" y="2767"/>
                    <a:pt x="1060" y="2757"/>
                    <a:pt x="1071" y="2756"/>
                  </a:cubicBezTo>
                  <a:cubicBezTo>
                    <a:pt x="1083" y="2755"/>
                    <a:pt x="1084" y="2764"/>
                    <a:pt x="1098" y="2764"/>
                  </a:cubicBezTo>
                  <a:cubicBezTo>
                    <a:pt x="1112" y="2763"/>
                    <a:pt x="1133" y="2760"/>
                    <a:pt x="1133" y="2760"/>
                  </a:cubicBezTo>
                  <a:cubicBezTo>
                    <a:pt x="1133" y="2760"/>
                    <a:pt x="1138" y="2773"/>
                    <a:pt x="1146" y="2773"/>
                  </a:cubicBezTo>
                  <a:cubicBezTo>
                    <a:pt x="1155" y="2773"/>
                    <a:pt x="1151" y="2763"/>
                    <a:pt x="1168" y="2763"/>
                  </a:cubicBezTo>
                  <a:cubicBezTo>
                    <a:pt x="1185" y="2762"/>
                    <a:pt x="1220" y="2753"/>
                    <a:pt x="1220" y="2753"/>
                  </a:cubicBezTo>
                  <a:cubicBezTo>
                    <a:pt x="1239" y="2746"/>
                    <a:pt x="1239" y="2746"/>
                    <a:pt x="1239" y="2746"/>
                  </a:cubicBezTo>
                  <a:cubicBezTo>
                    <a:pt x="1239" y="2746"/>
                    <a:pt x="1257" y="2778"/>
                    <a:pt x="1258" y="2776"/>
                  </a:cubicBezTo>
                  <a:cubicBezTo>
                    <a:pt x="1258" y="2774"/>
                    <a:pt x="1273" y="2758"/>
                    <a:pt x="1273" y="2757"/>
                  </a:cubicBezTo>
                  <a:cubicBezTo>
                    <a:pt x="1273" y="2755"/>
                    <a:pt x="1299" y="2750"/>
                    <a:pt x="1299" y="2750"/>
                  </a:cubicBezTo>
                  <a:cubicBezTo>
                    <a:pt x="1330" y="2701"/>
                    <a:pt x="1330" y="2701"/>
                    <a:pt x="1330" y="2701"/>
                  </a:cubicBezTo>
                  <a:cubicBezTo>
                    <a:pt x="1330" y="2701"/>
                    <a:pt x="1338" y="2636"/>
                    <a:pt x="1358" y="2627"/>
                  </a:cubicBezTo>
                  <a:cubicBezTo>
                    <a:pt x="1377" y="2618"/>
                    <a:pt x="1393" y="2625"/>
                    <a:pt x="1413" y="2610"/>
                  </a:cubicBezTo>
                  <a:cubicBezTo>
                    <a:pt x="1433" y="2595"/>
                    <a:pt x="1450" y="2573"/>
                    <a:pt x="1463" y="2571"/>
                  </a:cubicBezTo>
                  <a:cubicBezTo>
                    <a:pt x="1475" y="2568"/>
                    <a:pt x="1483" y="2567"/>
                    <a:pt x="1486" y="2564"/>
                  </a:cubicBezTo>
                  <a:cubicBezTo>
                    <a:pt x="1489" y="2561"/>
                    <a:pt x="1531" y="2525"/>
                    <a:pt x="1531" y="2525"/>
                  </a:cubicBezTo>
                  <a:cubicBezTo>
                    <a:pt x="1563" y="2520"/>
                    <a:pt x="1563" y="2520"/>
                    <a:pt x="1563" y="2520"/>
                  </a:cubicBezTo>
                  <a:cubicBezTo>
                    <a:pt x="1580" y="2523"/>
                    <a:pt x="1580" y="2523"/>
                    <a:pt x="1580" y="2523"/>
                  </a:cubicBezTo>
                  <a:cubicBezTo>
                    <a:pt x="1580" y="2523"/>
                    <a:pt x="1669" y="2528"/>
                    <a:pt x="1680" y="2520"/>
                  </a:cubicBezTo>
                  <a:cubicBezTo>
                    <a:pt x="1690" y="2512"/>
                    <a:pt x="1728" y="2494"/>
                    <a:pt x="1738" y="2491"/>
                  </a:cubicBezTo>
                  <a:cubicBezTo>
                    <a:pt x="1749" y="2489"/>
                    <a:pt x="1762" y="2490"/>
                    <a:pt x="1774" y="2482"/>
                  </a:cubicBezTo>
                  <a:cubicBezTo>
                    <a:pt x="1786" y="2474"/>
                    <a:pt x="1834" y="2435"/>
                    <a:pt x="1854" y="2431"/>
                  </a:cubicBezTo>
                  <a:lnTo>
                    <a:pt x="1769" y="300"/>
                  </a:lnTo>
                  <a:close/>
                  <a:moveTo>
                    <a:pt x="153" y="2242"/>
                  </a:moveTo>
                  <a:cubicBezTo>
                    <a:pt x="170" y="2229"/>
                    <a:pt x="170" y="2229"/>
                    <a:pt x="170" y="2229"/>
                  </a:cubicBezTo>
                  <a:cubicBezTo>
                    <a:pt x="160" y="2213"/>
                    <a:pt x="160" y="2213"/>
                    <a:pt x="160" y="2213"/>
                  </a:cubicBezTo>
                  <a:lnTo>
                    <a:pt x="153" y="2242"/>
                  </a:lnTo>
                  <a:close/>
                  <a:moveTo>
                    <a:pt x="1400" y="159"/>
                  </a:moveTo>
                  <a:cubicBezTo>
                    <a:pt x="1400" y="150"/>
                    <a:pt x="1393" y="139"/>
                    <a:pt x="1382" y="150"/>
                  </a:cubicBezTo>
                  <a:cubicBezTo>
                    <a:pt x="1382" y="150"/>
                    <a:pt x="1400" y="169"/>
                    <a:pt x="1400" y="159"/>
                  </a:cubicBezTo>
                  <a:close/>
                  <a:moveTo>
                    <a:pt x="1371" y="199"/>
                  </a:moveTo>
                  <a:cubicBezTo>
                    <a:pt x="1371" y="187"/>
                    <a:pt x="1371" y="187"/>
                    <a:pt x="1371" y="187"/>
                  </a:cubicBezTo>
                  <a:cubicBezTo>
                    <a:pt x="1354" y="199"/>
                    <a:pt x="1354" y="199"/>
                    <a:pt x="1354" y="199"/>
                  </a:cubicBezTo>
                  <a:cubicBezTo>
                    <a:pt x="1376" y="211"/>
                    <a:pt x="1376" y="211"/>
                    <a:pt x="1376" y="211"/>
                  </a:cubicBezTo>
                  <a:lnTo>
                    <a:pt x="1371" y="199"/>
                  </a:lnTo>
                  <a:close/>
                  <a:moveTo>
                    <a:pt x="1264" y="350"/>
                  </a:moveTo>
                  <a:cubicBezTo>
                    <a:pt x="1278" y="347"/>
                    <a:pt x="1263" y="336"/>
                    <a:pt x="1260" y="343"/>
                  </a:cubicBezTo>
                  <a:cubicBezTo>
                    <a:pt x="1260" y="343"/>
                    <a:pt x="1251" y="352"/>
                    <a:pt x="1264" y="350"/>
                  </a:cubicBezTo>
                  <a:close/>
                  <a:moveTo>
                    <a:pt x="1250" y="347"/>
                  </a:moveTo>
                  <a:cubicBezTo>
                    <a:pt x="1254" y="346"/>
                    <a:pt x="1245" y="328"/>
                    <a:pt x="1239" y="335"/>
                  </a:cubicBezTo>
                  <a:cubicBezTo>
                    <a:pt x="1239" y="335"/>
                    <a:pt x="1246" y="348"/>
                    <a:pt x="1250" y="347"/>
                  </a:cubicBezTo>
                  <a:close/>
                  <a:moveTo>
                    <a:pt x="1401" y="219"/>
                  </a:moveTo>
                  <a:cubicBezTo>
                    <a:pt x="1420" y="219"/>
                    <a:pt x="1420" y="219"/>
                    <a:pt x="1420" y="219"/>
                  </a:cubicBezTo>
                  <a:cubicBezTo>
                    <a:pt x="1421" y="202"/>
                    <a:pt x="1421" y="202"/>
                    <a:pt x="1421" y="202"/>
                  </a:cubicBezTo>
                  <a:cubicBezTo>
                    <a:pt x="1404" y="195"/>
                    <a:pt x="1404" y="195"/>
                    <a:pt x="1404" y="195"/>
                  </a:cubicBezTo>
                  <a:cubicBezTo>
                    <a:pt x="1392" y="210"/>
                    <a:pt x="1392" y="210"/>
                    <a:pt x="1392" y="210"/>
                  </a:cubicBezTo>
                  <a:lnTo>
                    <a:pt x="1401" y="219"/>
                  </a:lnTo>
                  <a:close/>
                  <a:moveTo>
                    <a:pt x="1206" y="389"/>
                  </a:moveTo>
                  <a:cubicBezTo>
                    <a:pt x="1206" y="389"/>
                    <a:pt x="1202" y="396"/>
                    <a:pt x="1215" y="396"/>
                  </a:cubicBezTo>
                  <a:cubicBezTo>
                    <a:pt x="1229" y="396"/>
                    <a:pt x="1235" y="388"/>
                    <a:pt x="1235" y="388"/>
                  </a:cubicBezTo>
                  <a:cubicBezTo>
                    <a:pt x="1211" y="377"/>
                    <a:pt x="1211" y="377"/>
                    <a:pt x="1211" y="377"/>
                  </a:cubicBezTo>
                  <a:cubicBezTo>
                    <a:pt x="1195" y="389"/>
                    <a:pt x="1195" y="389"/>
                    <a:pt x="1195" y="389"/>
                  </a:cubicBezTo>
                  <a:cubicBezTo>
                    <a:pt x="1185" y="389"/>
                    <a:pt x="1185" y="389"/>
                    <a:pt x="1185" y="389"/>
                  </a:cubicBezTo>
                  <a:cubicBezTo>
                    <a:pt x="1197" y="401"/>
                    <a:pt x="1197" y="401"/>
                    <a:pt x="1197" y="401"/>
                  </a:cubicBezTo>
                  <a:lnTo>
                    <a:pt x="1206" y="389"/>
                  </a:lnTo>
                  <a:close/>
                  <a:moveTo>
                    <a:pt x="1009" y="0"/>
                  </a:moveTo>
                  <a:cubicBezTo>
                    <a:pt x="986" y="13"/>
                    <a:pt x="986" y="13"/>
                    <a:pt x="986" y="13"/>
                  </a:cubicBezTo>
                  <a:cubicBezTo>
                    <a:pt x="1008" y="18"/>
                    <a:pt x="1008" y="18"/>
                    <a:pt x="1008" y="18"/>
                  </a:cubicBezTo>
                  <a:lnTo>
                    <a:pt x="1009" y="0"/>
                  </a:lnTo>
                  <a:close/>
                  <a:moveTo>
                    <a:pt x="1045" y="433"/>
                  </a:moveTo>
                  <a:cubicBezTo>
                    <a:pt x="1049" y="433"/>
                    <a:pt x="1060" y="445"/>
                    <a:pt x="1060" y="445"/>
                  </a:cubicBezTo>
                  <a:cubicBezTo>
                    <a:pt x="1066" y="425"/>
                    <a:pt x="1066" y="425"/>
                    <a:pt x="1066" y="425"/>
                  </a:cubicBezTo>
                  <a:cubicBezTo>
                    <a:pt x="1054" y="425"/>
                    <a:pt x="1054" y="425"/>
                    <a:pt x="1054" y="425"/>
                  </a:cubicBezTo>
                  <a:cubicBezTo>
                    <a:pt x="1044" y="417"/>
                    <a:pt x="1044" y="417"/>
                    <a:pt x="1044" y="417"/>
                  </a:cubicBezTo>
                  <a:cubicBezTo>
                    <a:pt x="1044" y="417"/>
                    <a:pt x="1041" y="433"/>
                    <a:pt x="1045" y="433"/>
                  </a:cubicBezTo>
                  <a:close/>
                  <a:moveTo>
                    <a:pt x="1078" y="48"/>
                  </a:moveTo>
                  <a:cubicBezTo>
                    <a:pt x="1085" y="42"/>
                    <a:pt x="1066" y="37"/>
                    <a:pt x="1066" y="37"/>
                  </a:cubicBezTo>
                  <a:cubicBezTo>
                    <a:pt x="1062" y="44"/>
                    <a:pt x="1072" y="53"/>
                    <a:pt x="1078" y="48"/>
                  </a:cubicBezTo>
                  <a:close/>
                  <a:moveTo>
                    <a:pt x="1113" y="424"/>
                  </a:moveTo>
                  <a:cubicBezTo>
                    <a:pt x="1113" y="417"/>
                    <a:pt x="1105" y="416"/>
                    <a:pt x="1098" y="416"/>
                  </a:cubicBezTo>
                  <a:cubicBezTo>
                    <a:pt x="1092" y="416"/>
                    <a:pt x="1113" y="431"/>
                    <a:pt x="1113" y="424"/>
                  </a:cubicBezTo>
                  <a:close/>
                </a:path>
              </a:pathLst>
            </a:custGeom>
            <a:gradFill rotWithShape="1">
              <a:gsLst>
                <a:gs pos="0">
                  <a:srgbClr val="9B2219">
                    <a:gamma/>
                    <a:tint val="68627"/>
                    <a:invGamma/>
                  </a:srgbClr>
                </a:gs>
                <a:gs pos="100000">
                  <a:srgbClr val="9B2219"/>
                </a:gs>
              </a:gsLst>
              <a:lin ang="5400000" scaled="1"/>
            </a:gradFill>
            <a:ln w="3175" cap="flat" cmpd="sng">
              <a:prstDash val="solid"/>
              <a:miter lim="800000"/>
              <a:headEnd type="none" w="med" len="med"/>
              <a:tailEnd type="none" w="med" len="med"/>
            </a:ln>
            <a:effectLst/>
            <a:scene3d>
              <a:camera prst="legacyObliqueBottom"/>
              <a:lightRig rig="legacyFlat4" dir="b"/>
            </a:scene3d>
            <a:sp3d extrusionH="125400" prstMaterial="legacyMatte">
              <a:bevelT w="13500" h="13500" prst="angle"/>
              <a:bevelB w="13500" h="13500" prst="angle"/>
              <a:extrusionClr>
                <a:srgbClr val="9B2219"/>
              </a:extrusionClr>
            </a:sp3d>
          </p:spPr>
          <p:txBody>
            <a:bodyPr>
              <a:flatTx/>
            </a:bodyPr>
            <a:lstStyle/>
            <a:p>
              <a:pPr>
                <a:spcBef>
                  <a:spcPct val="20000"/>
                </a:spcBef>
              </a:pPr>
              <a:endParaRPr lang="en-GB" sz="1200">
                <a:solidFill>
                  <a:srgbClr val="FFFFFF"/>
                </a:solidFill>
              </a:endParaRPr>
            </a:p>
          </p:txBody>
        </p:sp>
        <p:sp>
          <p:nvSpPr>
            <p:cNvPr id="18480" name="Freeform 48" descr="© INSCALE GmbH, 05.05.2010&#10;http://www.presentationload.com/"/>
            <p:cNvSpPr>
              <a:spLocks/>
            </p:cNvSpPr>
            <p:nvPr/>
          </p:nvSpPr>
          <p:spPr bwMode="auto">
            <a:xfrm rot="20893477" flipH="1">
              <a:off x="5067300" y="1838325"/>
              <a:ext cx="1585913" cy="679450"/>
            </a:xfrm>
            <a:custGeom>
              <a:avLst/>
              <a:gdLst/>
              <a:ahLst/>
              <a:cxnLst>
                <a:cxn ang="0">
                  <a:pos x="631" y="282"/>
                </a:cxn>
                <a:cxn ang="0">
                  <a:pos x="112" y="57"/>
                </a:cxn>
                <a:cxn ang="0">
                  <a:pos x="100" y="0"/>
                </a:cxn>
                <a:cxn ang="0">
                  <a:pos x="0" y="169"/>
                </a:cxn>
                <a:cxn ang="0">
                  <a:pos x="147" y="306"/>
                </a:cxn>
                <a:cxn ang="0">
                  <a:pos x="135" y="238"/>
                </a:cxn>
                <a:cxn ang="0">
                  <a:pos x="631" y="282"/>
                </a:cxn>
              </a:cxnLst>
              <a:rect l="0" t="0" r="r" b="b"/>
              <a:pathLst>
                <a:path w="631" h="306">
                  <a:moveTo>
                    <a:pt x="631" y="282"/>
                  </a:moveTo>
                  <a:cubicBezTo>
                    <a:pt x="631" y="282"/>
                    <a:pt x="328" y="32"/>
                    <a:pt x="112" y="57"/>
                  </a:cubicBezTo>
                  <a:cubicBezTo>
                    <a:pt x="100" y="0"/>
                    <a:pt x="100" y="0"/>
                    <a:pt x="100" y="0"/>
                  </a:cubicBezTo>
                  <a:cubicBezTo>
                    <a:pt x="0" y="169"/>
                    <a:pt x="0" y="169"/>
                    <a:pt x="0" y="169"/>
                  </a:cubicBezTo>
                  <a:cubicBezTo>
                    <a:pt x="147" y="306"/>
                    <a:pt x="147" y="306"/>
                    <a:pt x="147" y="306"/>
                  </a:cubicBezTo>
                  <a:cubicBezTo>
                    <a:pt x="135" y="238"/>
                    <a:pt x="135" y="238"/>
                    <a:pt x="135" y="238"/>
                  </a:cubicBezTo>
                  <a:cubicBezTo>
                    <a:pt x="135" y="238"/>
                    <a:pt x="162" y="161"/>
                    <a:pt x="631" y="282"/>
                  </a:cubicBezTo>
                  <a:close/>
                </a:path>
              </a:pathLst>
            </a:custGeom>
            <a:gradFill rotWithShape="1">
              <a:gsLst>
                <a:gs pos="0">
                  <a:srgbClr val="FFFFFF">
                    <a:gamma/>
                    <a:shade val="88235"/>
                    <a:invGamma/>
                  </a:srgbClr>
                </a:gs>
                <a:gs pos="50000">
                  <a:srgbClr val="FFFFFF"/>
                </a:gs>
                <a:gs pos="100000">
                  <a:srgbClr val="FFFFFF">
                    <a:gamma/>
                    <a:shade val="88235"/>
                    <a:invGamma/>
                  </a:srgbClr>
                </a:gs>
              </a:gsLst>
              <a:lin ang="0" scaled="1"/>
            </a:gradFill>
            <a:ln w="9525" cap="flat" cmpd="sng">
              <a:solidFill>
                <a:schemeClr val="tx2"/>
              </a:solidFill>
              <a:prstDash val="solid"/>
              <a:round/>
              <a:headEnd type="none" w="med" len="med"/>
              <a:tailEnd type="none" w="med" len="med"/>
            </a:ln>
            <a:effectLst>
              <a:outerShdw dist="91581" dir="3378596" algn="ctr" rotWithShape="0">
                <a:schemeClr val="tx2">
                  <a:alpha val="50000"/>
                </a:schemeClr>
              </a:outerShdw>
            </a:effectLst>
          </p:spPr>
          <p:txBody>
            <a:bodyPr/>
            <a:lstStyle/>
            <a:p>
              <a:endParaRPr lang="en-GB"/>
            </a:p>
          </p:txBody>
        </p:sp>
      </p:grpSp>
      <p:sp>
        <p:nvSpPr>
          <p:cNvPr id="2" name="_ID630127630" descr="© INSCALE GmbH, 05.05.2010&#10;http://www.presentationload.com/"/>
          <p:cNvSpPr/>
          <p:nvPr/>
        </p:nvSpPr>
        <p:spPr>
          <a:xfrm>
            <a:off x="0" y="6245352"/>
            <a:ext cx="914400" cy="612648"/>
          </a:xfrm>
          <a:prstGeom prst="flowChartInputOutpu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eaLnBrk="0" hangingPunct="0">
              <a:defRPr/>
            </a:pPr>
            <a:r>
              <a:rPr lang="de-DE" sz="2800" kern="0" dirty="0" smtClean="0">
                <a:solidFill>
                  <a:schemeClr val="tx2"/>
                </a:solidFill>
                <a:latin typeface="Myriad Pro" pitchFamily="34" charset="0"/>
                <a:ea typeface="+mj-ea"/>
                <a:cs typeface="+mj-cs"/>
              </a:rPr>
              <a:t>Regionen hervorheben</a:t>
            </a:r>
          </a:p>
        </p:txBody>
      </p:sp>
      <p:sp>
        <p:nvSpPr>
          <p:cNvPr id="27" name="Textfeld 2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10</a:t>
            </a:r>
            <a:endParaRPr lang="de-DE" sz="900" dirty="0">
              <a:solidFill>
                <a:schemeClr val="bg1">
                  <a:lumMod val="50000"/>
                </a:schemeClr>
              </a:solidFill>
            </a:endParaRPr>
          </a:p>
        </p:txBody>
      </p:sp>
      <p:sp>
        <p:nvSpPr>
          <p:cNvPr id="35" name="Freeform 15" descr="© INSCALE GmbH, 05.05.2010&#10;http://www.presentationload.com/"/>
          <p:cNvSpPr>
            <a:spLocks noEditPoints="1"/>
          </p:cNvSpPr>
          <p:nvPr/>
        </p:nvSpPr>
        <p:spPr bwMode="auto">
          <a:xfrm>
            <a:off x="295908" y="1058228"/>
            <a:ext cx="2629615" cy="2366009"/>
          </a:xfrm>
          <a:custGeom>
            <a:avLst/>
            <a:gdLst/>
            <a:ahLst/>
            <a:cxnLst>
              <a:cxn ang="0">
                <a:pos x="3211" y="1361"/>
              </a:cxn>
              <a:cxn ang="0">
                <a:pos x="2928" y="1708"/>
              </a:cxn>
              <a:cxn ang="0">
                <a:pos x="4797" y="462"/>
              </a:cxn>
              <a:cxn ang="0">
                <a:pos x="6419" y="502"/>
              </a:cxn>
              <a:cxn ang="0">
                <a:pos x="6497" y="1249"/>
              </a:cxn>
              <a:cxn ang="0">
                <a:pos x="6504" y="1834"/>
              </a:cxn>
              <a:cxn ang="0">
                <a:pos x="8143" y="415"/>
              </a:cxn>
              <a:cxn ang="0">
                <a:pos x="8431" y="661"/>
              </a:cxn>
              <a:cxn ang="0">
                <a:pos x="8469" y="197"/>
              </a:cxn>
              <a:cxn ang="0">
                <a:pos x="8445" y="938"/>
              </a:cxn>
              <a:cxn ang="0">
                <a:pos x="9354" y="1533"/>
              </a:cxn>
              <a:cxn ang="0">
                <a:pos x="8544" y="1240"/>
              </a:cxn>
              <a:cxn ang="0">
                <a:pos x="8876" y="1542"/>
              </a:cxn>
              <a:cxn ang="0">
                <a:pos x="10771" y="2732"/>
              </a:cxn>
              <a:cxn ang="0">
                <a:pos x="9040" y="1867"/>
              </a:cxn>
              <a:cxn ang="0">
                <a:pos x="9263" y="2683"/>
              </a:cxn>
              <a:cxn ang="0">
                <a:pos x="9818" y="3409"/>
              </a:cxn>
              <a:cxn ang="0">
                <a:pos x="10506" y="3870"/>
              </a:cxn>
              <a:cxn ang="0">
                <a:pos x="10979" y="4138"/>
              </a:cxn>
              <a:cxn ang="0">
                <a:pos x="10694" y="5222"/>
              </a:cxn>
              <a:cxn ang="0">
                <a:pos x="7883" y="9148"/>
              </a:cxn>
              <a:cxn ang="0">
                <a:pos x="8893" y="9363"/>
              </a:cxn>
              <a:cxn ang="0">
                <a:pos x="8068" y="9462"/>
              </a:cxn>
              <a:cxn ang="0">
                <a:pos x="8600" y="10174"/>
              </a:cxn>
              <a:cxn ang="0">
                <a:pos x="8733" y="10184"/>
              </a:cxn>
              <a:cxn ang="0">
                <a:pos x="6354" y="7768"/>
              </a:cxn>
              <a:cxn ang="0">
                <a:pos x="10666" y="5112"/>
              </a:cxn>
              <a:cxn ang="0">
                <a:pos x="10167" y="4217"/>
              </a:cxn>
              <a:cxn ang="0">
                <a:pos x="9555" y="3315"/>
              </a:cxn>
              <a:cxn ang="0">
                <a:pos x="9071" y="2376"/>
              </a:cxn>
              <a:cxn ang="0">
                <a:pos x="8534" y="1603"/>
              </a:cxn>
              <a:cxn ang="0">
                <a:pos x="8246" y="432"/>
              </a:cxn>
              <a:cxn ang="0">
                <a:pos x="7876" y="1722"/>
              </a:cxn>
              <a:cxn ang="0">
                <a:pos x="6298" y="1802"/>
              </a:cxn>
              <a:cxn ang="0">
                <a:pos x="6497" y="783"/>
              </a:cxn>
              <a:cxn ang="0">
                <a:pos x="5694" y="729"/>
              </a:cxn>
              <a:cxn ang="0">
                <a:pos x="5019" y="509"/>
              </a:cxn>
              <a:cxn ang="0">
                <a:pos x="4745" y="823"/>
              </a:cxn>
              <a:cxn ang="0">
                <a:pos x="4382" y="1582"/>
              </a:cxn>
              <a:cxn ang="0">
                <a:pos x="3822" y="1507"/>
              </a:cxn>
              <a:cxn ang="0">
                <a:pos x="3094" y="1744"/>
              </a:cxn>
              <a:cxn ang="0">
                <a:pos x="2686" y="2142"/>
              </a:cxn>
              <a:cxn ang="0">
                <a:pos x="2251" y="2612"/>
              </a:cxn>
              <a:cxn ang="0">
                <a:pos x="1007" y="3632"/>
              </a:cxn>
              <a:cxn ang="0">
                <a:pos x="108" y="4095"/>
              </a:cxn>
              <a:cxn ang="0">
                <a:pos x="281" y="5412"/>
              </a:cxn>
              <a:cxn ang="0">
                <a:pos x="897" y="7513"/>
              </a:cxn>
              <a:cxn ang="0">
                <a:pos x="2508" y="7351"/>
              </a:cxn>
              <a:cxn ang="0">
                <a:pos x="4344" y="6590"/>
              </a:cxn>
              <a:cxn ang="0">
                <a:pos x="5820" y="7103"/>
              </a:cxn>
              <a:cxn ang="0">
                <a:pos x="6612" y="7026"/>
              </a:cxn>
              <a:cxn ang="0">
                <a:pos x="6689" y="7691"/>
              </a:cxn>
              <a:cxn ang="0">
                <a:pos x="7876" y="8752"/>
              </a:cxn>
              <a:cxn ang="0">
                <a:pos x="9021" y="8600"/>
              </a:cxn>
              <a:cxn ang="0">
                <a:pos x="10141" y="7229"/>
              </a:cxn>
              <a:cxn ang="0">
                <a:pos x="6068" y="6597"/>
              </a:cxn>
              <a:cxn ang="0">
                <a:pos x="6171" y="6611"/>
              </a:cxn>
              <a:cxn ang="0">
                <a:pos x="6450" y="5876"/>
              </a:cxn>
              <a:cxn ang="0">
                <a:pos x="6607" y="6260"/>
              </a:cxn>
              <a:cxn ang="0">
                <a:pos x="426" y="6222"/>
              </a:cxn>
              <a:cxn ang="0">
                <a:pos x="464" y="3695"/>
              </a:cxn>
            </a:cxnLst>
            <a:rect l="0" t="0" r="r" b="b"/>
            <a:pathLst>
              <a:path w="11488" h="10334">
                <a:moveTo>
                  <a:pt x="2363" y="895"/>
                </a:moveTo>
                <a:cubicBezTo>
                  <a:pt x="2312" y="926"/>
                  <a:pt x="2312" y="926"/>
                  <a:pt x="2312" y="926"/>
                </a:cubicBezTo>
                <a:cubicBezTo>
                  <a:pt x="2361" y="938"/>
                  <a:pt x="2361" y="938"/>
                  <a:pt x="2361" y="938"/>
                </a:cubicBezTo>
                <a:lnTo>
                  <a:pt x="2363" y="895"/>
                </a:lnTo>
                <a:close/>
                <a:moveTo>
                  <a:pt x="2524" y="1008"/>
                </a:moveTo>
                <a:cubicBezTo>
                  <a:pt x="2541" y="994"/>
                  <a:pt x="2496" y="982"/>
                  <a:pt x="2496" y="982"/>
                </a:cubicBezTo>
                <a:cubicBezTo>
                  <a:pt x="2487" y="999"/>
                  <a:pt x="2511" y="1019"/>
                  <a:pt x="2524" y="1008"/>
                </a:cubicBezTo>
                <a:close/>
                <a:moveTo>
                  <a:pt x="3279" y="1268"/>
                </a:moveTo>
                <a:cubicBezTo>
                  <a:pt x="3279" y="1247"/>
                  <a:pt x="3263" y="1221"/>
                  <a:pt x="3236" y="1247"/>
                </a:cubicBezTo>
                <a:cubicBezTo>
                  <a:pt x="3236" y="1247"/>
                  <a:pt x="3279" y="1291"/>
                  <a:pt x="3279" y="1268"/>
                </a:cubicBezTo>
                <a:close/>
                <a:moveTo>
                  <a:pt x="3281" y="1406"/>
                </a:moveTo>
                <a:cubicBezTo>
                  <a:pt x="3325" y="1406"/>
                  <a:pt x="3325" y="1406"/>
                  <a:pt x="3325" y="1406"/>
                </a:cubicBezTo>
                <a:cubicBezTo>
                  <a:pt x="3330" y="1368"/>
                  <a:pt x="3330" y="1368"/>
                  <a:pt x="3330" y="1368"/>
                </a:cubicBezTo>
                <a:cubicBezTo>
                  <a:pt x="3288" y="1352"/>
                  <a:pt x="3288" y="1352"/>
                  <a:pt x="3288" y="1352"/>
                </a:cubicBezTo>
                <a:cubicBezTo>
                  <a:pt x="3260" y="1387"/>
                  <a:pt x="3260" y="1387"/>
                  <a:pt x="3260" y="1387"/>
                </a:cubicBezTo>
                <a:lnTo>
                  <a:pt x="3281" y="1406"/>
                </a:lnTo>
                <a:close/>
                <a:moveTo>
                  <a:pt x="3211" y="1361"/>
                </a:moveTo>
                <a:cubicBezTo>
                  <a:pt x="3211" y="1333"/>
                  <a:pt x="3211" y="1333"/>
                  <a:pt x="3211" y="1333"/>
                </a:cubicBezTo>
                <a:cubicBezTo>
                  <a:pt x="3171" y="1361"/>
                  <a:pt x="3171" y="1361"/>
                  <a:pt x="3171" y="1361"/>
                </a:cubicBezTo>
                <a:cubicBezTo>
                  <a:pt x="3223" y="1390"/>
                  <a:pt x="3223" y="1390"/>
                  <a:pt x="3223" y="1390"/>
                </a:cubicBezTo>
                <a:lnTo>
                  <a:pt x="3211" y="1361"/>
                </a:lnTo>
                <a:close/>
                <a:moveTo>
                  <a:pt x="2974" y="1558"/>
                </a:moveTo>
                <a:cubicBezTo>
                  <a:pt x="3000" y="1558"/>
                  <a:pt x="3002" y="1505"/>
                  <a:pt x="2956" y="1514"/>
                </a:cubicBezTo>
                <a:cubicBezTo>
                  <a:pt x="2956" y="1514"/>
                  <a:pt x="2949" y="1558"/>
                  <a:pt x="2974" y="1558"/>
                </a:cubicBezTo>
                <a:close/>
                <a:moveTo>
                  <a:pt x="2447" y="1910"/>
                </a:moveTo>
                <a:cubicBezTo>
                  <a:pt x="2457" y="1910"/>
                  <a:pt x="2483" y="1938"/>
                  <a:pt x="2483" y="1938"/>
                </a:cubicBezTo>
                <a:cubicBezTo>
                  <a:pt x="2496" y="1891"/>
                  <a:pt x="2496" y="1891"/>
                  <a:pt x="2496" y="1891"/>
                </a:cubicBezTo>
                <a:cubicBezTo>
                  <a:pt x="2468" y="1891"/>
                  <a:pt x="2468" y="1891"/>
                  <a:pt x="2468" y="1891"/>
                </a:cubicBezTo>
                <a:cubicBezTo>
                  <a:pt x="2445" y="1872"/>
                  <a:pt x="2445" y="1872"/>
                  <a:pt x="2445" y="1872"/>
                </a:cubicBezTo>
                <a:cubicBezTo>
                  <a:pt x="2445" y="1872"/>
                  <a:pt x="2438" y="1910"/>
                  <a:pt x="2447" y="1910"/>
                </a:cubicBezTo>
                <a:close/>
                <a:moveTo>
                  <a:pt x="2607" y="1889"/>
                </a:moveTo>
                <a:cubicBezTo>
                  <a:pt x="2607" y="1872"/>
                  <a:pt x="2588" y="1870"/>
                  <a:pt x="2572" y="1870"/>
                </a:cubicBezTo>
                <a:cubicBezTo>
                  <a:pt x="2557" y="1870"/>
                  <a:pt x="2607" y="1905"/>
                  <a:pt x="2607" y="1889"/>
                </a:cubicBezTo>
                <a:close/>
                <a:moveTo>
                  <a:pt x="2824" y="1806"/>
                </a:moveTo>
                <a:cubicBezTo>
                  <a:pt x="2824" y="1806"/>
                  <a:pt x="2815" y="1823"/>
                  <a:pt x="2846" y="1823"/>
                </a:cubicBezTo>
                <a:cubicBezTo>
                  <a:pt x="2879" y="1823"/>
                  <a:pt x="2892" y="1804"/>
                  <a:pt x="2892" y="1804"/>
                </a:cubicBezTo>
                <a:cubicBezTo>
                  <a:pt x="2836" y="1778"/>
                  <a:pt x="2836" y="1778"/>
                  <a:pt x="2836" y="1778"/>
                </a:cubicBezTo>
                <a:cubicBezTo>
                  <a:pt x="2799" y="1806"/>
                  <a:pt x="2799" y="1806"/>
                  <a:pt x="2799" y="1806"/>
                </a:cubicBezTo>
                <a:cubicBezTo>
                  <a:pt x="2775" y="1806"/>
                  <a:pt x="2775" y="1806"/>
                  <a:pt x="2775" y="1806"/>
                </a:cubicBezTo>
                <a:cubicBezTo>
                  <a:pt x="2803" y="1834"/>
                  <a:pt x="2803" y="1834"/>
                  <a:pt x="2803" y="1834"/>
                </a:cubicBezTo>
                <a:lnTo>
                  <a:pt x="2824" y="1806"/>
                </a:lnTo>
                <a:close/>
                <a:moveTo>
                  <a:pt x="2928" y="1708"/>
                </a:moveTo>
                <a:cubicBezTo>
                  <a:pt x="2937" y="1706"/>
                  <a:pt x="2916" y="1664"/>
                  <a:pt x="2902" y="1680"/>
                </a:cubicBezTo>
                <a:cubicBezTo>
                  <a:pt x="2902" y="1680"/>
                  <a:pt x="2918" y="1711"/>
                  <a:pt x="2928" y="1708"/>
                </a:cubicBezTo>
                <a:close/>
                <a:moveTo>
                  <a:pt x="2963" y="1713"/>
                </a:moveTo>
                <a:cubicBezTo>
                  <a:pt x="2993" y="1708"/>
                  <a:pt x="2958" y="1683"/>
                  <a:pt x="2953" y="1699"/>
                </a:cubicBezTo>
                <a:cubicBezTo>
                  <a:pt x="2953" y="1699"/>
                  <a:pt x="2930" y="1720"/>
                  <a:pt x="2963" y="1713"/>
                </a:cubicBezTo>
                <a:close/>
                <a:moveTo>
                  <a:pt x="4438" y="663"/>
                </a:moveTo>
                <a:cubicBezTo>
                  <a:pt x="4497" y="673"/>
                  <a:pt x="4513" y="659"/>
                  <a:pt x="4532" y="659"/>
                </a:cubicBezTo>
                <a:cubicBezTo>
                  <a:pt x="4550" y="659"/>
                  <a:pt x="4614" y="682"/>
                  <a:pt x="4614" y="668"/>
                </a:cubicBezTo>
                <a:cubicBezTo>
                  <a:pt x="4614" y="652"/>
                  <a:pt x="4590" y="626"/>
                  <a:pt x="4570" y="612"/>
                </a:cubicBezTo>
                <a:cubicBezTo>
                  <a:pt x="4548" y="595"/>
                  <a:pt x="4522" y="528"/>
                  <a:pt x="4522" y="528"/>
                </a:cubicBezTo>
                <a:cubicBezTo>
                  <a:pt x="4473" y="558"/>
                  <a:pt x="4473" y="558"/>
                  <a:pt x="4473" y="558"/>
                </a:cubicBezTo>
                <a:cubicBezTo>
                  <a:pt x="4497" y="617"/>
                  <a:pt x="4497" y="617"/>
                  <a:pt x="4497" y="617"/>
                </a:cubicBezTo>
                <a:cubicBezTo>
                  <a:pt x="4497" y="617"/>
                  <a:pt x="4380" y="654"/>
                  <a:pt x="4438" y="663"/>
                </a:cubicBezTo>
                <a:close/>
                <a:moveTo>
                  <a:pt x="4626" y="640"/>
                </a:moveTo>
                <a:cubicBezTo>
                  <a:pt x="4738" y="706"/>
                  <a:pt x="4738" y="706"/>
                  <a:pt x="4738" y="706"/>
                </a:cubicBezTo>
                <a:cubicBezTo>
                  <a:pt x="4846" y="598"/>
                  <a:pt x="4846" y="598"/>
                  <a:pt x="4846" y="598"/>
                </a:cubicBezTo>
                <a:cubicBezTo>
                  <a:pt x="4871" y="579"/>
                  <a:pt x="4871" y="579"/>
                  <a:pt x="4871" y="579"/>
                </a:cubicBezTo>
                <a:cubicBezTo>
                  <a:pt x="4871" y="551"/>
                  <a:pt x="4871" y="551"/>
                  <a:pt x="4871" y="551"/>
                </a:cubicBezTo>
                <a:cubicBezTo>
                  <a:pt x="4893" y="537"/>
                  <a:pt x="4893" y="537"/>
                  <a:pt x="4893" y="537"/>
                </a:cubicBezTo>
                <a:cubicBezTo>
                  <a:pt x="4893" y="537"/>
                  <a:pt x="4878" y="523"/>
                  <a:pt x="4855" y="500"/>
                </a:cubicBezTo>
                <a:cubicBezTo>
                  <a:pt x="4834" y="473"/>
                  <a:pt x="4797" y="462"/>
                  <a:pt x="4797" y="462"/>
                </a:cubicBezTo>
                <a:cubicBezTo>
                  <a:pt x="4804" y="532"/>
                  <a:pt x="4804" y="532"/>
                  <a:pt x="4804" y="532"/>
                </a:cubicBezTo>
                <a:cubicBezTo>
                  <a:pt x="4804" y="532"/>
                  <a:pt x="4780" y="481"/>
                  <a:pt x="4766" y="500"/>
                </a:cubicBezTo>
                <a:cubicBezTo>
                  <a:pt x="4749" y="518"/>
                  <a:pt x="4743" y="542"/>
                  <a:pt x="4743" y="542"/>
                </a:cubicBezTo>
                <a:cubicBezTo>
                  <a:pt x="4743" y="542"/>
                  <a:pt x="4731" y="504"/>
                  <a:pt x="4710" y="502"/>
                </a:cubicBezTo>
                <a:cubicBezTo>
                  <a:pt x="4687" y="500"/>
                  <a:pt x="4632" y="546"/>
                  <a:pt x="4632" y="546"/>
                </a:cubicBezTo>
                <a:cubicBezTo>
                  <a:pt x="4543" y="483"/>
                  <a:pt x="4543" y="483"/>
                  <a:pt x="4543" y="483"/>
                </a:cubicBezTo>
                <a:cubicBezTo>
                  <a:pt x="4543" y="483"/>
                  <a:pt x="4543" y="539"/>
                  <a:pt x="4562" y="565"/>
                </a:cubicBezTo>
                <a:cubicBezTo>
                  <a:pt x="4581" y="589"/>
                  <a:pt x="4626" y="640"/>
                  <a:pt x="4626" y="640"/>
                </a:cubicBezTo>
                <a:close/>
                <a:moveTo>
                  <a:pt x="6139" y="701"/>
                </a:moveTo>
                <a:cubicBezTo>
                  <a:pt x="6173" y="727"/>
                  <a:pt x="6173" y="727"/>
                  <a:pt x="6173" y="727"/>
                </a:cubicBezTo>
                <a:cubicBezTo>
                  <a:pt x="6209" y="717"/>
                  <a:pt x="6209" y="717"/>
                  <a:pt x="6209" y="717"/>
                </a:cubicBezTo>
                <a:cubicBezTo>
                  <a:pt x="6185" y="692"/>
                  <a:pt x="6185" y="692"/>
                  <a:pt x="6185" y="692"/>
                </a:cubicBezTo>
                <a:cubicBezTo>
                  <a:pt x="6185" y="692"/>
                  <a:pt x="6270" y="612"/>
                  <a:pt x="6251" y="612"/>
                </a:cubicBezTo>
                <a:cubicBezTo>
                  <a:pt x="6232" y="612"/>
                  <a:pt x="6192" y="673"/>
                  <a:pt x="6164" y="680"/>
                </a:cubicBezTo>
                <a:cubicBezTo>
                  <a:pt x="6136" y="687"/>
                  <a:pt x="6106" y="710"/>
                  <a:pt x="6106" y="710"/>
                </a:cubicBezTo>
                <a:cubicBezTo>
                  <a:pt x="6124" y="724"/>
                  <a:pt x="6124" y="724"/>
                  <a:pt x="6124" y="724"/>
                </a:cubicBezTo>
                <a:lnTo>
                  <a:pt x="6139" y="701"/>
                </a:lnTo>
                <a:close/>
                <a:moveTo>
                  <a:pt x="6290" y="621"/>
                </a:moveTo>
                <a:cubicBezTo>
                  <a:pt x="6290" y="621"/>
                  <a:pt x="6391" y="579"/>
                  <a:pt x="6431" y="528"/>
                </a:cubicBezTo>
                <a:cubicBezTo>
                  <a:pt x="6473" y="473"/>
                  <a:pt x="6476" y="417"/>
                  <a:pt x="6476" y="417"/>
                </a:cubicBezTo>
                <a:cubicBezTo>
                  <a:pt x="6476" y="417"/>
                  <a:pt x="6448" y="473"/>
                  <a:pt x="6419" y="502"/>
                </a:cubicBezTo>
                <a:cubicBezTo>
                  <a:pt x="6391" y="530"/>
                  <a:pt x="6258" y="602"/>
                  <a:pt x="6290" y="621"/>
                </a:cubicBezTo>
                <a:close/>
                <a:moveTo>
                  <a:pt x="6389" y="661"/>
                </a:moveTo>
                <a:cubicBezTo>
                  <a:pt x="6399" y="673"/>
                  <a:pt x="6448" y="649"/>
                  <a:pt x="6431" y="640"/>
                </a:cubicBezTo>
                <a:cubicBezTo>
                  <a:pt x="6417" y="631"/>
                  <a:pt x="6370" y="642"/>
                  <a:pt x="6389" y="661"/>
                </a:cubicBezTo>
                <a:close/>
                <a:moveTo>
                  <a:pt x="6314" y="1254"/>
                </a:moveTo>
                <a:cubicBezTo>
                  <a:pt x="6286" y="1226"/>
                  <a:pt x="6286" y="1226"/>
                  <a:pt x="6286" y="1226"/>
                </a:cubicBezTo>
                <a:cubicBezTo>
                  <a:pt x="6260" y="1238"/>
                  <a:pt x="6260" y="1238"/>
                  <a:pt x="6260" y="1238"/>
                </a:cubicBezTo>
                <a:cubicBezTo>
                  <a:pt x="6289" y="1268"/>
                  <a:pt x="6289" y="1268"/>
                  <a:pt x="6289" y="1268"/>
                </a:cubicBezTo>
                <a:lnTo>
                  <a:pt x="6314" y="1254"/>
                </a:lnTo>
                <a:close/>
                <a:moveTo>
                  <a:pt x="6272" y="1146"/>
                </a:moveTo>
                <a:cubicBezTo>
                  <a:pt x="6249" y="1125"/>
                  <a:pt x="6241" y="1134"/>
                  <a:pt x="6241" y="1134"/>
                </a:cubicBezTo>
                <a:cubicBezTo>
                  <a:pt x="6241" y="1134"/>
                  <a:pt x="6286" y="1169"/>
                  <a:pt x="6277" y="1181"/>
                </a:cubicBezTo>
                <a:cubicBezTo>
                  <a:pt x="6281" y="1177"/>
                  <a:pt x="6293" y="1165"/>
                  <a:pt x="6272" y="1146"/>
                </a:cubicBezTo>
                <a:close/>
                <a:moveTo>
                  <a:pt x="6351" y="1397"/>
                </a:moveTo>
                <a:cubicBezTo>
                  <a:pt x="6370" y="1401"/>
                  <a:pt x="6399" y="1416"/>
                  <a:pt x="6399" y="1416"/>
                </a:cubicBezTo>
                <a:cubicBezTo>
                  <a:pt x="6459" y="1416"/>
                  <a:pt x="6459" y="1416"/>
                  <a:pt x="6459" y="1416"/>
                </a:cubicBezTo>
                <a:cubicBezTo>
                  <a:pt x="6459" y="1416"/>
                  <a:pt x="6492" y="1427"/>
                  <a:pt x="6495" y="1406"/>
                </a:cubicBezTo>
                <a:cubicBezTo>
                  <a:pt x="6497" y="1385"/>
                  <a:pt x="6492" y="1361"/>
                  <a:pt x="6492" y="1361"/>
                </a:cubicBezTo>
                <a:cubicBezTo>
                  <a:pt x="6457" y="1390"/>
                  <a:pt x="6457" y="1390"/>
                  <a:pt x="6457" y="1390"/>
                </a:cubicBezTo>
                <a:cubicBezTo>
                  <a:pt x="6419" y="1357"/>
                  <a:pt x="6419" y="1357"/>
                  <a:pt x="6419" y="1357"/>
                </a:cubicBezTo>
                <a:cubicBezTo>
                  <a:pt x="6497" y="1249"/>
                  <a:pt x="6497" y="1249"/>
                  <a:pt x="6497" y="1249"/>
                </a:cubicBezTo>
                <a:cubicBezTo>
                  <a:pt x="6440" y="1282"/>
                  <a:pt x="6440" y="1282"/>
                  <a:pt x="6440" y="1282"/>
                </a:cubicBezTo>
                <a:cubicBezTo>
                  <a:pt x="6422" y="1230"/>
                  <a:pt x="6422" y="1230"/>
                  <a:pt x="6422" y="1230"/>
                </a:cubicBezTo>
                <a:cubicBezTo>
                  <a:pt x="6373" y="1238"/>
                  <a:pt x="6373" y="1238"/>
                  <a:pt x="6373" y="1238"/>
                </a:cubicBezTo>
                <a:cubicBezTo>
                  <a:pt x="6370" y="1275"/>
                  <a:pt x="6370" y="1275"/>
                  <a:pt x="6370" y="1275"/>
                </a:cubicBezTo>
                <a:cubicBezTo>
                  <a:pt x="6345" y="1275"/>
                  <a:pt x="6345" y="1275"/>
                  <a:pt x="6345" y="1275"/>
                </a:cubicBezTo>
                <a:cubicBezTo>
                  <a:pt x="6345" y="1275"/>
                  <a:pt x="6361" y="1359"/>
                  <a:pt x="6338" y="1378"/>
                </a:cubicBezTo>
                <a:cubicBezTo>
                  <a:pt x="6317" y="1397"/>
                  <a:pt x="6314" y="1408"/>
                  <a:pt x="6314" y="1408"/>
                </a:cubicBezTo>
                <a:cubicBezTo>
                  <a:pt x="6314" y="1408"/>
                  <a:pt x="6333" y="1390"/>
                  <a:pt x="6351" y="1397"/>
                </a:cubicBezTo>
                <a:close/>
                <a:moveTo>
                  <a:pt x="6120" y="1605"/>
                </a:moveTo>
                <a:cubicBezTo>
                  <a:pt x="6143" y="1605"/>
                  <a:pt x="6167" y="1607"/>
                  <a:pt x="6148" y="1584"/>
                </a:cubicBezTo>
                <a:cubicBezTo>
                  <a:pt x="6129" y="1558"/>
                  <a:pt x="6120" y="1605"/>
                  <a:pt x="6120" y="1605"/>
                </a:cubicBezTo>
                <a:close/>
                <a:moveTo>
                  <a:pt x="6431" y="1839"/>
                </a:moveTo>
                <a:cubicBezTo>
                  <a:pt x="6431" y="1839"/>
                  <a:pt x="6476" y="1806"/>
                  <a:pt x="6478" y="1793"/>
                </a:cubicBezTo>
                <a:cubicBezTo>
                  <a:pt x="6483" y="1776"/>
                  <a:pt x="6438" y="1793"/>
                  <a:pt x="6438" y="1793"/>
                </a:cubicBezTo>
                <a:cubicBezTo>
                  <a:pt x="6399" y="1821"/>
                  <a:pt x="6399" y="1821"/>
                  <a:pt x="6399" y="1821"/>
                </a:cubicBezTo>
                <a:cubicBezTo>
                  <a:pt x="6389" y="1774"/>
                  <a:pt x="6389" y="1774"/>
                  <a:pt x="6389" y="1774"/>
                </a:cubicBezTo>
                <a:cubicBezTo>
                  <a:pt x="6361" y="1811"/>
                  <a:pt x="6361" y="1811"/>
                  <a:pt x="6361" y="1811"/>
                </a:cubicBezTo>
                <a:cubicBezTo>
                  <a:pt x="6389" y="1870"/>
                  <a:pt x="6431" y="1839"/>
                  <a:pt x="6431" y="1839"/>
                </a:cubicBezTo>
                <a:close/>
                <a:moveTo>
                  <a:pt x="6523" y="1802"/>
                </a:moveTo>
                <a:cubicBezTo>
                  <a:pt x="6501" y="1795"/>
                  <a:pt x="6492" y="1821"/>
                  <a:pt x="6476" y="1839"/>
                </a:cubicBezTo>
                <a:cubicBezTo>
                  <a:pt x="6476" y="1839"/>
                  <a:pt x="6495" y="1839"/>
                  <a:pt x="6504" y="1834"/>
                </a:cubicBezTo>
                <a:cubicBezTo>
                  <a:pt x="6513" y="1833"/>
                  <a:pt x="6544" y="1806"/>
                  <a:pt x="6523" y="1802"/>
                </a:cubicBezTo>
                <a:close/>
                <a:moveTo>
                  <a:pt x="6525" y="1900"/>
                </a:moveTo>
                <a:cubicBezTo>
                  <a:pt x="6544" y="1907"/>
                  <a:pt x="6534" y="1863"/>
                  <a:pt x="6534" y="1863"/>
                </a:cubicBezTo>
                <a:cubicBezTo>
                  <a:pt x="6492" y="1863"/>
                  <a:pt x="6506" y="1895"/>
                  <a:pt x="6525" y="1900"/>
                </a:cubicBezTo>
                <a:close/>
                <a:moveTo>
                  <a:pt x="7180" y="2184"/>
                </a:moveTo>
                <a:cubicBezTo>
                  <a:pt x="7216" y="2128"/>
                  <a:pt x="7216" y="2128"/>
                  <a:pt x="7216" y="2128"/>
                </a:cubicBezTo>
                <a:cubicBezTo>
                  <a:pt x="7286" y="2123"/>
                  <a:pt x="7286" y="2123"/>
                  <a:pt x="7286" y="2123"/>
                </a:cubicBezTo>
                <a:cubicBezTo>
                  <a:pt x="7286" y="2123"/>
                  <a:pt x="7269" y="2081"/>
                  <a:pt x="7253" y="2081"/>
                </a:cubicBezTo>
                <a:cubicBezTo>
                  <a:pt x="7239" y="2081"/>
                  <a:pt x="7216" y="2097"/>
                  <a:pt x="7216" y="2097"/>
                </a:cubicBezTo>
                <a:cubicBezTo>
                  <a:pt x="7216" y="2097"/>
                  <a:pt x="7180" y="2071"/>
                  <a:pt x="7146" y="2104"/>
                </a:cubicBezTo>
                <a:cubicBezTo>
                  <a:pt x="7111" y="2134"/>
                  <a:pt x="7106" y="2219"/>
                  <a:pt x="7106" y="2219"/>
                </a:cubicBezTo>
                <a:cubicBezTo>
                  <a:pt x="7124" y="2184"/>
                  <a:pt x="7124" y="2184"/>
                  <a:pt x="7124" y="2184"/>
                </a:cubicBezTo>
                <a:lnTo>
                  <a:pt x="7180" y="2184"/>
                </a:lnTo>
                <a:close/>
                <a:moveTo>
                  <a:pt x="7174" y="2291"/>
                </a:moveTo>
                <a:cubicBezTo>
                  <a:pt x="7174" y="2291"/>
                  <a:pt x="7176" y="2303"/>
                  <a:pt x="7202" y="2303"/>
                </a:cubicBezTo>
                <a:cubicBezTo>
                  <a:pt x="7225" y="2303"/>
                  <a:pt x="7239" y="2291"/>
                  <a:pt x="7239" y="2291"/>
                </a:cubicBezTo>
                <a:cubicBezTo>
                  <a:pt x="7213" y="2263"/>
                  <a:pt x="7213" y="2263"/>
                  <a:pt x="7213" y="2263"/>
                </a:cubicBezTo>
                <a:lnTo>
                  <a:pt x="7174" y="2291"/>
                </a:lnTo>
                <a:close/>
                <a:moveTo>
                  <a:pt x="8110" y="380"/>
                </a:moveTo>
                <a:cubicBezTo>
                  <a:pt x="8099" y="380"/>
                  <a:pt x="8092" y="406"/>
                  <a:pt x="8092" y="406"/>
                </a:cubicBezTo>
                <a:cubicBezTo>
                  <a:pt x="8092" y="406"/>
                  <a:pt x="8139" y="424"/>
                  <a:pt x="8143" y="415"/>
                </a:cubicBezTo>
                <a:cubicBezTo>
                  <a:pt x="8146" y="406"/>
                  <a:pt x="8157" y="387"/>
                  <a:pt x="8143" y="375"/>
                </a:cubicBezTo>
                <a:cubicBezTo>
                  <a:pt x="8127" y="361"/>
                  <a:pt x="8129" y="338"/>
                  <a:pt x="8129" y="322"/>
                </a:cubicBezTo>
                <a:cubicBezTo>
                  <a:pt x="8129" y="305"/>
                  <a:pt x="8134" y="303"/>
                  <a:pt x="8139" y="277"/>
                </a:cubicBezTo>
                <a:cubicBezTo>
                  <a:pt x="8146" y="254"/>
                  <a:pt x="8139" y="225"/>
                  <a:pt x="8125" y="244"/>
                </a:cubicBezTo>
                <a:cubicBezTo>
                  <a:pt x="8108" y="263"/>
                  <a:pt x="8125" y="300"/>
                  <a:pt x="8106" y="310"/>
                </a:cubicBezTo>
                <a:cubicBezTo>
                  <a:pt x="8087" y="319"/>
                  <a:pt x="8092" y="340"/>
                  <a:pt x="8101" y="347"/>
                </a:cubicBezTo>
                <a:cubicBezTo>
                  <a:pt x="8110" y="352"/>
                  <a:pt x="8125" y="380"/>
                  <a:pt x="8110" y="380"/>
                </a:cubicBezTo>
                <a:close/>
                <a:moveTo>
                  <a:pt x="8155" y="169"/>
                </a:moveTo>
                <a:cubicBezTo>
                  <a:pt x="8176" y="144"/>
                  <a:pt x="8216" y="101"/>
                  <a:pt x="8197" y="104"/>
                </a:cubicBezTo>
                <a:cubicBezTo>
                  <a:pt x="8179" y="106"/>
                  <a:pt x="8179" y="125"/>
                  <a:pt x="8153" y="136"/>
                </a:cubicBezTo>
                <a:cubicBezTo>
                  <a:pt x="8125" y="150"/>
                  <a:pt x="8115" y="200"/>
                  <a:pt x="8115" y="200"/>
                </a:cubicBezTo>
                <a:cubicBezTo>
                  <a:pt x="8115" y="200"/>
                  <a:pt x="8134" y="193"/>
                  <a:pt x="8155" y="169"/>
                </a:cubicBezTo>
                <a:close/>
                <a:moveTo>
                  <a:pt x="8804" y="371"/>
                </a:moveTo>
                <a:cubicBezTo>
                  <a:pt x="8818" y="371"/>
                  <a:pt x="8820" y="328"/>
                  <a:pt x="8820" y="310"/>
                </a:cubicBezTo>
                <a:cubicBezTo>
                  <a:pt x="8820" y="291"/>
                  <a:pt x="8843" y="263"/>
                  <a:pt x="8834" y="254"/>
                </a:cubicBezTo>
                <a:cubicBezTo>
                  <a:pt x="8825" y="244"/>
                  <a:pt x="8797" y="272"/>
                  <a:pt x="8794" y="284"/>
                </a:cubicBezTo>
                <a:cubicBezTo>
                  <a:pt x="8790" y="295"/>
                  <a:pt x="8787" y="371"/>
                  <a:pt x="8804" y="371"/>
                </a:cubicBezTo>
                <a:close/>
                <a:moveTo>
                  <a:pt x="8883" y="230"/>
                </a:moveTo>
                <a:cubicBezTo>
                  <a:pt x="8876" y="218"/>
                  <a:pt x="8874" y="274"/>
                  <a:pt x="8874" y="274"/>
                </a:cubicBezTo>
                <a:cubicBezTo>
                  <a:pt x="8874" y="274"/>
                  <a:pt x="8890" y="244"/>
                  <a:pt x="8883" y="230"/>
                </a:cubicBezTo>
                <a:close/>
                <a:moveTo>
                  <a:pt x="8431" y="661"/>
                </a:moveTo>
                <a:cubicBezTo>
                  <a:pt x="8455" y="673"/>
                  <a:pt x="8483" y="673"/>
                  <a:pt x="8483" y="673"/>
                </a:cubicBezTo>
                <a:cubicBezTo>
                  <a:pt x="8438" y="614"/>
                  <a:pt x="8438" y="614"/>
                  <a:pt x="8438" y="614"/>
                </a:cubicBezTo>
                <a:cubicBezTo>
                  <a:pt x="8438" y="614"/>
                  <a:pt x="8410" y="649"/>
                  <a:pt x="8431" y="661"/>
                </a:cubicBezTo>
                <a:close/>
                <a:moveTo>
                  <a:pt x="8459" y="816"/>
                </a:moveTo>
                <a:cubicBezTo>
                  <a:pt x="8459" y="816"/>
                  <a:pt x="8459" y="792"/>
                  <a:pt x="8457" y="760"/>
                </a:cubicBezTo>
                <a:cubicBezTo>
                  <a:pt x="8455" y="729"/>
                  <a:pt x="8394" y="764"/>
                  <a:pt x="8394" y="764"/>
                </a:cubicBezTo>
                <a:cubicBezTo>
                  <a:pt x="8426" y="778"/>
                  <a:pt x="8426" y="778"/>
                  <a:pt x="8426" y="778"/>
                </a:cubicBezTo>
                <a:lnTo>
                  <a:pt x="8459" y="816"/>
                </a:lnTo>
                <a:close/>
                <a:moveTo>
                  <a:pt x="8197" y="28"/>
                </a:moveTo>
                <a:cubicBezTo>
                  <a:pt x="8183" y="0"/>
                  <a:pt x="8146" y="12"/>
                  <a:pt x="8146" y="28"/>
                </a:cubicBezTo>
                <a:cubicBezTo>
                  <a:pt x="8146" y="28"/>
                  <a:pt x="8214" y="56"/>
                  <a:pt x="8197" y="28"/>
                </a:cubicBezTo>
                <a:close/>
                <a:moveTo>
                  <a:pt x="8518" y="244"/>
                </a:moveTo>
                <a:cubicBezTo>
                  <a:pt x="8527" y="244"/>
                  <a:pt x="8574" y="225"/>
                  <a:pt x="8574" y="225"/>
                </a:cubicBezTo>
                <a:cubicBezTo>
                  <a:pt x="8609" y="265"/>
                  <a:pt x="8609" y="265"/>
                  <a:pt x="8609" y="265"/>
                </a:cubicBezTo>
                <a:cubicBezTo>
                  <a:pt x="8609" y="265"/>
                  <a:pt x="8619" y="239"/>
                  <a:pt x="8644" y="211"/>
                </a:cubicBezTo>
                <a:cubicBezTo>
                  <a:pt x="8668" y="183"/>
                  <a:pt x="8703" y="132"/>
                  <a:pt x="8693" y="134"/>
                </a:cubicBezTo>
                <a:cubicBezTo>
                  <a:pt x="8684" y="136"/>
                  <a:pt x="8644" y="178"/>
                  <a:pt x="8644" y="178"/>
                </a:cubicBezTo>
                <a:cubicBezTo>
                  <a:pt x="8628" y="132"/>
                  <a:pt x="8628" y="132"/>
                  <a:pt x="8628" y="132"/>
                </a:cubicBezTo>
                <a:cubicBezTo>
                  <a:pt x="8628" y="132"/>
                  <a:pt x="8628" y="165"/>
                  <a:pt x="8619" y="172"/>
                </a:cubicBezTo>
                <a:cubicBezTo>
                  <a:pt x="8609" y="178"/>
                  <a:pt x="8579" y="197"/>
                  <a:pt x="8579" y="197"/>
                </a:cubicBezTo>
                <a:cubicBezTo>
                  <a:pt x="8469" y="197"/>
                  <a:pt x="8469" y="197"/>
                  <a:pt x="8469" y="197"/>
                </a:cubicBezTo>
                <a:cubicBezTo>
                  <a:pt x="8469" y="197"/>
                  <a:pt x="8509" y="244"/>
                  <a:pt x="8518" y="244"/>
                </a:cubicBezTo>
                <a:close/>
                <a:moveTo>
                  <a:pt x="8663" y="47"/>
                </a:moveTo>
                <a:cubicBezTo>
                  <a:pt x="8665" y="12"/>
                  <a:pt x="8635" y="73"/>
                  <a:pt x="8631" y="87"/>
                </a:cubicBezTo>
                <a:cubicBezTo>
                  <a:pt x="8631" y="87"/>
                  <a:pt x="8659" y="83"/>
                  <a:pt x="8663" y="47"/>
                </a:cubicBezTo>
                <a:close/>
                <a:moveTo>
                  <a:pt x="8741" y="117"/>
                </a:moveTo>
                <a:cubicBezTo>
                  <a:pt x="8757" y="116"/>
                  <a:pt x="8731" y="92"/>
                  <a:pt x="8731" y="92"/>
                </a:cubicBezTo>
                <a:cubicBezTo>
                  <a:pt x="8731" y="92"/>
                  <a:pt x="8724" y="122"/>
                  <a:pt x="8741" y="117"/>
                </a:cubicBezTo>
                <a:close/>
                <a:moveTo>
                  <a:pt x="8644" y="387"/>
                </a:moveTo>
                <a:cubicBezTo>
                  <a:pt x="8649" y="408"/>
                  <a:pt x="8663" y="366"/>
                  <a:pt x="8663" y="331"/>
                </a:cubicBezTo>
                <a:cubicBezTo>
                  <a:pt x="8663" y="295"/>
                  <a:pt x="8703" y="202"/>
                  <a:pt x="8724" y="190"/>
                </a:cubicBezTo>
                <a:cubicBezTo>
                  <a:pt x="8748" y="178"/>
                  <a:pt x="8759" y="153"/>
                  <a:pt x="8759" y="153"/>
                </a:cubicBezTo>
                <a:cubicBezTo>
                  <a:pt x="8724" y="141"/>
                  <a:pt x="8684" y="221"/>
                  <a:pt x="8663" y="246"/>
                </a:cubicBezTo>
                <a:cubicBezTo>
                  <a:pt x="8640" y="272"/>
                  <a:pt x="8637" y="366"/>
                  <a:pt x="8644" y="387"/>
                </a:cubicBezTo>
                <a:close/>
                <a:moveTo>
                  <a:pt x="8474" y="1099"/>
                </a:moveTo>
                <a:cubicBezTo>
                  <a:pt x="8506" y="1078"/>
                  <a:pt x="8506" y="1078"/>
                  <a:pt x="8506" y="1078"/>
                </a:cubicBezTo>
                <a:cubicBezTo>
                  <a:pt x="8506" y="1078"/>
                  <a:pt x="8537" y="1059"/>
                  <a:pt x="8506" y="1019"/>
                </a:cubicBezTo>
                <a:cubicBezTo>
                  <a:pt x="8476" y="980"/>
                  <a:pt x="8422" y="951"/>
                  <a:pt x="8420" y="966"/>
                </a:cubicBezTo>
                <a:cubicBezTo>
                  <a:pt x="8420" y="966"/>
                  <a:pt x="8478" y="1010"/>
                  <a:pt x="8478" y="1019"/>
                </a:cubicBezTo>
                <a:cubicBezTo>
                  <a:pt x="8478" y="1029"/>
                  <a:pt x="8487" y="1040"/>
                  <a:pt x="8483" y="1059"/>
                </a:cubicBezTo>
                <a:cubicBezTo>
                  <a:pt x="8476" y="1078"/>
                  <a:pt x="8474" y="1099"/>
                  <a:pt x="8474" y="1099"/>
                </a:cubicBezTo>
                <a:close/>
                <a:moveTo>
                  <a:pt x="8445" y="938"/>
                </a:moveTo>
                <a:cubicBezTo>
                  <a:pt x="8457" y="928"/>
                  <a:pt x="8389" y="895"/>
                  <a:pt x="8389" y="895"/>
                </a:cubicBezTo>
                <a:cubicBezTo>
                  <a:pt x="8389" y="895"/>
                  <a:pt x="8431" y="947"/>
                  <a:pt x="8445" y="938"/>
                </a:cubicBezTo>
                <a:close/>
                <a:moveTo>
                  <a:pt x="8673" y="738"/>
                </a:moveTo>
                <a:cubicBezTo>
                  <a:pt x="8656" y="715"/>
                  <a:pt x="8621" y="736"/>
                  <a:pt x="8621" y="736"/>
                </a:cubicBezTo>
                <a:cubicBezTo>
                  <a:pt x="8637" y="755"/>
                  <a:pt x="8637" y="755"/>
                  <a:pt x="8637" y="755"/>
                </a:cubicBezTo>
                <a:cubicBezTo>
                  <a:pt x="8644" y="788"/>
                  <a:pt x="8644" y="788"/>
                  <a:pt x="8644" y="788"/>
                </a:cubicBezTo>
                <a:cubicBezTo>
                  <a:pt x="8644" y="788"/>
                  <a:pt x="8687" y="764"/>
                  <a:pt x="8673" y="738"/>
                </a:cubicBezTo>
                <a:close/>
                <a:moveTo>
                  <a:pt x="8656" y="589"/>
                </a:moveTo>
                <a:cubicBezTo>
                  <a:pt x="8640" y="598"/>
                  <a:pt x="8607" y="692"/>
                  <a:pt x="8607" y="692"/>
                </a:cubicBezTo>
                <a:cubicBezTo>
                  <a:pt x="8684" y="652"/>
                  <a:pt x="8684" y="652"/>
                  <a:pt x="8684" y="652"/>
                </a:cubicBezTo>
                <a:cubicBezTo>
                  <a:pt x="8640" y="640"/>
                  <a:pt x="8640" y="640"/>
                  <a:pt x="8640" y="640"/>
                </a:cubicBezTo>
                <a:cubicBezTo>
                  <a:pt x="8640" y="640"/>
                  <a:pt x="8687" y="621"/>
                  <a:pt x="8684" y="595"/>
                </a:cubicBezTo>
                <a:cubicBezTo>
                  <a:pt x="8682" y="570"/>
                  <a:pt x="8663" y="509"/>
                  <a:pt x="8665" y="500"/>
                </a:cubicBezTo>
                <a:cubicBezTo>
                  <a:pt x="8668" y="490"/>
                  <a:pt x="8673" y="455"/>
                  <a:pt x="8663" y="445"/>
                </a:cubicBezTo>
                <a:cubicBezTo>
                  <a:pt x="8654" y="436"/>
                  <a:pt x="8637" y="445"/>
                  <a:pt x="8637" y="483"/>
                </a:cubicBezTo>
                <a:cubicBezTo>
                  <a:pt x="8637" y="521"/>
                  <a:pt x="8673" y="579"/>
                  <a:pt x="8656" y="589"/>
                </a:cubicBezTo>
                <a:close/>
                <a:moveTo>
                  <a:pt x="9394" y="1509"/>
                </a:moveTo>
                <a:cubicBezTo>
                  <a:pt x="9345" y="1446"/>
                  <a:pt x="9345" y="1446"/>
                  <a:pt x="9345" y="1446"/>
                </a:cubicBezTo>
                <a:cubicBezTo>
                  <a:pt x="9345" y="1481"/>
                  <a:pt x="9345" y="1481"/>
                  <a:pt x="9345" y="1481"/>
                </a:cubicBezTo>
                <a:cubicBezTo>
                  <a:pt x="9298" y="1486"/>
                  <a:pt x="9298" y="1486"/>
                  <a:pt x="9298" y="1486"/>
                </a:cubicBezTo>
                <a:cubicBezTo>
                  <a:pt x="9354" y="1533"/>
                  <a:pt x="9354" y="1533"/>
                  <a:pt x="9354" y="1533"/>
                </a:cubicBezTo>
                <a:lnTo>
                  <a:pt x="9394" y="1509"/>
                </a:lnTo>
                <a:close/>
                <a:moveTo>
                  <a:pt x="8584" y="738"/>
                </a:moveTo>
                <a:cubicBezTo>
                  <a:pt x="8553" y="797"/>
                  <a:pt x="8553" y="797"/>
                  <a:pt x="8553" y="797"/>
                </a:cubicBezTo>
                <a:cubicBezTo>
                  <a:pt x="8584" y="769"/>
                  <a:pt x="8584" y="769"/>
                  <a:pt x="8584" y="769"/>
                </a:cubicBezTo>
                <a:lnTo>
                  <a:pt x="8584" y="738"/>
                </a:lnTo>
                <a:close/>
                <a:moveTo>
                  <a:pt x="8602" y="1256"/>
                </a:moveTo>
                <a:cubicBezTo>
                  <a:pt x="8607" y="1174"/>
                  <a:pt x="8607" y="1174"/>
                  <a:pt x="8607" y="1174"/>
                </a:cubicBezTo>
                <a:cubicBezTo>
                  <a:pt x="8607" y="1174"/>
                  <a:pt x="8572" y="1123"/>
                  <a:pt x="8560" y="1094"/>
                </a:cubicBezTo>
                <a:cubicBezTo>
                  <a:pt x="8546" y="1066"/>
                  <a:pt x="8560" y="1017"/>
                  <a:pt x="8560" y="1008"/>
                </a:cubicBezTo>
                <a:cubicBezTo>
                  <a:pt x="8560" y="999"/>
                  <a:pt x="8544" y="963"/>
                  <a:pt x="8544" y="963"/>
                </a:cubicBezTo>
                <a:cubicBezTo>
                  <a:pt x="8591" y="905"/>
                  <a:pt x="8591" y="905"/>
                  <a:pt x="8591" y="905"/>
                </a:cubicBezTo>
                <a:cubicBezTo>
                  <a:pt x="8591" y="905"/>
                  <a:pt x="8588" y="890"/>
                  <a:pt x="8570" y="890"/>
                </a:cubicBezTo>
                <a:cubicBezTo>
                  <a:pt x="8551" y="890"/>
                  <a:pt x="8565" y="849"/>
                  <a:pt x="8565" y="849"/>
                </a:cubicBezTo>
                <a:cubicBezTo>
                  <a:pt x="8544" y="816"/>
                  <a:pt x="8553" y="905"/>
                  <a:pt x="8553" y="905"/>
                </a:cubicBezTo>
                <a:cubicBezTo>
                  <a:pt x="8513" y="956"/>
                  <a:pt x="8513" y="956"/>
                  <a:pt x="8513" y="956"/>
                </a:cubicBezTo>
                <a:cubicBezTo>
                  <a:pt x="8513" y="956"/>
                  <a:pt x="8527" y="980"/>
                  <a:pt x="8542" y="1008"/>
                </a:cubicBezTo>
                <a:cubicBezTo>
                  <a:pt x="8553" y="1036"/>
                  <a:pt x="8534" y="1071"/>
                  <a:pt x="8534" y="1094"/>
                </a:cubicBezTo>
                <a:cubicBezTo>
                  <a:pt x="8534" y="1116"/>
                  <a:pt x="8553" y="1127"/>
                  <a:pt x="8570" y="1183"/>
                </a:cubicBezTo>
                <a:cubicBezTo>
                  <a:pt x="8584" y="1240"/>
                  <a:pt x="8602" y="1256"/>
                  <a:pt x="8602" y="1256"/>
                </a:cubicBezTo>
                <a:close/>
                <a:moveTo>
                  <a:pt x="8532" y="1284"/>
                </a:moveTo>
                <a:cubicBezTo>
                  <a:pt x="8544" y="1240"/>
                  <a:pt x="8544" y="1240"/>
                  <a:pt x="8544" y="1240"/>
                </a:cubicBezTo>
                <a:cubicBezTo>
                  <a:pt x="8509" y="1193"/>
                  <a:pt x="8515" y="1305"/>
                  <a:pt x="8515" y="1305"/>
                </a:cubicBezTo>
                <a:lnTo>
                  <a:pt x="8532" y="1284"/>
                </a:lnTo>
                <a:close/>
                <a:moveTo>
                  <a:pt x="8593" y="1472"/>
                </a:moveTo>
                <a:cubicBezTo>
                  <a:pt x="8649" y="1448"/>
                  <a:pt x="8649" y="1448"/>
                  <a:pt x="8649" y="1448"/>
                </a:cubicBezTo>
                <a:cubicBezTo>
                  <a:pt x="8616" y="1429"/>
                  <a:pt x="8616" y="1429"/>
                  <a:pt x="8616" y="1429"/>
                </a:cubicBezTo>
                <a:lnTo>
                  <a:pt x="8593" y="1472"/>
                </a:lnTo>
                <a:close/>
                <a:moveTo>
                  <a:pt x="8663" y="1378"/>
                </a:moveTo>
                <a:cubicBezTo>
                  <a:pt x="8677" y="1361"/>
                  <a:pt x="8612" y="1258"/>
                  <a:pt x="8600" y="1291"/>
                </a:cubicBezTo>
                <a:cubicBezTo>
                  <a:pt x="8600" y="1291"/>
                  <a:pt x="8647" y="1392"/>
                  <a:pt x="8663" y="1378"/>
                </a:cubicBezTo>
                <a:close/>
                <a:moveTo>
                  <a:pt x="8665" y="1418"/>
                </a:moveTo>
                <a:cubicBezTo>
                  <a:pt x="8665" y="1418"/>
                  <a:pt x="8762" y="1465"/>
                  <a:pt x="8785" y="1448"/>
                </a:cubicBezTo>
                <a:cubicBezTo>
                  <a:pt x="8806" y="1434"/>
                  <a:pt x="8806" y="1420"/>
                  <a:pt x="8790" y="1420"/>
                </a:cubicBezTo>
                <a:cubicBezTo>
                  <a:pt x="8776" y="1420"/>
                  <a:pt x="8665" y="1397"/>
                  <a:pt x="8665" y="1418"/>
                </a:cubicBezTo>
                <a:close/>
                <a:moveTo>
                  <a:pt x="8818" y="1455"/>
                </a:moveTo>
                <a:cubicBezTo>
                  <a:pt x="8818" y="1455"/>
                  <a:pt x="8787" y="1483"/>
                  <a:pt x="8794" y="1493"/>
                </a:cubicBezTo>
                <a:cubicBezTo>
                  <a:pt x="8799" y="1502"/>
                  <a:pt x="8818" y="1533"/>
                  <a:pt x="8818" y="1533"/>
                </a:cubicBezTo>
                <a:cubicBezTo>
                  <a:pt x="8818" y="1533"/>
                  <a:pt x="8759" y="1530"/>
                  <a:pt x="8762" y="1539"/>
                </a:cubicBezTo>
                <a:cubicBezTo>
                  <a:pt x="8766" y="1549"/>
                  <a:pt x="8799" y="1556"/>
                  <a:pt x="8825" y="1551"/>
                </a:cubicBezTo>
                <a:cubicBezTo>
                  <a:pt x="8848" y="1549"/>
                  <a:pt x="8871" y="1537"/>
                  <a:pt x="8846" y="1509"/>
                </a:cubicBezTo>
                <a:cubicBezTo>
                  <a:pt x="8820" y="1481"/>
                  <a:pt x="8865" y="1446"/>
                  <a:pt x="8818" y="1455"/>
                </a:cubicBezTo>
                <a:close/>
                <a:moveTo>
                  <a:pt x="8876" y="1542"/>
                </a:moveTo>
                <a:cubicBezTo>
                  <a:pt x="8919" y="1594"/>
                  <a:pt x="8919" y="1594"/>
                  <a:pt x="8919" y="1594"/>
                </a:cubicBezTo>
                <a:cubicBezTo>
                  <a:pt x="8979" y="1612"/>
                  <a:pt x="8979" y="1612"/>
                  <a:pt x="8979" y="1612"/>
                </a:cubicBezTo>
                <a:cubicBezTo>
                  <a:pt x="8979" y="1612"/>
                  <a:pt x="9003" y="1645"/>
                  <a:pt x="9017" y="1643"/>
                </a:cubicBezTo>
                <a:cubicBezTo>
                  <a:pt x="9033" y="1640"/>
                  <a:pt x="8989" y="1575"/>
                  <a:pt x="8968" y="1570"/>
                </a:cubicBezTo>
                <a:cubicBezTo>
                  <a:pt x="8947" y="1567"/>
                  <a:pt x="8883" y="1528"/>
                  <a:pt x="8883" y="1528"/>
                </a:cubicBezTo>
                <a:lnTo>
                  <a:pt x="8876" y="1542"/>
                </a:lnTo>
                <a:close/>
                <a:moveTo>
                  <a:pt x="8984" y="1671"/>
                </a:moveTo>
                <a:cubicBezTo>
                  <a:pt x="8984" y="1671"/>
                  <a:pt x="8965" y="1683"/>
                  <a:pt x="8977" y="1692"/>
                </a:cubicBezTo>
                <a:cubicBezTo>
                  <a:pt x="8989" y="1701"/>
                  <a:pt x="9008" y="1722"/>
                  <a:pt x="9008" y="1722"/>
                </a:cubicBezTo>
                <a:lnTo>
                  <a:pt x="8984" y="1671"/>
                </a:lnTo>
                <a:close/>
                <a:moveTo>
                  <a:pt x="9631" y="2334"/>
                </a:moveTo>
                <a:cubicBezTo>
                  <a:pt x="9691" y="2306"/>
                  <a:pt x="9691" y="2306"/>
                  <a:pt x="9691" y="2306"/>
                </a:cubicBezTo>
                <a:cubicBezTo>
                  <a:pt x="9691" y="2306"/>
                  <a:pt x="9644" y="2256"/>
                  <a:pt x="9621" y="2266"/>
                </a:cubicBezTo>
                <a:cubicBezTo>
                  <a:pt x="9640" y="2303"/>
                  <a:pt x="9640" y="2303"/>
                  <a:pt x="9640" y="2303"/>
                </a:cubicBezTo>
                <a:lnTo>
                  <a:pt x="9631" y="2334"/>
                </a:lnTo>
                <a:close/>
                <a:moveTo>
                  <a:pt x="10675" y="2765"/>
                </a:moveTo>
                <a:cubicBezTo>
                  <a:pt x="10677" y="2741"/>
                  <a:pt x="10703" y="2720"/>
                  <a:pt x="10703" y="2720"/>
                </a:cubicBezTo>
                <a:cubicBezTo>
                  <a:pt x="10612" y="2765"/>
                  <a:pt x="10612" y="2765"/>
                  <a:pt x="10612" y="2765"/>
                </a:cubicBezTo>
                <a:cubicBezTo>
                  <a:pt x="10612" y="2765"/>
                  <a:pt x="10673" y="2786"/>
                  <a:pt x="10675" y="2765"/>
                </a:cubicBezTo>
                <a:close/>
                <a:moveTo>
                  <a:pt x="10808" y="2711"/>
                </a:moveTo>
                <a:cubicBezTo>
                  <a:pt x="10792" y="2694"/>
                  <a:pt x="10771" y="2732"/>
                  <a:pt x="10771" y="2732"/>
                </a:cubicBezTo>
                <a:cubicBezTo>
                  <a:pt x="10780" y="2732"/>
                  <a:pt x="10825" y="2727"/>
                  <a:pt x="10808" y="2711"/>
                </a:cubicBezTo>
                <a:close/>
                <a:moveTo>
                  <a:pt x="10825" y="2652"/>
                </a:moveTo>
                <a:cubicBezTo>
                  <a:pt x="10792" y="2645"/>
                  <a:pt x="10792" y="2640"/>
                  <a:pt x="10827" y="2683"/>
                </a:cubicBezTo>
                <a:cubicBezTo>
                  <a:pt x="10827" y="2683"/>
                  <a:pt x="10855" y="2659"/>
                  <a:pt x="10825" y="2652"/>
                </a:cubicBezTo>
                <a:close/>
                <a:moveTo>
                  <a:pt x="10792" y="3268"/>
                </a:moveTo>
                <a:cubicBezTo>
                  <a:pt x="10755" y="3287"/>
                  <a:pt x="10755" y="3287"/>
                  <a:pt x="10755" y="3287"/>
                </a:cubicBezTo>
                <a:cubicBezTo>
                  <a:pt x="10764" y="3324"/>
                  <a:pt x="10764" y="3324"/>
                  <a:pt x="10764" y="3324"/>
                </a:cubicBezTo>
                <a:cubicBezTo>
                  <a:pt x="10806" y="3283"/>
                  <a:pt x="10806" y="3283"/>
                  <a:pt x="10806" y="3283"/>
                </a:cubicBezTo>
                <a:cubicBezTo>
                  <a:pt x="10839" y="3254"/>
                  <a:pt x="10839" y="3254"/>
                  <a:pt x="10839" y="3254"/>
                </a:cubicBezTo>
                <a:cubicBezTo>
                  <a:pt x="10799" y="3250"/>
                  <a:pt x="10799" y="3250"/>
                  <a:pt x="10799" y="3250"/>
                </a:cubicBezTo>
                <a:lnTo>
                  <a:pt x="10792" y="3268"/>
                </a:lnTo>
                <a:close/>
                <a:moveTo>
                  <a:pt x="9040" y="1867"/>
                </a:moveTo>
                <a:cubicBezTo>
                  <a:pt x="9026" y="1900"/>
                  <a:pt x="9017" y="1926"/>
                  <a:pt x="9017" y="1926"/>
                </a:cubicBezTo>
                <a:cubicBezTo>
                  <a:pt x="9017" y="1926"/>
                  <a:pt x="9040" y="1907"/>
                  <a:pt x="9040" y="1943"/>
                </a:cubicBezTo>
                <a:cubicBezTo>
                  <a:pt x="9040" y="1975"/>
                  <a:pt x="9033" y="2039"/>
                  <a:pt x="9033" y="2039"/>
                </a:cubicBezTo>
                <a:cubicBezTo>
                  <a:pt x="9033" y="2039"/>
                  <a:pt x="9078" y="2043"/>
                  <a:pt x="9073" y="1992"/>
                </a:cubicBezTo>
                <a:cubicBezTo>
                  <a:pt x="9071" y="1938"/>
                  <a:pt x="9054" y="1905"/>
                  <a:pt x="9054" y="1905"/>
                </a:cubicBezTo>
                <a:cubicBezTo>
                  <a:pt x="9054" y="1905"/>
                  <a:pt x="9073" y="1811"/>
                  <a:pt x="9068" y="1776"/>
                </a:cubicBezTo>
                <a:cubicBezTo>
                  <a:pt x="9061" y="1741"/>
                  <a:pt x="9078" y="1673"/>
                  <a:pt x="9059" y="1673"/>
                </a:cubicBezTo>
                <a:cubicBezTo>
                  <a:pt x="9040" y="1673"/>
                  <a:pt x="9031" y="1683"/>
                  <a:pt x="9031" y="1683"/>
                </a:cubicBezTo>
                <a:cubicBezTo>
                  <a:pt x="9031" y="1683"/>
                  <a:pt x="9052" y="1833"/>
                  <a:pt x="9040" y="1867"/>
                </a:cubicBezTo>
                <a:close/>
                <a:moveTo>
                  <a:pt x="9005" y="2020"/>
                </a:moveTo>
                <a:cubicBezTo>
                  <a:pt x="9012" y="1992"/>
                  <a:pt x="8956" y="1989"/>
                  <a:pt x="8956" y="1989"/>
                </a:cubicBezTo>
                <a:cubicBezTo>
                  <a:pt x="8956" y="1989"/>
                  <a:pt x="8998" y="2048"/>
                  <a:pt x="9005" y="2020"/>
                </a:cubicBezTo>
                <a:close/>
                <a:moveTo>
                  <a:pt x="9068" y="2060"/>
                </a:moveTo>
                <a:cubicBezTo>
                  <a:pt x="9054" y="2052"/>
                  <a:pt x="9026" y="2069"/>
                  <a:pt x="9026" y="2069"/>
                </a:cubicBezTo>
                <a:cubicBezTo>
                  <a:pt x="9052" y="2085"/>
                  <a:pt x="9052" y="2085"/>
                  <a:pt x="9052" y="2085"/>
                </a:cubicBezTo>
                <a:cubicBezTo>
                  <a:pt x="9036" y="2109"/>
                  <a:pt x="9036" y="2109"/>
                  <a:pt x="9036" y="2109"/>
                </a:cubicBezTo>
                <a:cubicBezTo>
                  <a:pt x="9052" y="2132"/>
                  <a:pt x="9052" y="2132"/>
                  <a:pt x="9052" y="2132"/>
                </a:cubicBezTo>
                <a:cubicBezTo>
                  <a:pt x="9033" y="2144"/>
                  <a:pt x="9033" y="2144"/>
                  <a:pt x="9033" y="2144"/>
                </a:cubicBezTo>
                <a:cubicBezTo>
                  <a:pt x="9033" y="2144"/>
                  <a:pt x="9097" y="2156"/>
                  <a:pt x="9082" y="2125"/>
                </a:cubicBezTo>
                <a:cubicBezTo>
                  <a:pt x="9071" y="2095"/>
                  <a:pt x="9080" y="2067"/>
                  <a:pt x="9068" y="2060"/>
                </a:cubicBezTo>
                <a:close/>
                <a:moveTo>
                  <a:pt x="9809" y="2659"/>
                </a:moveTo>
                <a:cubicBezTo>
                  <a:pt x="9790" y="2634"/>
                  <a:pt x="9733" y="2713"/>
                  <a:pt x="9733" y="2713"/>
                </a:cubicBezTo>
                <a:cubicBezTo>
                  <a:pt x="9750" y="2718"/>
                  <a:pt x="9764" y="2723"/>
                  <a:pt x="9764" y="2723"/>
                </a:cubicBezTo>
                <a:cubicBezTo>
                  <a:pt x="9764" y="2723"/>
                  <a:pt x="9827" y="2683"/>
                  <a:pt x="9809" y="2659"/>
                </a:cubicBezTo>
                <a:close/>
                <a:moveTo>
                  <a:pt x="9195" y="2634"/>
                </a:moveTo>
                <a:cubicBezTo>
                  <a:pt x="9207" y="2605"/>
                  <a:pt x="9207" y="2605"/>
                  <a:pt x="9207" y="2605"/>
                </a:cubicBezTo>
                <a:cubicBezTo>
                  <a:pt x="9216" y="2566"/>
                  <a:pt x="9216" y="2566"/>
                  <a:pt x="9216" y="2566"/>
                </a:cubicBezTo>
                <a:cubicBezTo>
                  <a:pt x="9202" y="2559"/>
                  <a:pt x="9150" y="2608"/>
                  <a:pt x="9157" y="2634"/>
                </a:cubicBezTo>
                <a:cubicBezTo>
                  <a:pt x="9165" y="2659"/>
                  <a:pt x="9195" y="2634"/>
                  <a:pt x="9195" y="2634"/>
                </a:cubicBezTo>
                <a:close/>
                <a:moveTo>
                  <a:pt x="9263" y="2683"/>
                </a:moveTo>
                <a:cubicBezTo>
                  <a:pt x="9286" y="2659"/>
                  <a:pt x="9223" y="2666"/>
                  <a:pt x="9223" y="2666"/>
                </a:cubicBezTo>
                <a:cubicBezTo>
                  <a:pt x="9223" y="2666"/>
                  <a:pt x="9242" y="2708"/>
                  <a:pt x="9263" y="2683"/>
                </a:cubicBezTo>
                <a:close/>
                <a:moveTo>
                  <a:pt x="9621" y="3170"/>
                </a:moveTo>
                <a:cubicBezTo>
                  <a:pt x="9626" y="3144"/>
                  <a:pt x="9666" y="3114"/>
                  <a:pt x="9666" y="3114"/>
                </a:cubicBezTo>
                <a:cubicBezTo>
                  <a:pt x="9703" y="3090"/>
                  <a:pt x="9703" y="3090"/>
                  <a:pt x="9703" y="3090"/>
                </a:cubicBezTo>
                <a:cubicBezTo>
                  <a:pt x="9668" y="3076"/>
                  <a:pt x="9668" y="3076"/>
                  <a:pt x="9668" y="3076"/>
                </a:cubicBezTo>
                <a:cubicBezTo>
                  <a:pt x="9649" y="3057"/>
                  <a:pt x="9649" y="3057"/>
                  <a:pt x="9649" y="3057"/>
                </a:cubicBezTo>
                <a:cubicBezTo>
                  <a:pt x="9635" y="3100"/>
                  <a:pt x="9635" y="3100"/>
                  <a:pt x="9635" y="3100"/>
                </a:cubicBezTo>
                <a:cubicBezTo>
                  <a:pt x="9635" y="3100"/>
                  <a:pt x="9560" y="3146"/>
                  <a:pt x="9574" y="3182"/>
                </a:cubicBezTo>
                <a:cubicBezTo>
                  <a:pt x="9574" y="3182"/>
                  <a:pt x="9619" y="3194"/>
                  <a:pt x="9621" y="3170"/>
                </a:cubicBezTo>
                <a:close/>
                <a:moveTo>
                  <a:pt x="9741" y="3200"/>
                </a:moveTo>
                <a:cubicBezTo>
                  <a:pt x="9787" y="3194"/>
                  <a:pt x="9787" y="3194"/>
                  <a:pt x="9787" y="3194"/>
                </a:cubicBezTo>
                <a:cubicBezTo>
                  <a:pt x="9787" y="3194"/>
                  <a:pt x="9780" y="3219"/>
                  <a:pt x="9811" y="3219"/>
                </a:cubicBezTo>
                <a:cubicBezTo>
                  <a:pt x="9844" y="3219"/>
                  <a:pt x="9876" y="3219"/>
                  <a:pt x="9876" y="3219"/>
                </a:cubicBezTo>
                <a:cubicBezTo>
                  <a:pt x="9820" y="3194"/>
                  <a:pt x="9820" y="3194"/>
                  <a:pt x="9820" y="3194"/>
                </a:cubicBezTo>
                <a:cubicBezTo>
                  <a:pt x="9752" y="3163"/>
                  <a:pt x="9752" y="3163"/>
                  <a:pt x="9752" y="3163"/>
                </a:cubicBezTo>
                <a:cubicBezTo>
                  <a:pt x="9752" y="3163"/>
                  <a:pt x="9752" y="3137"/>
                  <a:pt x="9741" y="3125"/>
                </a:cubicBezTo>
                <a:cubicBezTo>
                  <a:pt x="9729" y="3114"/>
                  <a:pt x="9731" y="3172"/>
                  <a:pt x="9731" y="3172"/>
                </a:cubicBezTo>
                <a:lnTo>
                  <a:pt x="9741" y="3200"/>
                </a:lnTo>
                <a:close/>
                <a:moveTo>
                  <a:pt x="9853" y="3528"/>
                </a:moveTo>
                <a:cubicBezTo>
                  <a:pt x="9830" y="3486"/>
                  <a:pt x="9818" y="3409"/>
                  <a:pt x="9818" y="3409"/>
                </a:cubicBezTo>
                <a:cubicBezTo>
                  <a:pt x="9780" y="3428"/>
                  <a:pt x="9780" y="3428"/>
                  <a:pt x="9780" y="3428"/>
                </a:cubicBezTo>
                <a:cubicBezTo>
                  <a:pt x="9809" y="3493"/>
                  <a:pt x="9809" y="3493"/>
                  <a:pt x="9809" y="3493"/>
                </a:cubicBezTo>
                <a:cubicBezTo>
                  <a:pt x="9809" y="3538"/>
                  <a:pt x="9809" y="3538"/>
                  <a:pt x="9809" y="3538"/>
                </a:cubicBezTo>
                <a:cubicBezTo>
                  <a:pt x="9809" y="3538"/>
                  <a:pt x="9874" y="3568"/>
                  <a:pt x="9853" y="3528"/>
                </a:cubicBezTo>
                <a:close/>
                <a:moveTo>
                  <a:pt x="9858" y="3350"/>
                </a:moveTo>
                <a:cubicBezTo>
                  <a:pt x="9869" y="3357"/>
                  <a:pt x="9890" y="3308"/>
                  <a:pt x="9890" y="3308"/>
                </a:cubicBezTo>
                <a:cubicBezTo>
                  <a:pt x="9881" y="3275"/>
                  <a:pt x="9881" y="3275"/>
                  <a:pt x="9881" y="3275"/>
                </a:cubicBezTo>
                <a:cubicBezTo>
                  <a:pt x="9881" y="3275"/>
                  <a:pt x="9830" y="3327"/>
                  <a:pt x="9858" y="3350"/>
                </a:cubicBezTo>
                <a:close/>
                <a:moveTo>
                  <a:pt x="10033" y="3355"/>
                </a:moveTo>
                <a:cubicBezTo>
                  <a:pt x="10050" y="3334"/>
                  <a:pt x="10007" y="3275"/>
                  <a:pt x="10007" y="3275"/>
                </a:cubicBezTo>
                <a:cubicBezTo>
                  <a:pt x="10007" y="3275"/>
                  <a:pt x="10003" y="3306"/>
                  <a:pt x="9996" y="3315"/>
                </a:cubicBezTo>
                <a:cubicBezTo>
                  <a:pt x="9989" y="3324"/>
                  <a:pt x="9928" y="3294"/>
                  <a:pt x="9914" y="3327"/>
                </a:cubicBezTo>
                <a:cubicBezTo>
                  <a:pt x="9949" y="3350"/>
                  <a:pt x="9949" y="3350"/>
                  <a:pt x="9949" y="3350"/>
                </a:cubicBezTo>
                <a:cubicBezTo>
                  <a:pt x="9949" y="3350"/>
                  <a:pt x="10017" y="3378"/>
                  <a:pt x="10033" y="3355"/>
                </a:cubicBezTo>
                <a:close/>
                <a:moveTo>
                  <a:pt x="10136" y="3955"/>
                </a:moveTo>
                <a:cubicBezTo>
                  <a:pt x="10157" y="3948"/>
                  <a:pt x="10073" y="3908"/>
                  <a:pt x="10073" y="3908"/>
                </a:cubicBezTo>
                <a:cubicBezTo>
                  <a:pt x="10080" y="3957"/>
                  <a:pt x="10113" y="3960"/>
                  <a:pt x="10136" y="3955"/>
                </a:cubicBezTo>
                <a:close/>
                <a:moveTo>
                  <a:pt x="10534" y="3899"/>
                </a:moveTo>
                <a:cubicBezTo>
                  <a:pt x="10537" y="3849"/>
                  <a:pt x="10537" y="3849"/>
                  <a:pt x="10537" y="3849"/>
                </a:cubicBezTo>
                <a:cubicBezTo>
                  <a:pt x="10537" y="3849"/>
                  <a:pt x="10457" y="3826"/>
                  <a:pt x="10420" y="3920"/>
                </a:cubicBezTo>
                <a:cubicBezTo>
                  <a:pt x="10506" y="3870"/>
                  <a:pt x="10506" y="3870"/>
                  <a:pt x="10506" y="3870"/>
                </a:cubicBezTo>
                <a:lnTo>
                  <a:pt x="10534" y="3899"/>
                </a:lnTo>
                <a:close/>
                <a:moveTo>
                  <a:pt x="10626" y="3920"/>
                </a:moveTo>
                <a:cubicBezTo>
                  <a:pt x="10635" y="3899"/>
                  <a:pt x="10619" y="3868"/>
                  <a:pt x="10619" y="3868"/>
                </a:cubicBezTo>
                <a:cubicBezTo>
                  <a:pt x="10562" y="3915"/>
                  <a:pt x="10562" y="3915"/>
                  <a:pt x="10562" y="3915"/>
                </a:cubicBezTo>
                <a:cubicBezTo>
                  <a:pt x="10562" y="3915"/>
                  <a:pt x="10617" y="3943"/>
                  <a:pt x="10626" y="3920"/>
                </a:cubicBezTo>
                <a:close/>
                <a:moveTo>
                  <a:pt x="10788" y="4156"/>
                </a:moveTo>
                <a:cubicBezTo>
                  <a:pt x="10734" y="3995"/>
                  <a:pt x="10734" y="3995"/>
                  <a:pt x="10734" y="3995"/>
                </a:cubicBezTo>
                <a:cubicBezTo>
                  <a:pt x="10719" y="3992"/>
                  <a:pt x="10719" y="3992"/>
                  <a:pt x="10719" y="3992"/>
                </a:cubicBezTo>
                <a:cubicBezTo>
                  <a:pt x="10764" y="4161"/>
                  <a:pt x="10764" y="4161"/>
                  <a:pt x="10764" y="4161"/>
                </a:cubicBezTo>
                <a:lnTo>
                  <a:pt x="10788" y="4156"/>
                </a:lnTo>
                <a:close/>
                <a:moveTo>
                  <a:pt x="10731" y="3861"/>
                </a:moveTo>
                <a:cubicBezTo>
                  <a:pt x="10731" y="3861"/>
                  <a:pt x="10759" y="3873"/>
                  <a:pt x="10759" y="3891"/>
                </a:cubicBezTo>
                <a:cubicBezTo>
                  <a:pt x="10759" y="3910"/>
                  <a:pt x="10764" y="3938"/>
                  <a:pt x="10764" y="3938"/>
                </a:cubicBezTo>
                <a:cubicBezTo>
                  <a:pt x="10764" y="3938"/>
                  <a:pt x="10788" y="3915"/>
                  <a:pt x="10788" y="3901"/>
                </a:cubicBezTo>
                <a:cubicBezTo>
                  <a:pt x="10788" y="3889"/>
                  <a:pt x="10820" y="3870"/>
                  <a:pt x="10801" y="3835"/>
                </a:cubicBezTo>
                <a:cubicBezTo>
                  <a:pt x="10783" y="3802"/>
                  <a:pt x="10731" y="3861"/>
                  <a:pt x="10731" y="3861"/>
                </a:cubicBezTo>
                <a:close/>
                <a:moveTo>
                  <a:pt x="10979" y="4138"/>
                </a:moveTo>
                <a:cubicBezTo>
                  <a:pt x="10996" y="4154"/>
                  <a:pt x="10996" y="4154"/>
                  <a:pt x="10996" y="4154"/>
                </a:cubicBezTo>
                <a:cubicBezTo>
                  <a:pt x="11066" y="4079"/>
                  <a:pt x="11066" y="4079"/>
                  <a:pt x="11066" y="4079"/>
                </a:cubicBezTo>
                <a:cubicBezTo>
                  <a:pt x="11043" y="4072"/>
                  <a:pt x="11043" y="4072"/>
                  <a:pt x="11043" y="4072"/>
                </a:cubicBezTo>
                <a:lnTo>
                  <a:pt x="10979" y="4138"/>
                </a:lnTo>
                <a:close/>
                <a:moveTo>
                  <a:pt x="11439" y="4276"/>
                </a:moveTo>
                <a:cubicBezTo>
                  <a:pt x="11429" y="4276"/>
                  <a:pt x="11394" y="4294"/>
                  <a:pt x="11394" y="4294"/>
                </a:cubicBezTo>
                <a:cubicBezTo>
                  <a:pt x="11394" y="4294"/>
                  <a:pt x="11378" y="4308"/>
                  <a:pt x="11429" y="4308"/>
                </a:cubicBezTo>
                <a:cubicBezTo>
                  <a:pt x="11478" y="4308"/>
                  <a:pt x="11488" y="4268"/>
                  <a:pt x="11488" y="4268"/>
                </a:cubicBezTo>
                <a:cubicBezTo>
                  <a:pt x="11488" y="4268"/>
                  <a:pt x="11448" y="4276"/>
                  <a:pt x="11439" y="4276"/>
                </a:cubicBezTo>
                <a:close/>
                <a:moveTo>
                  <a:pt x="10762" y="4182"/>
                </a:moveTo>
                <a:cubicBezTo>
                  <a:pt x="10755" y="4170"/>
                  <a:pt x="10691" y="4166"/>
                  <a:pt x="10715" y="4231"/>
                </a:cubicBezTo>
                <a:cubicBezTo>
                  <a:pt x="10727" y="4264"/>
                  <a:pt x="10769" y="4194"/>
                  <a:pt x="10762" y="4182"/>
                </a:cubicBezTo>
                <a:close/>
                <a:moveTo>
                  <a:pt x="10272" y="3500"/>
                </a:moveTo>
                <a:cubicBezTo>
                  <a:pt x="10310" y="3531"/>
                  <a:pt x="10310" y="3531"/>
                  <a:pt x="10310" y="3531"/>
                </a:cubicBezTo>
                <a:cubicBezTo>
                  <a:pt x="10310" y="3531"/>
                  <a:pt x="10289" y="3430"/>
                  <a:pt x="10272" y="3500"/>
                </a:cubicBezTo>
                <a:close/>
                <a:moveTo>
                  <a:pt x="10780" y="4955"/>
                </a:moveTo>
                <a:cubicBezTo>
                  <a:pt x="10769" y="4932"/>
                  <a:pt x="10736" y="4960"/>
                  <a:pt x="10736" y="4969"/>
                </a:cubicBezTo>
                <a:cubicBezTo>
                  <a:pt x="10736" y="4978"/>
                  <a:pt x="10750" y="5016"/>
                  <a:pt x="10743" y="5051"/>
                </a:cubicBezTo>
                <a:cubicBezTo>
                  <a:pt x="10736" y="5086"/>
                  <a:pt x="10696" y="5053"/>
                  <a:pt x="10696" y="5079"/>
                </a:cubicBezTo>
                <a:cubicBezTo>
                  <a:pt x="10696" y="5105"/>
                  <a:pt x="10745" y="5107"/>
                  <a:pt x="10745" y="5107"/>
                </a:cubicBezTo>
                <a:cubicBezTo>
                  <a:pt x="10801" y="5034"/>
                  <a:pt x="10801" y="5034"/>
                  <a:pt x="10801" y="5034"/>
                </a:cubicBezTo>
                <a:cubicBezTo>
                  <a:pt x="10773" y="4988"/>
                  <a:pt x="10773" y="4988"/>
                  <a:pt x="10773" y="4988"/>
                </a:cubicBezTo>
                <a:lnTo>
                  <a:pt x="10780" y="4955"/>
                </a:lnTo>
                <a:close/>
                <a:moveTo>
                  <a:pt x="10668" y="5199"/>
                </a:moveTo>
                <a:cubicBezTo>
                  <a:pt x="10666" y="5220"/>
                  <a:pt x="10694" y="5222"/>
                  <a:pt x="10694" y="5222"/>
                </a:cubicBezTo>
                <a:cubicBezTo>
                  <a:pt x="10731" y="5145"/>
                  <a:pt x="10731" y="5145"/>
                  <a:pt x="10731" y="5145"/>
                </a:cubicBezTo>
                <a:cubicBezTo>
                  <a:pt x="10731" y="5145"/>
                  <a:pt x="10722" y="5126"/>
                  <a:pt x="10703" y="5107"/>
                </a:cubicBezTo>
                <a:cubicBezTo>
                  <a:pt x="10684" y="5089"/>
                  <a:pt x="10673" y="5175"/>
                  <a:pt x="10668" y="5199"/>
                </a:cubicBezTo>
                <a:close/>
                <a:moveTo>
                  <a:pt x="10675" y="5747"/>
                </a:moveTo>
                <a:cubicBezTo>
                  <a:pt x="10666" y="5766"/>
                  <a:pt x="10703" y="5796"/>
                  <a:pt x="10703" y="5796"/>
                </a:cubicBezTo>
                <a:cubicBezTo>
                  <a:pt x="10727" y="5761"/>
                  <a:pt x="10727" y="5761"/>
                  <a:pt x="10727" y="5761"/>
                </a:cubicBezTo>
                <a:cubicBezTo>
                  <a:pt x="10722" y="5730"/>
                  <a:pt x="10722" y="5730"/>
                  <a:pt x="10722" y="5730"/>
                </a:cubicBezTo>
                <a:cubicBezTo>
                  <a:pt x="10712" y="5653"/>
                  <a:pt x="10684" y="5728"/>
                  <a:pt x="10675" y="5747"/>
                </a:cubicBezTo>
                <a:close/>
                <a:moveTo>
                  <a:pt x="8483" y="8881"/>
                </a:moveTo>
                <a:cubicBezTo>
                  <a:pt x="8509" y="8881"/>
                  <a:pt x="8523" y="8867"/>
                  <a:pt x="8523" y="8867"/>
                </a:cubicBezTo>
                <a:cubicBezTo>
                  <a:pt x="8483" y="8846"/>
                  <a:pt x="8483" y="8846"/>
                  <a:pt x="8483" y="8846"/>
                </a:cubicBezTo>
                <a:cubicBezTo>
                  <a:pt x="8483" y="8846"/>
                  <a:pt x="8455" y="8881"/>
                  <a:pt x="8483" y="8881"/>
                </a:cubicBezTo>
                <a:close/>
                <a:moveTo>
                  <a:pt x="8483" y="8914"/>
                </a:moveTo>
                <a:cubicBezTo>
                  <a:pt x="8483" y="8914"/>
                  <a:pt x="8487" y="8956"/>
                  <a:pt x="8504" y="8958"/>
                </a:cubicBezTo>
                <a:cubicBezTo>
                  <a:pt x="8518" y="8961"/>
                  <a:pt x="8527" y="8923"/>
                  <a:pt x="8534" y="8905"/>
                </a:cubicBezTo>
                <a:cubicBezTo>
                  <a:pt x="8542" y="8886"/>
                  <a:pt x="8495" y="8886"/>
                  <a:pt x="8483" y="8914"/>
                </a:cubicBezTo>
                <a:close/>
                <a:moveTo>
                  <a:pt x="7951" y="9057"/>
                </a:moveTo>
                <a:cubicBezTo>
                  <a:pt x="7923" y="9017"/>
                  <a:pt x="7923" y="9017"/>
                  <a:pt x="7923" y="9017"/>
                </a:cubicBezTo>
                <a:cubicBezTo>
                  <a:pt x="7923" y="9017"/>
                  <a:pt x="7900" y="9050"/>
                  <a:pt x="7892" y="9064"/>
                </a:cubicBezTo>
                <a:cubicBezTo>
                  <a:pt x="7886" y="9080"/>
                  <a:pt x="7892" y="9101"/>
                  <a:pt x="7892" y="9111"/>
                </a:cubicBezTo>
                <a:cubicBezTo>
                  <a:pt x="7892" y="9120"/>
                  <a:pt x="7883" y="9148"/>
                  <a:pt x="7883" y="9148"/>
                </a:cubicBezTo>
                <a:cubicBezTo>
                  <a:pt x="7912" y="9212"/>
                  <a:pt x="7912" y="9212"/>
                  <a:pt x="7912" y="9212"/>
                </a:cubicBezTo>
                <a:cubicBezTo>
                  <a:pt x="7961" y="9155"/>
                  <a:pt x="7961" y="9155"/>
                  <a:pt x="7961" y="9155"/>
                </a:cubicBezTo>
                <a:cubicBezTo>
                  <a:pt x="7956" y="9132"/>
                  <a:pt x="7956" y="9132"/>
                  <a:pt x="7956" y="9132"/>
                </a:cubicBezTo>
                <a:lnTo>
                  <a:pt x="7951" y="9057"/>
                </a:lnTo>
                <a:close/>
                <a:moveTo>
                  <a:pt x="8932" y="9263"/>
                </a:moveTo>
                <a:cubicBezTo>
                  <a:pt x="8895" y="9233"/>
                  <a:pt x="8902" y="9268"/>
                  <a:pt x="8883" y="9230"/>
                </a:cubicBezTo>
                <a:cubicBezTo>
                  <a:pt x="8865" y="9193"/>
                  <a:pt x="8853" y="9174"/>
                  <a:pt x="8853" y="9174"/>
                </a:cubicBezTo>
                <a:cubicBezTo>
                  <a:pt x="8815" y="9216"/>
                  <a:pt x="8815" y="9216"/>
                  <a:pt x="8815" y="9216"/>
                </a:cubicBezTo>
                <a:cubicBezTo>
                  <a:pt x="8827" y="9242"/>
                  <a:pt x="8827" y="9242"/>
                  <a:pt x="8827" y="9242"/>
                </a:cubicBezTo>
                <a:cubicBezTo>
                  <a:pt x="8825" y="9282"/>
                  <a:pt x="8825" y="9282"/>
                  <a:pt x="8825" y="9282"/>
                </a:cubicBezTo>
                <a:cubicBezTo>
                  <a:pt x="8825" y="9282"/>
                  <a:pt x="8848" y="9329"/>
                  <a:pt x="8855" y="9338"/>
                </a:cubicBezTo>
                <a:cubicBezTo>
                  <a:pt x="8862" y="9347"/>
                  <a:pt x="8919" y="9333"/>
                  <a:pt x="8919" y="9333"/>
                </a:cubicBezTo>
                <a:cubicBezTo>
                  <a:pt x="8904" y="9305"/>
                  <a:pt x="8904" y="9305"/>
                  <a:pt x="8904" y="9305"/>
                </a:cubicBezTo>
                <a:cubicBezTo>
                  <a:pt x="8904" y="9305"/>
                  <a:pt x="8970" y="9296"/>
                  <a:pt x="8932" y="9263"/>
                </a:cubicBezTo>
                <a:close/>
                <a:moveTo>
                  <a:pt x="8893" y="9363"/>
                </a:moveTo>
                <a:cubicBezTo>
                  <a:pt x="8862" y="9363"/>
                  <a:pt x="8834" y="9378"/>
                  <a:pt x="8834" y="9378"/>
                </a:cubicBezTo>
                <a:cubicBezTo>
                  <a:pt x="8862" y="9396"/>
                  <a:pt x="8862" y="9396"/>
                  <a:pt x="8862" y="9396"/>
                </a:cubicBezTo>
                <a:cubicBezTo>
                  <a:pt x="8881" y="9441"/>
                  <a:pt x="8881" y="9441"/>
                  <a:pt x="8881" y="9441"/>
                </a:cubicBezTo>
                <a:cubicBezTo>
                  <a:pt x="8881" y="9441"/>
                  <a:pt x="8871" y="9406"/>
                  <a:pt x="8902" y="9411"/>
                </a:cubicBezTo>
                <a:cubicBezTo>
                  <a:pt x="8932" y="9413"/>
                  <a:pt x="8977" y="9439"/>
                  <a:pt x="8956" y="9403"/>
                </a:cubicBezTo>
                <a:cubicBezTo>
                  <a:pt x="8932" y="9371"/>
                  <a:pt x="8923" y="9363"/>
                  <a:pt x="8893" y="9363"/>
                </a:cubicBezTo>
                <a:close/>
                <a:moveTo>
                  <a:pt x="8097" y="9333"/>
                </a:moveTo>
                <a:cubicBezTo>
                  <a:pt x="8097" y="9333"/>
                  <a:pt x="8127" y="9314"/>
                  <a:pt x="8139" y="9314"/>
                </a:cubicBezTo>
                <a:cubicBezTo>
                  <a:pt x="8129" y="9291"/>
                  <a:pt x="8129" y="9291"/>
                  <a:pt x="8129" y="9291"/>
                </a:cubicBezTo>
                <a:cubicBezTo>
                  <a:pt x="8129" y="9291"/>
                  <a:pt x="8082" y="9301"/>
                  <a:pt x="8070" y="9307"/>
                </a:cubicBezTo>
                <a:cubicBezTo>
                  <a:pt x="8059" y="9314"/>
                  <a:pt x="8061" y="9345"/>
                  <a:pt x="8078" y="9371"/>
                </a:cubicBezTo>
                <a:cubicBezTo>
                  <a:pt x="8092" y="9394"/>
                  <a:pt x="8097" y="9333"/>
                  <a:pt x="8097" y="9333"/>
                </a:cubicBezTo>
                <a:close/>
                <a:moveTo>
                  <a:pt x="8780" y="9525"/>
                </a:moveTo>
                <a:cubicBezTo>
                  <a:pt x="8780" y="9525"/>
                  <a:pt x="8757" y="9507"/>
                  <a:pt x="8738" y="9504"/>
                </a:cubicBezTo>
                <a:cubicBezTo>
                  <a:pt x="8720" y="9500"/>
                  <a:pt x="8691" y="9553"/>
                  <a:pt x="8691" y="9553"/>
                </a:cubicBezTo>
                <a:cubicBezTo>
                  <a:pt x="8691" y="9553"/>
                  <a:pt x="8656" y="9532"/>
                  <a:pt x="8644" y="9532"/>
                </a:cubicBezTo>
                <a:cubicBezTo>
                  <a:pt x="8631" y="9532"/>
                  <a:pt x="8631" y="9556"/>
                  <a:pt x="8631" y="9556"/>
                </a:cubicBezTo>
                <a:cubicBezTo>
                  <a:pt x="8631" y="9556"/>
                  <a:pt x="8600" y="9542"/>
                  <a:pt x="8581" y="9544"/>
                </a:cubicBezTo>
                <a:cubicBezTo>
                  <a:pt x="8563" y="9546"/>
                  <a:pt x="8560" y="9581"/>
                  <a:pt x="8560" y="9581"/>
                </a:cubicBezTo>
                <a:cubicBezTo>
                  <a:pt x="8534" y="9556"/>
                  <a:pt x="8534" y="9556"/>
                  <a:pt x="8534" y="9556"/>
                </a:cubicBezTo>
                <a:cubicBezTo>
                  <a:pt x="8429" y="9584"/>
                  <a:pt x="8429" y="9584"/>
                  <a:pt x="8429" y="9584"/>
                </a:cubicBezTo>
                <a:cubicBezTo>
                  <a:pt x="8242" y="9472"/>
                  <a:pt x="8242" y="9472"/>
                  <a:pt x="8242" y="9472"/>
                </a:cubicBezTo>
                <a:cubicBezTo>
                  <a:pt x="8211" y="9422"/>
                  <a:pt x="8211" y="9422"/>
                  <a:pt x="8211" y="9422"/>
                </a:cubicBezTo>
                <a:cubicBezTo>
                  <a:pt x="8211" y="9422"/>
                  <a:pt x="8192" y="9439"/>
                  <a:pt x="8174" y="9439"/>
                </a:cubicBezTo>
                <a:cubicBezTo>
                  <a:pt x="8155" y="9439"/>
                  <a:pt x="8134" y="9396"/>
                  <a:pt x="8134" y="9385"/>
                </a:cubicBezTo>
                <a:cubicBezTo>
                  <a:pt x="8134" y="9373"/>
                  <a:pt x="8068" y="9385"/>
                  <a:pt x="8068" y="9385"/>
                </a:cubicBezTo>
                <a:cubicBezTo>
                  <a:pt x="8068" y="9385"/>
                  <a:pt x="8059" y="9443"/>
                  <a:pt x="8068" y="9462"/>
                </a:cubicBezTo>
                <a:cubicBezTo>
                  <a:pt x="8078" y="9481"/>
                  <a:pt x="8050" y="9481"/>
                  <a:pt x="8042" y="9509"/>
                </a:cubicBezTo>
                <a:cubicBezTo>
                  <a:pt x="8036" y="9537"/>
                  <a:pt x="8073" y="9584"/>
                  <a:pt x="8087" y="9654"/>
                </a:cubicBezTo>
                <a:cubicBezTo>
                  <a:pt x="8099" y="9722"/>
                  <a:pt x="8120" y="9750"/>
                  <a:pt x="8153" y="9788"/>
                </a:cubicBezTo>
                <a:cubicBezTo>
                  <a:pt x="8183" y="9825"/>
                  <a:pt x="8169" y="9828"/>
                  <a:pt x="8169" y="9828"/>
                </a:cubicBezTo>
                <a:cubicBezTo>
                  <a:pt x="8169" y="9828"/>
                  <a:pt x="8216" y="9905"/>
                  <a:pt x="8220" y="9919"/>
                </a:cubicBezTo>
                <a:cubicBezTo>
                  <a:pt x="8223" y="9930"/>
                  <a:pt x="8195" y="9945"/>
                  <a:pt x="8195" y="9945"/>
                </a:cubicBezTo>
                <a:cubicBezTo>
                  <a:pt x="8153" y="9865"/>
                  <a:pt x="8153" y="9865"/>
                  <a:pt x="8153" y="9865"/>
                </a:cubicBezTo>
                <a:cubicBezTo>
                  <a:pt x="8153" y="9865"/>
                  <a:pt x="8148" y="9945"/>
                  <a:pt x="8148" y="9980"/>
                </a:cubicBezTo>
                <a:cubicBezTo>
                  <a:pt x="8148" y="10015"/>
                  <a:pt x="8253" y="10195"/>
                  <a:pt x="8253" y="10195"/>
                </a:cubicBezTo>
                <a:cubicBezTo>
                  <a:pt x="8272" y="10169"/>
                  <a:pt x="8272" y="10169"/>
                  <a:pt x="8272" y="10169"/>
                </a:cubicBezTo>
                <a:cubicBezTo>
                  <a:pt x="8328" y="10223"/>
                  <a:pt x="8328" y="10223"/>
                  <a:pt x="8328" y="10223"/>
                </a:cubicBezTo>
                <a:cubicBezTo>
                  <a:pt x="8288" y="10233"/>
                  <a:pt x="8288" y="10233"/>
                  <a:pt x="8288" y="10233"/>
                </a:cubicBezTo>
                <a:cubicBezTo>
                  <a:pt x="8288" y="10277"/>
                  <a:pt x="8288" y="10277"/>
                  <a:pt x="8288" y="10277"/>
                </a:cubicBezTo>
                <a:cubicBezTo>
                  <a:pt x="8354" y="10289"/>
                  <a:pt x="8354" y="10289"/>
                  <a:pt x="8354" y="10289"/>
                </a:cubicBezTo>
                <a:cubicBezTo>
                  <a:pt x="8392" y="10298"/>
                  <a:pt x="8392" y="10298"/>
                  <a:pt x="8392" y="10298"/>
                </a:cubicBezTo>
                <a:cubicBezTo>
                  <a:pt x="8403" y="10273"/>
                  <a:pt x="8403" y="10273"/>
                  <a:pt x="8403" y="10273"/>
                </a:cubicBezTo>
                <a:cubicBezTo>
                  <a:pt x="8457" y="10334"/>
                  <a:pt x="8457" y="10334"/>
                  <a:pt x="8457" y="10334"/>
                </a:cubicBezTo>
                <a:cubicBezTo>
                  <a:pt x="8523" y="10245"/>
                  <a:pt x="8523" y="10245"/>
                  <a:pt x="8523" y="10245"/>
                </a:cubicBezTo>
                <a:cubicBezTo>
                  <a:pt x="8523" y="10188"/>
                  <a:pt x="8523" y="10188"/>
                  <a:pt x="8523" y="10188"/>
                </a:cubicBezTo>
                <a:cubicBezTo>
                  <a:pt x="8546" y="10223"/>
                  <a:pt x="8546" y="10223"/>
                  <a:pt x="8546" y="10223"/>
                </a:cubicBezTo>
                <a:cubicBezTo>
                  <a:pt x="8600" y="10174"/>
                  <a:pt x="8600" y="10174"/>
                  <a:pt x="8600" y="10174"/>
                </a:cubicBezTo>
                <a:cubicBezTo>
                  <a:pt x="8628" y="10092"/>
                  <a:pt x="8628" y="10092"/>
                  <a:pt x="8628" y="10092"/>
                </a:cubicBezTo>
                <a:cubicBezTo>
                  <a:pt x="8673" y="10139"/>
                  <a:pt x="8673" y="10139"/>
                  <a:pt x="8673" y="10139"/>
                </a:cubicBezTo>
                <a:cubicBezTo>
                  <a:pt x="8673" y="10139"/>
                  <a:pt x="8722" y="10132"/>
                  <a:pt x="8722" y="10111"/>
                </a:cubicBezTo>
                <a:cubicBezTo>
                  <a:pt x="8722" y="10090"/>
                  <a:pt x="8759" y="10076"/>
                  <a:pt x="8778" y="10067"/>
                </a:cubicBezTo>
                <a:cubicBezTo>
                  <a:pt x="8797" y="10057"/>
                  <a:pt x="8766" y="10055"/>
                  <a:pt x="8757" y="10055"/>
                </a:cubicBezTo>
                <a:cubicBezTo>
                  <a:pt x="8748" y="10055"/>
                  <a:pt x="8743" y="9959"/>
                  <a:pt x="8762" y="9945"/>
                </a:cubicBezTo>
                <a:cubicBezTo>
                  <a:pt x="8780" y="9930"/>
                  <a:pt x="8787" y="9886"/>
                  <a:pt x="8830" y="9905"/>
                </a:cubicBezTo>
                <a:cubicBezTo>
                  <a:pt x="8867" y="9921"/>
                  <a:pt x="8843" y="9956"/>
                  <a:pt x="8834" y="9968"/>
                </a:cubicBezTo>
                <a:cubicBezTo>
                  <a:pt x="8839" y="9961"/>
                  <a:pt x="8855" y="9942"/>
                  <a:pt x="8867" y="9933"/>
                </a:cubicBezTo>
                <a:cubicBezTo>
                  <a:pt x="8883" y="9923"/>
                  <a:pt x="8865" y="9811"/>
                  <a:pt x="8865" y="9802"/>
                </a:cubicBezTo>
                <a:cubicBezTo>
                  <a:pt x="8865" y="9792"/>
                  <a:pt x="8867" y="9678"/>
                  <a:pt x="8858" y="9645"/>
                </a:cubicBezTo>
                <a:cubicBezTo>
                  <a:pt x="8848" y="9610"/>
                  <a:pt x="8919" y="9553"/>
                  <a:pt x="8919" y="9553"/>
                </a:cubicBezTo>
                <a:cubicBezTo>
                  <a:pt x="8848" y="9478"/>
                  <a:pt x="8848" y="9478"/>
                  <a:pt x="8848" y="9478"/>
                </a:cubicBezTo>
                <a:lnTo>
                  <a:pt x="8780" y="9525"/>
                </a:lnTo>
                <a:close/>
                <a:moveTo>
                  <a:pt x="8574" y="10233"/>
                </a:moveTo>
                <a:cubicBezTo>
                  <a:pt x="8574" y="10233"/>
                  <a:pt x="8518" y="10282"/>
                  <a:pt x="8537" y="10291"/>
                </a:cubicBezTo>
                <a:cubicBezTo>
                  <a:pt x="8555" y="10301"/>
                  <a:pt x="8588" y="10301"/>
                  <a:pt x="8588" y="10301"/>
                </a:cubicBezTo>
                <a:cubicBezTo>
                  <a:pt x="8588" y="10301"/>
                  <a:pt x="8574" y="10235"/>
                  <a:pt x="8602" y="10223"/>
                </a:cubicBezTo>
                <a:cubicBezTo>
                  <a:pt x="8631" y="10212"/>
                  <a:pt x="8626" y="10174"/>
                  <a:pt x="8626" y="10174"/>
                </a:cubicBezTo>
                <a:lnTo>
                  <a:pt x="8574" y="10233"/>
                </a:lnTo>
                <a:close/>
                <a:moveTo>
                  <a:pt x="8733" y="10184"/>
                </a:moveTo>
                <a:cubicBezTo>
                  <a:pt x="8691" y="10169"/>
                  <a:pt x="8675" y="10193"/>
                  <a:pt x="8675" y="10193"/>
                </a:cubicBezTo>
                <a:cubicBezTo>
                  <a:pt x="8691" y="10233"/>
                  <a:pt x="8696" y="10235"/>
                  <a:pt x="8724" y="10235"/>
                </a:cubicBezTo>
                <a:cubicBezTo>
                  <a:pt x="8752" y="10235"/>
                  <a:pt x="8778" y="10195"/>
                  <a:pt x="8733" y="10184"/>
                </a:cubicBezTo>
                <a:close/>
                <a:moveTo>
                  <a:pt x="8748" y="10151"/>
                </a:moveTo>
                <a:cubicBezTo>
                  <a:pt x="8757" y="10137"/>
                  <a:pt x="8722" y="10130"/>
                  <a:pt x="8722" y="10130"/>
                </a:cubicBezTo>
                <a:cubicBezTo>
                  <a:pt x="8687" y="10148"/>
                  <a:pt x="8687" y="10148"/>
                  <a:pt x="8687" y="10148"/>
                </a:cubicBezTo>
                <a:cubicBezTo>
                  <a:pt x="8687" y="10148"/>
                  <a:pt x="8731" y="10177"/>
                  <a:pt x="8748" y="10151"/>
                </a:cubicBezTo>
                <a:close/>
                <a:moveTo>
                  <a:pt x="5878" y="7436"/>
                </a:moveTo>
                <a:cubicBezTo>
                  <a:pt x="5902" y="7431"/>
                  <a:pt x="5902" y="7431"/>
                  <a:pt x="5902" y="7431"/>
                </a:cubicBezTo>
                <a:cubicBezTo>
                  <a:pt x="5928" y="7457"/>
                  <a:pt x="5928" y="7457"/>
                  <a:pt x="5928" y="7457"/>
                </a:cubicBezTo>
                <a:cubicBezTo>
                  <a:pt x="5946" y="7436"/>
                  <a:pt x="5946" y="7436"/>
                  <a:pt x="5946" y="7436"/>
                </a:cubicBezTo>
                <a:cubicBezTo>
                  <a:pt x="5897" y="7398"/>
                  <a:pt x="5897" y="7398"/>
                  <a:pt x="5897" y="7398"/>
                </a:cubicBezTo>
                <a:lnTo>
                  <a:pt x="5878" y="7436"/>
                </a:lnTo>
                <a:close/>
                <a:moveTo>
                  <a:pt x="6569" y="7792"/>
                </a:moveTo>
                <a:cubicBezTo>
                  <a:pt x="6544" y="7818"/>
                  <a:pt x="6544" y="7818"/>
                  <a:pt x="6544" y="7818"/>
                </a:cubicBezTo>
                <a:cubicBezTo>
                  <a:pt x="6579" y="7843"/>
                  <a:pt x="6579" y="7843"/>
                  <a:pt x="6579" y="7843"/>
                </a:cubicBezTo>
                <a:cubicBezTo>
                  <a:pt x="6609" y="7834"/>
                  <a:pt x="6609" y="7834"/>
                  <a:pt x="6609" y="7834"/>
                </a:cubicBezTo>
                <a:cubicBezTo>
                  <a:pt x="6609" y="7834"/>
                  <a:pt x="6600" y="7792"/>
                  <a:pt x="6569" y="7792"/>
                </a:cubicBezTo>
                <a:close/>
                <a:moveTo>
                  <a:pt x="6495" y="7792"/>
                </a:moveTo>
                <a:cubicBezTo>
                  <a:pt x="6485" y="7759"/>
                  <a:pt x="6485" y="7759"/>
                  <a:pt x="6485" y="7759"/>
                </a:cubicBezTo>
                <a:cubicBezTo>
                  <a:pt x="6410" y="7710"/>
                  <a:pt x="6408" y="7750"/>
                  <a:pt x="6354" y="7768"/>
                </a:cubicBezTo>
                <a:cubicBezTo>
                  <a:pt x="6300" y="7787"/>
                  <a:pt x="6223" y="7799"/>
                  <a:pt x="6223" y="7799"/>
                </a:cubicBezTo>
                <a:cubicBezTo>
                  <a:pt x="6221" y="7848"/>
                  <a:pt x="6221" y="7848"/>
                  <a:pt x="6221" y="7848"/>
                </a:cubicBezTo>
                <a:cubicBezTo>
                  <a:pt x="6253" y="7864"/>
                  <a:pt x="6253" y="7864"/>
                  <a:pt x="6253" y="7864"/>
                </a:cubicBezTo>
                <a:cubicBezTo>
                  <a:pt x="6253" y="7864"/>
                  <a:pt x="6307" y="7890"/>
                  <a:pt x="6338" y="7890"/>
                </a:cubicBezTo>
                <a:cubicBezTo>
                  <a:pt x="6370" y="7890"/>
                  <a:pt x="6375" y="7864"/>
                  <a:pt x="6394" y="7862"/>
                </a:cubicBezTo>
                <a:cubicBezTo>
                  <a:pt x="6412" y="7857"/>
                  <a:pt x="6429" y="7895"/>
                  <a:pt x="6457" y="7900"/>
                </a:cubicBezTo>
                <a:cubicBezTo>
                  <a:pt x="6485" y="7902"/>
                  <a:pt x="6485" y="7848"/>
                  <a:pt x="6485" y="7848"/>
                </a:cubicBezTo>
                <a:cubicBezTo>
                  <a:pt x="6529" y="7843"/>
                  <a:pt x="6529" y="7843"/>
                  <a:pt x="6529" y="7843"/>
                </a:cubicBezTo>
                <a:cubicBezTo>
                  <a:pt x="6529" y="7843"/>
                  <a:pt x="6523" y="7815"/>
                  <a:pt x="6523" y="7806"/>
                </a:cubicBezTo>
                <a:cubicBezTo>
                  <a:pt x="6523" y="7796"/>
                  <a:pt x="6495" y="7792"/>
                  <a:pt x="6495" y="7792"/>
                </a:cubicBezTo>
                <a:close/>
                <a:moveTo>
                  <a:pt x="10684" y="5829"/>
                </a:moveTo>
                <a:cubicBezTo>
                  <a:pt x="10691" y="5812"/>
                  <a:pt x="10614" y="5684"/>
                  <a:pt x="10614" y="5684"/>
                </a:cubicBezTo>
                <a:cubicBezTo>
                  <a:pt x="10659" y="5641"/>
                  <a:pt x="10659" y="5641"/>
                  <a:pt x="10659" y="5641"/>
                </a:cubicBezTo>
                <a:cubicBezTo>
                  <a:pt x="10659" y="5641"/>
                  <a:pt x="10638" y="5590"/>
                  <a:pt x="10654" y="5562"/>
                </a:cubicBezTo>
                <a:cubicBezTo>
                  <a:pt x="10670" y="5534"/>
                  <a:pt x="10670" y="5534"/>
                  <a:pt x="10670" y="5534"/>
                </a:cubicBezTo>
                <a:cubicBezTo>
                  <a:pt x="10670" y="5534"/>
                  <a:pt x="10633" y="5499"/>
                  <a:pt x="10645" y="5479"/>
                </a:cubicBezTo>
                <a:cubicBezTo>
                  <a:pt x="10659" y="5461"/>
                  <a:pt x="10659" y="5389"/>
                  <a:pt x="10659" y="5384"/>
                </a:cubicBezTo>
                <a:cubicBezTo>
                  <a:pt x="10659" y="5379"/>
                  <a:pt x="10708" y="5311"/>
                  <a:pt x="10708" y="5311"/>
                </a:cubicBezTo>
                <a:cubicBezTo>
                  <a:pt x="10708" y="5311"/>
                  <a:pt x="10680" y="5271"/>
                  <a:pt x="10670" y="5255"/>
                </a:cubicBezTo>
                <a:cubicBezTo>
                  <a:pt x="10661" y="5241"/>
                  <a:pt x="10602" y="5239"/>
                  <a:pt x="10638" y="5201"/>
                </a:cubicBezTo>
                <a:cubicBezTo>
                  <a:pt x="10673" y="5163"/>
                  <a:pt x="10684" y="5138"/>
                  <a:pt x="10666" y="5112"/>
                </a:cubicBezTo>
                <a:cubicBezTo>
                  <a:pt x="10647" y="5084"/>
                  <a:pt x="10614" y="5082"/>
                  <a:pt x="10591" y="5049"/>
                </a:cubicBezTo>
                <a:cubicBezTo>
                  <a:pt x="10567" y="5013"/>
                  <a:pt x="10565" y="4934"/>
                  <a:pt x="10565" y="4934"/>
                </a:cubicBezTo>
                <a:cubicBezTo>
                  <a:pt x="10565" y="4934"/>
                  <a:pt x="10488" y="4913"/>
                  <a:pt x="10473" y="4852"/>
                </a:cubicBezTo>
                <a:cubicBezTo>
                  <a:pt x="10460" y="4794"/>
                  <a:pt x="10457" y="4754"/>
                  <a:pt x="10452" y="4746"/>
                </a:cubicBezTo>
                <a:cubicBezTo>
                  <a:pt x="10448" y="4742"/>
                  <a:pt x="10387" y="4665"/>
                  <a:pt x="10387" y="4665"/>
                </a:cubicBezTo>
                <a:cubicBezTo>
                  <a:pt x="10326" y="4688"/>
                  <a:pt x="10326" y="4688"/>
                  <a:pt x="10326" y="4688"/>
                </a:cubicBezTo>
                <a:cubicBezTo>
                  <a:pt x="10295" y="4625"/>
                  <a:pt x="10295" y="4625"/>
                  <a:pt x="10295" y="4625"/>
                </a:cubicBezTo>
                <a:cubicBezTo>
                  <a:pt x="10295" y="4625"/>
                  <a:pt x="10319" y="4604"/>
                  <a:pt x="10317" y="4596"/>
                </a:cubicBezTo>
                <a:cubicBezTo>
                  <a:pt x="10314" y="4587"/>
                  <a:pt x="10282" y="4512"/>
                  <a:pt x="10282" y="4512"/>
                </a:cubicBezTo>
                <a:cubicBezTo>
                  <a:pt x="10282" y="4512"/>
                  <a:pt x="10295" y="4604"/>
                  <a:pt x="10277" y="4585"/>
                </a:cubicBezTo>
                <a:cubicBezTo>
                  <a:pt x="10258" y="4568"/>
                  <a:pt x="10237" y="4517"/>
                  <a:pt x="10237" y="4517"/>
                </a:cubicBezTo>
                <a:cubicBezTo>
                  <a:pt x="10237" y="4517"/>
                  <a:pt x="10197" y="4512"/>
                  <a:pt x="10193" y="4505"/>
                </a:cubicBezTo>
                <a:cubicBezTo>
                  <a:pt x="10185" y="4501"/>
                  <a:pt x="10188" y="4456"/>
                  <a:pt x="10193" y="4433"/>
                </a:cubicBezTo>
                <a:cubicBezTo>
                  <a:pt x="10197" y="4409"/>
                  <a:pt x="10221" y="4402"/>
                  <a:pt x="10216" y="4369"/>
                </a:cubicBezTo>
                <a:cubicBezTo>
                  <a:pt x="10211" y="4334"/>
                  <a:pt x="10202" y="4313"/>
                  <a:pt x="10204" y="4299"/>
                </a:cubicBezTo>
                <a:cubicBezTo>
                  <a:pt x="10209" y="4287"/>
                  <a:pt x="10239" y="4264"/>
                  <a:pt x="10228" y="4248"/>
                </a:cubicBezTo>
                <a:cubicBezTo>
                  <a:pt x="10214" y="4231"/>
                  <a:pt x="10235" y="4196"/>
                  <a:pt x="10211" y="4173"/>
                </a:cubicBezTo>
                <a:cubicBezTo>
                  <a:pt x="10188" y="4147"/>
                  <a:pt x="10136" y="4093"/>
                  <a:pt x="10134" y="4093"/>
                </a:cubicBezTo>
                <a:cubicBezTo>
                  <a:pt x="10129" y="4093"/>
                  <a:pt x="10139" y="4121"/>
                  <a:pt x="10139" y="4121"/>
                </a:cubicBezTo>
                <a:cubicBezTo>
                  <a:pt x="10139" y="4121"/>
                  <a:pt x="10195" y="4177"/>
                  <a:pt x="10195" y="4191"/>
                </a:cubicBezTo>
                <a:cubicBezTo>
                  <a:pt x="10193" y="4208"/>
                  <a:pt x="10183" y="4224"/>
                  <a:pt x="10167" y="4217"/>
                </a:cubicBezTo>
                <a:cubicBezTo>
                  <a:pt x="10150" y="4208"/>
                  <a:pt x="10068" y="4154"/>
                  <a:pt x="10061" y="4140"/>
                </a:cubicBezTo>
                <a:cubicBezTo>
                  <a:pt x="10054" y="4128"/>
                  <a:pt x="10022" y="4049"/>
                  <a:pt x="10003" y="4046"/>
                </a:cubicBezTo>
                <a:cubicBezTo>
                  <a:pt x="9987" y="4041"/>
                  <a:pt x="9979" y="4079"/>
                  <a:pt x="9979" y="4079"/>
                </a:cubicBezTo>
                <a:cubicBezTo>
                  <a:pt x="9979" y="4079"/>
                  <a:pt x="10022" y="4198"/>
                  <a:pt x="10007" y="4194"/>
                </a:cubicBezTo>
                <a:cubicBezTo>
                  <a:pt x="9991" y="4189"/>
                  <a:pt x="9951" y="4130"/>
                  <a:pt x="9951" y="4130"/>
                </a:cubicBezTo>
                <a:cubicBezTo>
                  <a:pt x="9951" y="4130"/>
                  <a:pt x="9918" y="4203"/>
                  <a:pt x="9909" y="4189"/>
                </a:cubicBezTo>
                <a:cubicBezTo>
                  <a:pt x="9898" y="4173"/>
                  <a:pt x="9876" y="4170"/>
                  <a:pt x="9883" y="4142"/>
                </a:cubicBezTo>
                <a:cubicBezTo>
                  <a:pt x="9890" y="4114"/>
                  <a:pt x="9902" y="4084"/>
                  <a:pt x="9898" y="4072"/>
                </a:cubicBezTo>
                <a:cubicBezTo>
                  <a:pt x="9893" y="4058"/>
                  <a:pt x="9909" y="4023"/>
                  <a:pt x="9900" y="4009"/>
                </a:cubicBezTo>
                <a:cubicBezTo>
                  <a:pt x="9888" y="3995"/>
                  <a:pt x="9874" y="3999"/>
                  <a:pt x="9876" y="3967"/>
                </a:cubicBezTo>
                <a:cubicBezTo>
                  <a:pt x="9876" y="3931"/>
                  <a:pt x="9898" y="3891"/>
                  <a:pt x="9890" y="3875"/>
                </a:cubicBezTo>
                <a:cubicBezTo>
                  <a:pt x="9886" y="3856"/>
                  <a:pt x="9848" y="3833"/>
                  <a:pt x="9844" y="3802"/>
                </a:cubicBezTo>
                <a:cubicBezTo>
                  <a:pt x="9839" y="3772"/>
                  <a:pt x="9827" y="3697"/>
                  <a:pt x="9816" y="3683"/>
                </a:cubicBezTo>
                <a:cubicBezTo>
                  <a:pt x="9804" y="3669"/>
                  <a:pt x="9729" y="3580"/>
                  <a:pt x="9722" y="3563"/>
                </a:cubicBezTo>
                <a:cubicBezTo>
                  <a:pt x="9717" y="3545"/>
                  <a:pt x="9717" y="3510"/>
                  <a:pt x="9745" y="3512"/>
                </a:cubicBezTo>
                <a:cubicBezTo>
                  <a:pt x="9773" y="3514"/>
                  <a:pt x="9785" y="3538"/>
                  <a:pt x="9785" y="3538"/>
                </a:cubicBezTo>
                <a:cubicBezTo>
                  <a:pt x="9785" y="3538"/>
                  <a:pt x="9769" y="3474"/>
                  <a:pt x="9750" y="3453"/>
                </a:cubicBezTo>
                <a:cubicBezTo>
                  <a:pt x="9731" y="3433"/>
                  <a:pt x="9682" y="3378"/>
                  <a:pt x="9682" y="3378"/>
                </a:cubicBezTo>
                <a:cubicBezTo>
                  <a:pt x="9682" y="3378"/>
                  <a:pt x="9684" y="3437"/>
                  <a:pt x="9659" y="3433"/>
                </a:cubicBezTo>
                <a:cubicBezTo>
                  <a:pt x="9635" y="3428"/>
                  <a:pt x="9635" y="3378"/>
                  <a:pt x="9621" y="3364"/>
                </a:cubicBezTo>
                <a:cubicBezTo>
                  <a:pt x="9605" y="3350"/>
                  <a:pt x="9555" y="3315"/>
                  <a:pt x="9555" y="3315"/>
                </a:cubicBezTo>
                <a:cubicBezTo>
                  <a:pt x="9555" y="3315"/>
                  <a:pt x="9509" y="3339"/>
                  <a:pt x="9509" y="3332"/>
                </a:cubicBezTo>
                <a:cubicBezTo>
                  <a:pt x="9509" y="3322"/>
                  <a:pt x="9513" y="3264"/>
                  <a:pt x="9509" y="3264"/>
                </a:cubicBezTo>
                <a:cubicBezTo>
                  <a:pt x="9502" y="3261"/>
                  <a:pt x="9453" y="3299"/>
                  <a:pt x="9453" y="3299"/>
                </a:cubicBezTo>
                <a:cubicBezTo>
                  <a:pt x="9453" y="3299"/>
                  <a:pt x="9445" y="3207"/>
                  <a:pt x="9436" y="3194"/>
                </a:cubicBezTo>
                <a:cubicBezTo>
                  <a:pt x="9429" y="3182"/>
                  <a:pt x="9408" y="3142"/>
                  <a:pt x="9408" y="3142"/>
                </a:cubicBezTo>
                <a:cubicBezTo>
                  <a:pt x="9408" y="3142"/>
                  <a:pt x="9371" y="3186"/>
                  <a:pt x="9366" y="3182"/>
                </a:cubicBezTo>
                <a:cubicBezTo>
                  <a:pt x="9359" y="3179"/>
                  <a:pt x="9296" y="3137"/>
                  <a:pt x="9296" y="3137"/>
                </a:cubicBezTo>
                <a:cubicBezTo>
                  <a:pt x="9312" y="3095"/>
                  <a:pt x="9312" y="3095"/>
                  <a:pt x="9312" y="3095"/>
                </a:cubicBezTo>
                <a:cubicBezTo>
                  <a:pt x="9312" y="3095"/>
                  <a:pt x="9270" y="3137"/>
                  <a:pt x="9260" y="3125"/>
                </a:cubicBezTo>
                <a:cubicBezTo>
                  <a:pt x="9249" y="3114"/>
                  <a:pt x="9199" y="3067"/>
                  <a:pt x="9169" y="3041"/>
                </a:cubicBezTo>
                <a:cubicBezTo>
                  <a:pt x="9141" y="3016"/>
                  <a:pt x="9092" y="2959"/>
                  <a:pt x="9092" y="2955"/>
                </a:cubicBezTo>
                <a:cubicBezTo>
                  <a:pt x="9092" y="2950"/>
                  <a:pt x="9129" y="2907"/>
                  <a:pt x="9129" y="2907"/>
                </a:cubicBezTo>
                <a:cubicBezTo>
                  <a:pt x="9129" y="2907"/>
                  <a:pt x="9148" y="2847"/>
                  <a:pt x="9134" y="2830"/>
                </a:cubicBezTo>
                <a:cubicBezTo>
                  <a:pt x="9122" y="2812"/>
                  <a:pt x="9115" y="2783"/>
                  <a:pt x="9110" y="2783"/>
                </a:cubicBezTo>
                <a:cubicBezTo>
                  <a:pt x="9108" y="2783"/>
                  <a:pt x="9071" y="2793"/>
                  <a:pt x="9071" y="2793"/>
                </a:cubicBezTo>
                <a:cubicBezTo>
                  <a:pt x="9071" y="2793"/>
                  <a:pt x="9049" y="2720"/>
                  <a:pt x="9052" y="2713"/>
                </a:cubicBezTo>
                <a:cubicBezTo>
                  <a:pt x="9057" y="2706"/>
                  <a:pt x="9099" y="2692"/>
                  <a:pt x="9099" y="2645"/>
                </a:cubicBezTo>
                <a:cubicBezTo>
                  <a:pt x="9099" y="2599"/>
                  <a:pt x="9085" y="2521"/>
                  <a:pt x="9085" y="2516"/>
                </a:cubicBezTo>
                <a:cubicBezTo>
                  <a:pt x="9085" y="2514"/>
                  <a:pt x="9068" y="2507"/>
                  <a:pt x="9064" y="2479"/>
                </a:cubicBezTo>
                <a:cubicBezTo>
                  <a:pt x="9059" y="2449"/>
                  <a:pt x="9043" y="2411"/>
                  <a:pt x="9043" y="2409"/>
                </a:cubicBezTo>
                <a:cubicBezTo>
                  <a:pt x="9043" y="2404"/>
                  <a:pt x="9071" y="2376"/>
                  <a:pt x="9071" y="2376"/>
                </a:cubicBezTo>
                <a:cubicBezTo>
                  <a:pt x="9071" y="2376"/>
                  <a:pt x="9021" y="2397"/>
                  <a:pt x="9021" y="2390"/>
                </a:cubicBezTo>
                <a:cubicBezTo>
                  <a:pt x="9021" y="2383"/>
                  <a:pt x="8987" y="2329"/>
                  <a:pt x="8979" y="2306"/>
                </a:cubicBezTo>
                <a:cubicBezTo>
                  <a:pt x="8970" y="2284"/>
                  <a:pt x="8942" y="2251"/>
                  <a:pt x="8932" y="2219"/>
                </a:cubicBezTo>
                <a:cubicBezTo>
                  <a:pt x="8923" y="2189"/>
                  <a:pt x="8947" y="2160"/>
                  <a:pt x="8947" y="2160"/>
                </a:cubicBezTo>
                <a:cubicBezTo>
                  <a:pt x="8932" y="2132"/>
                  <a:pt x="8932" y="2132"/>
                  <a:pt x="8932" y="2132"/>
                </a:cubicBezTo>
                <a:cubicBezTo>
                  <a:pt x="8932" y="2132"/>
                  <a:pt x="8956" y="2137"/>
                  <a:pt x="8951" y="2109"/>
                </a:cubicBezTo>
                <a:cubicBezTo>
                  <a:pt x="8944" y="2078"/>
                  <a:pt x="8942" y="2067"/>
                  <a:pt x="8932" y="2055"/>
                </a:cubicBezTo>
                <a:cubicBezTo>
                  <a:pt x="8926" y="2043"/>
                  <a:pt x="8923" y="1968"/>
                  <a:pt x="8919" y="1931"/>
                </a:cubicBezTo>
                <a:cubicBezTo>
                  <a:pt x="8911" y="1894"/>
                  <a:pt x="8932" y="1865"/>
                  <a:pt x="8932" y="1865"/>
                </a:cubicBezTo>
                <a:cubicBezTo>
                  <a:pt x="8911" y="1834"/>
                  <a:pt x="8911" y="1834"/>
                  <a:pt x="8911" y="1834"/>
                </a:cubicBezTo>
                <a:cubicBezTo>
                  <a:pt x="8940" y="1783"/>
                  <a:pt x="8940" y="1783"/>
                  <a:pt x="8940" y="1783"/>
                </a:cubicBezTo>
                <a:cubicBezTo>
                  <a:pt x="8940" y="1783"/>
                  <a:pt x="8904" y="1732"/>
                  <a:pt x="8881" y="1722"/>
                </a:cubicBezTo>
                <a:cubicBezTo>
                  <a:pt x="8860" y="1713"/>
                  <a:pt x="8834" y="1699"/>
                  <a:pt x="8834" y="1699"/>
                </a:cubicBezTo>
                <a:cubicBezTo>
                  <a:pt x="8832" y="1668"/>
                  <a:pt x="8832" y="1668"/>
                  <a:pt x="8832" y="1668"/>
                </a:cubicBezTo>
                <a:cubicBezTo>
                  <a:pt x="8759" y="1619"/>
                  <a:pt x="8759" y="1619"/>
                  <a:pt x="8759" y="1619"/>
                </a:cubicBezTo>
                <a:cubicBezTo>
                  <a:pt x="8759" y="1619"/>
                  <a:pt x="8748" y="1542"/>
                  <a:pt x="8736" y="1533"/>
                </a:cubicBezTo>
                <a:cubicBezTo>
                  <a:pt x="8726" y="1526"/>
                  <a:pt x="8712" y="1516"/>
                  <a:pt x="8712" y="1516"/>
                </a:cubicBezTo>
                <a:cubicBezTo>
                  <a:pt x="8712" y="1516"/>
                  <a:pt x="8670" y="1563"/>
                  <a:pt x="8668" y="1563"/>
                </a:cubicBezTo>
                <a:cubicBezTo>
                  <a:pt x="8663" y="1563"/>
                  <a:pt x="8633" y="1537"/>
                  <a:pt x="8633" y="1537"/>
                </a:cubicBezTo>
                <a:cubicBezTo>
                  <a:pt x="8633" y="1537"/>
                  <a:pt x="8616" y="1575"/>
                  <a:pt x="8593" y="1586"/>
                </a:cubicBezTo>
                <a:cubicBezTo>
                  <a:pt x="8570" y="1598"/>
                  <a:pt x="8546" y="1617"/>
                  <a:pt x="8534" y="1603"/>
                </a:cubicBezTo>
                <a:cubicBezTo>
                  <a:pt x="8520" y="1589"/>
                  <a:pt x="8481" y="1549"/>
                  <a:pt x="8485" y="1530"/>
                </a:cubicBezTo>
                <a:cubicBezTo>
                  <a:pt x="8492" y="1509"/>
                  <a:pt x="8485" y="1448"/>
                  <a:pt x="8481" y="1444"/>
                </a:cubicBezTo>
                <a:cubicBezTo>
                  <a:pt x="8474" y="1437"/>
                  <a:pt x="8450" y="1394"/>
                  <a:pt x="8450" y="1366"/>
                </a:cubicBezTo>
                <a:cubicBezTo>
                  <a:pt x="8450" y="1340"/>
                  <a:pt x="8495" y="1312"/>
                  <a:pt x="8495" y="1296"/>
                </a:cubicBezTo>
                <a:cubicBezTo>
                  <a:pt x="8492" y="1282"/>
                  <a:pt x="8464" y="1242"/>
                  <a:pt x="8464" y="1242"/>
                </a:cubicBezTo>
                <a:cubicBezTo>
                  <a:pt x="8464" y="1242"/>
                  <a:pt x="8478" y="1155"/>
                  <a:pt x="8466" y="1125"/>
                </a:cubicBezTo>
                <a:cubicBezTo>
                  <a:pt x="8453" y="1097"/>
                  <a:pt x="8415" y="1088"/>
                  <a:pt x="8417" y="1080"/>
                </a:cubicBezTo>
                <a:cubicBezTo>
                  <a:pt x="8417" y="1071"/>
                  <a:pt x="8448" y="1045"/>
                  <a:pt x="8441" y="1019"/>
                </a:cubicBezTo>
                <a:cubicBezTo>
                  <a:pt x="8434" y="991"/>
                  <a:pt x="8398" y="989"/>
                  <a:pt x="8398" y="989"/>
                </a:cubicBezTo>
                <a:cubicBezTo>
                  <a:pt x="8389" y="945"/>
                  <a:pt x="8389" y="945"/>
                  <a:pt x="8389" y="945"/>
                </a:cubicBezTo>
                <a:cubicBezTo>
                  <a:pt x="8389" y="945"/>
                  <a:pt x="8342" y="933"/>
                  <a:pt x="8337" y="902"/>
                </a:cubicBezTo>
                <a:cubicBezTo>
                  <a:pt x="8333" y="874"/>
                  <a:pt x="8375" y="856"/>
                  <a:pt x="8382" y="834"/>
                </a:cubicBezTo>
                <a:cubicBezTo>
                  <a:pt x="8387" y="813"/>
                  <a:pt x="8398" y="813"/>
                  <a:pt x="8398" y="813"/>
                </a:cubicBezTo>
                <a:cubicBezTo>
                  <a:pt x="8326" y="799"/>
                  <a:pt x="8326" y="799"/>
                  <a:pt x="8326" y="799"/>
                </a:cubicBezTo>
                <a:cubicBezTo>
                  <a:pt x="8326" y="799"/>
                  <a:pt x="8293" y="785"/>
                  <a:pt x="8293" y="769"/>
                </a:cubicBezTo>
                <a:cubicBezTo>
                  <a:pt x="8293" y="752"/>
                  <a:pt x="8291" y="656"/>
                  <a:pt x="8291" y="656"/>
                </a:cubicBezTo>
                <a:cubicBezTo>
                  <a:pt x="8291" y="656"/>
                  <a:pt x="8314" y="642"/>
                  <a:pt x="8312" y="635"/>
                </a:cubicBezTo>
                <a:cubicBezTo>
                  <a:pt x="8307" y="628"/>
                  <a:pt x="8281" y="593"/>
                  <a:pt x="8281" y="593"/>
                </a:cubicBezTo>
                <a:cubicBezTo>
                  <a:pt x="8286" y="518"/>
                  <a:pt x="8286" y="518"/>
                  <a:pt x="8286" y="518"/>
                </a:cubicBezTo>
                <a:cubicBezTo>
                  <a:pt x="8286" y="518"/>
                  <a:pt x="8235" y="476"/>
                  <a:pt x="8218" y="481"/>
                </a:cubicBezTo>
                <a:cubicBezTo>
                  <a:pt x="8202" y="483"/>
                  <a:pt x="8265" y="448"/>
                  <a:pt x="8246" y="432"/>
                </a:cubicBezTo>
                <a:cubicBezTo>
                  <a:pt x="8228" y="415"/>
                  <a:pt x="8207" y="404"/>
                  <a:pt x="8192" y="415"/>
                </a:cubicBezTo>
                <a:cubicBezTo>
                  <a:pt x="8179" y="427"/>
                  <a:pt x="8159" y="476"/>
                  <a:pt x="8155" y="478"/>
                </a:cubicBezTo>
                <a:cubicBezTo>
                  <a:pt x="8150" y="481"/>
                  <a:pt x="8094" y="485"/>
                  <a:pt x="8094" y="485"/>
                </a:cubicBezTo>
                <a:cubicBezTo>
                  <a:pt x="8094" y="485"/>
                  <a:pt x="8148" y="546"/>
                  <a:pt x="8082" y="631"/>
                </a:cubicBezTo>
                <a:cubicBezTo>
                  <a:pt x="8017" y="715"/>
                  <a:pt x="8001" y="790"/>
                  <a:pt x="8001" y="790"/>
                </a:cubicBezTo>
                <a:cubicBezTo>
                  <a:pt x="8001" y="825"/>
                  <a:pt x="8001" y="825"/>
                  <a:pt x="8001" y="825"/>
                </a:cubicBezTo>
                <a:cubicBezTo>
                  <a:pt x="7970" y="823"/>
                  <a:pt x="7970" y="823"/>
                  <a:pt x="7970" y="823"/>
                </a:cubicBezTo>
                <a:cubicBezTo>
                  <a:pt x="7907" y="963"/>
                  <a:pt x="7907" y="963"/>
                  <a:pt x="7907" y="963"/>
                </a:cubicBezTo>
                <a:cubicBezTo>
                  <a:pt x="7907" y="963"/>
                  <a:pt x="7930" y="945"/>
                  <a:pt x="7942" y="956"/>
                </a:cubicBezTo>
                <a:cubicBezTo>
                  <a:pt x="7956" y="970"/>
                  <a:pt x="7975" y="999"/>
                  <a:pt x="7975" y="999"/>
                </a:cubicBezTo>
                <a:cubicBezTo>
                  <a:pt x="7975" y="999"/>
                  <a:pt x="8031" y="961"/>
                  <a:pt x="8036" y="977"/>
                </a:cubicBezTo>
                <a:cubicBezTo>
                  <a:pt x="8040" y="991"/>
                  <a:pt x="8001" y="1029"/>
                  <a:pt x="8001" y="1029"/>
                </a:cubicBezTo>
                <a:cubicBezTo>
                  <a:pt x="7989" y="1071"/>
                  <a:pt x="7989" y="1071"/>
                  <a:pt x="7989" y="1071"/>
                </a:cubicBezTo>
                <a:cubicBezTo>
                  <a:pt x="7989" y="1071"/>
                  <a:pt x="7979" y="1012"/>
                  <a:pt x="7968" y="1012"/>
                </a:cubicBezTo>
                <a:cubicBezTo>
                  <a:pt x="7956" y="1012"/>
                  <a:pt x="7907" y="1076"/>
                  <a:pt x="7897" y="1078"/>
                </a:cubicBezTo>
                <a:cubicBezTo>
                  <a:pt x="7890" y="1078"/>
                  <a:pt x="7897" y="1151"/>
                  <a:pt x="7902" y="1153"/>
                </a:cubicBezTo>
                <a:cubicBezTo>
                  <a:pt x="7909" y="1155"/>
                  <a:pt x="7916" y="1190"/>
                  <a:pt x="7909" y="1193"/>
                </a:cubicBezTo>
                <a:cubicBezTo>
                  <a:pt x="7902" y="1198"/>
                  <a:pt x="7818" y="1319"/>
                  <a:pt x="7836" y="1355"/>
                </a:cubicBezTo>
                <a:cubicBezTo>
                  <a:pt x="7855" y="1387"/>
                  <a:pt x="7881" y="1422"/>
                  <a:pt x="7876" y="1441"/>
                </a:cubicBezTo>
                <a:cubicBezTo>
                  <a:pt x="7869" y="1460"/>
                  <a:pt x="7841" y="1570"/>
                  <a:pt x="7839" y="1603"/>
                </a:cubicBezTo>
                <a:cubicBezTo>
                  <a:pt x="7836" y="1635"/>
                  <a:pt x="7876" y="1722"/>
                  <a:pt x="7876" y="1722"/>
                </a:cubicBezTo>
                <a:cubicBezTo>
                  <a:pt x="7876" y="1722"/>
                  <a:pt x="7808" y="1800"/>
                  <a:pt x="7797" y="1877"/>
                </a:cubicBezTo>
                <a:cubicBezTo>
                  <a:pt x="7785" y="1954"/>
                  <a:pt x="7780" y="2032"/>
                  <a:pt x="7780" y="2032"/>
                </a:cubicBezTo>
                <a:cubicBezTo>
                  <a:pt x="7780" y="2032"/>
                  <a:pt x="7747" y="2113"/>
                  <a:pt x="7731" y="2149"/>
                </a:cubicBezTo>
                <a:cubicBezTo>
                  <a:pt x="7717" y="2182"/>
                  <a:pt x="7675" y="2261"/>
                  <a:pt x="7647" y="2273"/>
                </a:cubicBezTo>
                <a:cubicBezTo>
                  <a:pt x="7616" y="2282"/>
                  <a:pt x="7605" y="2399"/>
                  <a:pt x="7605" y="2399"/>
                </a:cubicBezTo>
                <a:cubicBezTo>
                  <a:pt x="7605" y="2399"/>
                  <a:pt x="7504" y="2472"/>
                  <a:pt x="7478" y="2477"/>
                </a:cubicBezTo>
                <a:cubicBezTo>
                  <a:pt x="7452" y="2479"/>
                  <a:pt x="7368" y="2495"/>
                  <a:pt x="7358" y="2490"/>
                </a:cubicBezTo>
                <a:cubicBezTo>
                  <a:pt x="7352" y="2486"/>
                  <a:pt x="7291" y="2449"/>
                  <a:pt x="7277" y="2441"/>
                </a:cubicBezTo>
                <a:cubicBezTo>
                  <a:pt x="7263" y="2434"/>
                  <a:pt x="7230" y="2430"/>
                  <a:pt x="7230" y="2425"/>
                </a:cubicBezTo>
                <a:cubicBezTo>
                  <a:pt x="7228" y="2420"/>
                  <a:pt x="7207" y="2371"/>
                  <a:pt x="7188" y="2369"/>
                </a:cubicBezTo>
                <a:cubicBezTo>
                  <a:pt x="7167" y="2367"/>
                  <a:pt x="7122" y="2360"/>
                  <a:pt x="7115" y="2338"/>
                </a:cubicBezTo>
                <a:cubicBezTo>
                  <a:pt x="7108" y="2317"/>
                  <a:pt x="7160" y="2294"/>
                  <a:pt x="7090" y="2247"/>
                </a:cubicBezTo>
                <a:cubicBezTo>
                  <a:pt x="7019" y="2202"/>
                  <a:pt x="7014" y="2219"/>
                  <a:pt x="7012" y="2217"/>
                </a:cubicBezTo>
                <a:cubicBezTo>
                  <a:pt x="7007" y="2214"/>
                  <a:pt x="6970" y="2179"/>
                  <a:pt x="6970" y="2179"/>
                </a:cubicBezTo>
                <a:cubicBezTo>
                  <a:pt x="6970" y="2179"/>
                  <a:pt x="6893" y="2195"/>
                  <a:pt x="6834" y="2151"/>
                </a:cubicBezTo>
                <a:cubicBezTo>
                  <a:pt x="6773" y="2104"/>
                  <a:pt x="6743" y="2032"/>
                  <a:pt x="6712" y="2017"/>
                </a:cubicBezTo>
                <a:cubicBezTo>
                  <a:pt x="6682" y="2003"/>
                  <a:pt x="6628" y="1992"/>
                  <a:pt x="6628" y="1992"/>
                </a:cubicBezTo>
                <a:cubicBezTo>
                  <a:pt x="6628" y="1992"/>
                  <a:pt x="6520" y="1922"/>
                  <a:pt x="6516" y="1917"/>
                </a:cubicBezTo>
                <a:cubicBezTo>
                  <a:pt x="6511" y="1912"/>
                  <a:pt x="6457" y="1931"/>
                  <a:pt x="6434" y="1922"/>
                </a:cubicBezTo>
                <a:cubicBezTo>
                  <a:pt x="6408" y="1912"/>
                  <a:pt x="6412" y="1879"/>
                  <a:pt x="6412" y="1879"/>
                </a:cubicBezTo>
                <a:cubicBezTo>
                  <a:pt x="6298" y="1802"/>
                  <a:pt x="6298" y="1802"/>
                  <a:pt x="6298" y="1802"/>
                </a:cubicBezTo>
                <a:cubicBezTo>
                  <a:pt x="6277" y="1753"/>
                  <a:pt x="6277" y="1753"/>
                  <a:pt x="6277" y="1753"/>
                </a:cubicBezTo>
                <a:cubicBezTo>
                  <a:pt x="6277" y="1753"/>
                  <a:pt x="6112" y="1647"/>
                  <a:pt x="6108" y="1645"/>
                </a:cubicBezTo>
                <a:cubicBezTo>
                  <a:pt x="6106" y="1643"/>
                  <a:pt x="6033" y="1575"/>
                  <a:pt x="6043" y="1558"/>
                </a:cubicBezTo>
                <a:cubicBezTo>
                  <a:pt x="6052" y="1542"/>
                  <a:pt x="6089" y="1521"/>
                  <a:pt x="6089" y="1521"/>
                </a:cubicBezTo>
                <a:cubicBezTo>
                  <a:pt x="6089" y="1521"/>
                  <a:pt x="6075" y="1497"/>
                  <a:pt x="6092" y="1483"/>
                </a:cubicBezTo>
                <a:cubicBezTo>
                  <a:pt x="6108" y="1472"/>
                  <a:pt x="6164" y="1401"/>
                  <a:pt x="6183" y="1392"/>
                </a:cubicBezTo>
                <a:cubicBezTo>
                  <a:pt x="6201" y="1383"/>
                  <a:pt x="6230" y="1294"/>
                  <a:pt x="6228" y="1266"/>
                </a:cubicBezTo>
                <a:cubicBezTo>
                  <a:pt x="6225" y="1238"/>
                  <a:pt x="6173" y="1233"/>
                  <a:pt x="6181" y="1200"/>
                </a:cubicBezTo>
                <a:cubicBezTo>
                  <a:pt x="6188" y="1169"/>
                  <a:pt x="6209" y="1158"/>
                  <a:pt x="6209" y="1151"/>
                </a:cubicBezTo>
                <a:cubicBezTo>
                  <a:pt x="6209" y="1146"/>
                  <a:pt x="6181" y="1101"/>
                  <a:pt x="6213" y="1104"/>
                </a:cubicBezTo>
                <a:cubicBezTo>
                  <a:pt x="6249" y="1104"/>
                  <a:pt x="6251" y="1097"/>
                  <a:pt x="6251" y="1097"/>
                </a:cubicBezTo>
                <a:cubicBezTo>
                  <a:pt x="6290" y="1080"/>
                  <a:pt x="6290" y="1080"/>
                  <a:pt x="6290" y="1080"/>
                </a:cubicBezTo>
                <a:cubicBezTo>
                  <a:pt x="6293" y="1094"/>
                  <a:pt x="6293" y="1094"/>
                  <a:pt x="6293" y="1094"/>
                </a:cubicBezTo>
                <a:cubicBezTo>
                  <a:pt x="6323" y="1059"/>
                  <a:pt x="6323" y="1059"/>
                  <a:pt x="6323" y="1059"/>
                </a:cubicBezTo>
                <a:cubicBezTo>
                  <a:pt x="6323" y="1059"/>
                  <a:pt x="6342" y="1106"/>
                  <a:pt x="6345" y="1101"/>
                </a:cubicBezTo>
                <a:cubicBezTo>
                  <a:pt x="6347" y="1099"/>
                  <a:pt x="6399" y="1059"/>
                  <a:pt x="6399" y="1048"/>
                </a:cubicBezTo>
                <a:cubicBezTo>
                  <a:pt x="6399" y="1038"/>
                  <a:pt x="6415" y="1019"/>
                  <a:pt x="6415" y="1019"/>
                </a:cubicBezTo>
                <a:cubicBezTo>
                  <a:pt x="6379" y="982"/>
                  <a:pt x="6379" y="982"/>
                  <a:pt x="6379" y="982"/>
                </a:cubicBezTo>
                <a:cubicBezTo>
                  <a:pt x="6468" y="874"/>
                  <a:pt x="6468" y="874"/>
                  <a:pt x="6468" y="874"/>
                </a:cubicBezTo>
                <a:cubicBezTo>
                  <a:pt x="6468" y="874"/>
                  <a:pt x="6534" y="839"/>
                  <a:pt x="6532" y="834"/>
                </a:cubicBezTo>
                <a:cubicBezTo>
                  <a:pt x="6527" y="832"/>
                  <a:pt x="6497" y="783"/>
                  <a:pt x="6497" y="783"/>
                </a:cubicBezTo>
                <a:cubicBezTo>
                  <a:pt x="6431" y="813"/>
                  <a:pt x="6431" y="813"/>
                  <a:pt x="6431" y="813"/>
                </a:cubicBezTo>
                <a:cubicBezTo>
                  <a:pt x="6431" y="813"/>
                  <a:pt x="6422" y="727"/>
                  <a:pt x="6410" y="715"/>
                </a:cubicBezTo>
                <a:cubicBezTo>
                  <a:pt x="6399" y="703"/>
                  <a:pt x="6373" y="699"/>
                  <a:pt x="6356" y="710"/>
                </a:cubicBezTo>
                <a:cubicBezTo>
                  <a:pt x="6340" y="720"/>
                  <a:pt x="6295" y="767"/>
                  <a:pt x="6295" y="767"/>
                </a:cubicBezTo>
                <a:cubicBezTo>
                  <a:pt x="6345" y="797"/>
                  <a:pt x="6345" y="797"/>
                  <a:pt x="6345" y="797"/>
                </a:cubicBezTo>
                <a:cubicBezTo>
                  <a:pt x="6345" y="797"/>
                  <a:pt x="6330" y="858"/>
                  <a:pt x="6310" y="858"/>
                </a:cubicBezTo>
                <a:cubicBezTo>
                  <a:pt x="6290" y="858"/>
                  <a:pt x="6251" y="867"/>
                  <a:pt x="6244" y="860"/>
                </a:cubicBezTo>
                <a:cubicBezTo>
                  <a:pt x="6239" y="853"/>
                  <a:pt x="6223" y="823"/>
                  <a:pt x="6223" y="823"/>
                </a:cubicBezTo>
                <a:cubicBezTo>
                  <a:pt x="6244" y="806"/>
                  <a:pt x="6244" y="806"/>
                  <a:pt x="6244" y="806"/>
                </a:cubicBezTo>
                <a:cubicBezTo>
                  <a:pt x="6213" y="764"/>
                  <a:pt x="6213" y="764"/>
                  <a:pt x="6213" y="764"/>
                </a:cubicBezTo>
                <a:cubicBezTo>
                  <a:pt x="6213" y="764"/>
                  <a:pt x="6169" y="813"/>
                  <a:pt x="6155" y="809"/>
                </a:cubicBezTo>
                <a:cubicBezTo>
                  <a:pt x="6141" y="806"/>
                  <a:pt x="6132" y="752"/>
                  <a:pt x="6129" y="752"/>
                </a:cubicBezTo>
                <a:cubicBezTo>
                  <a:pt x="6124" y="752"/>
                  <a:pt x="6061" y="717"/>
                  <a:pt x="6040" y="741"/>
                </a:cubicBezTo>
                <a:cubicBezTo>
                  <a:pt x="6022" y="764"/>
                  <a:pt x="6022" y="806"/>
                  <a:pt x="6022" y="806"/>
                </a:cubicBezTo>
                <a:cubicBezTo>
                  <a:pt x="5944" y="804"/>
                  <a:pt x="5944" y="804"/>
                  <a:pt x="5944" y="804"/>
                </a:cubicBezTo>
                <a:cubicBezTo>
                  <a:pt x="5897" y="745"/>
                  <a:pt x="5897" y="745"/>
                  <a:pt x="5897" y="745"/>
                </a:cubicBezTo>
                <a:cubicBezTo>
                  <a:pt x="5853" y="701"/>
                  <a:pt x="5853" y="701"/>
                  <a:pt x="5853" y="701"/>
                </a:cubicBezTo>
                <a:cubicBezTo>
                  <a:pt x="5853" y="701"/>
                  <a:pt x="5811" y="736"/>
                  <a:pt x="5806" y="736"/>
                </a:cubicBezTo>
                <a:cubicBezTo>
                  <a:pt x="5799" y="736"/>
                  <a:pt x="5776" y="743"/>
                  <a:pt x="5764" y="736"/>
                </a:cubicBezTo>
                <a:cubicBezTo>
                  <a:pt x="5755" y="727"/>
                  <a:pt x="5724" y="706"/>
                  <a:pt x="5722" y="706"/>
                </a:cubicBezTo>
                <a:cubicBezTo>
                  <a:pt x="5717" y="708"/>
                  <a:pt x="5696" y="734"/>
                  <a:pt x="5694" y="729"/>
                </a:cubicBezTo>
                <a:cubicBezTo>
                  <a:pt x="5694" y="724"/>
                  <a:pt x="5682" y="680"/>
                  <a:pt x="5670" y="675"/>
                </a:cubicBezTo>
                <a:cubicBezTo>
                  <a:pt x="5656" y="668"/>
                  <a:pt x="5623" y="687"/>
                  <a:pt x="5618" y="687"/>
                </a:cubicBezTo>
                <a:cubicBezTo>
                  <a:pt x="5616" y="684"/>
                  <a:pt x="5581" y="673"/>
                  <a:pt x="5586" y="666"/>
                </a:cubicBezTo>
                <a:cubicBezTo>
                  <a:pt x="5588" y="659"/>
                  <a:pt x="5651" y="656"/>
                  <a:pt x="5621" y="640"/>
                </a:cubicBezTo>
                <a:cubicBezTo>
                  <a:pt x="5590" y="623"/>
                  <a:pt x="5518" y="661"/>
                  <a:pt x="5518" y="661"/>
                </a:cubicBezTo>
                <a:cubicBezTo>
                  <a:pt x="5518" y="661"/>
                  <a:pt x="5455" y="635"/>
                  <a:pt x="5445" y="626"/>
                </a:cubicBezTo>
                <a:cubicBezTo>
                  <a:pt x="5436" y="617"/>
                  <a:pt x="5396" y="642"/>
                  <a:pt x="5377" y="621"/>
                </a:cubicBezTo>
                <a:cubicBezTo>
                  <a:pt x="5361" y="598"/>
                  <a:pt x="5347" y="542"/>
                  <a:pt x="5328" y="528"/>
                </a:cubicBezTo>
                <a:cubicBezTo>
                  <a:pt x="5312" y="516"/>
                  <a:pt x="5298" y="506"/>
                  <a:pt x="5298" y="506"/>
                </a:cubicBezTo>
                <a:cubicBezTo>
                  <a:pt x="5298" y="506"/>
                  <a:pt x="5249" y="572"/>
                  <a:pt x="5239" y="563"/>
                </a:cubicBezTo>
                <a:cubicBezTo>
                  <a:pt x="5230" y="553"/>
                  <a:pt x="5199" y="521"/>
                  <a:pt x="5197" y="511"/>
                </a:cubicBezTo>
                <a:cubicBezTo>
                  <a:pt x="5192" y="502"/>
                  <a:pt x="5230" y="481"/>
                  <a:pt x="5223" y="460"/>
                </a:cubicBezTo>
                <a:cubicBezTo>
                  <a:pt x="5218" y="441"/>
                  <a:pt x="5202" y="408"/>
                  <a:pt x="5202" y="408"/>
                </a:cubicBezTo>
                <a:cubicBezTo>
                  <a:pt x="5183" y="434"/>
                  <a:pt x="5183" y="434"/>
                  <a:pt x="5183" y="434"/>
                </a:cubicBezTo>
                <a:cubicBezTo>
                  <a:pt x="5183" y="434"/>
                  <a:pt x="5173" y="495"/>
                  <a:pt x="5160" y="483"/>
                </a:cubicBezTo>
                <a:cubicBezTo>
                  <a:pt x="5145" y="471"/>
                  <a:pt x="5124" y="441"/>
                  <a:pt x="5117" y="445"/>
                </a:cubicBezTo>
                <a:cubicBezTo>
                  <a:pt x="5113" y="448"/>
                  <a:pt x="5110" y="469"/>
                  <a:pt x="5105" y="464"/>
                </a:cubicBezTo>
                <a:cubicBezTo>
                  <a:pt x="5103" y="460"/>
                  <a:pt x="5073" y="445"/>
                  <a:pt x="5068" y="445"/>
                </a:cubicBezTo>
                <a:cubicBezTo>
                  <a:pt x="5064" y="445"/>
                  <a:pt x="5059" y="476"/>
                  <a:pt x="5056" y="476"/>
                </a:cubicBezTo>
                <a:cubicBezTo>
                  <a:pt x="5052" y="476"/>
                  <a:pt x="5038" y="450"/>
                  <a:pt x="5026" y="457"/>
                </a:cubicBezTo>
                <a:cubicBezTo>
                  <a:pt x="5014" y="467"/>
                  <a:pt x="4991" y="490"/>
                  <a:pt x="5019" y="509"/>
                </a:cubicBezTo>
                <a:cubicBezTo>
                  <a:pt x="5049" y="525"/>
                  <a:pt x="5052" y="537"/>
                  <a:pt x="5080" y="500"/>
                </a:cubicBezTo>
                <a:cubicBezTo>
                  <a:pt x="5127" y="574"/>
                  <a:pt x="5127" y="574"/>
                  <a:pt x="5127" y="574"/>
                </a:cubicBezTo>
                <a:cubicBezTo>
                  <a:pt x="5127" y="574"/>
                  <a:pt x="5141" y="528"/>
                  <a:pt x="5162" y="539"/>
                </a:cubicBezTo>
                <a:cubicBezTo>
                  <a:pt x="5183" y="551"/>
                  <a:pt x="5230" y="612"/>
                  <a:pt x="5230" y="612"/>
                </a:cubicBezTo>
                <a:cubicBezTo>
                  <a:pt x="5199" y="626"/>
                  <a:pt x="5199" y="626"/>
                  <a:pt x="5199" y="626"/>
                </a:cubicBezTo>
                <a:cubicBezTo>
                  <a:pt x="5227" y="678"/>
                  <a:pt x="5227" y="678"/>
                  <a:pt x="5227" y="678"/>
                </a:cubicBezTo>
                <a:cubicBezTo>
                  <a:pt x="5227" y="678"/>
                  <a:pt x="5194" y="720"/>
                  <a:pt x="5227" y="745"/>
                </a:cubicBezTo>
                <a:cubicBezTo>
                  <a:pt x="5260" y="771"/>
                  <a:pt x="5176" y="757"/>
                  <a:pt x="5176" y="757"/>
                </a:cubicBezTo>
                <a:cubicBezTo>
                  <a:pt x="5132" y="738"/>
                  <a:pt x="5132" y="738"/>
                  <a:pt x="5132" y="738"/>
                </a:cubicBezTo>
                <a:cubicBezTo>
                  <a:pt x="5162" y="795"/>
                  <a:pt x="5162" y="795"/>
                  <a:pt x="5162" y="795"/>
                </a:cubicBezTo>
                <a:cubicBezTo>
                  <a:pt x="5150" y="823"/>
                  <a:pt x="5150" y="823"/>
                  <a:pt x="5150" y="823"/>
                </a:cubicBezTo>
                <a:cubicBezTo>
                  <a:pt x="5150" y="823"/>
                  <a:pt x="5117" y="771"/>
                  <a:pt x="5108" y="767"/>
                </a:cubicBezTo>
                <a:cubicBezTo>
                  <a:pt x="5099" y="762"/>
                  <a:pt x="5073" y="809"/>
                  <a:pt x="5054" y="809"/>
                </a:cubicBezTo>
                <a:cubicBezTo>
                  <a:pt x="5033" y="809"/>
                  <a:pt x="5014" y="804"/>
                  <a:pt x="5014" y="804"/>
                </a:cubicBezTo>
                <a:cubicBezTo>
                  <a:pt x="4995" y="783"/>
                  <a:pt x="4995" y="783"/>
                  <a:pt x="4995" y="783"/>
                </a:cubicBezTo>
                <a:cubicBezTo>
                  <a:pt x="4970" y="804"/>
                  <a:pt x="4970" y="804"/>
                  <a:pt x="4970" y="804"/>
                </a:cubicBezTo>
                <a:cubicBezTo>
                  <a:pt x="4846" y="797"/>
                  <a:pt x="4846" y="797"/>
                  <a:pt x="4846" y="797"/>
                </a:cubicBezTo>
                <a:cubicBezTo>
                  <a:pt x="4820" y="731"/>
                  <a:pt x="4820" y="731"/>
                  <a:pt x="4820" y="731"/>
                </a:cubicBezTo>
                <a:cubicBezTo>
                  <a:pt x="4804" y="795"/>
                  <a:pt x="4804" y="795"/>
                  <a:pt x="4804" y="795"/>
                </a:cubicBezTo>
                <a:cubicBezTo>
                  <a:pt x="4804" y="795"/>
                  <a:pt x="4794" y="762"/>
                  <a:pt x="4768" y="760"/>
                </a:cubicBezTo>
                <a:cubicBezTo>
                  <a:pt x="4745" y="757"/>
                  <a:pt x="4749" y="821"/>
                  <a:pt x="4745" y="823"/>
                </a:cubicBezTo>
                <a:cubicBezTo>
                  <a:pt x="4743" y="825"/>
                  <a:pt x="4708" y="881"/>
                  <a:pt x="4708" y="881"/>
                </a:cubicBezTo>
                <a:cubicBezTo>
                  <a:pt x="4715" y="916"/>
                  <a:pt x="4715" y="916"/>
                  <a:pt x="4715" y="916"/>
                </a:cubicBezTo>
                <a:cubicBezTo>
                  <a:pt x="4715" y="916"/>
                  <a:pt x="4660" y="862"/>
                  <a:pt x="4659" y="860"/>
                </a:cubicBezTo>
                <a:cubicBezTo>
                  <a:pt x="4659" y="856"/>
                  <a:pt x="4637" y="827"/>
                  <a:pt x="4635" y="827"/>
                </a:cubicBezTo>
                <a:cubicBezTo>
                  <a:pt x="4630" y="830"/>
                  <a:pt x="4619" y="890"/>
                  <a:pt x="4614" y="898"/>
                </a:cubicBezTo>
                <a:cubicBezTo>
                  <a:pt x="4611" y="905"/>
                  <a:pt x="4637" y="949"/>
                  <a:pt x="4637" y="949"/>
                </a:cubicBezTo>
                <a:cubicBezTo>
                  <a:pt x="4637" y="949"/>
                  <a:pt x="4588" y="910"/>
                  <a:pt x="4576" y="916"/>
                </a:cubicBezTo>
                <a:cubicBezTo>
                  <a:pt x="4567" y="926"/>
                  <a:pt x="4546" y="938"/>
                  <a:pt x="4543" y="940"/>
                </a:cubicBezTo>
                <a:cubicBezTo>
                  <a:pt x="4543" y="945"/>
                  <a:pt x="4539" y="1010"/>
                  <a:pt x="4539" y="1010"/>
                </a:cubicBezTo>
                <a:cubicBezTo>
                  <a:pt x="4485" y="1010"/>
                  <a:pt x="4485" y="1010"/>
                  <a:pt x="4485" y="1010"/>
                </a:cubicBezTo>
                <a:cubicBezTo>
                  <a:pt x="4482" y="1092"/>
                  <a:pt x="4482" y="1092"/>
                  <a:pt x="4482" y="1092"/>
                </a:cubicBezTo>
                <a:cubicBezTo>
                  <a:pt x="4482" y="1092"/>
                  <a:pt x="4543" y="1125"/>
                  <a:pt x="4539" y="1125"/>
                </a:cubicBezTo>
                <a:cubicBezTo>
                  <a:pt x="4534" y="1125"/>
                  <a:pt x="4448" y="1193"/>
                  <a:pt x="4448" y="1193"/>
                </a:cubicBezTo>
                <a:cubicBezTo>
                  <a:pt x="4412" y="1158"/>
                  <a:pt x="4412" y="1158"/>
                  <a:pt x="4412" y="1158"/>
                </a:cubicBezTo>
                <a:cubicBezTo>
                  <a:pt x="4412" y="1158"/>
                  <a:pt x="4380" y="1202"/>
                  <a:pt x="4382" y="1240"/>
                </a:cubicBezTo>
                <a:cubicBezTo>
                  <a:pt x="4382" y="1277"/>
                  <a:pt x="4365" y="1336"/>
                  <a:pt x="4365" y="1336"/>
                </a:cubicBezTo>
                <a:cubicBezTo>
                  <a:pt x="4365" y="1336"/>
                  <a:pt x="4220" y="1437"/>
                  <a:pt x="4263" y="1467"/>
                </a:cubicBezTo>
                <a:cubicBezTo>
                  <a:pt x="4304" y="1497"/>
                  <a:pt x="4344" y="1521"/>
                  <a:pt x="4344" y="1521"/>
                </a:cubicBezTo>
                <a:cubicBezTo>
                  <a:pt x="4344" y="1521"/>
                  <a:pt x="4375" y="1509"/>
                  <a:pt x="4384" y="1502"/>
                </a:cubicBezTo>
                <a:cubicBezTo>
                  <a:pt x="4372" y="1511"/>
                  <a:pt x="4333" y="1549"/>
                  <a:pt x="4349" y="1558"/>
                </a:cubicBezTo>
                <a:cubicBezTo>
                  <a:pt x="4365" y="1567"/>
                  <a:pt x="4372" y="1582"/>
                  <a:pt x="4382" y="1582"/>
                </a:cubicBezTo>
                <a:cubicBezTo>
                  <a:pt x="4389" y="1582"/>
                  <a:pt x="4441" y="1563"/>
                  <a:pt x="4441" y="1563"/>
                </a:cubicBezTo>
                <a:cubicBezTo>
                  <a:pt x="4441" y="1563"/>
                  <a:pt x="4420" y="1622"/>
                  <a:pt x="4335" y="1596"/>
                </a:cubicBezTo>
                <a:cubicBezTo>
                  <a:pt x="4375" y="1701"/>
                  <a:pt x="4375" y="1701"/>
                  <a:pt x="4375" y="1701"/>
                </a:cubicBezTo>
                <a:cubicBezTo>
                  <a:pt x="4375" y="1701"/>
                  <a:pt x="4276" y="1596"/>
                  <a:pt x="4260" y="1596"/>
                </a:cubicBezTo>
                <a:cubicBezTo>
                  <a:pt x="4244" y="1598"/>
                  <a:pt x="4242" y="1692"/>
                  <a:pt x="4242" y="1692"/>
                </a:cubicBezTo>
                <a:cubicBezTo>
                  <a:pt x="4215" y="1711"/>
                  <a:pt x="4215" y="1711"/>
                  <a:pt x="4215" y="1711"/>
                </a:cubicBezTo>
                <a:cubicBezTo>
                  <a:pt x="4215" y="1711"/>
                  <a:pt x="4220" y="1638"/>
                  <a:pt x="4190" y="1624"/>
                </a:cubicBezTo>
                <a:cubicBezTo>
                  <a:pt x="4159" y="1610"/>
                  <a:pt x="4176" y="1598"/>
                  <a:pt x="4126" y="1598"/>
                </a:cubicBezTo>
                <a:cubicBezTo>
                  <a:pt x="4080" y="1598"/>
                  <a:pt x="4040" y="1579"/>
                  <a:pt x="4033" y="1577"/>
                </a:cubicBezTo>
                <a:cubicBezTo>
                  <a:pt x="4028" y="1575"/>
                  <a:pt x="3981" y="1619"/>
                  <a:pt x="3981" y="1619"/>
                </a:cubicBezTo>
                <a:cubicBezTo>
                  <a:pt x="4005" y="1664"/>
                  <a:pt x="4005" y="1664"/>
                  <a:pt x="4005" y="1664"/>
                </a:cubicBezTo>
                <a:cubicBezTo>
                  <a:pt x="4005" y="1664"/>
                  <a:pt x="3998" y="1675"/>
                  <a:pt x="3996" y="1675"/>
                </a:cubicBezTo>
                <a:cubicBezTo>
                  <a:pt x="3991" y="1675"/>
                  <a:pt x="3953" y="1650"/>
                  <a:pt x="3953" y="1650"/>
                </a:cubicBezTo>
                <a:cubicBezTo>
                  <a:pt x="3953" y="1650"/>
                  <a:pt x="3911" y="1671"/>
                  <a:pt x="3920" y="1692"/>
                </a:cubicBezTo>
                <a:cubicBezTo>
                  <a:pt x="3930" y="1711"/>
                  <a:pt x="3972" y="1755"/>
                  <a:pt x="3960" y="1760"/>
                </a:cubicBezTo>
                <a:cubicBezTo>
                  <a:pt x="3948" y="1767"/>
                  <a:pt x="3902" y="1790"/>
                  <a:pt x="3902" y="1790"/>
                </a:cubicBezTo>
                <a:cubicBezTo>
                  <a:pt x="3902" y="1790"/>
                  <a:pt x="3859" y="1750"/>
                  <a:pt x="3869" y="1729"/>
                </a:cubicBezTo>
                <a:cubicBezTo>
                  <a:pt x="3878" y="1711"/>
                  <a:pt x="3897" y="1715"/>
                  <a:pt x="3895" y="1685"/>
                </a:cubicBezTo>
                <a:cubicBezTo>
                  <a:pt x="3892" y="1655"/>
                  <a:pt x="3878" y="1656"/>
                  <a:pt x="3890" y="1635"/>
                </a:cubicBezTo>
                <a:cubicBezTo>
                  <a:pt x="3902" y="1615"/>
                  <a:pt x="3932" y="1582"/>
                  <a:pt x="3930" y="1577"/>
                </a:cubicBezTo>
                <a:cubicBezTo>
                  <a:pt x="3928" y="1570"/>
                  <a:pt x="3843" y="1537"/>
                  <a:pt x="3822" y="1507"/>
                </a:cubicBezTo>
                <a:cubicBezTo>
                  <a:pt x="3801" y="1476"/>
                  <a:pt x="3712" y="1359"/>
                  <a:pt x="3684" y="1347"/>
                </a:cubicBezTo>
                <a:cubicBezTo>
                  <a:pt x="3658" y="1336"/>
                  <a:pt x="3602" y="1357"/>
                  <a:pt x="3602" y="1357"/>
                </a:cubicBezTo>
                <a:cubicBezTo>
                  <a:pt x="3548" y="1296"/>
                  <a:pt x="3548" y="1296"/>
                  <a:pt x="3548" y="1296"/>
                </a:cubicBezTo>
                <a:cubicBezTo>
                  <a:pt x="3487" y="1315"/>
                  <a:pt x="3487" y="1315"/>
                  <a:pt x="3487" y="1315"/>
                </a:cubicBezTo>
                <a:cubicBezTo>
                  <a:pt x="3513" y="1373"/>
                  <a:pt x="3513" y="1373"/>
                  <a:pt x="3513" y="1373"/>
                </a:cubicBezTo>
                <a:cubicBezTo>
                  <a:pt x="3436" y="1448"/>
                  <a:pt x="3436" y="1448"/>
                  <a:pt x="3436" y="1448"/>
                </a:cubicBezTo>
                <a:cubicBezTo>
                  <a:pt x="3436" y="1448"/>
                  <a:pt x="3394" y="1399"/>
                  <a:pt x="3398" y="1378"/>
                </a:cubicBezTo>
                <a:cubicBezTo>
                  <a:pt x="3386" y="1394"/>
                  <a:pt x="3358" y="1432"/>
                  <a:pt x="3358" y="1444"/>
                </a:cubicBezTo>
                <a:cubicBezTo>
                  <a:pt x="3358" y="1460"/>
                  <a:pt x="3319" y="1434"/>
                  <a:pt x="3319" y="1434"/>
                </a:cubicBezTo>
                <a:cubicBezTo>
                  <a:pt x="3255" y="1495"/>
                  <a:pt x="3255" y="1495"/>
                  <a:pt x="3255" y="1495"/>
                </a:cubicBezTo>
                <a:cubicBezTo>
                  <a:pt x="3284" y="1530"/>
                  <a:pt x="3284" y="1530"/>
                  <a:pt x="3284" y="1530"/>
                </a:cubicBezTo>
                <a:cubicBezTo>
                  <a:pt x="3251" y="1563"/>
                  <a:pt x="3251" y="1563"/>
                  <a:pt x="3251" y="1563"/>
                </a:cubicBezTo>
                <a:cubicBezTo>
                  <a:pt x="3187" y="1488"/>
                  <a:pt x="3187" y="1488"/>
                  <a:pt x="3187" y="1488"/>
                </a:cubicBezTo>
                <a:cubicBezTo>
                  <a:pt x="3176" y="1584"/>
                  <a:pt x="3176" y="1584"/>
                  <a:pt x="3176" y="1584"/>
                </a:cubicBezTo>
                <a:cubicBezTo>
                  <a:pt x="3176" y="1584"/>
                  <a:pt x="3143" y="1549"/>
                  <a:pt x="3138" y="1549"/>
                </a:cubicBezTo>
                <a:cubicBezTo>
                  <a:pt x="3136" y="1549"/>
                  <a:pt x="3110" y="1589"/>
                  <a:pt x="3110" y="1589"/>
                </a:cubicBezTo>
                <a:cubicBezTo>
                  <a:pt x="3077" y="1575"/>
                  <a:pt x="3077" y="1575"/>
                  <a:pt x="3077" y="1575"/>
                </a:cubicBezTo>
                <a:cubicBezTo>
                  <a:pt x="3035" y="1633"/>
                  <a:pt x="3035" y="1633"/>
                  <a:pt x="3035" y="1633"/>
                </a:cubicBezTo>
                <a:cubicBezTo>
                  <a:pt x="3035" y="1633"/>
                  <a:pt x="3049" y="1678"/>
                  <a:pt x="3070" y="1689"/>
                </a:cubicBezTo>
                <a:cubicBezTo>
                  <a:pt x="3089" y="1699"/>
                  <a:pt x="3103" y="1717"/>
                  <a:pt x="3103" y="1717"/>
                </a:cubicBezTo>
                <a:cubicBezTo>
                  <a:pt x="3094" y="1744"/>
                  <a:pt x="3094" y="1744"/>
                  <a:pt x="3094" y="1744"/>
                </a:cubicBezTo>
                <a:cubicBezTo>
                  <a:pt x="3094" y="1744"/>
                  <a:pt x="3063" y="1755"/>
                  <a:pt x="3042" y="1741"/>
                </a:cubicBezTo>
                <a:cubicBezTo>
                  <a:pt x="3024" y="1725"/>
                  <a:pt x="3005" y="1708"/>
                  <a:pt x="3000" y="1708"/>
                </a:cubicBezTo>
                <a:cubicBezTo>
                  <a:pt x="2996" y="1708"/>
                  <a:pt x="2988" y="1762"/>
                  <a:pt x="2988" y="1762"/>
                </a:cubicBezTo>
                <a:cubicBezTo>
                  <a:pt x="3028" y="1809"/>
                  <a:pt x="3028" y="1809"/>
                  <a:pt x="3028" y="1809"/>
                </a:cubicBezTo>
                <a:cubicBezTo>
                  <a:pt x="3049" y="1861"/>
                  <a:pt x="3049" y="1861"/>
                  <a:pt x="3049" y="1861"/>
                </a:cubicBezTo>
                <a:cubicBezTo>
                  <a:pt x="3009" y="1846"/>
                  <a:pt x="3009" y="1846"/>
                  <a:pt x="3009" y="1846"/>
                </a:cubicBezTo>
                <a:cubicBezTo>
                  <a:pt x="2953" y="1781"/>
                  <a:pt x="2953" y="1781"/>
                  <a:pt x="2953" y="1781"/>
                </a:cubicBezTo>
                <a:cubicBezTo>
                  <a:pt x="2953" y="1781"/>
                  <a:pt x="2916" y="1821"/>
                  <a:pt x="2897" y="1842"/>
                </a:cubicBezTo>
                <a:cubicBezTo>
                  <a:pt x="2876" y="1865"/>
                  <a:pt x="2846" y="1846"/>
                  <a:pt x="2839" y="1874"/>
                </a:cubicBezTo>
                <a:cubicBezTo>
                  <a:pt x="2829" y="1903"/>
                  <a:pt x="2834" y="2001"/>
                  <a:pt x="2860" y="1999"/>
                </a:cubicBezTo>
                <a:cubicBezTo>
                  <a:pt x="2883" y="1999"/>
                  <a:pt x="2916" y="1956"/>
                  <a:pt x="2916" y="1956"/>
                </a:cubicBezTo>
                <a:cubicBezTo>
                  <a:pt x="2916" y="1956"/>
                  <a:pt x="2909" y="2015"/>
                  <a:pt x="2888" y="2039"/>
                </a:cubicBezTo>
                <a:cubicBezTo>
                  <a:pt x="2867" y="2062"/>
                  <a:pt x="2841" y="2045"/>
                  <a:pt x="2839" y="2071"/>
                </a:cubicBezTo>
                <a:cubicBezTo>
                  <a:pt x="2839" y="2095"/>
                  <a:pt x="2841" y="2113"/>
                  <a:pt x="2848" y="2113"/>
                </a:cubicBezTo>
                <a:cubicBezTo>
                  <a:pt x="2852" y="2113"/>
                  <a:pt x="2885" y="2104"/>
                  <a:pt x="2913" y="2111"/>
                </a:cubicBezTo>
                <a:cubicBezTo>
                  <a:pt x="2941" y="2118"/>
                  <a:pt x="2996" y="2142"/>
                  <a:pt x="2996" y="2142"/>
                </a:cubicBezTo>
                <a:cubicBezTo>
                  <a:pt x="2996" y="2142"/>
                  <a:pt x="2843" y="2156"/>
                  <a:pt x="2818" y="2151"/>
                </a:cubicBezTo>
                <a:cubicBezTo>
                  <a:pt x="2794" y="2144"/>
                  <a:pt x="2813" y="2106"/>
                  <a:pt x="2775" y="2106"/>
                </a:cubicBezTo>
                <a:cubicBezTo>
                  <a:pt x="2738" y="2109"/>
                  <a:pt x="2726" y="2109"/>
                  <a:pt x="2719" y="2113"/>
                </a:cubicBezTo>
                <a:cubicBezTo>
                  <a:pt x="2710" y="2116"/>
                  <a:pt x="2729" y="2142"/>
                  <a:pt x="2729" y="2142"/>
                </a:cubicBezTo>
                <a:cubicBezTo>
                  <a:pt x="2686" y="2142"/>
                  <a:pt x="2686" y="2142"/>
                  <a:pt x="2686" y="2142"/>
                </a:cubicBezTo>
                <a:cubicBezTo>
                  <a:pt x="2686" y="2142"/>
                  <a:pt x="2661" y="2076"/>
                  <a:pt x="2651" y="2076"/>
                </a:cubicBezTo>
                <a:cubicBezTo>
                  <a:pt x="2640" y="2076"/>
                  <a:pt x="2602" y="2085"/>
                  <a:pt x="2607" y="2104"/>
                </a:cubicBezTo>
                <a:cubicBezTo>
                  <a:pt x="2612" y="2125"/>
                  <a:pt x="2658" y="2142"/>
                  <a:pt x="2646" y="2149"/>
                </a:cubicBezTo>
                <a:cubicBezTo>
                  <a:pt x="2637" y="2156"/>
                  <a:pt x="2609" y="2207"/>
                  <a:pt x="2612" y="2214"/>
                </a:cubicBezTo>
                <a:cubicBezTo>
                  <a:pt x="2612" y="2221"/>
                  <a:pt x="2656" y="2299"/>
                  <a:pt x="2679" y="2296"/>
                </a:cubicBezTo>
                <a:cubicBezTo>
                  <a:pt x="2701" y="2296"/>
                  <a:pt x="2724" y="2278"/>
                  <a:pt x="2724" y="2278"/>
                </a:cubicBezTo>
                <a:cubicBezTo>
                  <a:pt x="2702" y="2320"/>
                  <a:pt x="2702" y="2320"/>
                  <a:pt x="2702" y="2320"/>
                </a:cubicBezTo>
                <a:cubicBezTo>
                  <a:pt x="2731" y="2392"/>
                  <a:pt x="2731" y="2392"/>
                  <a:pt x="2731" y="2392"/>
                </a:cubicBezTo>
                <a:cubicBezTo>
                  <a:pt x="2635" y="2334"/>
                  <a:pt x="2635" y="2334"/>
                  <a:pt x="2635" y="2334"/>
                </a:cubicBezTo>
                <a:cubicBezTo>
                  <a:pt x="2635" y="2334"/>
                  <a:pt x="2609" y="2362"/>
                  <a:pt x="2635" y="2399"/>
                </a:cubicBezTo>
                <a:cubicBezTo>
                  <a:pt x="2658" y="2437"/>
                  <a:pt x="2632" y="2505"/>
                  <a:pt x="2632" y="2505"/>
                </a:cubicBezTo>
                <a:cubicBezTo>
                  <a:pt x="2445" y="2233"/>
                  <a:pt x="2445" y="2233"/>
                  <a:pt x="2445" y="2233"/>
                </a:cubicBezTo>
                <a:cubicBezTo>
                  <a:pt x="2445" y="2233"/>
                  <a:pt x="2445" y="2198"/>
                  <a:pt x="2455" y="2193"/>
                </a:cubicBezTo>
                <a:cubicBezTo>
                  <a:pt x="2462" y="2186"/>
                  <a:pt x="2450" y="2160"/>
                  <a:pt x="2445" y="2160"/>
                </a:cubicBezTo>
                <a:cubicBezTo>
                  <a:pt x="2440" y="2160"/>
                  <a:pt x="2429" y="2207"/>
                  <a:pt x="2407" y="2219"/>
                </a:cubicBezTo>
                <a:cubicBezTo>
                  <a:pt x="2386" y="2233"/>
                  <a:pt x="2370" y="2254"/>
                  <a:pt x="2370" y="2259"/>
                </a:cubicBezTo>
                <a:cubicBezTo>
                  <a:pt x="2370" y="2266"/>
                  <a:pt x="2396" y="2291"/>
                  <a:pt x="2391" y="2291"/>
                </a:cubicBezTo>
                <a:cubicBezTo>
                  <a:pt x="2389" y="2291"/>
                  <a:pt x="2354" y="2280"/>
                  <a:pt x="2337" y="2301"/>
                </a:cubicBezTo>
                <a:cubicBezTo>
                  <a:pt x="2323" y="2324"/>
                  <a:pt x="2330" y="2348"/>
                  <a:pt x="2330" y="2348"/>
                </a:cubicBezTo>
                <a:cubicBezTo>
                  <a:pt x="2330" y="2348"/>
                  <a:pt x="2251" y="2355"/>
                  <a:pt x="2234" y="2434"/>
                </a:cubicBezTo>
                <a:cubicBezTo>
                  <a:pt x="2218" y="2516"/>
                  <a:pt x="2251" y="2612"/>
                  <a:pt x="2251" y="2612"/>
                </a:cubicBezTo>
                <a:cubicBezTo>
                  <a:pt x="2251" y="2612"/>
                  <a:pt x="2302" y="2664"/>
                  <a:pt x="2302" y="2678"/>
                </a:cubicBezTo>
                <a:cubicBezTo>
                  <a:pt x="2302" y="2690"/>
                  <a:pt x="2269" y="2711"/>
                  <a:pt x="2256" y="2729"/>
                </a:cubicBezTo>
                <a:cubicBezTo>
                  <a:pt x="2241" y="2748"/>
                  <a:pt x="2227" y="2793"/>
                  <a:pt x="2227" y="2793"/>
                </a:cubicBezTo>
                <a:cubicBezTo>
                  <a:pt x="2227" y="2793"/>
                  <a:pt x="2183" y="2793"/>
                  <a:pt x="2159" y="2821"/>
                </a:cubicBezTo>
                <a:cubicBezTo>
                  <a:pt x="2138" y="2849"/>
                  <a:pt x="2145" y="2894"/>
                  <a:pt x="2140" y="2894"/>
                </a:cubicBezTo>
                <a:cubicBezTo>
                  <a:pt x="2138" y="2894"/>
                  <a:pt x="2106" y="2896"/>
                  <a:pt x="2106" y="2896"/>
                </a:cubicBezTo>
                <a:cubicBezTo>
                  <a:pt x="2106" y="2896"/>
                  <a:pt x="2082" y="3055"/>
                  <a:pt x="2049" y="3090"/>
                </a:cubicBezTo>
                <a:cubicBezTo>
                  <a:pt x="2017" y="3125"/>
                  <a:pt x="1890" y="3219"/>
                  <a:pt x="1839" y="3254"/>
                </a:cubicBezTo>
                <a:cubicBezTo>
                  <a:pt x="1787" y="3287"/>
                  <a:pt x="1637" y="3322"/>
                  <a:pt x="1633" y="3322"/>
                </a:cubicBezTo>
                <a:cubicBezTo>
                  <a:pt x="1630" y="3324"/>
                  <a:pt x="1581" y="3367"/>
                  <a:pt x="1574" y="3362"/>
                </a:cubicBezTo>
                <a:cubicBezTo>
                  <a:pt x="1569" y="3360"/>
                  <a:pt x="1536" y="3339"/>
                  <a:pt x="1513" y="3339"/>
                </a:cubicBezTo>
                <a:cubicBezTo>
                  <a:pt x="1487" y="3339"/>
                  <a:pt x="1471" y="3320"/>
                  <a:pt x="1473" y="3315"/>
                </a:cubicBezTo>
                <a:cubicBezTo>
                  <a:pt x="1476" y="3311"/>
                  <a:pt x="1534" y="3301"/>
                  <a:pt x="1534" y="3301"/>
                </a:cubicBezTo>
                <a:cubicBezTo>
                  <a:pt x="1534" y="3301"/>
                  <a:pt x="1471" y="3294"/>
                  <a:pt x="1459" y="3313"/>
                </a:cubicBezTo>
                <a:cubicBezTo>
                  <a:pt x="1447" y="3332"/>
                  <a:pt x="1422" y="3374"/>
                  <a:pt x="1415" y="3374"/>
                </a:cubicBezTo>
                <a:cubicBezTo>
                  <a:pt x="1407" y="3374"/>
                  <a:pt x="1405" y="3446"/>
                  <a:pt x="1361" y="3453"/>
                </a:cubicBezTo>
                <a:cubicBezTo>
                  <a:pt x="1316" y="3458"/>
                  <a:pt x="1281" y="3467"/>
                  <a:pt x="1281" y="3467"/>
                </a:cubicBezTo>
                <a:cubicBezTo>
                  <a:pt x="1281" y="3467"/>
                  <a:pt x="1250" y="3498"/>
                  <a:pt x="1244" y="3498"/>
                </a:cubicBezTo>
                <a:cubicBezTo>
                  <a:pt x="1237" y="3498"/>
                  <a:pt x="1190" y="3493"/>
                  <a:pt x="1190" y="3493"/>
                </a:cubicBezTo>
                <a:cubicBezTo>
                  <a:pt x="1190" y="3493"/>
                  <a:pt x="1124" y="3580"/>
                  <a:pt x="1091" y="3594"/>
                </a:cubicBezTo>
                <a:cubicBezTo>
                  <a:pt x="1059" y="3608"/>
                  <a:pt x="1007" y="3632"/>
                  <a:pt x="1007" y="3632"/>
                </a:cubicBezTo>
                <a:cubicBezTo>
                  <a:pt x="1007" y="3632"/>
                  <a:pt x="970" y="3634"/>
                  <a:pt x="953" y="3632"/>
                </a:cubicBezTo>
                <a:cubicBezTo>
                  <a:pt x="937" y="3627"/>
                  <a:pt x="942" y="3596"/>
                  <a:pt x="913" y="3603"/>
                </a:cubicBezTo>
                <a:cubicBezTo>
                  <a:pt x="885" y="3611"/>
                  <a:pt x="848" y="3652"/>
                  <a:pt x="845" y="3641"/>
                </a:cubicBezTo>
                <a:cubicBezTo>
                  <a:pt x="841" y="3629"/>
                  <a:pt x="829" y="3582"/>
                  <a:pt x="841" y="3571"/>
                </a:cubicBezTo>
                <a:cubicBezTo>
                  <a:pt x="853" y="3556"/>
                  <a:pt x="832" y="3538"/>
                  <a:pt x="832" y="3538"/>
                </a:cubicBezTo>
                <a:cubicBezTo>
                  <a:pt x="832" y="3538"/>
                  <a:pt x="829" y="3584"/>
                  <a:pt x="810" y="3601"/>
                </a:cubicBezTo>
                <a:cubicBezTo>
                  <a:pt x="792" y="3615"/>
                  <a:pt x="731" y="3622"/>
                  <a:pt x="735" y="3622"/>
                </a:cubicBezTo>
                <a:cubicBezTo>
                  <a:pt x="740" y="3622"/>
                  <a:pt x="796" y="3634"/>
                  <a:pt x="775" y="3652"/>
                </a:cubicBezTo>
                <a:cubicBezTo>
                  <a:pt x="752" y="3669"/>
                  <a:pt x="724" y="3685"/>
                  <a:pt x="710" y="3692"/>
                </a:cubicBezTo>
                <a:cubicBezTo>
                  <a:pt x="695" y="3700"/>
                  <a:pt x="672" y="3716"/>
                  <a:pt x="670" y="3718"/>
                </a:cubicBezTo>
                <a:cubicBezTo>
                  <a:pt x="670" y="3723"/>
                  <a:pt x="630" y="3770"/>
                  <a:pt x="604" y="3784"/>
                </a:cubicBezTo>
                <a:cubicBezTo>
                  <a:pt x="578" y="3798"/>
                  <a:pt x="537" y="3863"/>
                  <a:pt x="527" y="3870"/>
                </a:cubicBezTo>
                <a:cubicBezTo>
                  <a:pt x="517" y="3875"/>
                  <a:pt x="492" y="3927"/>
                  <a:pt x="485" y="3934"/>
                </a:cubicBezTo>
                <a:cubicBezTo>
                  <a:pt x="476" y="3938"/>
                  <a:pt x="368" y="4001"/>
                  <a:pt x="328" y="4034"/>
                </a:cubicBezTo>
                <a:cubicBezTo>
                  <a:pt x="290" y="4067"/>
                  <a:pt x="250" y="4133"/>
                  <a:pt x="250" y="4154"/>
                </a:cubicBezTo>
                <a:cubicBezTo>
                  <a:pt x="250" y="4177"/>
                  <a:pt x="237" y="4264"/>
                  <a:pt x="237" y="4264"/>
                </a:cubicBezTo>
                <a:cubicBezTo>
                  <a:pt x="237" y="4264"/>
                  <a:pt x="201" y="4278"/>
                  <a:pt x="190" y="4280"/>
                </a:cubicBezTo>
                <a:cubicBezTo>
                  <a:pt x="178" y="4283"/>
                  <a:pt x="178" y="4255"/>
                  <a:pt x="171" y="4238"/>
                </a:cubicBezTo>
                <a:cubicBezTo>
                  <a:pt x="161" y="4222"/>
                  <a:pt x="150" y="4196"/>
                  <a:pt x="150" y="4187"/>
                </a:cubicBezTo>
                <a:cubicBezTo>
                  <a:pt x="150" y="4177"/>
                  <a:pt x="152" y="4072"/>
                  <a:pt x="152" y="4072"/>
                </a:cubicBezTo>
                <a:cubicBezTo>
                  <a:pt x="152" y="4072"/>
                  <a:pt x="150" y="4037"/>
                  <a:pt x="108" y="4095"/>
                </a:cubicBezTo>
                <a:cubicBezTo>
                  <a:pt x="68" y="4156"/>
                  <a:pt x="87" y="4243"/>
                  <a:pt x="87" y="4243"/>
                </a:cubicBezTo>
                <a:cubicBezTo>
                  <a:pt x="87" y="4243"/>
                  <a:pt x="28" y="4294"/>
                  <a:pt x="47" y="4329"/>
                </a:cubicBezTo>
                <a:cubicBezTo>
                  <a:pt x="65" y="4365"/>
                  <a:pt x="110" y="4423"/>
                  <a:pt x="110" y="4423"/>
                </a:cubicBezTo>
                <a:cubicBezTo>
                  <a:pt x="103" y="4484"/>
                  <a:pt x="103" y="4484"/>
                  <a:pt x="103" y="4484"/>
                </a:cubicBezTo>
                <a:cubicBezTo>
                  <a:pt x="103" y="4484"/>
                  <a:pt x="131" y="4522"/>
                  <a:pt x="126" y="4555"/>
                </a:cubicBezTo>
                <a:cubicBezTo>
                  <a:pt x="122" y="4587"/>
                  <a:pt x="72" y="4655"/>
                  <a:pt x="68" y="4676"/>
                </a:cubicBezTo>
                <a:cubicBezTo>
                  <a:pt x="61" y="4695"/>
                  <a:pt x="59" y="4873"/>
                  <a:pt x="59" y="4873"/>
                </a:cubicBezTo>
                <a:cubicBezTo>
                  <a:pt x="59" y="4873"/>
                  <a:pt x="150" y="4964"/>
                  <a:pt x="152" y="4985"/>
                </a:cubicBezTo>
                <a:cubicBezTo>
                  <a:pt x="154" y="5006"/>
                  <a:pt x="154" y="5034"/>
                  <a:pt x="161" y="5042"/>
                </a:cubicBezTo>
                <a:cubicBezTo>
                  <a:pt x="169" y="5049"/>
                  <a:pt x="209" y="5091"/>
                  <a:pt x="209" y="5091"/>
                </a:cubicBezTo>
                <a:cubicBezTo>
                  <a:pt x="232" y="5079"/>
                  <a:pt x="232" y="5079"/>
                  <a:pt x="232" y="5079"/>
                </a:cubicBezTo>
                <a:cubicBezTo>
                  <a:pt x="255" y="5122"/>
                  <a:pt x="255" y="5122"/>
                  <a:pt x="255" y="5122"/>
                </a:cubicBezTo>
                <a:cubicBezTo>
                  <a:pt x="253" y="5154"/>
                  <a:pt x="253" y="5154"/>
                  <a:pt x="253" y="5154"/>
                </a:cubicBezTo>
                <a:cubicBezTo>
                  <a:pt x="253" y="5154"/>
                  <a:pt x="379" y="5245"/>
                  <a:pt x="375" y="5267"/>
                </a:cubicBezTo>
                <a:cubicBezTo>
                  <a:pt x="370" y="5288"/>
                  <a:pt x="347" y="5304"/>
                  <a:pt x="347" y="5304"/>
                </a:cubicBezTo>
                <a:cubicBezTo>
                  <a:pt x="347" y="5304"/>
                  <a:pt x="360" y="5339"/>
                  <a:pt x="356" y="5353"/>
                </a:cubicBezTo>
                <a:cubicBezTo>
                  <a:pt x="351" y="5370"/>
                  <a:pt x="379" y="5390"/>
                  <a:pt x="379" y="5390"/>
                </a:cubicBezTo>
                <a:cubicBezTo>
                  <a:pt x="379" y="5390"/>
                  <a:pt x="347" y="5440"/>
                  <a:pt x="347" y="5435"/>
                </a:cubicBezTo>
                <a:cubicBezTo>
                  <a:pt x="347" y="5433"/>
                  <a:pt x="281" y="5339"/>
                  <a:pt x="276" y="5328"/>
                </a:cubicBezTo>
                <a:cubicBezTo>
                  <a:pt x="270" y="5316"/>
                  <a:pt x="250" y="5377"/>
                  <a:pt x="250" y="5377"/>
                </a:cubicBezTo>
                <a:cubicBezTo>
                  <a:pt x="281" y="5412"/>
                  <a:pt x="281" y="5412"/>
                  <a:pt x="281" y="5412"/>
                </a:cubicBezTo>
                <a:cubicBezTo>
                  <a:pt x="281" y="5412"/>
                  <a:pt x="302" y="5470"/>
                  <a:pt x="276" y="5484"/>
                </a:cubicBezTo>
                <a:cubicBezTo>
                  <a:pt x="250" y="5496"/>
                  <a:pt x="227" y="5501"/>
                  <a:pt x="227" y="5512"/>
                </a:cubicBezTo>
                <a:cubicBezTo>
                  <a:pt x="227" y="5524"/>
                  <a:pt x="222" y="5524"/>
                  <a:pt x="222" y="5524"/>
                </a:cubicBezTo>
                <a:cubicBezTo>
                  <a:pt x="222" y="5524"/>
                  <a:pt x="403" y="5714"/>
                  <a:pt x="410" y="5773"/>
                </a:cubicBezTo>
                <a:cubicBezTo>
                  <a:pt x="417" y="5831"/>
                  <a:pt x="408" y="5883"/>
                  <a:pt x="421" y="5894"/>
                </a:cubicBezTo>
                <a:cubicBezTo>
                  <a:pt x="436" y="5908"/>
                  <a:pt x="571" y="6014"/>
                  <a:pt x="586" y="6051"/>
                </a:cubicBezTo>
                <a:cubicBezTo>
                  <a:pt x="597" y="6089"/>
                  <a:pt x="574" y="6103"/>
                  <a:pt x="597" y="6126"/>
                </a:cubicBezTo>
                <a:cubicBezTo>
                  <a:pt x="623" y="6150"/>
                  <a:pt x="695" y="6224"/>
                  <a:pt x="700" y="6257"/>
                </a:cubicBezTo>
                <a:cubicBezTo>
                  <a:pt x="705" y="6290"/>
                  <a:pt x="738" y="6522"/>
                  <a:pt x="775" y="6588"/>
                </a:cubicBezTo>
                <a:cubicBezTo>
                  <a:pt x="813" y="6651"/>
                  <a:pt x="1002" y="6928"/>
                  <a:pt x="1002" y="6951"/>
                </a:cubicBezTo>
                <a:cubicBezTo>
                  <a:pt x="1005" y="6974"/>
                  <a:pt x="1019" y="7038"/>
                  <a:pt x="1019" y="7038"/>
                </a:cubicBezTo>
                <a:cubicBezTo>
                  <a:pt x="1019" y="7038"/>
                  <a:pt x="988" y="7049"/>
                  <a:pt x="991" y="7051"/>
                </a:cubicBezTo>
                <a:cubicBezTo>
                  <a:pt x="995" y="7054"/>
                  <a:pt x="1038" y="7124"/>
                  <a:pt x="1038" y="7124"/>
                </a:cubicBezTo>
                <a:cubicBezTo>
                  <a:pt x="1014" y="7180"/>
                  <a:pt x="1014" y="7180"/>
                  <a:pt x="1014" y="7180"/>
                </a:cubicBezTo>
                <a:cubicBezTo>
                  <a:pt x="1044" y="7216"/>
                  <a:pt x="1044" y="7216"/>
                  <a:pt x="1044" y="7216"/>
                </a:cubicBezTo>
                <a:cubicBezTo>
                  <a:pt x="1016" y="7232"/>
                  <a:pt x="1016" y="7232"/>
                  <a:pt x="1016" y="7232"/>
                </a:cubicBezTo>
                <a:cubicBezTo>
                  <a:pt x="1016" y="7232"/>
                  <a:pt x="1042" y="7284"/>
                  <a:pt x="1049" y="7305"/>
                </a:cubicBezTo>
                <a:cubicBezTo>
                  <a:pt x="1056" y="7326"/>
                  <a:pt x="1066" y="7405"/>
                  <a:pt x="1028" y="7445"/>
                </a:cubicBezTo>
                <a:cubicBezTo>
                  <a:pt x="993" y="7483"/>
                  <a:pt x="977" y="7508"/>
                  <a:pt x="958" y="7499"/>
                </a:cubicBezTo>
                <a:cubicBezTo>
                  <a:pt x="937" y="7492"/>
                  <a:pt x="906" y="7459"/>
                  <a:pt x="906" y="7459"/>
                </a:cubicBezTo>
                <a:cubicBezTo>
                  <a:pt x="897" y="7513"/>
                  <a:pt x="897" y="7513"/>
                  <a:pt x="897" y="7513"/>
                </a:cubicBezTo>
                <a:cubicBezTo>
                  <a:pt x="897" y="7513"/>
                  <a:pt x="913" y="7707"/>
                  <a:pt x="949" y="7703"/>
                </a:cubicBezTo>
                <a:cubicBezTo>
                  <a:pt x="982" y="7701"/>
                  <a:pt x="960" y="7661"/>
                  <a:pt x="1002" y="7679"/>
                </a:cubicBezTo>
                <a:cubicBezTo>
                  <a:pt x="1047" y="7701"/>
                  <a:pt x="1204" y="7818"/>
                  <a:pt x="1204" y="7818"/>
                </a:cubicBezTo>
                <a:cubicBezTo>
                  <a:pt x="1204" y="7818"/>
                  <a:pt x="1258" y="7806"/>
                  <a:pt x="1283" y="7815"/>
                </a:cubicBezTo>
                <a:cubicBezTo>
                  <a:pt x="1309" y="7824"/>
                  <a:pt x="1305" y="7843"/>
                  <a:pt x="1349" y="7843"/>
                </a:cubicBezTo>
                <a:cubicBezTo>
                  <a:pt x="1396" y="7843"/>
                  <a:pt x="1450" y="7843"/>
                  <a:pt x="1455" y="7841"/>
                </a:cubicBezTo>
                <a:cubicBezTo>
                  <a:pt x="1459" y="7841"/>
                  <a:pt x="1513" y="7822"/>
                  <a:pt x="1534" y="7827"/>
                </a:cubicBezTo>
                <a:cubicBezTo>
                  <a:pt x="1555" y="7829"/>
                  <a:pt x="1593" y="7850"/>
                  <a:pt x="1604" y="7846"/>
                </a:cubicBezTo>
                <a:cubicBezTo>
                  <a:pt x="1616" y="7843"/>
                  <a:pt x="1623" y="7815"/>
                  <a:pt x="1667" y="7811"/>
                </a:cubicBezTo>
                <a:cubicBezTo>
                  <a:pt x="1714" y="7806"/>
                  <a:pt x="1726" y="7815"/>
                  <a:pt x="1733" y="7806"/>
                </a:cubicBezTo>
                <a:cubicBezTo>
                  <a:pt x="1738" y="7796"/>
                  <a:pt x="1778" y="7768"/>
                  <a:pt x="1787" y="7757"/>
                </a:cubicBezTo>
                <a:cubicBezTo>
                  <a:pt x="1794" y="7747"/>
                  <a:pt x="1796" y="7710"/>
                  <a:pt x="1796" y="7710"/>
                </a:cubicBezTo>
                <a:cubicBezTo>
                  <a:pt x="1796" y="7710"/>
                  <a:pt x="1812" y="7714"/>
                  <a:pt x="1841" y="7679"/>
                </a:cubicBezTo>
                <a:cubicBezTo>
                  <a:pt x="1869" y="7644"/>
                  <a:pt x="1839" y="7628"/>
                  <a:pt x="1897" y="7612"/>
                </a:cubicBezTo>
                <a:cubicBezTo>
                  <a:pt x="1956" y="7597"/>
                  <a:pt x="1979" y="7623"/>
                  <a:pt x="1989" y="7616"/>
                </a:cubicBezTo>
                <a:cubicBezTo>
                  <a:pt x="1995" y="7609"/>
                  <a:pt x="2035" y="7579"/>
                  <a:pt x="2035" y="7574"/>
                </a:cubicBezTo>
                <a:cubicBezTo>
                  <a:pt x="2035" y="7572"/>
                  <a:pt x="2012" y="7555"/>
                  <a:pt x="2038" y="7520"/>
                </a:cubicBezTo>
                <a:cubicBezTo>
                  <a:pt x="2066" y="7487"/>
                  <a:pt x="2131" y="7431"/>
                  <a:pt x="2131" y="7431"/>
                </a:cubicBezTo>
                <a:cubicBezTo>
                  <a:pt x="2131" y="7431"/>
                  <a:pt x="2265" y="7434"/>
                  <a:pt x="2267" y="7429"/>
                </a:cubicBezTo>
                <a:cubicBezTo>
                  <a:pt x="2269" y="7422"/>
                  <a:pt x="2340" y="7377"/>
                  <a:pt x="2375" y="7377"/>
                </a:cubicBezTo>
                <a:cubicBezTo>
                  <a:pt x="2410" y="7377"/>
                  <a:pt x="2483" y="7354"/>
                  <a:pt x="2508" y="7351"/>
                </a:cubicBezTo>
                <a:cubicBezTo>
                  <a:pt x="2536" y="7349"/>
                  <a:pt x="2539" y="7370"/>
                  <a:pt x="2572" y="7370"/>
                </a:cubicBezTo>
                <a:cubicBezTo>
                  <a:pt x="2604" y="7368"/>
                  <a:pt x="2653" y="7361"/>
                  <a:pt x="2653" y="7361"/>
                </a:cubicBezTo>
                <a:cubicBezTo>
                  <a:pt x="2653" y="7361"/>
                  <a:pt x="2665" y="7391"/>
                  <a:pt x="2684" y="7391"/>
                </a:cubicBezTo>
                <a:cubicBezTo>
                  <a:pt x="2705" y="7391"/>
                  <a:pt x="2696" y="7368"/>
                  <a:pt x="2735" y="7368"/>
                </a:cubicBezTo>
                <a:cubicBezTo>
                  <a:pt x="2775" y="7366"/>
                  <a:pt x="2857" y="7345"/>
                  <a:pt x="2857" y="7345"/>
                </a:cubicBezTo>
                <a:cubicBezTo>
                  <a:pt x="2902" y="7328"/>
                  <a:pt x="2902" y="7328"/>
                  <a:pt x="2902" y="7328"/>
                </a:cubicBezTo>
                <a:cubicBezTo>
                  <a:pt x="2902" y="7328"/>
                  <a:pt x="2944" y="7403"/>
                  <a:pt x="2946" y="7398"/>
                </a:cubicBezTo>
                <a:cubicBezTo>
                  <a:pt x="2946" y="7394"/>
                  <a:pt x="2981" y="7356"/>
                  <a:pt x="2981" y="7354"/>
                </a:cubicBezTo>
                <a:cubicBezTo>
                  <a:pt x="2981" y="7349"/>
                  <a:pt x="3042" y="7337"/>
                  <a:pt x="3042" y="7337"/>
                </a:cubicBezTo>
                <a:cubicBezTo>
                  <a:pt x="3115" y="7223"/>
                  <a:pt x="3115" y="7223"/>
                  <a:pt x="3115" y="7223"/>
                </a:cubicBezTo>
                <a:cubicBezTo>
                  <a:pt x="3115" y="7223"/>
                  <a:pt x="3134" y="7070"/>
                  <a:pt x="3180" y="7049"/>
                </a:cubicBezTo>
                <a:cubicBezTo>
                  <a:pt x="3225" y="7028"/>
                  <a:pt x="3263" y="7045"/>
                  <a:pt x="3309" y="7009"/>
                </a:cubicBezTo>
                <a:cubicBezTo>
                  <a:pt x="3356" y="6974"/>
                  <a:pt x="3398" y="6923"/>
                  <a:pt x="3426" y="6918"/>
                </a:cubicBezTo>
                <a:cubicBezTo>
                  <a:pt x="3457" y="6911"/>
                  <a:pt x="3475" y="6909"/>
                  <a:pt x="3483" y="6901"/>
                </a:cubicBezTo>
                <a:cubicBezTo>
                  <a:pt x="3490" y="6895"/>
                  <a:pt x="3588" y="6810"/>
                  <a:pt x="3588" y="6810"/>
                </a:cubicBezTo>
                <a:cubicBezTo>
                  <a:pt x="3663" y="6799"/>
                  <a:pt x="3663" y="6799"/>
                  <a:pt x="3663" y="6799"/>
                </a:cubicBezTo>
                <a:cubicBezTo>
                  <a:pt x="3703" y="6806"/>
                  <a:pt x="3703" y="6806"/>
                  <a:pt x="3703" y="6806"/>
                </a:cubicBezTo>
                <a:cubicBezTo>
                  <a:pt x="3703" y="6806"/>
                  <a:pt x="3911" y="6817"/>
                  <a:pt x="3935" y="6799"/>
                </a:cubicBezTo>
                <a:cubicBezTo>
                  <a:pt x="3960" y="6780"/>
                  <a:pt x="4047" y="6738"/>
                  <a:pt x="4073" y="6731"/>
                </a:cubicBezTo>
                <a:cubicBezTo>
                  <a:pt x="4096" y="6726"/>
                  <a:pt x="4126" y="6728"/>
                  <a:pt x="4155" y="6710"/>
                </a:cubicBezTo>
                <a:cubicBezTo>
                  <a:pt x="4183" y="6691"/>
                  <a:pt x="4298" y="6600"/>
                  <a:pt x="4344" y="6590"/>
                </a:cubicBezTo>
                <a:cubicBezTo>
                  <a:pt x="4392" y="6578"/>
                  <a:pt x="4548" y="6562"/>
                  <a:pt x="4581" y="6562"/>
                </a:cubicBezTo>
                <a:cubicBezTo>
                  <a:pt x="4611" y="6562"/>
                  <a:pt x="4838" y="6567"/>
                  <a:pt x="4841" y="6562"/>
                </a:cubicBezTo>
                <a:cubicBezTo>
                  <a:pt x="4843" y="6560"/>
                  <a:pt x="4848" y="6513"/>
                  <a:pt x="4899" y="6524"/>
                </a:cubicBezTo>
                <a:cubicBezTo>
                  <a:pt x="4951" y="6536"/>
                  <a:pt x="5166" y="6686"/>
                  <a:pt x="5166" y="6686"/>
                </a:cubicBezTo>
                <a:cubicBezTo>
                  <a:pt x="5166" y="6686"/>
                  <a:pt x="5221" y="6689"/>
                  <a:pt x="5223" y="6684"/>
                </a:cubicBezTo>
                <a:cubicBezTo>
                  <a:pt x="5225" y="6681"/>
                  <a:pt x="5223" y="6651"/>
                  <a:pt x="5253" y="6656"/>
                </a:cubicBezTo>
                <a:cubicBezTo>
                  <a:pt x="5286" y="6661"/>
                  <a:pt x="5415" y="6735"/>
                  <a:pt x="5415" y="6735"/>
                </a:cubicBezTo>
                <a:cubicBezTo>
                  <a:pt x="5440" y="6756"/>
                  <a:pt x="5440" y="6756"/>
                  <a:pt x="5440" y="6756"/>
                </a:cubicBezTo>
                <a:cubicBezTo>
                  <a:pt x="5480" y="6721"/>
                  <a:pt x="5480" y="6721"/>
                  <a:pt x="5480" y="6721"/>
                </a:cubicBezTo>
                <a:cubicBezTo>
                  <a:pt x="5511" y="6763"/>
                  <a:pt x="5511" y="6763"/>
                  <a:pt x="5511" y="6763"/>
                </a:cubicBezTo>
                <a:cubicBezTo>
                  <a:pt x="5511" y="6763"/>
                  <a:pt x="5513" y="6712"/>
                  <a:pt x="5558" y="6747"/>
                </a:cubicBezTo>
                <a:cubicBezTo>
                  <a:pt x="5605" y="6782"/>
                  <a:pt x="5602" y="6799"/>
                  <a:pt x="5598" y="6799"/>
                </a:cubicBezTo>
                <a:cubicBezTo>
                  <a:pt x="5593" y="6799"/>
                  <a:pt x="5555" y="6831"/>
                  <a:pt x="5574" y="6834"/>
                </a:cubicBezTo>
                <a:cubicBezTo>
                  <a:pt x="5595" y="6836"/>
                  <a:pt x="5639" y="6810"/>
                  <a:pt x="5639" y="6810"/>
                </a:cubicBezTo>
                <a:cubicBezTo>
                  <a:pt x="5639" y="6810"/>
                  <a:pt x="5684" y="6860"/>
                  <a:pt x="5682" y="6867"/>
                </a:cubicBezTo>
                <a:cubicBezTo>
                  <a:pt x="5679" y="6873"/>
                  <a:pt x="5635" y="6890"/>
                  <a:pt x="5635" y="6890"/>
                </a:cubicBezTo>
                <a:cubicBezTo>
                  <a:pt x="5635" y="6890"/>
                  <a:pt x="5666" y="6904"/>
                  <a:pt x="5647" y="6918"/>
                </a:cubicBezTo>
                <a:cubicBezTo>
                  <a:pt x="5630" y="6934"/>
                  <a:pt x="5626" y="6946"/>
                  <a:pt x="5626" y="6946"/>
                </a:cubicBezTo>
                <a:cubicBezTo>
                  <a:pt x="5705" y="7023"/>
                  <a:pt x="5705" y="7023"/>
                  <a:pt x="5705" y="7023"/>
                </a:cubicBezTo>
                <a:cubicBezTo>
                  <a:pt x="5705" y="7023"/>
                  <a:pt x="5736" y="7000"/>
                  <a:pt x="5768" y="7023"/>
                </a:cubicBezTo>
                <a:cubicBezTo>
                  <a:pt x="5801" y="7049"/>
                  <a:pt x="5820" y="7091"/>
                  <a:pt x="5820" y="7103"/>
                </a:cubicBezTo>
                <a:cubicBezTo>
                  <a:pt x="5820" y="7115"/>
                  <a:pt x="5832" y="7171"/>
                  <a:pt x="5832" y="7171"/>
                </a:cubicBezTo>
                <a:cubicBezTo>
                  <a:pt x="5832" y="7171"/>
                  <a:pt x="5865" y="7220"/>
                  <a:pt x="5890" y="7234"/>
                </a:cubicBezTo>
                <a:cubicBezTo>
                  <a:pt x="5916" y="7248"/>
                  <a:pt x="5937" y="7279"/>
                  <a:pt x="5928" y="7290"/>
                </a:cubicBezTo>
                <a:cubicBezTo>
                  <a:pt x="5918" y="7305"/>
                  <a:pt x="5956" y="7356"/>
                  <a:pt x="5954" y="7361"/>
                </a:cubicBezTo>
                <a:cubicBezTo>
                  <a:pt x="5951" y="7363"/>
                  <a:pt x="5951" y="7412"/>
                  <a:pt x="5963" y="7417"/>
                </a:cubicBezTo>
                <a:cubicBezTo>
                  <a:pt x="5974" y="7422"/>
                  <a:pt x="5972" y="7464"/>
                  <a:pt x="5972" y="7464"/>
                </a:cubicBezTo>
                <a:cubicBezTo>
                  <a:pt x="5972" y="7464"/>
                  <a:pt x="5956" y="7473"/>
                  <a:pt x="5956" y="7478"/>
                </a:cubicBezTo>
                <a:cubicBezTo>
                  <a:pt x="5956" y="7483"/>
                  <a:pt x="6017" y="7567"/>
                  <a:pt x="6026" y="7553"/>
                </a:cubicBezTo>
                <a:cubicBezTo>
                  <a:pt x="6035" y="7539"/>
                  <a:pt x="6087" y="7504"/>
                  <a:pt x="6084" y="7494"/>
                </a:cubicBezTo>
                <a:cubicBezTo>
                  <a:pt x="6082" y="7487"/>
                  <a:pt x="6054" y="7447"/>
                  <a:pt x="6073" y="7436"/>
                </a:cubicBezTo>
                <a:cubicBezTo>
                  <a:pt x="6092" y="7424"/>
                  <a:pt x="6124" y="7434"/>
                  <a:pt x="6124" y="7426"/>
                </a:cubicBezTo>
                <a:cubicBezTo>
                  <a:pt x="6127" y="7417"/>
                  <a:pt x="6141" y="7386"/>
                  <a:pt x="6141" y="7379"/>
                </a:cubicBezTo>
                <a:cubicBezTo>
                  <a:pt x="6141" y="7375"/>
                  <a:pt x="6185" y="7302"/>
                  <a:pt x="6209" y="7284"/>
                </a:cubicBezTo>
                <a:cubicBezTo>
                  <a:pt x="6230" y="7265"/>
                  <a:pt x="6274" y="7229"/>
                  <a:pt x="6302" y="7229"/>
                </a:cubicBezTo>
                <a:cubicBezTo>
                  <a:pt x="6330" y="7229"/>
                  <a:pt x="6354" y="7211"/>
                  <a:pt x="6378" y="7201"/>
                </a:cubicBezTo>
                <a:cubicBezTo>
                  <a:pt x="6401" y="7192"/>
                  <a:pt x="6434" y="7124"/>
                  <a:pt x="6443" y="7101"/>
                </a:cubicBezTo>
                <a:cubicBezTo>
                  <a:pt x="6455" y="7079"/>
                  <a:pt x="6473" y="7049"/>
                  <a:pt x="6485" y="7026"/>
                </a:cubicBezTo>
                <a:cubicBezTo>
                  <a:pt x="6497" y="7002"/>
                  <a:pt x="6557" y="6989"/>
                  <a:pt x="6557" y="6965"/>
                </a:cubicBezTo>
                <a:cubicBezTo>
                  <a:pt x="6557" y="6939"/>
                  <a:pt x="6551" y="6885"/>
                  <a:pt x="6557" y="6876"/>
                </a:cubicBezTo>
                <a:cubicBezTo>
                  <a:pt x="6565" y="6864"/>
                  <a:pt x="6595" y="6895"/>
                  <a:pt x="6595" y="6913"/>
                </a:cubicBezTo>
                <a:cubicBezTo>
                  <a:pt x="6595" y="6930"/>
                  <a:pt x="6626" y="7007"/>
                  <a:pt x="6612" y="7026"/>
                </a:cubicBezTo>
                <a:cubicBezTo>
                  <a:pt x="6597" y="7045"/>
                  <a:pt x="6557" y="7035"/>
                  <a:pt x="6560" y="7054"/>
                </a:cubicBezTo>
                <a:cubicBezTo>
                  <a:pt x="6560" y="7073"/>
                  <a:pt x="6600" y="7127"/>
                  <a:pt x="6590" y="7143"/>
                </a:cubicBezTo>
                <a:cubicBezTo>
                  <a:pt x="6584" y="7159"/>
                  <a:pt x="6445" y="7326"/>
                  <a:pt x="6457" y="7351"/>
                </a:cubicBezTo>
                <a:cubicBezTo>
                  <a:pt x="6468" y="7377"/>
                  <a:pt x="6480" y="7536"/>
                  <a:pt x="6455" y="7548"/>
                </a:cubicBezTo>
                <a:cubicBezTo>
                  <a:pt x="6431" y="7562"/>
                  <a:pt x="6408" y="7536"/>
                  <a:pt x="6375" y="7551"/>
                </a:cubicBezTo>
                <a:cubicBezTo>
                  <a:pt x="6340" y="7565"/>
                  <a:pt x="6305" y="7605"/>
                  <a:pt x="6335" y="7628"/>
                </a:cubicBezTo>
                <a:cubicBezTo>
                  <a:pt x="6366" y="7649"/>
                  <a:pt x="6399" y="7665"/>
                  <a:pt x="6401" y="7661"/>
                </a:cubicBezTo>
                <a:cubicBezTo>
                  <a:pt x="6403" y="7654"/>
                  <a:pt x="6459" y="7602"/>
                  <a:pt x="6459" y="7602"/>
                </a:cubicBezTo>
                <a:cubicBezTo>
                  <a:pt x="6459" y="7602"/>
                  <a:pt x="6459" y="7646"/>
                  <a:pt x="6459" y="7661"/>
                </a:cubicBezTo>
                <a:cubicBezTo>
                  <a:pt x="6459" y="7672"/>
                  <a:pt x="6473" y="7710"/>
                  <a:pt x="6497" y="7710"/>
                </a:cubicBezTo>
                <a:cubicBezTo>
                  <a:pt x="6520" y="7710"/>
                  <a:pt x="6518" y="7644"/>
                  <a:pt x="6518" y="7607"/>
                </a:cubicBezTo>
                <a:cubicBezTo>
                  <a:pt x="6518" y="7569"/>
                  <a:pt x="6565" y="7529"/>
                  <a:pt x="6565" y="7496"/>
                </a:cubicBezTo>
                <a:cubicBezTo>
                  <a:pt x="6565" y="7464"/>
                  <a:pt x="6565" y="7422"/>
                  <a:pt x="6579" y="7410"/>
                </a:cubicBezTo>
                <a:cubicBezTo>
                  <a:pt x="6590" y="7398"/>
                  <a:pt x="6602" y="7407"/>
                  <a:pt x="6602" y="7377"/>
                </a:cubicBezTo>
                <a:cubicBezTo>
                  <a:pt x="6602" y="7349"/>
                  <a:pt x="6623" y="7330"/>
                  <a:pt x="6633" y="7318"/>
                </a:cubicBezTo>
                <a:cubicBezTo>
                  <a:pt x="6642" y="7307"/>
                  <a:pt x="6679" y="7361"/>
                  <a:pt x="6679" y="7361"/>
                </a:cubicBezTo>
                <a:cubicBezTo>
                  <a:pt x="6679" y="7361"/>
                  <a:pt x="6666" y="7386"/>
                  <a:pt x="6663" y="7412"/>
                </a:cubicBezTo>
                <a:cubicBezTo>
                  <a:pt x="6661" y="7438"/>
                  <a:pt x="6691" y="7480"/>
                  <a:pt x="6698" y="7496"/>
                </a:cubicBezTo>
                <a:cubicBezTo>
                  <a:pt x="6705" y="7511"/>
                  <a:pt x="6740" y="7527"/>
                  <a:pt x="6738" y="7557"/>
                </a:cubicBezTo>
                <a:cubicBezTo>
                  <a:pt x="6738" y="7588"/>
                  <a:pt x="6719" y="7614"/>
                  <a:pt x="6712" y="7616"/>
                </a:cubicBezTo>
                <a:cubicBezTo>
                  <a:pt x="6705" y="7621"/>
                  <a:pt x="6710" y="7672"/>
                  <a:pt x="6689" y="7691"/>
                </a:cubicBezTo>
                <a:cubicBezTo>
                  <a:pt x="6670" y="7710"/>
                  <a:pt x="6590" y="7738"/>
                  <a:pt x="6605" y="7764"/>
                </a:cubicBezTo>
                <a:cubicBezTo>
                  <a:pt x="6618" y="7787"/>
                  <a:pt x="6646" y="7792"/>
                  <a:pt x="6703" y="7785"/>
                </a:cubicBezTo>
                <a:cubicBezTo>
                  <a:pt x="6759" y="7775"/>
                  <a:pt x="6726" y="7766"/>
                  <a:pt x="6755" y="7750"/>
                </a:cubicBezTo>
                <a:cubicBezTo>
                  <a:pt x="6783" y="7735"/>
                  <a:pt x="6799" y="7710"/>
                  <a:pt x="6844" y="7703"/>
                </a:cubicBezTo>
                <a:cubicBezTo>
                  <a:pt x="6885" y="7694"/>
                  <a:pt x="6942" y="7658"/>
                  <a:pt x="6916" y="7694"/>
                </a:cubicBezTo>
                <a:cubicBezTo>
                  <a:pt x="6893" y="7729"/>
                  <a:pt x="6879" y="7761"/>
                  <a:pt x="6883" y="7799"/>
                </a:cubicBezTo>
                <a:cubicBezTo>
                  <a:pt x="6888" y="7836"/>
                  <a:pt x="6907" y="7846"/>
                  <a:pt x="6928" y="7867"/>
                </a:cubicBezTo>
                <a:cubicBezTo>
                  <a:pt x="6949" y="7888"/>
                  <a:pt x="6979" y="7949"/>
                  <a:pt x="6984" y="7974"/>
                </a:cubicBezTo>
                <a:cubicBezTo>
                  <a:pt x="6989" y="8000"/>
                  <a:pt x="7040" y="8122"/>
                  <a:pt x="7014" y="8143"/>
                </a:cubicBezTo>
                <a:cubicBezTo>
                  <a:pt x="6991" y="8167"/>
                  <a:pt x="6961" y="8192"/>
                  <a:pt x="6961" y="8197"/>
                </a:cubicBezTo>
                <a:cubicBezTo>
                  <a:pt x="6961" y="8204"/>
                  <a:pt x="6944" y="8270"/>
                  <a:pt x="7063" y="8373"/>
                </a:cubicBezTo>
                <a:cubicBezTo>
                  <a:pt x="7164" y="8506"/>
                  <a:pt x="7183" y="8537"/>
                  <a:pt x="7183" y="8537"/>
                </a:cubicBezTo>
                <a:cubicBezTo>
                  <a:pt x="7286" y="8532"/>
                  <a:pt x="7286" y="8532"/>
                  <a:pt x="7286" y="8532"/>
                </a:cubicBezTo>
                <a:cubicBezTo>
                  <a:pt x="7286" y="8532"/>
                  <a:pt x="7340" y="8628"/>
                  <a:pt x="7347" y="8633"/>
                </a:cubicBezTo>
                <a:cubicBezTo>
                  <a:pt x="7356" y="8635"/>
                  <a:pt x="7368" y="8656"/>
                  <a:pt x="7385" y="8654"/>
                </a:cubicBezTo>
                <a:cubicBezTo>
                  <a:pt x="7401" y="8651"/>
                  <a:pt x="7408" y="8569"/>
                  <a:pt x="7436" y="8577"/>
                </a:cubicBezTo>
                <a:cubicBezTo>
                  <a:pt x="7467" y="8586"/>
                  <a:pt x="7525" y="8651"/>
                  <a:pt x="7534" y="8651"/>
                </a:cubicBezTo>
                <a:cubicBezTo>
                  <a:pt x="7544" y="8651"/>
                  <a:pt x="7621" y="8649"/>
                  <a:pt x="7625" y="8651"/>
                </a:cubicBezTo>
                <a:cubicBezTo>
                  <a:pt x="7630" y="8651"/>
                  <a:pt x="7724" y="8771"/>
                  <a:pt x="7736" y="8771"/>
                </a:cubicBezTo>
                <a:cubicBezTo>
                  <a:pt x="7750" y="8768"/>
                  <a:pt x="7836" y="8795"/>
                  <a:pt x="7836" y="8792"/>
                </a:cubicBezTo>
                <a:cubicBezTo>
                  <a:pt x="7839" y="8787"/>
                  <a:pt x="7843" y="8752"/>
                  <a:pt x="7876" y="8752"/>
                </a:cubicBezTo>
                <a:cubicBezTo>
                  <a:pt x="7907" y="8750"/>
                  <a:pt x="7940" y="8783"/>
                  <a:pt x="7953" y="8771"/>
                </a:cubicBezTo>
                <a:cubicBezTo>
                  <a:pt x="7968" y="8762"/>
                  <a:pt x="7996" y="8706"/>
                  <a:pt x="8029" y="8687"/>
                </a:cubicBezTo>
                <a:cubicBezTo>
                  <a:pt x="8064" y="8666"/>
                  <a:pt x="8094" y="8670"/>
                  <a:pt x="8110" y="8661"/>
                </a:cubicBezTo>
                <a:cubicBezTo>
                  <a:pt x="8129" y="8651"/>
                  <a:pt x="8148" y="8630"/>
                  <a:pt x="8143" y="8628"/>
                </a:cubicBezTo>
                <a:cubicBezTo>
                  <a:pt x="8141" y="8626"/>
                  <a:pt x="8092" y="8614"/>
                  <a:pt x="8090" y="8605"/>
                </a:cubicBezTo>
                <a:cubicBezTo>
                  <a:pt x="8087" y="8595"/>
                  <a:pt x="8097" y="8553"/>
                  <a:pt x="8136" y="8541"/>
                </a:cubicBezTo>
                <a:cubicBezTo>
                  <a:pt x="8179" y="8530"/>
                  <a:pt x="8242" y="8539"/>
                  <a:pt x="8242" y="8556"/>
                </a:cubicBezTo>
                <a:cubicBezTo>
                  <a:pt x="8242" y="8572"/>
                  <a:pt x="8281" y="8626"/>
                  <a:pt x="8246" y="8642"/>
                </a:cubicBezTo>
                <a:cubicBezTo>
                  <a:pt x="8211" y="8658"/>
                  <a:pt x="8153" y="8698"/>
                  <a:pt x="8164" y="8706"/>
                </a:cubicBezTo>
                <a:cubicBezTo>
                  <a:pt x="8176" y="8715"/>
                  <a:pt x="8211" y="8740"/>
                  <a:pt x="8225" y="8734"/>
                </a:cubicBezTo>
                <a:cubicBezTo>
                  <a:pt x="8237" y="8727"/>
                  <a:pt x="8279" y="8651"/>
                  <a:pt x="8303" y="8661"/>
                </a:cubicBezTo>
                <a:cubicBezTo>
                  <a:pt x="8326" y="8670"/>
                  <a:pt x="8349" y="8691"/>
                  <a:pt x="8321" y="8715"/>
                </a:cubicBezTo>
                <a:cubicBezTo>
                  <a:pt x="8293" y="8738"/>
                  <a:pt x="8263" y="8757"/>
                  <a:pt x="8281" y="8767"/>
                </a:cubicBezTo>
                <a:cubicBezTo>
                  <a:pt x="8300" y="8776"/>
                  <a:pt x="8342" y="8808"/>
                  <a:pt x="8342" y="8808"/>
                </a:cubicBezTo>
                <a:cubicBezTo>
                  <a:pt x="8370" y="8804"/>
                  <a:pt x="8370" y="8804"/>
                  <a:pt x="8370" y="8804"/>
                </a:cubicBezTo>
                <a:cubicBezTo>
                  <a:pt x="8370" y="8804"/>
                  <a:pt x="8382" y="8888"/>
                  <a:pt x="8413" y="8879"/>
                </a:cubicBezTo>
                <a:cubicBezTo>
                  <a:pt x="8445" y="8872"/>
                  <a:pt x="8441" y="8827"/>
                  <a:pt x="8495" y="8829"/>
                </a:cubicBezTo>
                <a:cubicBezTo>
                  <a:pt x="8548" y="8832"/>
                  <a:pt x="8553" y="8856"/>
                  <a:pt x="8574" y="8851"/>
                </a:cubicBezTo>
                <a:cubicBezTo>
                  <a:pt x="8598" y="8848"/>
                  <a:pt x="8661" y="8816"/>
                  <a:pt x="8668" y="8808"/>
                </a:cubicBezTo>
                <a:cubicBezTo>
                  <a:pt x="8675" y="8801"/>
                  <a:pt x="8846" y="8649"/>
                  <a:pt x="8890" y="8640"/>
                </a:cubicBezTo>
                <a:cubicBezTo>
                  <a:pt x="8932" y="8630"/>
                  <a:pt x="9021" y="8600"/>
                  <a:pt x="9021" y="8600"/>
                </a:cubicBezTo>
                <a:cubicBezTo>
                  <a:pt x="9021" y="8600"/>
                  <a:pt x="9068" y="8628"/>
                  <a:pt x="9076" y="8628"/>
                </a:cubicBezTo>
                <a:cubicBezTo>
                  <a:pt x="9080" y="8626"/>
                  <a:pt x="9251" y="8656"/>
                  <a:pt x="9275" y="8638"/>
                </a:cubicBezTo>
                <a:cubicBezTo>
                  <a:pt x="9300" y="8621"/>
                  <a:pt x="9356" y="8593"/>
                  <a:pt x="9356" y="8593"/>
                </a:cubicBezTo>
                <a:cubicBezTo>
                  <a:pt x="9422" y="8590"/>
                  <a:pt x="9422" y="8590"/>
                  <a:pt x="9422" y="8590"/>
                </a:cubicBezTo>
                <a:cubicBezTo>
                  <a:pt x="9422" y="8590"/>
                  <a:pt x="9445" y="8497"/>
                  <a:pt x="9436" y="8480"/>
                </a:cubicBezTo>
                <a:cubicBezTo>
                  <a:pt x="9427" y="8462"/>
                  <a:pt x="9410" y="8445"/>
                  <a:pt x="9410" y="8422"/>
                </a:cubicBezTo>
                <a:cubicBezTo>
                  <a:pt x="9410" y="8396"/>
                  <a:pt x="9471" y="8277"/>
                  <a:pt x="9481" y="8253"/>
                </a:cubicBezTo>
                <a:cubicBezTo>
                  <a:pt x="9488" y="8228"/>
                  <a:pt x="9504" y="8185"/>
                  <a:pt x="9504" y="8136"/>
                </a:cubicBezTo>
                <a:cubicBezTo>
                  <a:pt x="9504" y="8089"/>
                  <a:pt x="9574" y="8014"/>
                  <a:pt x="9605" y="7977"/>
                </a:cubicBezTo>
                <a:cubicBezTo>
                  <a:pt x="9635" y="7942"/>
                  <a:pt x="9659" y="7909"/>
                  <a:pt x="9659" y="7909"/>
                </a:cubicBezTo>
                <a:cubicBezTo>
                  <a:pt x="9701" y="7909"/>
                  <a:pt x="9701" y="7909"/>
                  <a:pt x="9701" y="7909"/>
                </a:cubicBezTo>
                <a:cubicBezTo>
                  <a:pt x="9720" y="7878"/>
                  <a:pt x="9720" y="7878"/>
                  <a:pt x="9720" y="7878"/>
                </a:cubicBezTo>
                <a:cubicBezTo>
                  <a:pt x="9720" y="7878"/>
                  <a:pt x="9691" y="7834"/>
                  <a:pt x="9696" y="7827"/>
                </a:cubicBezTo>
                <a:cubicBezTo>
                  <a:pt x="9701" y="7818"/>
                  <a:pt x="9733" y="7799"/>
                  <a:pt x="9743" y="7773"/>
                </a:cubicBezTo>
                <a:cubicBezTo>
                  <a:pt x="9750" y="7750"/>
                  <a:pt x="9748" y="7705"/>
                  <a:pt x="9755" y="7691"/>
                </a:cubicBezTo>
                <a:cubicBezTo>
                  <a:pt x="9759" y="7677"/>
                  <a:pt x="9799" y="7649"/>
                  <a:pt x="9813" y="7633"/>
                </a:cubicBezTo>
                <a:cubicBezTo>
                  <a:pt x="9830" y="7614"/>
                  <a:pt x="9850" y="7583"/>
                  <a:pt x="9858" y="7555"/>
                </a:cubicBezTo>
                <a:cubicBezTo>
                  <a:pt x="9867" y="7527"/>
                  <a:pt x="9881" y="7468"/>
                  <a:pt x="9898" y="7452"/>
                </a:cubicBezTo>
                <a:cubicBezTo>
                  <a:pt x="9911" y="7436"/>
                  <a:pt x="10036" y="7290"/>
                  <a:pt x="10036" y="7290"/>
                </a:cubicBezTo>
                <a:cubicBezTo>
                  <a:pt x="10036" y="7290"/>
                  <a:pt x="10085" y="7277"/>
                  <a:pt x="10092" y="7272"/>
                </a:cubicBezTo>
                <a:cubicBezTo>
                  <a:pt x="10099" y="7267"/>
                  <a:pt x="10141" y="7229"/>
                  <a:pt x="10141" y="7229"/>
                </a:cubicBezTo>
                <a:cubicBezTo>
                  <a:pt x="10141" y="7229"/>
                  <a:pt x="10188" y="7206"/>
                  <a:pt x="10188" y="7197"/>
                </a:cubicBezTo>
                <a:cubicBezTo>
                  <a:pt x="10188" y="7190"/>
                  <a:pt x="10188" y="7159"/>
                  <a:pt x="10188" y="7159"/>
                </a:cubicBezTo>
                <a:cubicBezTo>
                  <a:pt x="10242" y="7150"/>
                  <a:pt x="10242" y="7150"/>
                  <a:pt x="10242" y="7150"/>
                </a:cubicBezTo>
                <a:cubicBezTo>
                  <a:pt x="10242" y="7150"/>
                  <a:pt x="10258" y="7070"/>
                  <a:pt x="10261" y="7063"/>
                </a:cubicBezTo>
                <a:cubicBezTo>
                  <a:pt x="10265" y="7056"/>
                  <a:pt x="10371" y="6937"/>
                  <a:pt x="10375" y="6918"/>
                </a:cubicBezTo>
                <a:cubicBezTo>
                  <a:pt x="10382" y="6897"/>
                  <a:pt x="10424" y="6789"/>
                  <a:pt x="10448" y="6766"/>
                </a:cubicBezTo>
                <a:cubicBezTo>
                  <a:pt x="10471" y="6742"/>
                  <a:pt x="10427" y="6698"/>
                  <a:pt x="10436" y="6670"/>
                </a:cubicBezTo>
                <a:cubicBezTo>
                  <a:pt x="10448" y="6639"/>
                  <a:pt x="10556" y="6431"/>
                  <a:pt x="10556" y="6428"/>
                </a:cubicBezTo>
                <a:cubicBezTo>
                  <a:pt x="10556" y="6424"/>
                  <a:pt x="10572" y="6307"/>
                  <a:pt x="10591" y="6278"/>
                </a:cubicBezTo>
                <a:cubicBezTo>
                  <a:pt x="10610" y="6250"/>
                  <a:pt x="10673" y="6178"/>
                  <a:pt x="10675" y="6173"/>
                </a:cubicBezTo>
                <a:cubicBezTo>
                  <a:pt x="10675" y="6171"/>
                  <a:pt x="10680" y="6094"/>
                  <a:pt x="10675" y="6065"/>
                </a:cubicBezTo>
                <a:cubicBezTo>
                  <a:pt x="10670" y="6037"/>
                  <a:pt x="10684" y="6016"/>
                  <a:pt x="10687" y="5997"/>
                </a:cubicBezTo>
                <a:cubicBezTo>
                  <a:pt x="10689" y="5981"/>
                  <a:pt x="10670" y="5932"/>
                  <a:pt x="10668" y="5913"/>
                </a:cubicBezTo>
                <a:cubicBezTo>
                  <a:pt x="10668" y="5892"/>
                  <a:pt x="10677" y="5845"/>
                  <a:pt x="10684" y="5829"/>
                </a:cubicBezTo>
                <a:close/>
                <a:moveTo>
                  <a:pt x="6157" y="6742"/>
                </a:moveTo>
                <a:cubicBezTo>
                  <a:pt x="6148" y="6747"/>
                  <a:pt x="6143" y="6710"/>
                  <a:pt x="6129" y="6710"/>
                </a:cubicBezTo>
                <a:cubicBezTo>
                  <a:pt x="6117" y="6710"/>
                  <a:pt x="6106" y="6808"/>
                  <a:pt x="6106" y="6808"/>
                </a:cubicBezTo>
                <a:cubicBezTo>
                  <a:pt x="6106" y="6808"/>
                  <a:pt x="6106" y="6808"/>
                  <a:pt x="6073" y="6808"/>
                </a:cubicBezTo>
                <a:cubicBezTo>
                  <a:pt x="6043" y="6808"/>
                  <a:pt x="6073" y="6766"/>
                  <a:pt x="6078" y="6731"/>
                </a:cubicBezTo>
                <a:cubicBezTo>
                  <a:pt x="6080" y="6695"/>
                  <a:pt x="6136" y="6665"/>
                  <a:pt x="6136" y="6665"/>
                </a:cubicBezTo>
                <a:cubicBezTo>
                  <a:pt x="6136" y="6665"/>
                  <a:pt x="6096" y="6611"/>
                  <a:pt x="6068" y="6597"/>
                </a:cubicBezTo>
                <a:cubicBezTo>
                  <a:pt x="6040" y="6581"/>
                  <a:pt x="6068" y="6552"/>
                  <a:pt x="6068" y="6552"/>
                </a:cubicBezTo>
                <a:cubicBezTo>
                  <a:pt x="6014" y="6550"/>
                  <a:pt x="6014" y="6550"/>
                  <a:pt x="6014" y="6550"/>
                </a:cubicBezTo>
                <a:cubicBezTo>
                  <a:pt x="6031" y="6487"/>
                  <a:pt x="6031" y="6487"/>
                  <a:pt x="6031" y="6487"/>
                </a:cubicBezTo>
                <a:cubicBezTo>
                  <a:pt x="6031" y="6487"/>
                  <a:pt x="5984" y="6445"/>
                  <a:pt x="5937" y="6419"/>
                </a:cubicBezTo>
                <a:cubicBezTo>
                  <a:pt x="5890" y="6393"/>
                  <a:pt x="5902" y="6496"/>
                  <a:pt x="5902" y="6496"/>
                </a:cubicBezTo>
                <a:cubicBezTo>
                  <a:pt x="5951" y="6503"/>
                  <a:pt x="5951" y="6503"/>
                  <a:pt x="5951" y="6503"/>
                </a:cubicBezTo>
                <a:cubicBezTo>
                  <a:pt x="5974" y="6562"/>
                  <a:pt x="5974" y="6562"/>
                  <a:pt x="5974" y="6562"/>
                </a:cubicBezTo>
                <a:cubicBezTo>
                  <a:pt x="5928" y="6555"/>
                  <a:pt x="5928" y="6555"/>
                  <a:pt x="5928" y="6555"/>
                </a:cubicBezTo>
                <a:cubicBezTo>
                  <a:pt x="5888" y="6522"/>
                  <a:pt x="5888" y="6522"/>
                  <a:pt x="5888" y="6522"/>
                </a:cubicBezTo>
                <a:cubicBezTo>
                  <a:pt x="5888" y="6522"/>
                  <a:pt x="5862" y="6581"/>
                  <a:pt x="5850" y="6581"/>
                </a:cubicBezTo>
                <a:cubicBezTo>
                  <a:pt x="5836" y="6581"/>
                  <a:pt x="5825" y="6522"/>
                  <a:pt x="5825" y="6522"/>
                </a:cubicBezTo>
                <a:cubicBezTo>
                  <a:pt x="5806" y="6494"/>
                  <a:pt x="5806" y="6494"/>
                  <a:pt x="5806" y="6494"/>
                </a:cubicBezTo>
                <a:cubicBezTo>
                  <a:pt x="5844" y="6508"/>
                  <a:pt x="5844" y="6508"/>
                  <a:pt x="5844" y="6508"/>
                </a:cubicBezTo>
                <a:cubicBezTo>
                  <a:pt x="5844" y="6508"/>
                  <a:pt x="5862" y="6485"/>
                  <a:pt x="5872" y="6473"/>
                </a:cubicBezTo>
                <a:cubicBezTo>
                  <a:pt x="5881" y="6459"/>
                  <a:pt x="5897" y="6365"/>
                  <a:pt x="5897" y="6365"/>
                </a:cubicBezTo>
                <a:cubicBezTo>
                  <a:pt x="5897" y="6365"/>
                  <a:pt x="5939" y="6365"/>
                  <a:pt x="5958" y="6370"/>
                </a:cubicBezTo>
                <a:cubicBezTo>
                  <a:pt x="5977" y="6372"/>
                  <a:pt x="6045" y="6447"/>
                  <a:pt x="6045" y="6447"/>
                </a:cubicBezTo>
                <a:cubicBezTo>
                  <a:pt x="6045" y="6447"/>
                  <a:pt x="6143" y="6440"/>
                  <a:pt x="6152" y="6445"/>
                </a:cubicBezTo>
                <a:cubicBezTo>
                  <a:pt x="6162" y="6447"/>
                  <a:pt x="6145" y="6503"/>
                  <a:pt x="6148" y="6513"/>
                </a:cubicBezTo>
                <a:cubicBezTo>
                  <a:pt x="6152" y="6522"/>
                  <a:pt x="6164" y="6545"/>
                  <a:pt x="6176" y="6572"/>
                </a:cubicBezTo>
                <a:cubicBezTo>
                  <a:pt x="6190" y="6597"/>
                  <a:pt x="6171" y="6611"/>
                  <a:pt x="6171" y="6611"/>
                </a:cubicBezTo>
                <a:cubicBezTo>
                  <a:pt x="6171" y="6611"/>
                  <a:pt x="6195" y="6649"/>
                  <a:pt x="6201" y="6674"/>
                </a:cubicBezTo>
                <a:cubicBezTo>
                  <a:pt x="6209" y="6700"/>
                  <a:pt x="6167" y="6740"/>
                  <a:pt x="6157" y="6742"/>
                </a:cubicBezTo>
                <a:close/>
                <a:moveTo>
                  <a:pt x="6347" y="5625"/>
                </a:moveTo>
                <a:cubicBezTo>
                  <a:pt x="6347" y="5625"/>
                  <a:pt x="6375" y="5608"/>
                  <a:pt x="6389" y="5580"/>
                </a:cubicBezTo>
                <a:cubicBezTo>
                  <a:pt x="6401" y="5552"/>
                  <a:pt x="6347" y="5496"/>
                  <a:pt x="6347" y="5496"/>
                </a:cubicBezTo>
                <a:cubicBezTo>
                  <a:pt x="6382" y="5449"/>
                  <a:pt x="6382" y="5449"/>
                  <a:pt x="6382" y="5449"/>
                </a:cubicBezTo>
                <a:cubicBezTo>
                  <a:pt x="6384" y="5482"/>
                  <a:pt x="6384" y="5482"/>
                  <a:pt x="6384" y="5482"/>
                </a:cubicBezTo>
                <a:cubicBezTo>
                  <a:pt x="6384" y="5482"/>
                  <a:pt x="6403" y="5475"/>
                  <a:pt x="6431" y="5463"/>
                </a:cubicBezTo>
                <a:cubicBezTo>
                  <a:pt x="6459" y="5449"/>
                  <a:pt x="6523" y="5540"/>
                  <a:pt x="6544" y="5550"/>
                </a:cubicBezTo>
                <a:cubicBezTo>
                  <a:pt x="6565" y="5559"/>
                  <a:pt x="6569" y="5569"/>
                  <a:pt x="6590" y="5611"/>
                </a:cubicBezTo>
                <a:cubicBezTo>
                  <a:pt x="6612" y="5656"/>
                  <a:pt x="6548" y="5656"/>
                  <a:pt x="6541" y="5665"/>
                </a:cubicBezTo>
                <a:cubicBezTo>
                  <a:pt x="6534" y="5674"/>
                  <a:pt x="6569" y="5705"/>
                  <a:pt x="6590" y="5742"/>
                </a:cubicBezTo>
                <a:cubicBezTo>
                  <a:pt x="6612" y="5779"/>
                  <a:pt x="6649" y="5834"/>
                  <a:pt x="6649" y="5834"/>
                </a:cubicBezTo>
                <a:cubicBezTo>
                  <a:pt x="6597" y="5807"/>
                  <a:pt x="6597" y="5807"/>
                  <a:pt x="6597" y="5807"/>
                </a:cubicBezTo>
                <a:cubicBezTo>
                  <a:pt x="6529" y="5812"/>
                  <a:pt x="6529" y="5812"/>
                  <a:pt x="6529" y="5812"/>
                </a:cubicBezTo>
                <a:cubicBezTo>
                  <a:pt x="6511" y="5770"/>
                  <a:pt x="6511" y="5770"/>
                  <a:pt x="6511" y="5770"/>
                </a:cubicBezTo>
                <a:cubicBezTo>
                  <a:pt x="6488" y="5803"/>
                  <a:pt x="6488" y="5803"/>
                  <a:pt x="6488" y="5803"/>
                </a:cubicBezTo>
                <a:cubicBezTo>
                  <a:pt x="6445" y="5742"/>
                  <a:pt x="6445" y="5742"/>
                  <a:pt x="6445" y="5742"/>
                </a:cubicBezTo>
                <a:cubicBezTo>
                  <a:pt x="6445" y="5742"/>
                  <a:pt x="6464" y="5794"/>
                  <a:pt x="6403" y="5812"/>
                </a:cubicBezTo>
                <a:cubicBezTo>
                  <a:pt x="6345" y="5831"/>
                  <a:pt x="6347" y="5625"/>
                  <a:pt x="6347" y="5625"/>
                </a:cubicBezTo>
                <a:close/>
                <a:moveTo>
                  <a:pt x="6450" y="5876"/>
                </a:moveTo>
                <a:cubicBezTo>
                  <a:pt x="6483" y="5871"/>
                  <a:pt x="6529" y="5862"/>
                  <a:pt x="6529" y="5862"/>
                </a:cubicBezTo>
                <a:cubicBezTo>
                  <a:pt x="6529" y="5862"/>
                  <a:pt x="6560" y="5824"/>
                  <a:pt x="6565" y="5843"/>
                </a:cubicBezTo>
                <a:cubicBezTo>
                  <a:pt x="6572" y="5862"/>
                  <a:pt x="6565" y="5913"/>
                  <a:pt x="6565" y="5913"/>
                </a:cubicBezTo>
                <a:cubicBezTo>
                  <a:pt x="6523" y="5894"/>
                  <a:pt x="6523" y="5894"/>
                  <a:pt x="6523" y="5894"/>
                </a:cubicBezTo>
                <a:cubicBezTo>
                  <a:pt x="6523" y="5894"/>
                  <a:pt x="6520" y="5929"/>
                  <a:pt x="6485" y="5936"/>
                </a:cubicBezTo>
                <a:cubicBezTo>
                  <a:pt x="6450" y="5941"/>
                  <a:pt x="6410" y="5923"/>
                  <a:pt x="6410" y="5923"/>
                </a:cubicBezTo>
                <a:cubicBezTo>
                  <a:pt x="6410" y="5923"/>
                  <a:pt x="6419" y="5883"/>
                  <a:pt x="6450" y="5876"/>
                </a:cubicBezTo>
                <a:close/>
                <a:moveTo>
                  <a:pt x="6581" y="6609"/>
                </a:moveTo>
                <a:cubicBezTo>
                  <a:pt x="6581" y="6609"/>
                  <a:pt x="6565" y="6653"/>
                  <a:pt x="6551" y="6653"/>
                </a:cubicBezTo>
                <a:cubicBezTo>
                  <a:pt x="6534" y="6653"/>
                  <a:pt x="6506" y="6621"/>
                  <a:pt x="6506" y="6621"/>
                </a:cubicBezTo>
                <a:cubicBezTo>
                  <a:pt x="6560" y="6581"/>
                  <a:pt x="6560" y="6581"/>
                  <a:pt x="6560" y="6581"/>
                </a:cubicBezTo>
                <a:cubicBezTo>
                  <a:pt x="6548" y="6478"/>
                  <a:pt x="6548" y="6478"/>
                  <a:pt x="6548" y="6478"/>
                </a:cubicBezTo>
                <a:cubicBezTo>
                  <a:pt x="6497" y="6431"/>
                  <a:pt x="6497" y="6431"/>
                  <a:pt x="6497" y="6431"/>
                </a:cubicBezTo>
                <a:cubicBezTo>
                  <a:pt x="6548" y="6412"/>
                  <a:pt x="6548" y="6412"/>
                  <a:pt x="6548" y="6412"/>
                </a:cubicBezTo>
                <a:cubicBezTo>
                  <a:pt x="6523" y="6307"/>
                  <a:pt x="6523" y="6307"/>
                  <a:pt x="6523" y="6307"/>
                </a:cubicBezTo>
                <a:cubicBezTo>
                  <a:pt x="6476" y="6285"/>
                  <a:pt x="6476" y="6285"/>
                  <a:pt x="6476" y="6285"/>
                </a:cubicBezTo>
                <a:cubicBezTo>
                  <a:pt x="6476" y="6285"/>
                  <a:pt x="6468" y="6234"/>
                  <a:pt x="6468" y="6213"/>
                </a:cubicBezTo>
                <a:cubicBezTo>
                  <a:pt x="6468" y="6192"/>
                  <a:pt x="6440" y="6173"/>
                  <a:pt x="6440" y="6173"/>
                </a:cubicBezTo>
                <a:cubicBezTo>
                  <a:pt x="6445" y="6147"/>
                  <a:pt x="6445" y="6147"/>
                  <a:pt x="6445" y="6147"/>
                </a:cubicBezTo>
                <a:cubicBezTo>
                  <a:pt x="6476" y="6145"/>
                  <a:pt x="6525" y="6232"/>
                  <a:pt x="6525" y="6232"/>
                </a:cubicBezTo>
                <a:cubicBezTo>
                  <a:pt x="6607" y="6260"/>
                  <a:pt x="6607" y="6260"/>
                  <a:pt x="6607" y="6260"/>
                </a:cubicBezTo>
                <a:cubicBezTo>
                  <a:pt x="6600" y="6285"/>
                  <a:pt x="6600" y="6285"/>
                  <a:pt x="6600" y="6285"/>
                </a:cubicBezTo>
                <a:cubicBezTo>
                  <a:pt x="6600" y="6285"/>
                  <a:pt x="6640" y="6363"/>
                  <a:pt x="6646" y="6389"/>
                </a:cubicBezTo>
                <a:cubicBezTo>
                  <a:pt x="6654" y="6412"/>
                  <a:pt x="6663" y="6463"/>
                  <a:pt x="6663" y="6513"/>
                </a:cubicBezTo>
                <a:cubicBezTo>
                  <a:pt x="6663" y="6562"/>
                  <a:pt x="6581" y="6609"/>
                  <a:pt x="6581" y="6609"/>
                </a:cubicBezTo>
                <a:close/>
                <a:moveTo>
                  <a:pt x="7129" y="6323"/>
                </a:moveTo>
                <a:cubicBezTo>
                  <a:pt x="7111" y="6346"/>
                  <a:pt x="7129" y="6346"/>
                  <a:pt x="7129" y="6389"/>
                </a:cubicBezTo>
                <a:cubicBezTo>
                  <a:pt x="7129" y="6428"/>
                  <a:pt x="7091" y="6454"/>
                  <a:pt x="7091" y="6454"/>
                </a:cubicBezTo>
                <a:cubicBezTo>
                  <a:pt x="7090" y="6435"/>
                  <a:pt x="7090" y="6435"/>
                  <a:pt x="7090" y="6435"/>
                </a:cubicBezTo>
                <a:cubicBezTo>
                  <a:pt x="7052" y="6412"/>
                  <a:pt x="7052" y="6412"/>
                  <a:pt x="7052" y="6412"/>
                </a:cubicBezTo>
                <a:cubicBezTo>
                  <a:pt x="7017" y="6372"/>
                  <a:pt x="7017" y="6372"/>
                  <a:pt x="7017" y="6372"/>
                </a:cubicBezTo>
                <a:cubicBezTo>
                  <a:pt x="7035" y="6333"/>
                  <a:pt x="7134" y="6196"/>
                  <a:pt x="7143" y="6196"/>
                </a:cubicBezTo>
                <a:cubicBezTo>
                  <a:pt x="7152" y="6196"/>
                  <a:pt x="7136" y="6213"/>
                  <a:pt x="7155" y="6229"/>
                </a:cubicBezTo>
                <a:cubicBezTo>
                  <a:pt x="7174" y="6244"/>
                  <a:pt x="7148" y="6297"/>
                  <a:pt x="7129" y="6323"/>
                </a:cubicBezTo>
                <a:close/>
                <a:moveTo>
                  <a:pt x="359" y="6147"/>
                </a:moveTo>
                <a:cubicBezTo>
                  <a:pt x="398" y="6117"/>
                  <a:pt x="398" y="6117"/>
                  <a:pt x="398" y="6117"/>
                </a:cubicBezTo>
                <a:cubicBezTo>
                  <a:pt x="377" y="6079"/>
                  <a:pt x="377" y="6079"/>
                  <a:pt x="377" y="6079"/>
                </a:cubicBezTo>
                <a:lnTo>
                  <a:pt x="359" y="6147"/>
                </a:lnTo>
                <a:close/>
                <a:moveTo>
                  <a:pt x="424" y="6147"/>
                </a:moveTo>
                <a:cubicBezTo>
                  <a:pt x="400" y="6166"/>
                  <a:pt x="400" y="6166"/>
                  <a:pt x="400" y="6166"/>
                </a:cubicBezTo>
                <a:cubicBezTo>
                  <a:pt x="426" y="6187"/>
                  <a:pt x="426" y="6187"/>
                  <a:pt x="426" y="6187"/>
                </a:cubicBezTo>
                <a:cubicBezTo>
                  <a:pt x="426" y="6222"/>
                  <a:pt x="426" y="6222"/>
                  <a:pt x="426" y="6222"/>
                </a:cubicBezTo>
                <a:cubicBezTo>
                  <a:pt x="478" y="6206"/>
                  <a:pt x="478" y="6206"/>
                  <a:pt x="478" y="6206"/>
                </a:cubicBezTo>
                <a:cubicBezTo>
                  <a:pt x="448" y="6175"/>
                  <a:pt x="448" y="6175"/>
                  <a:pt x="448" y="6175"/>
                </a:cubicBezTo>
                <a:lnTo>
                  <a:pt x="424" y="6147"/>
                </a:lnTo>
                <a:close/>
                <a:moveTo>
                  <a:pt x="227" y="5276"/>
                </a:moveTo>
                <a:cubicBezTo>
                  <a:pt x="145" y="5203"/>
                  <a:pt x="145" y="5203"/>
                  <a:pt x="145" y="5203"/>
                </a:cubicBezTo>
                <a:cubicBezTo>
                  <a:pt x="124" y="5239"/>
                  <a:pt x="124" y="5239"/>
                  <a:pt x="124" y="5239"/>
                </a:cubicBezTo>
                <a:cubicBezTo>
                  <a:pt x="218" y="5370"/>
                  <a:pt x="218" y="5370"/>
                  <a:pt x="218" y="5370"/>
                </a:cubicBezTo>
                <a:lnTo>
                  <a:pt x="227" y="5276"/>
                </a:lnTo>
                <a:close/>
                <a:moveTo>
                  <a:pt x="12" y="5269"/>
                </a:moveTo>
                <a:cubicBezTo>
                  <a:pt x="23" y="5290"/>
                  <a:pt x="68" y="5337"/>
                  <a:pt x="68" y="5337"/>
                </a:cubicBezTo>
                <a:cubicBezTo>
                  <a:pt x="4" y="5203"/>
                  <a:pt x="4" y="5203"/>
                  <a:pt x="4" y="5203"/>
                </a:cubicBezTo>
                <a:cubicBezTo>
                  <a:pt x="4" y="5203"/>
                  <a:pt x="0" y="5248"/>
                  <a:pt x="12" y="5269"/>
                </a:cubicBezTo>
                <a:close/>
                <a:moveTo>
                  <a:pt x="133" y="5346"/>
                </a:moveTo>
                <a:cubicBezTo>
                  <a:pt x="93" y="5328"/>
                  <a:pt x="96" y="5360"/>
                  <a:pt x="96" y="5360"/>
                </a:cubicBezTo>
                <a:cubicBezTo>
                  <a:pt x="96" y="5402"/>
                  <a:pt x="96" y="5402"/>
                  <a:pt x="96" y="5402"/>
                </a:cubicBezTo>
                <a:cubicBezTo>
                  <a:pt x="138" y="5410"/>
                  <a:pt x="138" y="5410"/>
                  <a:pt x="138" y="5410"/>
                </a:cubicBezTo>
                <a:cubicBezTo>
                  <a:pt x="138" y="5449"/>
                  <a:pt x="138" y="5449"/>
                  <a:pt x="138" y="5449"/>
                </a:cubicBezTo>
                <a:cubicBezTo>
                  <a:pt x="190" y="5506"/>
                  <a:pt x="190" y="5506"/>
                  <a:pt x="190" y="5506"/>
                </a:cubicBezTo>
                <a:cubicBezTo>
                  <a:pt x="222" y="5473"/>
                  <a:pt x="222" y="5473"/>
                  <a:pt x="222" y="5473"/>
                </a:cubicBezTo>
                <a:cubicBezTo>
                  <a:pt x="222" y="5473"/>
                  <a:pt x="173" y="5365"/>
                  <a:pt x="133" y="5346"/>
                </a:cubicBezTo>
                <a:close/>
                <a:moveTo>
                  <a:pt x="464" y="3695"/>
                </a:moveTo>
                <a:cubicBezTo>
                  <a:pt x="428" y="3701"/>
                  <a:pt x="428" y="3701"/>
                  <a:pt x="428" y="3701"/>
                </a:cubicBezTo>
                <a:cubicBezTo>
                  <a:pt x="419" y="3746"/>
                  <a:pt x="419" y="3746"/>
                  <a:pt x="419" y="3746"/>
                </a:cubicBezTo>
                <a:cubicBezTo>
                  <a:pt x="419" y="3746"/>
                  <a:pt x="436" y="3749"/>
                  <a:pt x="452" y="3749"/>
                </a:cubicBezTo>
                <a:cubicBezTo>
                  <a:pt x="466" y="3749"/>
                  <a:pt x="464" y="3695"/>
                  <a:pt x="464" y="3695"/>
                </a:cubicBezTo>
                <a:close/>
                <a:moveTo>
                  <a:pt x="1293" y="2655"/>
                </a:moveTo>
                <a:cubicBezTo>
                  <a:pt x="1293" y="2655"/>
                  <a:pt x="1344" y="2627"/>
                  <a:pt x="1335" y="2603"/>
                </a:cubicBezTo>
                <a:cubicBezTo>
                  <a:pt x="1326" y="2577"/>
                  <a:pt x="1307" y="2577"/>
                  <a:pt x="1307" y="2577"/>
                </a:cubicBezTo>
                <a:cubicBezTo>
                  <a:pt x="1307" y="2577"/>
                  <a:pt x="1248" y="2645"/>
                  <a:pt x="1293" y="2655"/>
                </a:cubicBezTo>
                <a:close/>
                <a:moveTo>
                  <a:pt x="1426" y="2575"/>
                </a:moveTo>
                <a:cubicBezTo>
                  <a:pt x="1436" y="2556"/>
                  <a:pt x="1436" y="2523"/>
                  <a:pt x="1407" y="2530"/>
                </a:cubicBezTo>
                <a:cubicBezTo>
                  <a:pt x="1398" y="2533"/>
                  <a:pt x="1417" y="2594"/>
                  <a:pt x="1426" y="2575"/>
                </a:cubicBezTo>
                <a:close/>
              </a:path>
            </a:pathLst>
          </a:custGeom>
          <a:gradFill rotWithShape="0">
            <a:gsLst>
              <a:gs pos="0">
                <a:srgbClr val="F8F8F8"/>
              </a:gs>
              <a:gs pos="100000">
                <a:srgbClr val="C0C0C0"/>
              </a:gs>
            </a:gsLst>
            <a:lin ang="5400000" scaled="1"/>
          </a:gradFill>
          <a:ln w="6350" cap="flat" cmpd="sng">
            <a:solidFill>
              <a:srgbClr val="E2E2E2"/>
            </a:solidFill>
            <a:prstDash val="solid"/>
            <a:round/>
            <a:headEnd type="none" w="med" len="med"/>
            <a:tailEnd type="none" w="med" len="med"/>
          </a:ln>
          <a:effectLst>
            <a:outerShdw dist="63500" dir="2212194" algn="ctr" rotWithShape="0">
              <a:srgbClr val="808080"/>
            </a:outerShdw>
          </a:effectLst>
        </p:spPr>
        <p:txBody>
          <a:bodyPr/>
          <a:lstStyle/>
          <a:p>
            <a:endParaRPr lang="en-GB"/>
          </a:p>
        </p:txBody>
      </p:sp>
      <p:sp>
        <p:nvSpPr>
          <p:cNvPr id="37" name="Freeform 17" descr="© INSCALE GmbH, 05.05.2010&#10;http://www.presentationload.com/"/>
          <p:cNvSpPr>
            <a:spLocks noChangeAspect="1" noEditPoints="1"/>
          </p:cNvSpPr>
          <p:nvPr/>
        </p:nvSpPr>
        <p:spPr bwMode="auto">
          <a:xfrm>
            <a:off x="2135780" y="3082692"/>
            <a:ext cx="215558" cy="341545"/>
          </a:xfrm>
          <a:custGeom>
            <a:avLst/>
            <a:gdLst/>
            <a:ahLst/>
            <a:cxnLst>
              <a:cxn ang="0">
                <a:pos x="208" y="9"/>
              </a:cxn>
              <a:cxn ang="0">
                <a:pos x="190" y="15"/>
              </a:cxn>
              <a:cxn ang="0">
                <a:pos x="44" y="200"/>
              </a:cxn>
              <a:cxn ang="0">
                <a:pos x="15" y="197"/>
              </a:cxn>
              <a:cxn ang="0">
                <a:pos x="25" y="208"/>
              </a:cxn>
              <a:cxn ang="0">
                <a:pos x="214" y="617"/>
              </a:cxn>
              <a:cxn ang="0">
                <a:pos x="242" y="588"/>
              </a:cxn>
              <a:cxn ang="0">
                <a:pos x="230" y="592"/>
              </a:cxn>
              <a:cxn ang="0">
                <a:pos x="273" y="575"/>
              </a:cxn>
              <a:cxn ang="0">
                <a:pos x="298" y="571"/>
              </a:cxn>
              <a:cxn ang="0">
                <a:pos x="366" y="221"/>
              </a:cxn>
              <a:cxn ang="0">
                <a:pos x="353" y="236"/>
              </a:cxn>
              <a:cxn ang="0">
                <a:pos x="370" y="241"/>
              </a:cxn>
              <a:cxn ang="0">
                <a:pos x="303" y="557"/>
              </a:cxn>
              <a:cxn ang="0">
                <a:pos x="278" y="556"/>
              </a:cxn>
              <a:cxn ang="0">
                <a:pos x="318" y="290"/>
              </a:cxn>
              <a:cxn ang="0">
                <a:pos x="280" y="302"/>
              </a:cxn>
              <a:cxn ang="0">
                <a:pos x="254" y="303"/>
              </a:cxn>
              <a:cxn ang="0">
                <a:pos x="224" y="314"/>
              </a:cxn>
              <a:cxn ang="0">
                <a:pos x="168" y="315"/>
              </a:cxn>
              <a:cxn ang="0">
                <a:pos x="75" y="246"/>
              </a:cxn>
              <a:cxn ang="0">
                <a:pos x="41" y="230"/>
              </a:cxn>
              <a:cxn ang="0">
                <a:pos x="13" y="263"/>
              </a:cxn>
              <a:cxn ang="0">
                <a:pos x="21" y="345"/>
              </a:cxn>
              <a:cxn ang="0">
                <a:pos x="57" y="419"/>
              </a:cxn>
              <a:cxn ang="0">
                <a:pos x="68" y="469"/>
              </a:cxn>
              <a:cxn ang="0">
                <a:pos x="48" y="484"/>
              </a:cxn>
              <a:cxn ang="0">
                <a:pos x="101" y="565"/>
              </a:cxn>
              <a:cxn ang="0">
                <a:pos x="108" y="592"/>
              </a:cxn>
              <a:cxn ang="0">
                <a:pos x="136" y="616"/>
              </a:cxn>
              <a:cxn ang="0">
                <a:pos x="157" y="609"/>
              </a:cxn>
              <a:cxn ang="0">
                <a:pos x="208" y="597"/>
              </a:cxn>
              <a:cxn ang="0">
                <a:pos x="218" y="588"/>
              </a:cxn>
              <a:cxn ang="0">
                <a:pos x="253" y="532"/>
              </a:cxn>
              <a:cxn ang="0">
                <a:pos x="293" y="540"/>
              </a:cxn>
              <a:cxn ang="0">
                <a:pos x="307" y="516"/>
              </a:cxn>
              <a:cxn ang="0">
                <a:pos x="339" y="452"/>
              </a:cxn>
              <a:cxn ang="0">
                <a:pos x="355" y="464"/>
              </a:cxn>
              <a:cxn ang="0">
                <a:pos x="351" y="341"/>
              </a:cxn>
              <a:cxn ang="0">
                <a:pos x="347" y="270"/>
              </a:cxn>
              <a:cxn ang="0">
                <a:pos x="337" y="186"/>
              </a:cxn>
              <a:cxn ang="0">
                <a:pos x="377" y="208"/>
              </a:cxn>
              <a:cxn ang="0">
                <a:pos x="383" y="178"/>
              </a:cxn>
              <a:cxn ang="0">
                <a:pos x="349" y="140"/>
              </a:cxn>
              <a:cxn ang="0">
                <a:pos x="338" y="169"/>
              </a:cxn>
            </a:cxnLst>
            <a:rect l="0" t="0" r="r" b="b"/>
            <a:pathLst>
              <a:path w="402" h="635">
                <a:moveTo>
                  <a:pt x="190" y="15"/>
                </a:moveTo>
                <a:cubicBezTo>
                  <a:pt x="202" y="15"/>
                  <a:pt x="208" y="9"/>
                  <a:pt x="208" y="9"/>
                </a:cubicBezTo>
                <a:cubicBezTo>
                  <a:pt x="190" y="0"/>
                  <a:pt x="190" y="0"/>
                  <a:pt x="190" y="0"/>
                </a:cubicBezTo>
                <a:cubicBezTo>
                  <a:pt x="190" y="0"/>
                  <a:pt x="178" y="15"/>
                  <a:pt x="190" y="15"/>
                </a:cubicBezTo>
                <a:close/>
                <a:moveTo>
                  <a:pt x="25" y="208"/>
                </a:moveTo>
                <a:cubicBezTo>
                  <a:pt x="25" y="208"/>
                  <a:pt x="39" y="200"/>
                  <a:pt x="44" y="200"/>
                </a:cubicBezTo>
                <a:cubicBezTo>
                  <a:pt x="40" y="190"/>
                  <a:pt x="40" y="190"/>
                  <a:pt x="40" y="190"/>
                </a:cubicBezTo>
                <a:cubicBezTo>
                  <a:pt x="40" y="190"/>
                  <a:pt x="20" y="194"/>
                  <a:pt x="15" y="197"/>
                </a:cubicBezTo>
                <a:cubicBezTo>
                  <a:pt x="10" y="200"/>
                  <a:pt x="11" y="213"/>
                  <a:pt x="17" y="224"/>
                </a:cubicBezTo>
                <a:cubicBezTo>
                  <a:pt x="24" y="234"/>
                  <a:pt x="25" y="208"/>
                  <a:pt x="25" y="208"/>
                </a:cubicBezTo>
                <a:close/>
                <a:moveTo>
                  <a:pt x="230" y="592"/>
                </a:moveTo>
                <a:cubicBezTo>
                  <a:pt x="230" y="592"/>
                  <a:pt x="206" y="613"/>
                  <a:pt x="214" y="617"/>
                </a:cubicBezTo>
                <a:cubicBezTo>
                  <a:pt x="222" y="621"/>
                  <a:pt x="236" y="621"/>
                  <a:pt x="236" y="621"/>
                </a:cubicBezTo>
                <a:cubicBezTo>
                  <a:pt x="236" y="621"/>
                  <a:pt x="230" y="593"/>
                  <a:pt x="242" y="588"/>
                </a:cubicBezTo>
                <a:cubicBezTo>
                  <a:pt x="254" y="583"/>
                  <a:pt x="252" y="567"/>
                  <a:pt x="252" y="567"/>
                </a:cubicBezTo>
                <a:lnTo>
                  <a:pt x="230" y="592"/>
                </a:lnTo>
                <a:close/>
                <a:moveTo>
                  <a:pt x="298" y="571"/>
                </a:moveTo>
                <a:cubicBezTo>
                  <a:pt x="280" y="565"/>
                  <a:pt x="273" y="575"/>
                  <a:pt x="273" y="575"/>
                </a:cubicBezTo>
                <a:cubicBezTo>
                  <a:pt x="280" y="592"/>
                  <a:pt x="282" y="593"/>
                  <a:pt x="294" y="593"/>
                </a:cubicBezTo>
                <a:cubicBezTo>
                  <a:pt x="306" y="593"/>
                  <a:pt x="317" y="576"/>
                  <a:pt x="298" y="571"/>
                </a:cubicBezTo>
                <a:close/>
                <a:moveTo>
                  <a:pt x="393" y="238"/>
                </a:moveTo>
                <a:cubicBezTo>
                  <a:pt x="383" y="224"/>
                  <a:pt x="379" y="221"/>
                  <a:pt x="366" y="221"/>
                </a:cubicBezTo>
                <a:cubicBezTo>
                  <a:pt x="353" y="221"/>
                  <a:pt x="341" y="228"/>
                  <a:pt x="341" y="228"/>
                </a:cubicBezTo>
                <a:cubicBezTo>
                  <a:pt x="353" y="236"/>
                  <a:pt x="353" y="236"/>
                  <a:pt x="353" y="236"/>
                </a:cubicBezTo>
                <a:cubicBezTo>
                  <a:pt x="361" y="254"/>
                  <a:pt x="361" y="254"/>
                  <a:pt x="361" y="254"/>
                </a:cubicBezTo>
                <a:cubicBezTo>
                  <a:pt x="361" y="254"/>
                  <a:pt x="357" y="240"/>
                  <a:pt x="370" y="241"/>
                </a:cubicBezTo>
                <a:cubicBezTo>
                  <a:pt x="383" y="242"/>
                  <a:pt x="402" y="253"/>
                  <a:pt x="393" y="238"/>
                </a:cubicBezTo>
                <a:close/>
                <a:moveTo>
                  <a:pt x="303" y="557"/>
                </a:moveTo>
                <a:cubicBezTo>
                  <a:pt x="308" y="551"/>
                  <a:pt x="293" y="548"/>
                  <a:pt x="293" y="548"/>
                </a:cubicBezTo>
                <a:cubicBezTo>
                  <a:pt x="278" y="556"/>
                  <a:pt x="278" y="556"/>
                  <a:pt x="278" y="556"/>
                </a:cubicBezTo>
                <a:cubicBezTo>
                  <a:pt x="278" y="556"/>
                  <a:pt x="297" y="568"/>
                  <a:pt x="303" y="557"/>
                </a:cubicBezTo>
                <a:close/>
                <a:moveTo>
                  <a:pt x="318" y="290"/>
                </a:moveTo>
                <a:cubicBezTo>
                  <a:pt x="318" y="290"/>
                  <a:pt x="307" y="282"/>
                  <a:pt x="299" y="281"/>
                </a:cubicBezTo>
                <a:cubicBezTo>
                  <a:pt x="291" y="279"/>
                  <a:pt x="280" y="302"/>
                  <a:pt x="280" y="302"/>
                </a:cubicBezTo>
                <a:cubicBezTo>
                  <a:pt x="280" y="302"/>
                  <a:pt x="265" y="293"/>
                  <a:pt x="260" y="293"/>
                </a:cubicBezTo>
                <a:cubicBezTo>
                  <a:pt x="254" y="293"/>
                  <a:pt x="254" y="303"/>
                  <a:pt x="254" y="303"/>
                </a:cubicBezTo>
                <a:cubicBezTo>
                  <a:pt x="254" y="303"/>
                  <a:pt x="241" y="297"/>
                  <a:pt x="233" y="298"/>
                </a:cubicBezTo>
                <a:cubicBezTo>
                  <a:pt x="225" y="299"/>
                  <a:pt x="224" y="314"/>
                  <a:pt x="224" y="314"/>
                </a:cubicBezTo>
                <a:cubicBezTo>
                  <a:pt x="213" y="303"/>
                  <a:pt x="213" y="303"/>
                  <a:pt x="213" y="303"/>
                </a:cubicBezTo>
                <a:cubicBezTo>
                  <a:pt x="168" y="315"/>
                  <a:pt x="168" y="315"/>
                  <a:pt x="168" y="315"/>
                </a:cubicBezTo>
                <a:cubicBezTo>
                  <a:pt x="88" y="267"/>
                  <a:pt x="88" y="267"/>
                  <a:pt x="88" y="267"/>
                </a:cubicBezTo>
                <a:cubicBezTo>
                  <a:pt x="75" y="246"/>
                  <a:pt x="75" y="246"/>
                  <a:pt x="75" y="246"/>
                </a:cubicBezTo>
                <a:cubicBezTo>
                  <a:pt x="75" y="246"/>
                  <a:pt x="67" y="253"/>
                  <a:pt x="59" y="253"/>
                </a:cubicBezTo>
                <a:cubicBezTo>
                  <a:pt x="51" y="253"/>
                  <a:pt x="41" y="236"/>
                  <a:pt x="41" y="230"/>
                </a:cubicBezTo>
                <a:cubicBezTo>
                  <a:pt x="41" y="225"/>
                  <a:pt x="13" y="230"/>
                  <a:pt x="13" y="230"/>
                </a:cubicBezTo>
                <a:cubicBezTo>
                  <a:pt x="13" y="230"/>
                  <a:pt x="10" y="255"/>
                  <a:pt x="13" y="263"/>
                </a:cubicBezTo>
                <a:cubicBezTo>
                  <a:pt x="17" y="271"/>
                  <a:pt x="6" y="271"/>
                  <a:pt x="3" y="283"/>
                </a:cubicBezTo>
                <a:cubicBezTo>
                  <a:pt x="0" y="295"/>
                  <a:pt x="16" y="315"/>
                  <a:pt x="21" y="345"/>
                </a:cubicBezTo>
                <a:cubicBezTo>
                  <a:pt x="27" y="374"/>
                  <a:pt x="36" y="386"/>
                  <a:pt x="49" y="402"/>
                </a:cubicBezTo>
                <a:cubicBezTo>
                  <a:pt x="63" y="418"/>
                  <a:pt x="57" y="419"/>
                  <a:pt x="57" y="419"/>
                </a:cubicBezTo>
                <a:cubicBezTo>
                  <a:pt x="57" y="419"/>
                  <a:pt x="77" y="452"/>
                  <a:pt x="79" y="458"/>
                </a:cubicBezTo>
                <a:cubicBezTo>
                  <a:pt x="80" y="463"/>
                  <a:pt x="68" y="469"/>
                  <a:pt x="68" y="469"/>
                </a:cubicBezTo>
                <a:cubicBezTo>
                  <a:pt x="49" y="435"/>
                  <a:pt x="49" y="435"/>
                  <a:pt x="49" y="435"/>
                </a:cubicBezTo>
                <a:cubicBezTo>
                  <a:pt x="49" y="435"/>
                  <a:pt x="48" y="469"/>
                  <a:pt x="48" y="484"/>
                </a:cubicBezTo>
                <a:cubicBezTo>
                  <a:pt x="48" y="499"/>
                  <a:pt x="93" y="576"/>
                  <a:pt x="93" y="576"/>
                </a:cubicBezTo>
                <a:cubicBezTo>
                  <a:pt x="101" y="565"/>
                  <a:pt x="101" y="565"/>
                  <a:pt x="101" y="565"/>
                </a:cubicBezTo>
                <a:cubicBezTo>
                  <a:pt x="125" y="588"/>
                  <a:pt x="125" y="588"/>
                  <a:pt x="125" y="588"/>
                </a:cubicBezTo>
                <a:cubicBezTo>
                  <a:pt x="108" y="592"/>
                  <a:pt x="108" y="592"/>
                  <a:pt x="108" y="592"/>
                </a:cubicBezTo>
                <a:cubicBezTo>
                  <a:pt x="108" y="611"/>
                  <a:pt x="108" y="611"/>
                  <a:pt x="108" y="611"/>
                </a:cubicBezTo>
                <a:cubicBezTo>
                  <a:pt x="136" y="616"/>
                  <a:pt x="136" y="616"/>
                  <a:pt x="136" y="616"/>
                </a:cubicBezTo>
                <a:cubicBezTo>
                  <a:pt x="152" y="620"/>
                  <a:pt x="152" y="620"/>
                  <a:pt x="152" y="620"/>
                </a:cubicBezTo>
                <a:cubicBezTo>
                  <a:pt x="157" y="609"/>
                  <a:pt x="157" y="609"/>
                  <a:pt x="157" y="609"/>
                </a:cubicBezTo>
                <a:cubicBezTo>
                  <a:pt x="180" y="635"/>
                  <a:pt x="180" y="635"/>
                  <a:pt x="180" y="635"/>
                </a:cubicBezTo>
                <a:cubicBezTo>
                  <a:pt x="208" y="597"/>
                  <a:pt x="208" y="597"/>
                  <a:pt x="208" y="597"/>
                </a:cubicBezTo>
                <a:cubicBezTo>
                  <a:pt x="208" y="573"/>
                  <a:pt x="208" y="573"/>
                  <a:pt x="208" y="573"/>
                </a:cubicBezTo>
                <a:cubicBezTo>
                  <a:pt x="218" y="588"/>
                  <a:pt x="218" y="588"/>
                  <a:pt x="218" y="588"/>
                </a:cubicBezTo>
                <a:cubicBezTo>
                  <a:pt x="241" y="567"/>
                  <a:pt x="241" y="567"/>
                  <a:pt x="241" y="567"/>
                </a:cubicBezTo>
                <a:cubicBezTo>
                  <a:pt x="253" y="532"/>
                  <a:pt x="253" y="532"/>
                  <a:pt x="253" y="532"/>
                </a:cubicBezTo>
                <a:cubicBezTo>
                  <a:pt x="272" y="552"/>
                  <a:pt x="272" y="552"/>
                  <a:pt x="272" y="552"/>
                </a:cubicBezTo>
                <a:cubicBezTo>
                  <a:pt x="272" y="552"/>
                  <a:pt x="293" y="549"/>
                  <a:pt x="293" y="540"/>
                </a:cubicBezTo>
                <a:cubicBezTo>
                  <a:pt x="293" y="531"/>
                  <a:pt x="309" y="525"/>
                  <a:pt x="317" y="521"/>
                </a:cubicBezTo>
                <a:cubicBezTo>
                  <a:pt x="325" y="517"/>
                  <a:pt x="311" y="516"/>
                  <a:pt x="307" y="516"/>
                </a:cubicBezTo>
                <a:cubicBezTo>
                  <a:pt x="303" y="516"/>
                  <a:pt x="302" y="475"/>
                  <a:pt x="310" y="469"/>
                </a:cubicBezTo>
                <a:cubicBezTo>
                  <a:pt x="318" y="463"/>
                  <a:pt x="321" y="444"/>
                  <a:pt x="339" y="452"/>
                </a:cubicBezTo>
                <a:cubicBezTo>
                  <a:pt x="355" y="459"/>
                  <a:pt x="344" y="474"/>
                  <a:pt x="341" y="479"/>
                </a:cubicBezTo>
                <a:cubicBezTo>
                  <a:pt x="343" y="476"/>
                  <a:pt x="350" y="468"/>
                  <a:pt x="355" y="464"/>
                </a:cubicBezTo>
                <a:cubicBezTo>
                  <a:pt x="362" y="460"/>
                  <a:pt x="354" y="412"/>
                  <a:pt x="354" y="408"/>
                </a:cubicBezTo>
                <a:cubicBezTo>
                  <a:pt x="354" y="404"/>
                  <a:pt x="355" y="355"/>
                  <a:pt x="351" y="341"/>
                </a:cubicBezTo>
                <a:cubicBezTo>
                  <a:pt x="347" y="326"/>
                  <a:pt x="377" y="302"/>
                  <a:pt x="377" y="302"/>
                </a:cubicBezTo>
                <a:cubicBezTo>
                  <a:pt x="347" y="270"/>
                  <a:pt x="347" y="270"/>
                  <a:pt x="347" y="270"/>
                </a:cubicBezTo>
                <a:lnTo>
                  <a:pt x="318" y="290"/>
                </a:lnTo>
                <a:close/>
                <a:moveTo>
                  <a:pt x="337" y="186"/>
                </a:moveTo>
                <a:cubicBezTo>
                  <a:pt x="337" y="186"/>
                  <a:pt x="347" y="206"/>
                  <a:pt x="350" y="210"/>
                </a:cubicBezTo>
                <a:cubicBezTo>
                  <a:pt x="353" y="214"/>
                  <a:pt x="377" y="208"/>
                  <a:pt x="377" y="208"/>
                </a:cubicBezTo>
                <a:cubicBezTo>
                  <a:pt x="371" y="196"/>
                  <a:pt x="371" y="196"/>
                  <a:pt x="371" y="196"/>
                </a:cubicBezTo>
                <a:cubicBezTo>
                  <a:pt x="371" y="196"/>
                  <a:pt x="399" y="192"/>
                  <a:pt x="383" y="178"/>
                </a:cubicBezTo>
                <a:cubicBezTo>
                  <a:pt x="367" y="165"/>
                  <a:pt x="370" y="180"/>
                  <a:pt x="362" y="164"/>
                </a:cubicBezTo>
                <a:cubicBezTo>
                  <a:pt x="354" y="148"/>
                  <a:pt x="349" y="140"/>
                  <a:pt x="349" y="140"/>
                </a:cubicBezTo>
                <a:cubicBezTo>
                  <a:pt x="333" y="158"/>
                  <a:pt x="333" y="158"/>
                  <a:pt x="333" y="158"/>
                </a:cubicBezTo>
                <a:cubicBezTo>
                  <a:pt x="338" y="169"/>
                  <a:pt x="338" y="169"/>
                  <a:pt x="338" y="169"/>
                </a:cubicBezTo>
                <a:lnTo>
                  <a:pt x="337" y="186"/>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38" name="Freeform 18" descr="© INSCALE GmbH, 05.05.2010&#10;http://www.presentationload.com/"/>
          <p:cNvSpPr>
            <a:spLocks noChangeAspect="1" noEditPoints="1"/>
          </p:cNvSpPr>
          <p:nvPr/>
        </p:nvSpPr>
        <p:spPr bwMode="auto">
          <a:xfrm>
            <a:off x="295908" y="1262392"/>
            <a:ext cx="993855" cy="1593240"/>
          </a:xfrm>
          <a:custGeom>
            <a:avLst/>
            <a:gdLst/>
            <a:ahLst/>
            <a:cxnLst>
              <a:cxn ang="0">
                <a:pos x="29" y="1896"/>
              </a:cxn>
              <a:cxn ang="0">
                <a:pos x="179" y="1217"/>
              </a:cxn>
              <a:cxn ang="0">
                <a:pos x="53" y="1854"/>
              </a:cxn>
              <a:cxn ang="0">
                <a:pos x="558" y="718"/>
              </a:cxn>
              <a:cxn ang="0">
                <a:pos x="57" y="1900"/>
              </a:cxn>
              <a:cxn ang="0">
                <a:pos x="81" y="1968"/>
              </a:cxn>
              <a:cxn ang="0">
                <a:pos x="182" y="2260"/>
              </a:cxn>
              <a:cxn ang="0">
                <a:pos x="1769" y="300"/>
              </a:cxn>
              <a:cxn ang="0">
                <a:pos x="1705" y="333"/>
              </a:cxn>
              <a:cxn ang="0">
                <a:pos x="1652" y="356"/>
              </a:cxn>
              <a:cxn ang="0">
                <a:pos x="1573" y="193"/>
              </a:cxn>
              <a:cxn ang="0">
                <a:pos x="1467" y="236"/>
              </a:cxn>
              <a:cxn ang="0">
                <a:pos x="1402" y="271"/>
              </a:cxn>
              <a:cxn ang="0">
                <a:pos x="1328" y="296"/>
              </a:cxn>
              <a:cxn ang="0">
                <a:pos x="1321" y="362"/>
              </a:cxn>
              <a:cxn ang="0">
                <a:pos x="1302" y="412"/>
              </a:cxn>
              <a:cxn ang="0">
                <a:pos x="1221" y="471"/>
              </a:cxn>
              <a:cxn ang="0">
                <a:pos x="1244" y="519"/>
              </a:cxn>
              <a:cxn ang="0">
                <a:pos x="1165" y="532"/>
              </a:cxn>
              <a:cxn ang="0">
                <a:pos x="1115" y="563"/>
              </a:cxn>
              <a:cxn ang="0">
                <a:pos x="1125" y="614"/>
              </a:cxn>
              <a:cxn ang="0">
                <a:pos x="1044" y="540"/>
              </a:cxn>
              <a:cxn ang="0">
                <a:pos x="995" y="620"/>
              </a:cxn>
              <a:cxn ang="0">
                <a:pos x="951" y="810"/>
              </a:cxn>
              <a:cxn ang="0">
                <a:pos x="785" y="1007"/>
              </a:cxn>
              <a:cxn ang="0">
                <a:pos x="655" y="1027"/>
              </a:cxn>
              <a:cxn ang="0">
                <a:pos x="531" y="1111"/>
              </a:cxn>
              <a:cxn ang="0">
                <a:pos x="390" y="1156"/>
              </a:cxn>
              <a:cxn ang="0">
                <a:pos x="314" y="1164"/>
              </a:cxn>
              <a:cxn ang="0">
                <a:pos x="225" y="1270"/>
              </a:cxn>
              <a:cxn ang="0">
                <a:pos x="81" y="1445"/>
              </a:cxn>
              <a:cxn ang="0">
                <a:pos x="37" y="1429"/>
              </a:cxn>
              <a:cxn ang="0">
                <a:pos x="29" y="1614"/>
              </a:cxn>
              <a:cxn ang="0">
                <a:pos x="99" y="1786"/>
              </a:cxn>
              <a:cxn ang="0">
                <a:pos x="152" y="1903"/>
              </a:cxn>
              <a:cxn ang="0">
                <a:pos x="120" y="1928"/>
              </a:cxn>
              <a:cxn ang="0">
                <a:pos x="180" y="2134"/>
              </a:cxn>
              <a:cxn ang="0">
                <a:pos x="428" y="2585"/>
              </a:cxn>
              <a:cxn ang="0">
                <a:pos x="446" y="2698"/>
              </a:cxn>
              <a:cxn ang="0">
                <a:pos x="387" y="2802"/>
              </a:cxn>
              <a:cxn ang="0">
                <a:pos x="548" y="2954"/>
              </a:cxn>
              <a:cxn ang="0">
                <a:pos x="712" y="2952"/>
              </a:cxn>
              <a:cxn ang="0">
                <a:pos x="810" y="2867"/>
              </a:cxn>
              <a:cxn ang="0">
                <a:pos x="968" y="2789"/>
              </a:cxn>
              <a:cxn ang="0">
                <a:pos x="1146" y="2773"/>
              </a:cxn>
              <a:cxn ang="0">
                <a:pos x="1273" y="2757"/>
              </a:cxn>
              <a:cxn ang="0">
                <a:pos x="1463" y="2571"/>
              </a:cxn>
              <a:cxn ang="0">
                <a:pos x="1680" y="2520"/>
              </a:cxn>
              <a:cxn ang="0">
                <a:pos x="153" y="2242"/>
              </a:cxn>
              <a:cxn ang="0">
                <a:pos x="1382" y="150"/>
              </a:cxn>
              <a:cxn ang="0">
                <a:pos x="1376" y="211"/>
              </a:cxn>
              <a:cxn ang="0">
                <a:pos x="1250" y="347"/>
              </a:cxn>
              <a:cxn ang="0">
                <a:pos x="1421" y="202"/>
              </a:cxn>
              <a:cxn ang="0">
                <a:pos x="1215" y="396"/>
              </a:cxn>
              <a:cxn ang="0">
                <a:pos x="1197" y="401"/>
              </a:cxn>
              <a:cxn ang="0">
                <a:pos x="1009" y="0"/>
              </a:cxn>
              <a:cxn ang="0">
                <a:pos x="1044" y="417"/>
              </a:cxn>
              <a:cxn ang="0">
                <a:pos x="1113" y="424"/>
              </a:cxn>
            </a:cxnLst>
            <a:rect l="0" t="0" r="r" b="b"/>
            <a:pathLst>
              <a:path w="1854" h="2969">
                <a:moveTo>
                  <a:pt x="1270" y="283"/>
                </a:moveTo>
                <a:cubicBezTo>
                  <a:pt x="1280" y="283"/>
                  <a:pt x="1282" y="260"/>
                  <a:pt x="1262" y="264"/>
                </a:cubicBezTo>
                <a:cubicBezTo>
                  <a:pt x="1262" y="264"/>
                  <a:pt x="1259" y="283"/>
                  <a:pt x="1270" y="283"/>
                </a:cubicBezTo>
                <a:close/>
                <a:moveTo>
                  <a:pt x="5" y="1867"/>
                </a:moveTo>
                <a:cubicBezTo>
                  <a:pt x="10" y="1876"/>
                  <a:pt x="29" y="1896"/>
                  <a:pt x="29" y="1896"/>
                </a:cubicBezTo>
                <a:cubicBezTo>
                  <a:pt x="2" y="1839"/>
                  <a:pt x="2" y="1839"/>
                  <a:pt x="2" y="1839"/>
                </a:cubicBezTo>
                <a:cubicBezTo>
                  <a:pt x="2" y="1839"/>
                  <a:pt x="0" y="1858"/>
                  <a:pt x="5" y="1867"/>
                </a:cubicBezTo>
                <a:close/>
                <a:moveTo>
                  <a:pt x="198" y="1195"/>
                </a:moveTo>
                <a:cubicBezTo>
                  <a:pt x="183" y="1198"/>
                  <a:pt x="183" y="1198"/>
                  <a:pt x="183" y="1198"/>
                </a:cubicBezTo>
                <a:cubicBezTo>
                  <a:pt x="179" y="1217"/>
                  <a:pt x="179" y="1217"/>
                  <a:pt x="179" y="1217"/>
                </a:cubicBezTo>
                <a:cubicBezTo>
                  <a:pt x="179" y="1217"/>
                  <a:pt x="186" y="1218"/>
                  <a:pt x="192" y="1218"/>
                </a:cubicBezTo>
                <a:cubicBezTo>
                  <a:pt x="199" y="1218"/>
                  <a:pt x="198" y="1195"/>
                  <a:pt x="198" y="1195"/>
                </a:cubicBezTo>
                <a:close/>
                <a:moveTo>
                  <a:pt x="97" y="1870"/>
                </a:moveTo>
                <a:cubicBezTo>
                  <a:pt x="62" y="1839"/>
                  <a:pt x="62" y="1839"/>
                  <a:pt x="62" y="1839"/>
                </a:cubicBezTo>
                <a:cubicBezTo>
                  <a:pt x="53" y="1854"/>
                  <a:pt x="53" y="1854"/>
                  <a:pt x="53" y="1854"/>
                </a:cubicBezTo>
                <a:cubicBezTo>
                  <a:pt x="93" y="1910"/>
                  <a:pt x="93" y="1910"/>
                  <a:pt x="93" y="1910"/>
                </a:cubicBezTo>
                <a:lnTo>
                  <a:pt x="97" y="1870"/>
                </a:lnTo>
                <a:close/>
                <a:moveTo>
                  <a:pt x="552" y="751"/>
                </a:moveTo>
                <a:cubicBezTo>
                  <a:pt x="552" y="751"/>
                  <a:pt x="574" y="739"/>
                  <a:pt x="570" y="729"/>
                </a:cubicBezTo>
                <a:cubicBezTo>
                  <a:pt x="566" y="718"/>
                  <a:pt x="558" y="718"/>
                  <a:pt x="558" y="718"/>
                </a:cubicBezTo>
                <a:cubicBezTo>
                  <a:pt x="558" y="718"/>
                  <a:pt x="533" y="747"/>
                  <a:pt x="552" y="751"/>
                </a:cubicBezTo>
                <a:close/>
                <a:moveTo>
                  <a:pt x="609" y="717"/>
                </a:moveTo>
                <a:cubicBezTo>
                  <a:pt x="613" y="709"/>
                  <a:pt x="613" y="695"/>
                  <a:pt x="601" y="698"/>
                </a:cubicBezTo>
                <a:cubicBezTo>
                  <a:pt x="597" y="699"/>
                  <a:pt x="605" y="725"/>
                  <a:pt x="609" y="717"/>
                </a:cubicBezTo>
                <a:close/>
                <a:moveTo>
                  <a:pt x="57" y="1900"/>
                </a:moveTo>
                <a:cubicBezTo>
                  <a:pt x="39" y="1892"/>
                  <a:pt x="41" y="1906"/>
                  <a:pt x="41" y="1906"/>
                </a:cubicBezTo>
                <a:cubicBezTo>
                  <a:pt x="41" y="1924"/>
                  <a:pt x="41" y="1924"/>
                  <a:pt x="41" y="1924"/>
                </a:cubicBezTo>
                <a:cubicBezTo>
                  <a:pt x="59" y="1927"/>
                  <a:pt x="59" y="1927"/>
                  <a:pt x="59" y="1927"/>
                </a:cubicBezTo>
                <a:cubicBezTo>
                  <a:pt x="59" y="1944"/>
                  <a:pt x="59" y="1944"/>
                  <a:pt x="59" y="1944"/>
                </a:cubicBezTo>
                <a:cubicBezTo>
                  <a:pt x="81" y="1968"/>
                  <a:pt x="81" y="1968"/>
                  <a:pt x="81" y="1968"/>
                </a:cubicBezTo>
                <a:cubicBezTo>
                  <a:pt x="95" y="1954"/>
                  <a:pt x="95" y="1954"/>
                  <a:pt x="95" y="1954"/>
                </a:cubicBezTo>
                <a:cubicBezTo>
                  <a:pt x="95" y="1954"/>
                  <a:pt x="74" y="1908"/>
                  <a:pt x="57" y="1900"/>
                </a:cubicBezTo>
                <a:close/>
                <a:moveTo>
                  <a:pt x="180" y="2242"/>
                </a:moveTo>
                <a:cubicBezTo>
                  <a:pt x="171" y="2250"/>
                  <a:pt x="171" y="2250"/>
                  <a:pt x="171" y="2250"/>
                </a:cubicBezTo>
                <a:cubicBezTo>
                  <a:pt x="182" y="2260"/>
                  <a:pt x="182" y="2260"/>
                  <a:pt x="182" y="2260"/>
                </a:cubicBezTo>
                <a:cubicBezTo>
                  <a:pt x="182" y="2274"/>
                  <a:pt x="182" y="2274"/>
                  <a:pt x="182" y="2274"/>
                </a:cubicBezTo>
                <a:cubicBezTo>
                  <a:pt x="204" y="2268"/>
                  <a:pt x="204" y="2268"/>
                  <a:pt x="204" y="2268"/>
                </a:cubicBezTo>
                <a:cubicBezTo>
                  <a:pt x="191" y="2254"/>
                  <a:pt x="191" y="2254"/>
                  <a:pt x="191" y="2254"/>
                </a:cubicBezTo>
                <a:lnTo>
                  <a:pt x="180" y="2242"/>
                </a:lnTo>
                <a:close/>
                <a:moveTo>
                  <a:pt x="1769" y="300"/>
                </a:moveTo>
                <a:cubicBezTo>
                  <a:pt x="1767" y="300"/>
                  <a:pt x="1765" y="300"/>
                  <a:pt x="1762" y="300"/>
                </a:cubicBezTo>
                <a:cubicBezTo>
                  <a:pt x="1741" y="300"/>
                  <a:pt x="1724" y="292"/>
                  <a:pt x="1722" y="291"/>
                </a:cubicBezTo>
                <a:cubicBezTo>
                  <a:pt x="1719" y="290"/>
                  <a:pt x="1699" y="309"/>
                  <a:pt x="1699" y="309"/>
                </a:cubicBezTo>
                <a:cubicBezTo>
                  <a:pt x="1710" y="328"/>
                  <a:pt x="1710" y="328"/>
                  <a:pt x="1710" y="328"/>
                </a:cubicBezTo>
                <a:cubicBezTo>
                  <a:pt x="1710" y="328"/>
                  <a:pt x="1707" y="333"/>
                  <a:pt x="1705" y="333"/>
                </a:cubicBezTo>
                <a:cubicBezTo>
                  <a:pt x="1704" y="333"/>
                  <a:pt x="1688" y="322"/>
                  <a:pt x="1688" y="322"/>
                </a:cubicBezTo>
                <a:cubicBezTo>
                  <a:pt x="1688" y="322"/>
                  <a:pt x="1669" y="331"/>
                  <a:pt x="1673" y="340"/>
                </a:cubicBezTo>
                <a:cubicBezTo>
                  <a:pt x="1677" y="348"/>
                  <a:pt x="1695" y="367"/>
                  <a:pt x="1690" y="369"/>
                </a:cubicBezTo>
                <a:cubicBezTo>
                  <a:pt x="1685" y="372"/>
                  <a:pt x="1666" y="382"/>
                  <a:pt x="1666" y="382"/>
                </a:cubicBezTo>
                <a:cubicBezTo>
                  <a:pt x="1666" y="382"/>
                  <a:pt x="1648" y="365"/>
                  <a:pt x="1652" y="356"/>
                </a:cubicBezTo>
                <a:cubicBezTo>
                  <a:pt x="1656" y="348"/>
                  <a:pt x="1664" y="350"/>
                  <a:pt x="1663" y="337"/>
                </a:cubicBezTo>
                <a:cubicBezTo>
                  <a:pt x="1662" y="324"/>
                  <a:pt x="1655" y="325"/>
                  <a:pt x="1660" y="316"/>
                </a:cubicBezTo>
                <a:cubicBezTo>
                  <a:pt x="1665" y="307"/>
                  <a:pt x="1678" y="293"/>
                  <a:pt x="1677" y="291"/>
                </a:cubicBezTo>
                <a:cubicBezTo>
                  <a:pt x="1676" y="288"/>
                  <a:pt x="1640" y="274"/>
                  <a:pt x="1631" y="261"/>
                </a:cubicBezTo>
                <a:cubicBezTo>
                  <a:pt x="1622" y="248"/>
                  <a:pt x="1584" y="198"/>
                  <a:pt x="1573" y="193"/>
                </a:cubicBezTo>
                <a:cubicBezTo>
                  <a:pt x="1561" y="188"/>
                  <a:pt x="1538" y="197"/>
                  <a:pt x="1538" y="197"/>
                </a:cubicBezTo>
                <a:cubicBezTo>
                  <a:pt x="1514" y="171"/>
                  <a:pt x="1514" y="171"/>
                  <a:pt x="1514" y="171"/>
                </a:cubicBezTo>
                <a:cubicBezTo>
                  <a:pt x="1489" y="179"/>
                  <a:pt x="1489" y="179"/>
                  <a:pt x="1489" y="179"/>
                </a:cubicBezTo>
                <a:cubicBezTo>
                  <a:pt x="1500" y="204"/>
                  <a:pt x="1500" y="204"/>
                  <a:pt x="1500" y="204"/>
                </a:cubicBezTo>
                <a:cubicBezTo>
                  <a:pt x="1467" y="236"/>
                  <a:pt x="1467" y="236"/>
                  <a:pt x="1467" y="236"/>
                </a:cubicBezTo>
                <a:cubicBezTo>
                  <a:pt x="1467" y="236"/>
                  <a:pt x="1449" y="215"/>
                  <a:pt x="1451" y="206"/>
                </a:cubicBezTo>
                <a:cubicBezTo>
                  <a:pt x="1446" y="213"/>
                  <a:pt x="1434" y="229"/>
                  <a:pt x="1434" y="234"/>
                </a:cubicBezTo>
                <a:cubicBezTo>
                  <a:pt x="1434" y="241"/>
                  <a:pt x="1417" y="230"/>
                  <a:pt x="1417" y="230"/>
                </a:cubicBezTo>
                <a:cubicBezTo>
                  <a:pt x="1390" y="256"/>
                  <a:pt x="1390" y="256"/>
                  <a:pt x="1390" y="256"/>
                </a:cubicBezTo>
                <a:cubicBezTo>
                  <a:pt x="1402" y="271"/>
                  <a:pt x="1402" y="271"/>
                  <a:pt x="1402" y="271"/>
                </a:cubicBezTo>
                <a:cubicBezTo>
                  <a:pt x="1388" y="285"/>
                  <a:pt x="1388" y="285"/>
                  <a:pt x="1388" y="285"/>
                </a:cubicBezTo>
                <a:cubicBezTo>
                  <a:pt x="1361" y="253"/>
                  <a:pt x="1361" y="253"/>
                  <a:pt x="1361" y="253"/>
                </a:cubicBezTo>
                <a:cubicBezTo>
                  <a:pt x="1356" y="294"/>
                  <a:pt x="1356" y="294"/>
                  <a:pt x="1356" y="294"/>
                </a:cubicBezTo>
                <a:cubicBezTo>
                  <a:pt x="1356" y="294"/>
                  <a:pt x="1342" y="279"/>
                  <a:pt x="1340" y="279"/>
                </a:cubicBezTo>
                <a:cubicBezTo>
                  <a:pt x="1339" y="279"/>
                  <a:pt x="1328" y="296"/>
                  <a:pt x="1328" y="296"/>
                </a:cubicBezTo>
                <a:cubicBezTo>
                  <a:pt x="1314" y="290"/>
                  <a:pt x="1314" y="290"/>
                  <a:pt x="1314" y="290"/>
                </a:cubicBezTo>
                <a:cubicBezTo>
                  <a:pt x="1296" y="315"/>
                  <a:pt x="1296" y="315"/>
                  <a:pt x="1296" y="315"/>
                </a:cubicBezTo>
                <a:cubicBezTo>
                  <a:pt x="1296" y="315"/>
                  <a:pt x="1302" y="334"/>
                  <a:pt x="1311" y="339"/>
                </a:cubicBezTo>
                <a:cubicBezTo>
                  <a:pt x="1319" y="343"/>
                  <a:pt x="1325" y="351"/>
                  <a:pt x="1325" y="351"/>
                </a:cubicBezTo>
                <a:cubicBezTo>
                  <a:pt x="1321" y="362"/>
                  <a:pt x="1321" y="362"/>
                  <a:pt x="1321" y="362"/>
                </a:cubicBezTo>
                <a:cubicBezTo>
                  <a:pt x="1321" y="362"/>
                  <a:pt x="1308" y="367"/>
                  <a:pt x="1299" y="361"/>
                </a:cubicBezTo>
                <a:cubicBezTo>
                  <a:pt x="1291" y="354"/>
                  <a:pt x="1283" y="347"/>
                  <a:pt x="1281" y="347"/>
                </a:cubicBezTo>
                <a:cubicBezTo>
                  <a:pt x="1279" y="347"/>
                  <a:pt x="1276" y="370"/>
                  <a:pt x="1276" y="370"/>
                </a:cubicBezTo>
                <a:cubicBezTo>
                  <a:pt x="1293" y="390"/>
                  <a:pt x="1293" y="390"/>
                  <a:pt x="1293" y="390"/>
                </a:cubicBezTo>
                <a:cubicBezTo>
                  <a:pt x="1302" y="412"/>
                  <a:pt x="1302" y="412"/>
                  <a:pt x="1302" y="412"/>
                </a:cubicBezTo>
                <a:cubicBezTo>
                  <a:pt x="1285" y="406"/>
                  <a:pt x="1285" y="406"/>
                  <a:pt x="1285" y="406"/>
                </a:cubicBezTo>
                <a:cubicBezTo>
                  <a:pt x="1261" y="378"/>
                  <a:pt x="1261" y="378"/>
                  <a:pt x="1261" y="378"/>
                </a:cubicBezTo>
                <a:cubicBezTo>
                  <a:pt x="1261" y="378"/>
                  <a:pt x="1245" y="395"/>
                  <a:pt x="1237" y="404"/>
                </a:cubicBezTo>
                <a:cubicBezTo>
                  <a:pt x="1228" y="414"/>
                  <a:pt x="1215" y="406"/>
                  <a:pt x="1212" y="418"/>
                </a:cubicBezTo>
                <a:cubicBezTo>
                  <a:pt x="1208" y="430"/>
                  <a:pt x="1210" y="472"/>
                  <a:pt x="1221" y="471"/>
                </a:cubicBezTo>
                <a:cubicBezTo>
                  <a:pt x="1231" y="471"/>
                  <a:pt x="1245" y="453"/>
                  <a:pt x="1245" y="453"/>
                </a:cubicBezTo>
                <a:cubicBezTo>
                  <a:pt x="1245" y="453"/>
                  <a:pt x="1242" y="478"/>
                  <a:pt x="1233" y="488"/>
                </a:cubicBezTo>
                <a:cubicBezTo>
                  <a:pt x="1224" y="498"/>
                  <a:pt x="1213" y="491"/>
                  <a:pt x="1212" y="502"/>
                </a:cubicBezTo>
                <a:cubicBezTo>
                  <a:pt x="1212" y="512"/>
                  <a:pt x="1213" y="520"/>
                  <a:pt x="1216" y="520"/>
                </a:cubicBezTo>
                <a:cubicBezTo>
                  <a:pt x="1218" y="520"/>
                  <a:pt x="1232" y="516"/>
                  <a:pt x="1244" y="519"/>
                </a:cubicBezTo>
                <a:cubicBezTo>
                  <a:pt x="1256" y="522"/>
                  <a:pt x="1279" y="532"/>
                  <a:pt x="1279" y="532"/>
                </a:cubicBezTo>
                <a:cubicBezTo>
                  <a:pt x="1279" y="532"/>
                  <a:pt x="1214" y="538"/>
                  <a:pt x="1203" y="536"/>
                </a:cubicBezTo>
                <a:cubicBezTo>
                  <a:pt x="1193" y="533"/>
                  <a:pt x="1201" y="517"/>
                  <a:pt x="1185" y="517"/>
                </a:cubicBezTo>
                <a:cubicBezTo>
                  <a:pt x="1169" y="518"/>
                  <a:pt x="1164" y="518"/>
                  <a:pt x="1161" y="520"/>
                </a:cubicBezTo>
                <a:cubicBezTo>
                  <a:pt x="1157" y="521"/>
                  <a:pt x="1165" y="532"/>
                  <a:pt x="1165" y="532"/>
                </a:cubicBezTo>
                <a:cubicBezTo>
                  <a:pt x="1147" y="532"/>
                  <a:pt x="1147" y="532"/>
                  <a:pt x="1147" y="532"/>
                </a:cubicBezTo>
                <a:cubicBezTo>
                  <a:pt x="1147" y="532"/>
                  <a:pt x="1136" y="504"/>
                  <a:pt x="1132" y="504"/>
                </a:cubicBezTo>
                <a:cubicBezTo>
                  <a:pt x="1127" y="504"/>
                  <a:pt x="1111" y="508"/>
                  <a:pt x="1113" y="516"/>
                </a:cubicBezTo>
                <a:cubicBezTo>
                  <a:pt x="1115" y="525"/>
                  <a:pt x="1135" y="532"/>
                  <a:pt x="1130" y="535"/>
                </a:cubicBezTo>
                <a:cubicBezTo>
                  <a:pt x="1126" y="538"/>
                  <a:pt x="1114" y="560"/>
                  <a:pt x="1115" y="563"/>
                </a:cubicBezTo>
                <a:cubicBezTo>
                  <a:pt x="1115" y="566"/>
                  <a:pt x="1134" y="599"/>
                  <a:pt x="1144" y="598"/>
                </a:cubicBezTo>
                <a:cubicBezTo>
                  <a:pt x="1153" y="598"/>
                  <a:pt x="1163" y="590"/>
                  <a:pt x="1163" y="590"/>
                </a:cubicBezTo>
                <a:cubicBezTo>
                  <a:pt x="1154" y="608"/>
                  <a:pt x="1154" y="608"/>
                  <a:pt x="1154" y="608"/>
                </a:cubicBezTo>
                <a:cubicBezTo>
                  <a:pt x="1166" y="639"/>
                  <a:pt x="1166" y="639"/>
                  <a:pt x="1166" y="639"/>
                </a:cubicBezTo>
                <a:cubicBezTo>
                  <a:pt x="1125" y="614"/>
                  <a:pt x="1125" y="614"/>
                  <a:pt x="1125" y="614"/>
                </a:cubicBezTo>
                <a:cubicBezTo>
                  <a:pt x="1125" y="614"/>
                  <a:pt x="1114" y="626"/>
                  <a:pt x="1125" y="642"/>
                </a:cubicBezTo>
                <a:cubicBezTo>
                  <a:pt x="1135" y="658"/>
                  <a:pt x="1124" y="687"/>
                  <a:pt x="1124" y="687"/>
                </a:cubicBezTo>
                <a:cubicBezTo>
                  <a:pt x="1044" y="571"/>
                  <a:pt x="1044" y="571"/>
                  <a:pt x="1044" y="571"/>
                </a:cubicBezTo>
                <a:cubicBezTo>
                  <a:pt x="1044" y="571"/>
                  <a:pt x="1044" y="556"/>
                  <a:pt x="1048" y="554"/>
                </a:cubicBezTo>
                <a:cubicBezTo>
                  <a:pt x="1051" y="551"/>
                  <a:pt x="1046" y="540"/>
                  <a:pt x="1044" y="540"/>
                </a:cubicBezTo>
                <a:cubicBezTo>
                  <a:pt x="1042" y="540"/>
                  <a:pt x="1037" y="560"/>
                  <a:pt x="1028" y="565"/>
                </a:cubicBezTo>
                <a:cubicBezTo>
                  <a:pt x="1019" y="571"/>
                  <a:pt x="1012" y="580"/>
                  <a:pt x="1012" y="582"/>
                </a:cubicBezTo>
                <a:cubicBezTo>
                  <a:pt x="1012" y="585"/>
                  <a:pt x="1023" y="596"/>
                  <a:pt x="1021" y="596"/>
                </a:cubicBezTo>
                <a:cubicBezTo>
                  <a:pt x="1020" y="596"/>
                  <a:pt x="1005" y="591"/>
                  <a:pt x="998" y="600"/>
                </a:cubicBezTo>
                <a:cubicBezTo>
                  <a:pt x="992" y="610"/>
                  <a:pt x="995" y="620"/>
                  <a:pt x="995" y="620"/>
                </a:cubicBezTo>
                <a:cubicBezTo>
                  <a:pt x="995" y="620"/>
                  <a:pt x="961" y="623"/>
                  <a:pt x="954" y="657"/>
                </a:cubicBezTo>
                <a:cubicBezTo>
                  <a:pt x="947" y="692"/>
                  <a:pt x="961" y="733"/>
                  <a:pt x="961" y="733"/>
                </a:cubicBezTo>
                <a:cubicBezTo>
                  <a:pt x="961" y="733"/>
                  <a:pt x="983" y="755"/>
                  <a:pt x="983" y="761"/>
                </a:cubicBezTo>
                <a:cubicBezTo>
                  <a:pt x="983" y="766"/>
                  <a:pt x="969" y="775"/>
                  <a:pt x="963" y="783"/>
                </a:cubicBezTo>
                <a:cubicBezTo>
                  <a:pt x="957" y="791"/>
                  <a:pt x="951" y="810"/>
                  <a:pt x="951" y="810"/>
                </a:cubicBezTo>
                <a:cubicBezTo>
                  <a:pt x="951" y="810"/>
                  <a:pt x="932" y="810"/>
                  <a:pt x="922" y="822"/>
                </a:cubicBezTo>
                <a:cubicBezTo>
                  <a:pt x="913" y="834"/>
                  <a:pt x="916" y="853"/>
                  <a:pt x="914" y="853"/>
                </a:cubicBezTo>
                <a:cubicBezTo>
                  <a:pt x="913" y="853"/>
                  <a:pt x="899" y="854"/>
                  <a:pt x="899" y="854"/>
                </a:cubicBezTo>
                <a:cubicBezTo>
                  <a:pt x="899" y="854"/>
                  <a:pt x="889" y="922"/>
                  <a:pt x="875" y="937"/>
                </a:cubicBezTo>
                <a:cubicBezTo>
                  <a:pt x="861" y="952"/>
                  <a:pt x="807" y="992"/>
                  <a:pt x="785" y="1007"/>
                </a:cubicBezTo>
                <a:cubicBezTo>
                  <a:pt x="763" y="1021"/>
                  <a:pt x="699" y="1036"/>
                  <a:pt x="697" y="1036"/>
                </a:cubicBezTo>
                <a:cubicBezTo>
                  <a:pt x="696" y="1037"/>
                  <a:pt x="675" y="1055"/>
                  <a:pt x="672" y="1053"/>
                </a:cubicBezTo>
                <a:cubicBezTo>
                  <a:pt x="670" y="1052"/>
                  <a:pt x="656" y="1043"/>
                  <a:pt x="646" y="1043"/>
                </a:cubicBezTo>
                <a:cubicBezTo>
                  <a:pt x="635" y="1043"/>
                  <a:pt x="628" y="1035"/>
                  <a:pt x="629" y="1033"/>
                </a:cubicBezTo>
                <a:cubicBezTo>
                  <a:pt x="630" y="1031"/>
                  <a:pt x="655" y="1027"/>
                  <a:pt x="655" y="1027"/>
                </a:cubicBezTo>
                <a:cubicBezTo>
                  <a:pt x="655" y="1027"/>
                  <a:pt x="628" y="1024"/>
                  <a:pt x="623" y="1032"/>
                </a:cubicBezTo>
                <a:cubicBezTo>
                  <a:pt x="618" y="1040"/>
                  <a:pt x="607" y="1058"/>
                  <a:pt x="604" y="1058"/>
                </a:cubicBezTo>
                <a:cubicBezTo>
                  <a:pt x="601" y="1058"/>
                  <a:pt x="600" y="1089"/>
                  <a:pt x="581" y="1092"/>
                </a:cubicBezTo>
                <a:cubicBezTo>
                  <a:pt x="562" y="1094"/>
                  <a:pt x="547" y="1098"/>
                  <a:pt x="547" y="1098"/>
                </a:cubicBezTo>
                <a:cubicBezTo>
                  <a:pt x="547" y="1098"/>
                  <a:pt x="534" y="1111"/>
                  <a:pt x="531" y="1111"/>
                </a:cubicBezTo>
                <a:cubicBezTo>
                  <a:pt x="528" y="1111"/>
                  <a:pt x="508" y="1109"/>
                  <a:pt x="508" y="1109"/>
                </a:cubicBezTo>
                <a:cubicBezTo>
                  <a:pt x="508" y="1109"/>
                  <a:pt x="480" y="1146"/>
                  <a:pt x="466" y="1152"/>
                </a:cubicBezTo>
                <a:cubicBezTo>
                  <a:pt x="452" y="1158"/>
                  <a:pt x="430" y="1168"/>
                  <a:pt x="430" y="1168"/>
                </a:cubicBezTo>
                <a:cubicBezTo>
                  <a:pt x="430" y="1168"/>
                  <a:pt x="414" y="1169"/>
                  <a:pt x="407" y="1168"/>
                </a:cubicBezTo>
                <a:cubicBezTo>
                  <a:pt x="400" y="1166"/>
                  <a:pt x="402" y="1153"/>
                  <a:pt x="390" y="1156"/>
                </a:cubicBezTo>
                <a:cubicBezTo>
                  <a:pt x="378" y="1159"/>
                  <a:pt x="362" y="1177"/>
                  <a:pt x="361" y="1172"/>
                </a:cubicBezTo>
                <a:cubicBezTo>
                  <a:pt x="359" y="1167"/>
                  <a:pt x="354" y="1147"/>
                  <a:pt x="359" y="1142"/>
                </a:cubicBezTo>
                <a:cubicBezTo>
                  <a:pt x="364" y="1136"/>
                  <a:pt x="355" y="1128"/>
                  <a:pt x="355" y="1128"/>
                </a:cubicBezTo>
                <a:cubicBezTo>
                  <a:pt x="355" y="1128"/>
                  <a:pt x="354" y="1148"/>
                  <a:pt x="346" y="1155"/>
                </a:cubicBezTo>
                <a:cubicBezTo>
                  <a:pt x="338" y="1161"/>
                  <a:pt x="312" y="1164"/>
                  <a:pt x="314" y="1164"/>
                </a:cubicBezTo>
                <a:cubicBezTo>
                  <a:pt x="316" y="1164"/>
                  <a:pt x="340" y="1169"/>
                  <a:pt x="331" y="1177"/>
                </a:cubicBezTo>
                <a:cubicBezTo>
                  <a:pt x="321" y="1184"/>
                  <a:pt x="309" y="1191"/>
                  <a:pt x="303" y="1194"/>
                </a:cubicBezTo>
                <a:cubicBezTo>
                  <a:pt x="297" y="1197"/>
                  <a:pt x="287" y="1204"/>
                  <a:pt x="286" y="1205"/>
                </a:cubicBezTo>
                <a:cubicBezTo>
                  <a:pt x="286" y="1207"/>
                  <a:pt x="269" y="1227"/>
                  <a:pt x="258" y="1233"/>
                </a:cubicBezTo>
                <a:cubicBezTo>
                  <a:pt x="247" y="1239"/>
                  <a:pt x="229" y="1267"/>
                  <a:pt x="225" y="1270"/>
                </a:cubicBezTo>
                <a:cubicBezTo>
                  <a:pt x="221" y="1272"/>
                  <a:pt x="210" y="1294"/>
                  <a:pt x="207" y="1297"/>
                </a:cubicBezTo>
                <a:cubicBezTo>
                  <a:pt x="203" y="1299"/>
                  <a:pt x="157" y="1326"/>
                  <a:pt x="140" y="1340"/>
                </a:cubicBezTo>
                <a:cubicBezTo>
                  <a:pt x="124" y="1354"/>
                  <a:pt x="107" y="1382"/>
                  <a:pt x="107" y="1391"/>
                </a:cubicBezTo>
                <a:cubicBezTo>
                  <a:pt x="107" y="1401"/>
                  <a:pt x="101" y="1438"/>
                  <a:pt x="101" y="1438"/>
                </a:cubicBezTo>
                <a:cubicBezTo>
                  <a:pt x="101" y="1438"/>
                  <a:pt x="86" y="1444"/>
                  <a:pt x="81" y="1445"/>
                </a:cubicBezTo>
                <a:cubicBezTo>
                  <a:pt x="76" y="1446"/>
                  <a:pt x="76" y="1434"/>
                  <a:pt x="73" y="1427"/>
                </a:cubicBezTo>
                <a:cubicBezTo>
                  <a:pt x="69" y="1420"/>
                  <a:pt x="64" y="1409"/>
                  <a:pt x="64" y="1405"/>
                </a:cubicBezTo>
                <a:cubicBezTo>
                  <a:pt x="64" y="1401"/>
                  <a:pt x="65" y="1356"/>
                  <a:pt x="65" y="1356"/>
                </a:cubicBezTo>
                <a:cubicBezTo>
                  <a:pt x="65" y="1356"/>
                  <a:pt x="64" y="1341"/>
                  <a:pt x="46" y="1366"/>
                </a:cubicBezTo>
                <a:cubicBezTo>
                  <a:pt x="29" y="1392"/>
                  <a:pt x="37" y="1429"/>
                  <a:pt x="37" y="1429"/>
                </a:cubicBezTo>
                <a:cubicBezTo>
                  <a:pt x="37" y="1429"/>
                  <a:pt x="12" y="1451"/>
                  <a:pt x="20" y="1466"/>
                </a:cubicBezTo>
                <a:cubicBezTo>
                  <a:pt x="28" y="1481"/>
                  <a:pt x="47" y="1506"/>
                  <a:pt x="47" y="1506"/>
                </a:cubicBezTo>
                <a:cubicBezTo>
                  <a:pt x="44" y="1532"/>
                  <a:pt x="44" y="1532"/>
                  <a:pt x="44" y="1532"/>
                </a:cubicBezTo>
                <a:cubicBezTo>
                  <a:pt x="44" y="1532"/>
                  <a:pt x="56" y="1548"/>
                  <a:pt x="54" y="1562"/>
                </a:cubicBezTo>
                <a:cubicBezTo>
                  <a:pt x="52" y="1576"/>
                  <a:pt x="31" y="1605"/>
                  <a:pt x="29" y="1614"/>
                </a:cubicBezTo>
                <a:cubicBezTo>
                  <a:pt x="26" y="1622"/>
                  <a:pt x="25" y="1698"/>
                  <a:pt x="25" y="1698"/>
                </a:cubicBezTo>
                <a:cubicBezTo>
                  <a:pt x="25" y="1698"/>
                  <a:pt x="64" y="1737"/>
                  <a:pt x="65" y="1746"/>
                </a:cubicBezTo>
                <a:cubicBezTo>
                  <a:pt x="66" y="1755"/>
                  <a:pt x="66" y="1767"/>
                  <a:pt x="69" y="1770"/>
                </a:cubicBezTo>
                <a:cubicBezTo>
                  <a:pt x="72" y="1773"/>
                  <a:pt x="89" y="1791"/>
                  <a:pt x="89" y="1791"/>
                </a:cubicBezTo>
                <a:cubicBezTo>
                  <a:pt x="99" y="1786"/>
                  <a:pt x="99" y="1786"/>
                  <a:pt x="99" y="1786"/>
                </a:cubicBezTo>
                <a:cubicBezTo>
                  <a:pt x="109" y="1804"/>
                  <a:pt x="109" y="1804"/>
                  <a:pt x="109" y="1804"/>
                </a:cubicBezTo>
                <a:cubicBezTo>
                  <a:pt x="108" y="1818"/>
                  <a:pt x="108" y="1818"/>
                  <a:pt x="108" y="1818"/>
                </a:cubicBezTo>
                <a:cubicBezTo>
                  <a:pt x="108" y="1818"/>
                  <a:pt x="162" y="1857"/>
                  <a:pt x="160" y="1866"/>
                </a:cubicBezTo>
                <a:cubicBezTo>
                  <a:pt x="158" y="1875"/>
                  <a:pt x="148" y="1882"/>
                  <a:pt x="148" y="1882"/>
                </a:cubicBezTo>
                <a:cubicBezTo>
                  <a:pt x="148" y="1882"/>
                  <a:pt x="154" y="1897"/>
                  <a:pt x="152" y="1903"/>
                </a:cubicBezTo>
                <a:cubicBezTo>
                  <a:pt x="150" y="1910"/>
                  <a:pt x="162" y="1919"/>
                  <a:pt x="162" y="1919"/>
                </a:cubicBezTo>
                <a:cubicBezTo>
                  <a:pt x="162" y="1919"/>
                  <a:pt x="148" y="1940"/>
                  <a:pt x="148" y="1938"/>
                </a:cubicBezTo>
                <a:cubicBezTo>
                  <a:pt x="148" y="1937"/>
                  <a:pt x="120" y="1897"/>
                  <a:pt x="118" y="1892"/>
                </a:cubicBezTo>
                <a:cubicBezTo>
                  <a:pt x="115" y="1887"/>
                  <a:pt x="107" y="1913"/>
                  <a:pt x="107" y="1913"/>
                </a:cubicBezTo>
                <a:cubicBezTo>
                  <a:pt x="120" y="1928"/>
                  <a:pt x="120" y="1928"/>
                  <a:pt x="120" y="1928"/>
                </a:cubicBezTo>
                <a:cubicBezTo>
                  <a:pt x="120" y="1928"/>
                  <a:pt x="129" y="1953"/>
                  <a:pt x="118" y="1959"/>
                </a:cubicBezTo>
                <a:cubicBezTo>
                  <a:pt x="107" y="1964"/>
                  <a:pt x="97" y="1966"/>
                  <a:pt x="97" y="1971"/>
                </a:cubicBezTo>
                <a:cubicBezTo>
                  <a:pt x="97" y="1976"/>
                  <a:pt x="95" y="1976"/>
                  <a:pt x="95" y="1976"/>
                </a:cubicBezTo>
                <a:cubicBezTo>
                  <a:pt x="95" y="1976"/>
                  <a:pt x="172" y="2057"/>
                  <a:pt x="175" y="2082"/>
                </a:cubicBezTo>
                <a:cubicBezTo>
                  <a:pt x="178" y="2107"/>
                  <a:pt x="174" y="2129"/>
                  <a:pt x="180" y="2134"/>
                </a:cubicBezTo>
                <a:cubicBezTo>
                  <a:pt x="186" y="2140"/>
                  <a:pt x="244" y="2185"/>
                  <a:pt x="250" y="2201"/>
                </a:cubicBezTo>
                <a:cubicBezTo>
                  <a:pt x="255" y="2217"/>
                  <a:pt x="245" y="2223"/>
                  <a:pt x="255" y="2233"/>
                </a:cubicBezTo>
                <a:cubicBezTo>
                  <a:pt x="266" y="2243"/>
                  <a:pt x="297" y="2275"/>
                  <a:pt x="299" y="2289"/>
                </a:cubicBezTo>
                <a:cubicBezTo>
                  <a:pt x="301" y="2303"/>
                  <a:pt x="315" y="2402"/>
                  <a:pt x="331" y="2430"/>
                </a:cubicBezTo>
                <a:cubicBezTo>
                  <a:pt x="347" y="2457"/>
                  <a:pt x="428" y="2575"/>
                  <a:pt x="428" y="2585"/>
                </a:cubicBezTo>
                <a:cubicBezTo>
                  <a:pt x="429" y="2595"/>
                  <a:pt x="435" y="2622"/>
                  <a:pt x="435" y="2622"/>
                </a:cubicBezTo>
                <a:cubicBezTo>
                  <a:pt x="435" y="2622"/>
                  <a:pt x="422" y="2627"/>
                  <a:pt x="423" y="2628"/>
                </a:cubicBezTo>
                <a:cubicBezTo>
                  <a:pt x="425" y="2629"/>
                  <a:pt x="443" y="2659"/>
                  <a:pt x="443" y="2659"/>
                </a:cubicBezTo>
                <a:cubicBezTo>
                  <a:pt x="433" y="2683"/>
                  <a:pt x="433" y="2683"/>
                  <a:pt x="433" y="2683"/>
                </a:cubicBezTo>
                <a:cubicBezTo>
                  <a:pt x="446" y="2698"/>
                  <a:pt x="446" y="2698"/>
                  <a:pt x="446" y="2698"/>
                </a:cubicBezTo>
                <a:cubicBezTo>
                  <a:pt x="434" y="2705"/>
                  <a:pt x="434" y="2705"/>
                  <a:pt x="434" y="2705"/>
                </a:cubicBezTo>
                <a:cubicBezTo>
                  <a:pt x="434" y="2705"/>
                  <a:pt x="445" y="2727"/>
                  <a:pt x="448" y="2736"/>
                </a:cubicBezTo>
                <a:cubicBezTo>
                  <a:pt x="451" y="2745"/>
                  <a:pt x="455" y="2779"/>
                  <a:pt x="439" y="2796"/>
                </a:cubicBezTo>
                <a:cubicBezTo>
                  <a:pt x="424" y="2812"/>
                  <a:pt x="417" y="2823"/>
                  <a:pt x="409" y="2819"/>
                </a:cubicBezTo>
                <a:cubicBezTo>
                  <a:pt x="400" y="2816"/>
                  <a:pt x="387" y="2802"/>
                  <a:pt x="387" y="2802"/>
                </a:cubicBezTo>
                <a:cubicBezTo>
                  <a:pt x="383" y="2825"/>
                  <a:pt x="383" y="2825"/>
                  <a:pt x="383" y="2825"/>
                </a:cubicBezTo>
                <a:cubicBezTo>
                  <a:pt x="383" y="2825"/>
                  <a:pt x="390" y="2908"/>
                  <a:pt x="405" y="2906"/>
                </a:cubicBezTo>
                <a:cubicBezTo>
                  <a:pt x="419" y="2905"/>
                  <a:pt x="410" y="2888"/>
                  <a:pt x="428" y="2896"/>
                </a:cubicBezTo>
                <a:cubicBezTo>
                  <a:pt x="447" y="2905"/>
                  <a:pt x="514" y="2955"/>
                  <a:pt x="514" y="2955"/>
                </a:cubicBezTo>
                <a:cubicBezTo>
                  <a:pt x="514" y="2955"/>
                  <a:pt x="537" y="2950"/>
                  <a:pt x="548" y="2954"/>
                </a:cubicBezTo>
                <a:cubicBezTo>
                  <a:pt x="559" y="2958"/>
                  <a:pt x="557" y="2966"/>
                  <a:pt x="576" y="2966"/>
                </a:cubicBezTo>
                <a:cubicBezTo>
                  <a:pt x="596" y="2966"/>
                  <a:pt x="619" y="2966"/>
                  <a:pt x="621" y="2965"/>
                </a:cubicBezTo>
                <a:cubicBezTo>
                  <a:pt x="623" y="2965"/>
                  <a:pt x="646" y="2957"/>
                  <a:pt x="655" y="2959"/>
                </a:cubicBezTo>
                <a:cubicBezTo>
                  <a:pt x="664" y="2960"/>
                  <a:pt x="680" y="2969"/>
                  <a:pt x="685" y="2967"/>
                </a:cubicBezTo>
                <a:cubicBezTo>
                  <a:pt x="690" y="2966"/>
                  <a:pt x="693" y="2954"/>
                  <a:pt x="712" y="2952"/>
                </a:cubicBezTo>
                <a:cubicBezTo>
                  <a:pt x="732" y="2950"/>
                  <a:pt x="737" y="2954"/>
                  <a:pt x="740" y="2950"/>
                </a:cubicBezTo>
                <a:cubicBezTo>
                  <a:pt x="742" y="2946"/>
                  <a:pt x="759" y="2934"/>
                  <a:pt x="763" y="2929"/>
                </a:cubicBezTo>
                <a:cubicBezTo>
                  <a:pt x="766" y="2925"/>
                  <a:pt x="767" y="2909"/>
                  <a:pt x="767" y="2909"/>
                </a:cubicBezTo>
                <a:cubicBezTo>
                  <a:pt x="767" y="2909"/>
                  <a:pt x="774" y="2911"/>
                  <a:pt x="786" y="2896"/>
                </a:cubicBezTo>
                <a:cubicBezTo>
                  <a:pt x="798" y="2881"/>
                  <a:pt x="785" y="2874"/>
                  <a:pt x="810" y="2867"/>
                </a:cubicBezTo>
                <a:cubicBezTo>
                  <a:pt x="835" y="2861"/>
                  <a:pt x="845" y="2872"/>
                  <a:pt x="849" y="2869"/>
                </a:cubicBezTo>
                <a:cubicBezTo>
                  <a:pt x="852" y="2866"/>
                  <a:pt x="869" y="2853"/>
                  <a:pt x="869" y="2851"/>
                </a:cubicBezTo>
                <a:cubicBezTo>
                  <a:pt x="869" y="2850"/>
                  <a:pt x="859" y="2843"/>
                  <a:pt x="870" y="2828"/>
                </a:cubicBezTo>
                <a:cubicBezTo>
                  <a:pt x="882" y="2814"/>
                  <a:pt x="910" y="2790"/>
                  <a:pt x="910" y="2790"/>
                </a:cubicBezTo>
                <a:cubicBezTo>
                  <a:pt x="910" y="2790"/>
                  <a:pt x="967" y="2791"/>
                  <a:pt x="968" y="2789"/>
                </a:cubicBezTo>
                <a:cubicBezTo>
                  <a:pt x="969" y="2786"/>
                  <a:pt x="999" y="2767"/>
                  <a:pt x="1014" y="2767"/>
                </a:cubicBezTo>
                <a:cubicBezTo>
                  <a:pt x="1029" y="2767"/>
                  <a:pt x="1060" y="2757"/>
                  <a:pt x="1071" y="2756"/>
                </a:cubicBezTo>
                <a:cubicBezTo>
                  <a:pt x="1083" y="2755"/>
                  <a:pt x="1084" y="2764"/>
                  <a:pt x="1098" y="2764"/>
                </a:cubicBezTo>
                <a:cubicBezTo>
                  <a:pt x="1112" y="2763"/>
                  <a:pt x="1133" y="2760"/>
                  <a:pt x="1133" y="2760"/>
                </a:cubicBezTo>
                <a:cubicBezTo>
                  <a:pt x="1133" y="2760"/>
                  <a:pt x="1138" y="2773"/>
                  <a:pt x="1146" y="2773"/>
                </a:cubicBezTo>
                <a:cubicBezTo>
                  <a:pt x="1155" y="2773"/>
                  <a:pt x="1151" y="2763"/>
                  <a:pt x="1168" y="2763"/>
                </a:cubicBezTo>
                <a:cubicBezTo>
                  <a:pt x="1185" y="2762"/>
                  <a:pt x="1220" y="2753"/>
                  <a:pt x="1220" y="2753"/>
                </a:cubicBezTo>
                <a:cubicBezTo>
                  <a:pt x="1239" y="2746"/>
                  <a:pt x="1239" y="2746"/>
                  <a:pt x="1239" y="2746"/>
                </a:cubicBezTo>
                <a:cubicBezTo>
                  <a:pt x="1239" y="2746"/>
                  <a:pt x="1257" y="2778"/>
                  <a:pt x="1258" y="2776"/>
                </a:cubicBezTo>
                <a:cubicBezTo>
                  <a:pt x="1258" y="2774"/>
                  <a:pt x="1273" y="2758"/>
                  <a:pt x="1273" y="2757"/>
                </a:cubicBezTo>
                <a:cubicBezTo>
                  <a:pt x="1273" y="2755"/>
                  <a:pt x="1299" y="2750"/>
                  <a:pt x="1299" y="2750"/>
                </a:cubicBezTo>
                <a:cubicBezTo>
                  <a:pt x="1330" y="2701"/>
                  <a:pt x="1330" y="2701"/>
                  <a:pt x="1330" y="2701"/>
                </a:cubicBezTo>
                <a:cubicBezTo>
                  <a:pt x="1330" y="2701"/>
                  <a:pt x="1338" y="2636"/>
                  <a:pt x="1358" y="2627"/>
                </a:cubicBezTo>
                <a:cubicBezTo>
                  <a:pt x="1377" y="2618"/>
                  <a:pt x="1393" y="2625"/>
                  <a:pt x="1413" y="2610"/>
                </a:cubicBezTo>
                <a:cubicBezTo>
                  <a:pt x="1433" y="2595"/>
                  <a:pt x="1450" y="2573"/>
                  <a:pt x="1463" y="2571"/>
                </a:cubicBezTo>
                <a:cubicBezTo>
                  <a:pt x="1475" y="2568"/>
                  <a:pt x="1483" y="2567"/>
                  <a:pt x="1486" y="2564"/>
                </a:cubicBezTo>
                <a:cubicBezTo>
                  <a:pt x="1489" y="2561"/>
                  <a:pt x="1531" y="2525"/>
                  <a:pt x="1531" y="2525"/>
                </a:cubicBezTo>
                <a:cubicBezTo>
                  <a:pt x="1563" y="2520"/>
                  <a:pt x="1563" y="2520"/>
                  <a:pt x="1563" y="2520"/>
                </a:cubicBezTo>
                <a:cubicBezTo>
                  <a:pt x="1580" y="2523"/>
                  <a:pt x="1580" y="2523"/>
                  <a:pt x="1580" y="2523"/>
                </a:cubicBezTo>
                <a:cubicBezTo>
                  <a:pt x="1580" y="2523"/>
                  <a:pt x="1669" y="2528"/>
                  <a:pt x="1680" y="2520"/>
                </a:cubicBezTo>
                <a:cubicBezTo>
                  <a:pt x="1690" y="2512"/>
                  <a:pt x="1728" y="2494"/>
                  <a:pt x="1738" y="2491"/>
                </a:cubicBezTo>
                <a:cubicBezTo>
                  <a:pt x="1749" y="2489"/>
                  <a:pt x="1762" y="2490"/>
                  <a:pt x="1774" y="2482"/>
                </a:cubicBezTo>
                <a:cubicBezTo>
                  <a:pt x="1786" y="2474"/>
                  <a:pt x="1834" y="2435"/>
                  <a:pt x="1854" y="2431"/>
                </a:cubicBezTo>
                <a:lnTo>
                  <a:pt x="1769" y="300"/>
                </a:lnTo>
                <a:close/>
                <a:moveTo>
                  <a:pt x="153" y="2242"/>
                </a:moveTo>
                <a:cubicBezTo>
                  <a:pt x="170" y="2229"/>
                  <a:pt x="170" y="2229"/>
                  <a:pt x="170" y="2229"/>
                </a:cubicBezTo>
                <a:cubicBezTo>
                  <a:pt x="160" y="2213"/>
                  <a:pt x="160" y="2213"/>
                  <a:pt x="160" y="2213"/>
                </a:cubicBezTo>
                <a:lnTo>
                  <a:pt x="153" y="2242"/>
                </a:lnTo>
                <a:close/>
                <a:moveTo>
                  <a:pt x="1400" y="159"/>
                </a:moveTo>
                <a:cubicBezTo>
                  <a:pt x="1400" y="150"/>
                  <a:pt x="1393" y="139"/>
                  <a:pt x="1382" y="150"/>
                </a:cubicBezTo>
                <a:cubicBezTo>
                  <a:pt x="1382" y="150"/>
                  <a:pt x="1400" y="169"/>
                  <a:pt x="1400" y="159"/>
                </a:cubicBezTo>
                <a:close/>
                <a:moveTo>
                  <a:pt x="1371" y="199"/>
                </a:moveTo>
                <a:cubicBezTo>
                  <a:pt x="1371" y="187"/>
                  <a:pt x="1371" y="187"/>
                  <a:pt x="1371" y="187"/>
                </a:cubicBezTo>
                <a:cubicBezTo>
                  <a:pt x="1354" y="199"/>
                  <a:pt x="1354" y="199"/>
                  <a:pt x="1354" y="199"/>
                </a:cubicBezTo>
                <a:cubicBezTo>
                  <a:pt x="1376" y="211"/>
                  <a:pt x="1376" y="211"/>
                  <a:pt x="1376" y="211"/>
                </a:cubicBezTo>
                <a:lnTo>
                  <a:pt x="1371" y="199"/>
                </a:lnTo>
                <a:close/>
                <a:moveTo>
                  <a:pt x="1264" y="350"/>
                </a:moveTo>
                <a:cubicBezTo>
                  <a:pt x="1278" y="347"/>
                  <a:pt x="1263" y="336"/>
                  <a:pt x="1260" y="343"/>
                </a:cubicBezTo>
                <a:cubicBezTo>
                  <a:pt x="1260" y="343"/>
                  <a:pt x="1251" y="352"/>
                  <a:pt x="1264" y="350"/>
                </a:cubicBezTo>
                <a:close/>
                <a:moveTo>
                  <a:pt x="1250" y="347"/>
                </a:moveTo>
                <a:cubicBezTo>
                  <a:pt x="1254" y="346"/>
                  <a:pt x="1245" y="328"/>
                  <a:pt x="1239" y="335"/>
                </a:cubicBezTo>
                <a:cubicBezTo>
                  <a:pt x="1239" y="335"/>
                  <a:pt x="1246" y="348"/>
                  <a:pt x="1250" y="347"/>
                </a:cubicBezTo>
                <a:close/>
                <a:moveTo>
                  <a:pt x="1401" y="219"/>
                </a:moveTo>
                <a:cubicBezTo>
                  <a:pt x="1420" y="219"/>
                  <a:pt x="1420" y="219"/>
                  <a:pt x="1420" y="219"/>
                </a:cubicBezTo>
                <a:cubicBezTo>
                  <a:pt x="1421" y="202"/>
                  <a:pt x="1421" y="202"/>
                  <a:pt x="1421" y="202"/>
                </a:cubicBezTo>
                <a:cubicBezTo>
                  <a:pt x="1404" y="195"/>
                  <a:pt x="1404" y="195"/>
                  <a:pt x="1404" y="195"/>
                </a:cubicBezTo>
                <a:cubicBezTo>
                  <a:pt x="1392" y="210"/>
                  <a:pt x="1392" y="210"/>
                  <a:pt x="1392" y="210"/>
                </a:cubicBezTo>
                <a:lnTo>
                  <a:pt x="1401" y="219"/>
                </a:lnTo>
                <a:close/>
                <a:moveTo>
                  <a:pt x="1206" y="389"/>
                </a:moveTo>
                <a:cubicBezTo>
                  <a:pt x="1206" y="389"/>
                  <a:pt x="1202" y="396"/>
                  <a:pt x="1215" y="396"/>
                </a:cubicBezTo>
                <a:cubicBezTo>
                  <a:pt x="1229" y="396"/>
                  <a:pt x="1235" y="388"/>
                  <a:pt x="1235" y="388"/>
                </a:cubicBezTo>
                <a:cubicBezTo>
                  <a:pt x="1211" y="377"/>
                  <a:pt x="1211" y="377"/>
                  <a:pt x="1211" y="377"/>
                </a:cubicBezTo>
                <a:cubicBezTo>
                  <a:pt x="1195" y="389"/>
                  <a:pt x="1195" y="389"/>
                  <a:pt x="1195" y="389"/>
                </a:cubicBezTo>
                <a:cubicBezTo>
                  <a:pt x="1185" y="389"/>
                  <a:pt x="1185" y="389"/>
                  <a:pt x="1185" y="389"/>
                </a:cubicBezTo>
                <a:cubicBezTo>
                  <a:pt x="1197" y="401"/>
                  <a:pt x="1197" y="401"/>
                  <a:pt x="1197" y="401"/>
                </a:cubicBezTo>
                <a:lnTo>
                  <a:pt x="1206" y="389"/>
                </a:lnTo>
                <a:close/>
                <a:moveTo>
                  <a:pt x="1009" y="0"/>
                </a:moveTo>
                <a:cubicBezTo>
                  <a:pt x="986" y="13"/>
                  <a:pt x="986" y="13"/>
                  <a:pt x="986" y="13"/>
                </a:cubicBezTo>
                <a:cubicBezTo>
                  <a:pt x="1008" y="18"/>
                  <a:pt x="1008" y="18"/>
                  <a:pt x="1008" y="18"/>
                </a:cubicBezTo>
                <a:lnTo>
                  <a:pt x="1009" y="0"/>
                </a:lnTo>
                <a:close/>
                <a:moveTo>
                  <a:pt x="1045" y="433"/>
                </a:moveTo>
                <a:cubicBezTo>
                  <a:pt x="1049" y="433"/>
                  <a:pt x="1060" y="445"/>
                  <a:pt x="1060" y="445"/>
                </a:cubicBezTo>
                <a:cubicBezTo>
                  <a:pt x="1066" y="425"/>
                  <a:pt x="1066" y="425"/>
                  <a:pt x="1066" y="425"/>
                </a:cubicBezTo>
                <a:cubicBezTo>
                  <a:pt x="1054" y="425"/>
                  <a:pt x="1054" y="425"/>
                  <a:pt x="1054" y="425"/>
                </a:cubicBezTo>
                <a:cubicBezTo>
                  <a:pt x="1044" y="417"/>
                  <a:pt x="1044" y="417"/>
                  <a:pt x="1044" y="417"/>
                </a:cubicBezTo>
                <a:cubicBezTo>
                  <a:pt x="1044" y="417"/>
                  <a:pt x="1041" y="433"/>
                  <a:pt x="1045" y="433"/>
                </a:cubicBezTo>
                <a:close/>
                <a:moveTo>
                  <a:pt x="1078" y="48"/>
                </a:moveTo>
                <a:cubicBezTo>
                  <a:pt x="1085" y="42"/>
                  <a:pt x="1066" y="37"/>
                  <a:pt x="1066" y="37"/>
                </a:cubicBezTo>
                <a:cubicBezTo>
                  <a:pt x="1062" y="44"/>
                  <a:pt x="1072" y="53"/>
                  <a:pt x="1078" y="48"/>
                </a:cubicBezTo>
                <a:close/>
                <a:moveTo>
                  <a:pt x="1113" y="424"/>
                </a:moveTo>
                <a:cubicBezTo>
                  <a:pt x="1113" y="417"/>
                  <a:pt x="1105" y="416"/>
                  <a:pt x="1098" y="416"/>
                </a:cubicBezTo>
                <a:cubicBezTo>
                  <a:pt x="1092" y="416"/>
                  <a:pt x="1113" y="431"/>
                  <a:pt x="1113" y="424"/>
                </a:cubicBez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39" name="Freeform 19" descr="© INSCALE GmbH, 05.05.2010&#10;http://www.presentationload.com/"/>
          <p:cNvSpPr>
            <a:spLocks noChangeAspect="1" noEditPoints="1"/>
          </p:cNvSpPr>
          <p:nvPr/>
        </p:nvSpPr>
        <p:spPr bwMode="auto">
          <a:xfrm>
            <a:off x="1243981" y="1150770"/>
            <a:ext cx="607568" cy="1034175"/>
          </a:xfrm>
          <a:custGeom>
            <a:avLst/>
            <a:gdLst/>
            <a:ahLst/>
            <a:cxnLst>
              <a:cxn ang="0">
                <a:pos x="909" y="315"/>
              </a:cxn>
              <a:cxn ang="0">
                <a:pos x="852" y="125"/>
              </a:cxn>
              <a:cxn ang="0">
                <a:pos x="900" y="87"/>
              </a:cxn>
              <a:cxn ang="0">
                <a:pos x="852" y="125"/>
              </a:cxn>
              <a:cxn ang="0">
                <a:pos x="311" y="73"/>
              </a:cxn>
              <a:cxn ang="0">
                <a:pos x="279" y="23"/>
              </a:cxn>
              <a:cxn ang="0">
                <a:pos x="242" y="40"/>
              </a:cxn>
              <a:cxn ang="0">
                <a:pos x="206" y="99"/>
              </a:cxn>
              <a:cxn ang="0">
                <a:pos x="182" y="87"/>
              </a:cxn>
              <a:cxn ang="0">
                <a:pos x="126" y="109"/>
              </a:cxn>
              <a:cxn ang="0">
                <a:pos x="977" y="611"/>
              </a:cxn>
              <a:cxn ang="0">
                <a:pos x="959" y="583"/>
              </a:cxn>
              <a:cxn ang="0">
                <a:pos x="963" y="430"/>
              </a:cxn>
              <a:cxn ang="0">
                <a:pos x="988" y="419"/>
              </a:cxn>
              <a:cxn ang="0">
                <a:pos x="973" y="351"/>
              </a:cxn>
              <a:cxn ang="0">
                <a:pos x="937" y="414"/>
              </a:cxn>
              <a:cxn ang="0">
                <a:pos x="996" y="611"/>
              </a:cxn>
              <a:cxn ang="0">
                <a:pos x="977" y="51"/>
              </a:cxn>
              <a:cxn ang="0">
                <a:pos x="927" y="361"/>
              </a:cxn>
              <a:cxn ang="0">
                <a:pos x="927" y="361"/>
              </a:cxn>
              <a:cxn ang="0">
                <a:pos x="1097" y="687"/>
              </a:cxn>
              <a:cxn ang="0">
                <a:pos x="968" y="628"/>
              </a:cxn>
              <a:cxn ang="0">
                <a:pos x="810" y="491"/>
              </a:cxn>
              <a:cxn ang="0">
                <a:pos x="889" y="366"/>
              </a:cxn>
              <a:cxn ang="0">
                <a:pos x="900" y="294"/>
              </a:cxn>
              <a:cxn ang="0">
                <a:pos x="940" y="296"/>
              </a:cxn>
              <a:cxn ang="0">
                <a:pos x="993" y="199"/>
              </a:cxn>
              <a:cxn ang="0">
                <a:pos x="967" y="131"/>
              </a:cxn>
              <a:cxn ang="0">
                <a:pos x="925" y="192"/>
              </a:cxn>
              <a:cxn ang="0">
                <a:pos x="884" y="152"/>
              </a:cxn>
              <a:cxn ang="0">
                <a:pos x="802" y="170"/>
              </a:cxn>
              <a:cxn ang="0">
                <a:pos x="709" y="140"/>
              </a:cxn>
              <a:cxn ang="0">
                <a:pos x="651" y="114"/>
              </a:cxn>
              <a:cxn ang="0">
                <a:pos x="586" y="108"/>
              </a:cxn>
              <a:cxn ang="0">
                <a:pos x="493" y="42"/>
              </a:cxn>
              <a:cxn ang="0">
                <a:pos x="452" y="0"/>
              </a:cxn>
              <a:cxn ang="0">
                <a:pos x="411" y="24"/>
              </a:cxn>
              <a:cxn ang="0">
                <a:pos x="374" y="43"/>
              </a:cxn>
              <a:cxn ang="0">
                <a:pos x="464" y="87"/>
              </a:cxn>
              <a:cxn ang="0">
                <a:pos x="440" y="149"/>
              </a:cxn>
              <a:cxn ang="0">
                <a:pos x="411" y="153"/>
              </a:cxn>
              <a:cxn ang="0">
                <a:pos x="353" y="169"/>
              </a:cxn>
              <a:cxn ang="0">
                <a:pos x="267" y="150"/>
              </a:cxn>
              <a:cxn ang="0">
                <a:pos x="220" y="193"/>
              </a:cxn>
              <a:cxn ang="0">
                <a:pos x="185" y="217"/>
              </a:cxn>
              <a:cxn ang="0">
                <a:pos x="145" y="292"/>
              </a:cxn>
              <a:cxn ang="0">
                <a:pos x="101" y="355"/>
              </a:cxn>
              <a:cxn ang="0">
                <a:pos x="103" y="467"/>
              </a:cxn>
              <a:cxn ang="0">
                <a:pos x="81" y="507"/>
              </a:cxn>
              <a:cxn ang="0">
                <a:pos x="30" y="556"/>
              </a:cxn>
              <a:cxn ang="0">
                <a:pos x="806" y="1914"/>
              </a:cxn>
            </a:cxnLst>
            <a:rect l="0" t="0" r="r" b="b"/>
            <a:pathLst>
              <a:path w="1131" h="1927">
                <a:moveTo>
                  <a:pt x="1017" y="637"/>
                </a:moveTo>
                <a:cubicBezTo>
                  <a:pt x="1025" y="640"/>
                  <a:pt x="1021" y="621"/>
                  <a:pt x="1021" y="621"/>
                </a:cubicBezTo>
                <a:cubicBezTo>
                  <a:pt x="1002" y="621"/>
                  <a:pt x="1009" y="635"/>
                  <a:pt x="1017" y="637"/>
                </a:cubicBezTo>
                <a:close/>
                <a:moveTo>
                  <a:pt x="909" y="315"/>
                </a:moveTo>
                <a:cubicBezTo>
                  <a:pt x="899" y="306"/>
                  <a:pt x="896" y="310"/>
                  <a:pt x="896" y="310"/>
                </a:cubicBezTo>
                <a:cubicBezTo>
                  <a:pt x="896" y="310"/>
                  <a:pt x="915" y="325"/>
                  <a:pt x="911" y="331"/>
                </a:cubicBezTo>
                <a:cubicBezTo>
                  <a:pt x="913" y="328"/>
                  <a:pt x="918" y="323"/>
                  <a:pt x="909" y="315"/>
                </a:cubicBezTo>
                <a:close/>
                <a:moveTo>
                  <a:pt x="852" y="125"/>
                </a:moveTo>
                <a:cubicBezTo>
                  <a:pt x="867" y="136"/>
                  <a:pt x="867" y="136"/>
                  <a:pt x="867" y="136"/>
                </a:cubicBezTo>
                <a:cubicBezTo>
                  <a:pt x="881" y="132"/>
                  <a:pt x="881" y="132"/>
                  <a:pt x="881" y="132"/>
                </a:cubicBezTo>
                <a:cubicBezTo>
                  <a:pt x="872" y="121"/>
                  <a:pt x="872" y="121"/>
                  <a:pt x="872" y="121"/>
                </a:cubicBezTo>
                <a:cubicBezTo>
                  <a:pt x="872" y="121"/>
                  <a:pt x="908" y="87"/>
                  <a:pt x="900" y="87"/>
                </a:cubicBezTo>
                <a:cubicBezTo>
                  <a:pt x="892" y="87"/>
                  <a:pt x="875" y="113"/>
                  <a:pt x="863" y="116"/>
                </a:cubicBezTo>
                <a:cubicBezTo>
                  <a:pt x="851" y="119"/>
                  <a:pt x="838" y="129"/>
                  <a:pt x="838" y="129"/>
                </a:cubicBezTo>
                <a:cubicBezTo>
                  <a:pt x="846" y="135"/>
                  <a:pt x="846" y="135"/>
                  <a:pt x="846" y="135"/>
                </a:cubicBezTo>
                <a:lnTo>
                  <a:pt x="852" y="125"/>
                </a:lnTo>
                <a:close/>
                <a:moveTo>
                  <a:pt x="206" y="99"/>
                </a:moveTo>
                <a:cubicBezTo>
                  <a:pt x="254" y="127"/>
                  <a:pt x="254" y="127"/>
                  <a:pt x="254" y="127"/>
                </a:cubicBezTo>
                <a:cubicBezTo>
                  <a:pt x="300" y="81"/>
                  <a:pt x="300" y="81"/>
                  <a:pt x="300" y="81"/>
                </a:cubicBezTo>
                <a:cubicBezTo>
                  <a:pt x="311" y="73"/>
                  <a:pt x="311" y="73"/>
                  <a:pt x="311" y="73"/>
                </a:cubicBezTo>
                <a:cubicBezTo>
                  <a:pt x="311" y="61"/>
                  <a:pt x="311" y="61"/>
                  <a:pt x="311" y="61"/>
                </a:cubicBezTo>
                <a:cubicBezTo>
                  <a:pt x="320" y="55"/>
                  <a:pt x="320" y="55"/>
                  <a:pt x="320" y="55"/>
                </a:cubicBezTo>
                <a:cubicBezTo>
                  <a:pt x="320" y="55"/>
                  <a:pt x="313" y="49"/>
                  <a:pt x="304" y="39"/>
                </a:cubicBezTo>
                <a:cubicBezTo>
                  <a:pt x="295" y="28"/>
                  <a:pt x="279" y="23"/>
                  <a:pt x="279" y="23"/>
                </a:cubicBezTo>
                <a:cubicBezTo>
                  <a:pt x="282" y="53"/>
                  <a:pt x="282" y="53"/>
                  <a:pt x="282" y="53"/>
                </a:cubicBezTo>
                <a:cubicBezTo>
                  <a:pt x="282" y="53"/>
                  <a:pt x="272" y="31"/>
                  <a:pt x="266" y="39"/>
                </a:cubicBezTo>
                <a:cubicBezTo>
                  <a:pt x="259" y="47"/>
                  <a:pt x="256" y="57"/>
                  <a:pt x="256" y="57"/>
                </a:cubicBezTo>
                <a:cubicBezTo>
                  <a:pt x="256" y="57"/>
                  <a:pt x="251" y="41"/>
                  <a:pt x="242" y="40"/>
                </a:cubicBezTo>
                <a:cubicBezTo>
                  <a:pt x="232" y="39"/>
                  <a:pt x="208" y="59"/>
                  <a:pt x="208" y="59"/>
                </a:cubicBezTo>
                <a:cubicBezTo>
                  <a:pt x="171" y="32"/>
                  <a:pt x="171" y="32"/>
                  <a:pt x="171" y="32"/>
                </a:cubicBezTo>
                <a:cubicBezTo>
                  <a:pt x="171" y="32"/>
                  <a:pt x="171" y="56"/>
                  <a:pt x="179" y="67"/>
                </a:cubicBezTo>
                <a:cubicBezTo>
                  <a:pt x="187" y="77"/>
                  <a:pt x="206" y="99"/>
                  <a:pt x="206" y="99"/>
                </a:cubicBezTo>
                <a:close/>
                <a:moveTo>
                  <a:pt x="126" y="109"/>
                </a:moveTo>
                <a:cubicBezTo>
                  <a:pt x="151" y="113"/>
                  <a:pt x="158" y="107"/>
                  <a:pt x="166" y="107"/>
                </a:cubicBezTo>
                <a:cubicBezTo>
                  <a:pt x="174" y="107"/>
                  <a:pt x="200" y="117"/>
                  <a:pt x="200" y="111"/>
                </a:cubicBezTo>
                <a:cubicBezTo>
                  <a:pt x="200" y="104"/>
                  <a:pt x="191" y="93"/>
                  <a:pt x="182" y="87"/>
                </a:cubicBezTo>
                <a:cubicBezTo>
                  <a:pt x="172" y="80"/>
                  <a:pt x="162" y="51"/>
                  <a:pt x="162" y="51"/>
                </a:cubicBezTo>
                <a:cubicBezTo>
                  <a:pt x="141" y="64"/>
                  <a:pt x="141" y="64"/>
                  <a:pt x="141" y="64"/>
                </a:cubicBezTo>
                <a:cubicBezTo>
                  <a:pt x="151" y="89"/>
                  <a:pt x="151" y="89"/>
                  <a:pt x="151" y="89"/>
                </a:cubicBezTo>
                <a:cubicBezTo>
                  <a:pt x="151" y="89"/>
                  <a:pt x="101" y="105"/>
                  <a:pt x="126" y="109"/>
                </a:cubicBezTo>
                <a:close/>
                <a:moveTo>
                  <a:pt x="959" y="108"/>
                </a:moveTo>
                <a:cubicBezTo>
                  <a:pt x="963" y="113"/>
                  <a:pt x="984" y="103"/>
                  <a:pt x="977" y="99"/>
                </a:cubicBezTo>
                <a:cubicBezTo>
                  <a:pt x="971" y="95"/>
                  <a:pt x="951" y="100"/>
                  <a:pt x="959" y="108"/>
                </a:cubicBezTo>
                <a:close/>
                <a:moveTo>
                  <a:pt x="977" y="611"/>
                </a:moveTo>
                <a:cubicBezTo>
                  <a:pt x="977" y="611"/>
                  <a:pt x="996" y="597"/>
                  <a:pt x="997" y="591"/>
                </a:cubicBezTo>
                <a:cubicBezTo>
                  <a:pt x="998" y="584"/>
                  <a:pt x="980" y="591"/>
                  <a:pt x="980" y="591"/>
                </a:cubicBezTo>
                <a:cubicBezTo>
                  <a:pt x="963" y="603"/>
                  <a:pt x="963" y="603"/>
                  <a:pt x="963" y="603"/>
                </a:cubicBezTo>
                <a:cubicBezTo>
                  <a:pt x="959" y="583"/>
                  <a:pt x="959" y="583"/>
                  <a:pt x="959" y="583"/>
                </a:cubicBezTo>
                <a:cubicBezTo>
                  <a:pt x="947" y="599"/>
                  <a:pt x="947" y="599"/>
                  <a:pt x="947" y="599"/>
                </a:cubicBezTo>
                <a:cubicBezTo>
                  <a:pt x="959" y="624"/>
                  <a:pt x="977" y="611"/>
                  <a:pt x="977" y="611"/>
                </a:cubicBezTo>
                <a:close/>
                <a:moveTo>
                  <a:pt x="943" y="422"/>
                </a:moveTo>
                <a:cubicBezTo>
                  <a:pt x="951" y="425"/>
                  <a:pt x="963" y="430"/>
                  <a:pt x="963" y="430"/>
                </a:cubicBezTo>
                <a:cubicBezTo>
                  <a:pt x="989" y="430"/>
                  <a:pt x="989" y="430"/>
                  <a:pt x="989" y="430"/>
                </a:cubicBezTo>
                <a:cubicBezTo>
                  <a:pt x="989" y="430"/>
                  <a:pt x="1002" y="435"/>
                  <a:pt x="1004" y="426"/>
                </a:cubicBezTo>
                <a:cubicBezTo>
                  <a:pt x="1005" y="417"/>
                  <a:pt x="1002" y="407"/>
                  <a:pt x="1002" y="407"/>
                </a:cubicBezTo>
                <a:cubicBezTo>
                  <a:pt x="988" y="419"/>
                  <a:pt x="988" y="419"/>
                  <a:pt x="988" y="419"/>
                </a:cubicBezTo>
                <a:cubicBezTo>
                  <a:pt x="972" y="405"/>
                  <a:pt x="972" y="405"/>
                  <a:pt x="972" y="405"/>
                </a:cubicBezTo>
                <a:cubicBezTo>
                  <a:pt x="1005" y="359"/>
                  <a:pt x="1005" y="359"/>
                  <a:pt x="1005" y="359"/>
                </a:cubicBezTo>
                <a:cubicBezTo>
                  <a:pt x="981" y="373"/>
                  <a:pt x="981" y="373"/>
                  <a:pt x="981" y="373"/>
                </a:cubicBezTo>
                <a:cubicBezTo>
                  <a:pt x="973" y="351"/>
                  <a:pt x="973" y="351"/>
                  <a:pt x="973" y="351"/>
                </a:cubicBezTo>
                <a:cubicBezTo>
                  <a:pt x="952" y="354"/>
                  <a:pt x="952" y="354"/>
                  <a:pt x="952" y="354"/>
                </a:cubicBezTo>
                <a:cubicBezTo>
                  <a:pt x="951" y="370"/>
                  <a:pt x="951" y="370"/>
                  <a:pt x="951" y="370"/>
                </a:cubicBezTo>
                <a:cubicBezTo>
                  <a:pt x="940" y="370"/>
                  <a:pt x="940" y="370"/>
                  <a:pt x="940" y="370"/>
                </a:cubicBezTo>
                <a:cubicBezTo>
                  <a:pt x="940" y="370"/>
                  <a:pt x="947" y="406"/>
                  <a:pt x="937" y="414"/>
                </a:cubicBezTo>
                <a:cubicBezTo>
                  <a:pt x="928" y="422"/>
                  <a:pt x="927" y="427"/>
                  <a:pt x="927" y="427"/>
                </a:cubicBezTo>
                <a:cubicBezTo>
                  <a:pt x="927" y="427"/>
                  <a:pt x="935" y="419"/>
                  <a:pt x="943" y="422"/>
                </a:cubicBezTo>
                <a:close/>
                <a:moveTo>
                  <a:pt x="1016" y="595"/>
                </a:moveTo>
                <a:cubicBezTo>
                  <a:pt x="1006" y="592"/>
                  <a:pt x="1002" y="603"/>
                  <a:pt x="996" y="611"/>
                </a:cubicBezTo>
                <a:cubicBezTo>
                  <a:pt x="996" y="611"/>
                  <a:pt x="1004" y="611"/>
                  <a:pt x="1008" y="609"/>
                </a:cubicBezTo>
                <a:cubicBezTo>
                  <a:pt x="1012" y="608"/>
                  <a:pt x="1025" y="597"/>
                  <a:pt x="1016" y="595"/>
                </a:cubicBezTo>
                <a:close/>
                <a:moveTo>
                  <a:pt x="917" y="91"/>
                </a:moveTo>
                <a:cubicBezTo>
                  <a:pt x="917" y="91"/>
                  <a:pt x="960" y="73"/>
                  <a:pt x="977" y="51"/>
                </a:cubicBezTo>
                <a:cubicBezTo>
                  <a:pt x="994" y="28"/>
                  <a:pt x="996" y="4"/>
                  <a:pt x="996" y="4"/>
                </a:cubicBezTo>
                <a:cubicBezTo>
                  <a:pt x="996" y="4"/>
                  <a:pt x="984" y="28"/>
                  <a:pt x="972" y="40"/>
                </a:cubicBezTo>
                <a:cubicBezTo>
                  <a:pt x="960" y="52"/>
                  <a:pt x="903" y="83"/>
                  <a:pt x="917" y="91"/>
                </a:cubicBezTo>
                <a:close/>
                <a:moveTo>
                  <a:pt x="927" y="361"/>
                </a:moveTo>
                <a:cubicBezTo>
                  <a:pt x="915" y="349"/>
                  <a:pt x="915" y="349"/>
                  <a:pt x="915" y="349"/>
                </a:cubicBezTo>
                <a:cubicBezTo>
                  <a:pt x="904" y="354"/>
                  <a:pt x="904" y="354"/>
                  <a:pt x="904" y="354"/>
                </a:cubicBezTo>
                <a:cubicBezTo>
                  <a:pt x="916" y="367"/>
                  <a:pt x="916" y="367"/>
                  <a:pt x="916" y="367"/>
                </a:cubicBezTo>
                <a:lnTo>
                  <a:pt x="927" y="361"/>
                </a:lnTo>
                <a:close/>
                <a:moveTo>
                  <a:pt x="844" y="511"/>
                </a:moveTo>
                <a:cubicBezTo>
                  <a:pt x="854" y="511"/>
                  <a:pt x="864" y="512"/>
                  <a:pt x="856" y="502"/>
                </a:cubicBezTo>
                <a:cubicBezTo>
                  <a:pt x="848" y="491"/>
                  <a:pt x="844" y="511"/>
                  <a:pt x="844" y="511"/>
                </a:cubicBezTo>
                <a:close/>
                <a:moveTo>
                  <a:pt x="1097" y="687"/>
                </a:moveTo>
                <a:cubicBezTo>
                  <a:pt x="1084" y="681"/>
                  <a:pt x="1060" y="676"/>
                  <a:pt x="1060" y="676"/>
                </a:cubicBezTo>
                <a:cubicBezTo>
                  <a:pt x="1060" y="676"/>
                  <a:pt x="1015" y="646"/>
                  <a:pt x="1013" y="644"/>
                </a:cubicBezTo>
                <a:cubicBezTo>
                  <a:pt x="1011" y="642"/>
                  <a:pt x="988" y="650"/>
                  <a:pt x="977" y="646"/>
                </a:cubicBezTo>
                <a:cubicBezTo>
                  <a:pt x="967" y="642"/>
                  <a:pt x="968" y="628"/>
                  <a:pt x="968" y="628"/>
                </a:cubicBezTo>
                <a:cubicBezTo>
                  <a:pt x="919" y="595"/>
                  <a:pt x="919" y="595"/>
                  <a:pt x="919" y="595"/>
                </a:cubicBezTo>
                <a:cubicBezTo>
                  <a:pt x="911" y="574"/>
                  <a:pt x="911" y="574"/>
                  <a:pt x="911" y="574"/>
                </a:cubicBezTo>
                <a:cubicBezTo>
                  <a:pt x="911" y="574"/>
                  <a:pt x="840" y="529"/>
                  <a:pt x="839" y="528"/>
                </a:cubicBezTo>
                <a:cubicBezTo>
                  <a:pt x="837" y="527"/>
                  <a:pt x="806" y="498"/>
                  <a:pt x="810" y="491"/>
                </a:cubicBezTo>
                <a:cubicBezTo>
                  <a:pt x="814" y="484"/>
                  <a:pt x="831" y="475"/>
                  <a:pt x="831" y="475"/>
                </a:cubicBezTo>
                <a:cubicBezTo>
                  <a:pt x="831" y="475"/>
                  <a:pt x="825" y="465"/>
                  <a:pt x="832" y="459"/>
                </a:cubicBezTo>
                <a:cubicBezTo>
                  <a:pt x="839" y="454"/>
                  <a:pt x="862" y="424"/>
                  <a:pt x="870" y="420"/>
                </a:cubicBezTo>
                <a:cubicBezTo>
                  <a:pt x="878" y="416"/>
                  <a:pt x="890" y="378"/>
                  <a:pt x="889" y="366"/>
                </a:cubicBezTo>
                <a:cubicBezTo>
                  <a:pt x="888" y="354"/>
                  <a:pt x="866" y="352"/>
                  <a:pt x="869" y="338"/>
                </a:cubicBezTo>
                <a:cubicBezTo>
                  <a:pt x="872" y="325"/>
                  <a:pt x="882" y="320"/>
                  <a:pt x="882" y="317"/>
                </a:cubicBezTo>
                <a:cubicBezTo>
                  <a:pt x="882" y="315"/>
                  <a:pt x="869" y="296"/>
                  <a:pt x="884" y="297"/>
                </a:cubicBezTo>
                <a:cubicBezTo>
                  <a:pt x="898" y="297"/>
                  <a:pt x="900" y="294"/>
                  <a:pt x="900" y="294"/>
                </a:cubicBezTo>
                <a:cubicBezTo>
                  <a:pt x="916" y="287"/>
                  <a:pt x="916" y="287"/>
                  <a:pt x="916" y="287"/>
                </a:cubicBezTo>
                <a:cubicBezTo>
                  <a:pt x="917" y="293"/>
                  <a:pt x="917" y="293"/>
                  <a:pt x="917" y="293"/>
                </a:cubicBezTo>
                <a:cubicBezTo>
                  <a:pt x="930" y="278"/>
                  <a:pt x="930" y="278"/>
                  <a:pt x="930" y="278"/>
                </a:cubicBezTo>
                <a:cubicBezTo>
                  <a:pt x="930" y="278"/>
                  <a:pt x="939" y="298"/>
                  <a:pt x="940" y="296"/>
                </a:cubicBezTo>
                <a:cubicBezTo>
                  <a:pt x="941" y="295"/>
                  <a:pt x="963" y="278"/>
                  <a:pt x="963" y="273"/>
                </a:cubicBezTo>
                <a:cubicBezTo>
                  <a:pt x="963" y="269"/>
                  <a:pt x="970" y="261"/>
                  <a:pt x="970" y="261"/>
                </a:cubicBezTo>
                <a:cubicBezTo>
                  <a:pt x="955" y="245"/>
                  <a:pt x="955" y="245"/>
                  <a:pt x="955" y="245"/>
                </a:cubicBezTo>
                <a:cubicBezTo>
                  <a:pt x="993" y="199"/>
                  <a:pt x="993" y="199"/>
                  <a:pt x="993" y="199"/>
                </a:cubicBezTo>
                <a:cubicBezTo>
                  <a:pt x="993" y="199"/>
                  <a:pt x="1021" y="184"/>
                  <a:pt x="1019" y="182"/>
                </a:cubicBezTo>
                <a:cubicBezTo>
                  <a:pt x="1018" y="181"/>
                  <a:pt x="1005" y="160"/>
                  <a:pt x="1005" y="160"/>
                </a:cubicBezTo>
                <a:cubicBezTo>
                  <a:pt x="976" y="173"/>
                  <a:pt x="976" y="173"/>
                  <a:pt x="976" y="173"/>
                </a:cubicBezTo>
                <a:cubicBezTo>
                  <a:pt x="976" y="173"/>
                  <a:pt x="972" y="136"/>
                  <a:pt x="967" y="131"/>
                </a:cubicBezTo>
                <a:cubicBezTo>
                  <a:pt x="962" y="126"/>
                  <a:pt x="951" y="124"/>
                  <a:pt x="944" y="129"/>
                </a:cubicBezTo>
                <a:cubicBezTo>
                  <a:pt x="937" y="133"/>
                  <a:pt x="919" y="153"/>
                  <a:pt x="919" y="153"/>
                </a:cubicBezTo>
                <a:cubicBezTo>
                  <a:pt x="940" y="166"/>
                  <a:pt x="940" y="166"/>
                  <a:pt x="940" y="166"/>
                </a:cubicBezTo>
                <a:cubicBezTo>
                  <a:pt x="940" y="166"/>
                  <a:pt x="933" y="192"/>
                  <a:pt x="925" y="192"/>
                </a:cubicBezTo>
                <a:cubicBezTo>
                  <a:pt x="916" y="192"/>
                  <a:pt x="899" y="196"/>
                  <a:pt x="897" y="193"/>
                </a:cubicBezTo>
                <a:cubicBezTo>
                  <a:pt x="894" y="190"/>
                  <a:pt x="887" y="177"/>
                  <a:pt x="887" y="177"/>
                </a:cubicBezTo>
                <a:cubicBezTo>
                  <a:pt x="897" y="170"/>
                  <a:pt x="897" y="170"/>
                  <a:pt x="897" y="170"/>
                </a:cubicBezTo>
                <a:cubicBezTo>
                  <a:pt x="884" y="152"/>
                  <a:pt x="884" y="152"/>
                  <a:pt x="884" y="152"/>
                </a:cubicBezTo>
                <a:cubicBezTo>
                  <a:pt x="884" y="152"/>
                  <a:pt x="864" y="173"/>
                  <a:pt x="858" y="171"/>
                </a:cubicBezTo>
                <a:cubicBezTo>
                  <a:pt x="852" y="170"/>
                  <a:pt x="849" y="147"/>
                  <a:pt x="847" y="147"/>
                </a:cubicBezTo>
                <a:cubicBezTo>
                  <a:pt x="846" y="147"/>
                  <a:pt x="818" y="132"/>
                  <a:pt x="810" y="142"/>
                </a:cubicBezTo>
                <a:cubicBezTo>
                  <a:pt x="801" y="152"/>
                  <a:pt x="802" y="170"/>
                  <a:pt x="802" y="170"/>
                </a:cubicBezTo>
                <a:cubicBezTo>
                  <a:pt x="768" y="169"/>
                  <a:pt x="768" y="169"/>
                  <a:pt x="768" y="169"/>
                </a:cubicBezTo>
                <a:cubicBezTo>
                  <a:pt x="748" y="144"/>
                  <a:pt x="748" y="144"/>
                  <a:pt x="748" y="144"/>
                </a:cubicBezTo>
                <a:cubicBezTo>
                  <a:pt x="729" y="125"/>
                  <a:pt x="729" y="125"/>
                  <a:pt x="729" y="125"/>
                </a:cubicBezTo>
                <a:cubicBezTo>
                  <a:pt x="729" y="125"/>
                  <a:pt x="712" y="140"/>
                  <a:pt x="709" y="140"/>
                </a:cubicBezTo>
                <a:cubicBezTo>
                  <a:pt x="707" y="140"/>
                  <a:pt x="696" y="143"/>
                  <a:pt x="692" y="140"/>
                </a:cubicBezTo>
                <a:cubicBezTo>
                  <a:pt x="687" y="136"/>
                  <a:pt x="675" y="127"/>
                  <a:pt x="673" y="127"/>
                </a:cubicBezTo>
                <a:cubicBezTo>
                  <a:pt x="672" y="128"/>
                  <a:pt x="662" y="139"/>
                  <a:pt x="662" y="137"/>
                </a:cubicBezTo>
                <a:cubicBezTo>
                  <a:pt x="661" y="135"/>
                  <a:pt x="657" y="116"/>
                  <a:pt x="651" y="114"/>
                </a:cubicBezTo>
                <a:cubicBezTo>
                  <a:pt x="646" y="111"/>
                  <a:pt x="631" y="119"/>
                  <a:pt x="630" y="119"/>
                </a:cubicBezTo>
                <a:cubicBezTo>
                  <a:pt x="628" y="118"/>
                  <a:pt x="614" y="113"/>
                  <a:pt x="615" y="110"/>
                </a:cubicBezTo>
                <a:cubicBezTo>
                  <a:pt x="617" y="107"/>
                  <a:pt x="644" y="106"/>
                  <a:pt x="631" y="99"/>
                </a:cubicBezTo>
                <a:cubicBezTo>
                  <a:pt x="618" y="92"/>
                  <a:pt x="586" y="108"/>
                  <a:pt x="586" y="108"/>
                </a:cubicBezTo>
                <a:cubicBezTo>
                  <a:pt x="586" y="108"/>
                  <a:pt x="559" y="97"/>
                  <a:pt x="555" y="93"/>
                </a:cubicBezTo>
                <a:cubicBezTo>
                  <a:pt x="551" y="89"/>
                  <a:pt x="534" y="100"/>
                  <a:pt x="527" y="91"/>
                </a:cubicBezTo>
                <a:cubicBezTo>
                  <a:pt x="519" y="81"/>
                  <a:pt x="513" y="57"/>
                  <a:pt x="506" y="51"/>
                </a:cubicBezTo>
                <a:cubicBezTo>
                  <a:pt x="498" y="46"/>
                  <a:pt x="493" y="42"/>
                  <a:pt x="493" y="42"/>
                </a:cubicBezTo>
                <a:cubicBezTo>
                  <a:pt x="493" y="42"/>
                  <a:pt x="471" y="70"/>
                  <a:pt x="467" y="66"/>
                </a:cubicBezTo>
                <a:cubicBezTo>
                  <a:pt x="463" y="62"/>
                  <a:pt x="451" y="48"/>
                  <a:pt x="449" y="44"/>
                </a:cubicBezTo>
                <a:cubicBezTo>
                  <a:pt x="448" y="40"/>
                  <a:pt x="463" y="31"/>
                  <a:pt x="461" y="22"/>
                </a:cubicBezTo>
                <a:cubicBezTo>
                  <a:pt x="458" y="14"/>
                  <a:pt x="452" y="0"/>
                  <a:pt x="452" y="0"/>
                </a:cubicBezTo>
                <a:cubicBezTo>
                  <a:pt x="443" y="11"/>
                  <a:pt x="443" y="11"/>
                  <a:pt x="443" y="11"/>
                </a:cubicBezTo>
                <a:cubicBezTo>
                  <a:pt x="443" y="11"/>
                  <a:pt x="440" y="37"/>
                  <a:pt x="434" y="32"/>
                </a:cubicBezTo>
                <a:cubicBezTo>
                  <a:pt x="428" y="27"/>
                  <a:pt x="418" y="14"/>
                  <a:pt x="416" y="16"/>
                </a:cubicBezTo>
                <a:cubicBezTo>
                  <a:pt x="413" y="17"/>
                  <a:pt x="412" y="26"/>
                  <a:pt x="411" y="24"/>
                </a:cubicBezTo>
                <a:cubicBezTo>
                  <a:pt x="409" y="22"/>
                  <a:pt x="396" y="16"/>
                  <a:pt x="394" y="16"/>
                </a:cubicBezTo>
                <a:cubicBezTo>
                  <a:pt x="392" y="16"/>
                  <a:pt x="391" y="29"/>
                  <a:pt x="389" y="29"/>
                </a:cubicBezTo>
                <a:cubicBezTo>
                  <a:pt x="388" y="29"/>
                  <a:pt x="382" y="18"/>
                  <a:pt x="377" y="21"/>
                </a:cubicBezTo>
                <a:cubicBezTo>
                  <a:pt x="372" y="25"/>
                  <a:pt x="361" y="35"/>
                  <a:pt x="374" y="43"/>
                </a:cubicBezTo>
                <a:cubicBezTo>
                  <a:pt x="386" y="50"/>
                  <a:pt x="388" y="55"/>
                  <a:pt x="399" y="39"/>
                </a:cubicBezTo>
                <a:cubicBezTo>
                  <a:pt x="419" y="71"/>
                  <a:pt x="419" y="71"/>
                  <a:pt x="419" y="71"/>
                </a:cubicBezTo>
                <a:cubicBezTo>
                  <a:pt x="419" y="71"/>
                  <a:pt x="425" y="51"/>
                  <a:pt x="434" y="56"/>
                </a:cubicBezTo>
                <a:cubicBezTo>
                  <a:pt x="443" y="61"/>
                  <a:pt x="464" y="87"/>
                  <a:pt x="464" y="87"/>
                </a:cubicBezTo>
                <a:cubicBezTo>
                  <a:pt x="451" y="93"/>
                  <a:pt x="451" y="93"/>
                  <a:pt x="451" y="93"/>
                </a:cubicBezTo>
                <a:cubicBezTo>
                  <a:pt x="462" y="115"/>
                  <a:pt x="462" y="115"/>
                  <a:pt x="462" y="115"/>
                </a:cubicBezTo>
                <a:cubicBezTo>
                  <a:pt x="462" y="115"/>
                  <a:pt x="448" y="133"/>
                  <a:pt x="462" y="144"/>
                </a:cubicBezTo>
                <a:cubicBezTo>
                  <a:pt x="476" y="155"/>
                  <a:pt x="440" y="149"/>
                  <a:pt x="440" y="149"/>
                </a:cubicBezTo>
                <a:cubicBezTo>
                  <a:pt x="422" y="141"/>
                  <a:pt x="422" y="141"/>
                  <a:pt x="422" y="141"/>
                </a:cubicBezTo>
                <a:cubicBezTo>
                  <a:pt x="434" y="165"/>
                  <a:pt x="434" y="165"/>
                  <a:pt x="434" y="165"/>
                </a:cubicBezTo>
                <a:cubicBezTo>
                  <a:pt x="429" y="177"/>
                  <a:pt x="429" y="177"/>
                  <a:pt x="429" y="177"/>
                </a:cubicBezTo>
                <a:cubicBezTo>
                  <a:pt x="429" y="177"/>
                  <a:pt x="415" y="155"/>
                  <a:pt x="411" y="153"/>
                </a:cubicBezTo>
                <a:cubicBezTo>
                  <a:pt x="407" y="151"/>
                  <a:pt x="397" y="171"/>
                  <a:pt x="388" y="171"/>
                </a:cubicBezTo>
                <a:cubicBezTo>
                  <a:pt x="380" y="171"/>
                  <a:pt x="372" y="169"/>
                  <a:pt x="372" y="169"/>
                </a:cubicBezTo>
                <a:cubicBezTo>
                  <a:pt x="364" y="160"/>
                  <a:pt x="364" y="160"/>
                  <a:pt x="364" y="160"/>
                </a:cubicBezTo>
                <a:cubicBezTo>
                  <a:pt x="353" y="169"/>
                  <a:pt x="353" y="169"/>
                  <a:pt x="353" y="169"/>
                </a:cubicBezTo>
                <a:cubicBezTo>
                  <a:pt x="300" y="166"/>
                  <a:pt x="300" y="166"/>
                  <a:pt x="300" y="166"/>
                </a:cubicBezTo>
                <a:cubicBezTo>
                  <a:pt x="288" y="138"/>
                  <a:pt x="288" y="138"/>
                  <a:pt x="288" y="138"/>
                </a:cubicBezTo>
                <a:cubicBezTo>
                  <a:pt x="282" y="165"/>
                  <a:pt x="282" y="165"/>
                  <a:pt x="282" y="165"/>
                </a:cubicBezTo>
                <a:cubicBezTo>
                  <a:pt x="282" y="165"/>
                  <a:pt x="277" y="151"/>
                  <a:pt x="267" y="150"/>
                </a:cubicBezTo>
                <a:cubicBezTo>
                  <a:pt x="256" y="149"/>
                  <a:pt x="258" y="176"/>
                  <a:pt x="257" y="177"/>
                </a:cubicBezTo>
                <a:cubicBezTo>
                  <a:pt x="255" y="178"/>
                  <a:pt x="241" y="202"/>
                  <a:pt x="241" y="202"/>
                </a:cubicBezTo>
                <a:cubicBezTo>
                  <a:pt x="243" y="217"/>
                  <a:pt x="243" y="217"/>
                  <a:pt x="243" y="217"/>
                </a:cubicBezTo>
                <a:cubicBezTo>
                  <a:pt x="243" y="217"/>
                  <a:pt x="220" y="194"/>
                  <a:pt x="220" y="193"/>
                </a:cubicBezTo>
                <a:cubicBezTo>
                  <a:pt x="219" y="191"/>
                  <a:pt x="211" y="179"/>
                  <a:pt x="209" y="179"/>
                </a:cubicBezTo>
                <a:cubicBezTo>
                  <a:pt x="208" y="180"/>
                  <a:pt x="202" y="206"/>
                  <a:pt x="201" y="209"/>
                </a:cubicBezTo>
                <a:cubicBezTo>
                  <a:pt x="199" y="212"/>
                  <a:pt x="211" y="231"/>
                  <a:pt x="211" y="231"/>
                </a:cubicBezTo>
                <a:cubicBezTo>
                  <a:pt x="211" y="231"/>
                  <a:pt x="189" y="214"/>
                  <a:pt x="185" y="217"/>
                </a:cubicBezTo>
                <a:cubicBezTo>
                  <a:pt x="180" y="221"/>
                  <a:pt x="171" y="226"/>
                  <a:pt x="171" y="227"/>
                </a:cubicBezTo>
                <a:cubicBezTo>
                  <a:pt x="170" y="229"/>
                  <a:pt x="169" y="257"/>
                  <a:pt x="169" y="257"/>
                </a:cubicBezTo>
                <a:cubicBezTo>
                  <a:pt x="146" y="257"/>
                  <a:pt x="146" y="257"/>
                  <a:pt x="146" y="257"/>
                </a:cubicBezTo>
                <a:cubicBezTo>
                  <a:pt x="145" y="292"/>
                  <a:pt x="145" y="292"/>
                  <a:pt x="145" y="292"/>
                </a:cubicBezTo>
                <a:cubicBezTo>
                  <a:pt x="145" y="292"/>
                  <a:pt x="170" y="306"/>
                  <a:pt x="168" y="306"/>
                </a:cubicBezTo>
                <a:cubicBezTo>
                  <a:pt x="166" y="306"/>
                  <a:pt x="130" y="335"/>
                  <a:pt x="130" y="335"/>
                </a:cubicBezTo>
                <a:cubicBezTo>
                  <a:pt x="115" y="320"/>
                  <a:pt x="115" y="320"/>
                  <a:pt x="115" y="320"/>
                </a:cubicBezTo>
                <a:cubicBezTo>
                  <a:pt x="115" y="320"/>
                  <a:pt x="101" y="339"/>
                  <a:pt x="101" y="355"/>
                </a:cubicBezTo>
                <a:cubicBezTo>
                  <a:pt x="102" y="371"/>
                  <a:pt x="94" y="396"/>
                  <a:pt x="94" y="396"/>
                </a:cubicBezTo>
                <a:cubicBezTo>
                  <a:pt x="94" y="396"/>
                  <a:pt x="33" y="439"/>
                  <a:pt x="51" y="452"/>
                </a:cubicBezTo>
                <a:cubicBezTo>
                  <a:pt x="69" y="465"/>
                  <a:pt x="85" y="475"/>
                  <a:pt x="85" y="475"/>
                </a:cubicBezTo>
                <a:cubicBezTo>
                  <a:pt x="85" y="475"/>
                  <a:pt x="99" y="470"/>
                  <a:pt x="103" y="467"/>
                </a:cubicBezTo>
                <a:cubicBezTo>
                  <a:pt x="98" y="471"/>
                  <a:pt x="81" y="487"/>
                  <a:pt x="87" y="491"/>
                </a:cubicBezTo>
                <a:cubicBezTo>
                  <a:pt x="94" y="495"/>
                  <a:pt x="98" y="501"/>
                  <a:pt x="101" y="501"/>
                </a:cubicBezTo>
                <a:cubicBezTo>
                  <a:pt x="105" y="501"/>
                  <a:pt x="127" y="493"/>
                  <a:pt x="127" y="493"/>
                </a:cubicBezTo>
                <a:cubicBezTo>
                  <a:pt x="127" y="493"/>
                  <a:pt x="117" y="518"/>
                  <a:pt x="81" y="507"/>
                </a:cubicBezTo>
                <a:cubicBezTo>
                  <a:pt x="99" y="552"/>
                  <a:pt x="99" y="552"/>
                  <a:pt x="99" y="552"/>
                </a:cubicBezTo>
                <a:cubicBezTo>
                  <a:pt x="99" y="552"/>
                  <a:pt x="57" y="507"/>
                  <a:pt x="50" y="507"/>
                </a:cubicBezTo>
                <a:cubicBezTo>
                  <a:pt x="43" y="508"/>
                  <a:pt x="41" y="548"/>
                  <a:pt x="41" y="548"/>
                </a:cubicBezTo>
                <a:cubicBezTo>
                  <a:pt x="30" y="556"/>
                  <a:pt x="30" y="556"/>
                  <a:pt x="30" y="556"/>
                </a:cubicBezTo>
                <a:cubicBezTo>
                  <a:pt x="30" y="556"/>
                  <a:pt x="33" y="525"/>
                  <a:pt x="20" y="519"/>
                </a:cubicBezTo>
                <a:cubicBezTo>
                  <a:pt x="9" y="514"/>
                  <a:pt x="12" y="510"/>
                  <a:pt x="0" y="508"/>
                </a:cubicBezTo>
                <a:cubicBezTo>
                  <a:pt x="57" y="1927"/>
                  <a:pt x="57" y="1927"/>
                  <a:pt x="57" y="1927"/>
                </a:cubicBezTo>
                <a:cubicBezTo>
                  <a:pt x="270" y="1923"/>
                  <a:pt x="759" y="1914"/>
                  <a:pt x="806" y="1914"/>
                </a:cubicBezTo>
                <a:cubicBezTo>
                  <a:pt x="866" y="1914"/>
                  <a:pt x="1083" y="1914"/>
                  <a:pt x="1083" y="1914"/>
                </a:cubicBezTo>
                <a:cubicBezTo>
                  <a:pt x="1131" y="727"/>
                  <a:pt x="1131" y="727"/>
                  <a:pt x="1131" y="727"/>
                </a:cubicBezTo>
                <a:cubicBezTo>
                  <a:pt x="1116" y="710"/>
                  <a:pt x="1107" y="692"/>
                  <a:pt x="1097" y="687"/>
                </a:cubicBez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40" name="Freeform 20" descr="© INSCALE GmbH, 05.05.2010&#10;http://www.presentationload.com/"/>
          <p:cNvSpPr>
            <a:spLocks noChangeAspect="1" noEditPoints="1"/>
          </p:cNvSpPr>
          <p:nvPr/>
        </p:nvSpPr>
        <p:spPr bwMode="auto">
          <a:xfrm>
            <a:off x="1274503" y="2177312"/>
            <a:ext cx="734423" cy="835735"/>
          </a:xfrm>
          <a:custGeom>
            <a:avLst/>
            <a:gdLst/>
            <a:ahLst/>
            <a:cxnLst>
              <a:cxn ang="0">
                <a:pos x="694" y="1084"/>
              </a:cxn>
              <a:cxn ang="0">
                <a:pos x="713" y="1086"/>
              </a:cxn>
              <a:cxn ang="0">
                <a:pos x="683" y="1086"/>
              </a:cxn>
              <a:cxn ang="0">
                <a:pos x="943" y="1224"/>
              </a:cxn>
              <a:cxn ang="0">
                <a:pos x="831" y="1241"/>
              </a:cxn>
              <a:cxn ang="0">
                <a:pos x="844" y="1269"/>
              </a:cxn>
              <a:cxn ang="0">
                <a:pos x="904" y="1268"/>
              </a:cxn>
              <a:cxn ang="0">
                <a:pos x="943" y="1262"/>
              </a:cxn>
              <a:cxn ang="0">
                <a:pos x="959" y="1244"/>
              </a:cxn>
              <a:cxn ang="0">
                <a:pos x="979" y="1239"/>
              </a:cxn>
              <a:cxn ang="0">
                <a:pos x="983" y="1260"/>
              </a:cxn>
              <a:cxn ang="0">
                <a:pos x="979" y="1239"/>
              </a:cxn>
              <a:cxn ang="0">
                <a:pos x="996" y="0"/>
              </a:cxn>
              <a:cxn ang="0">
                <a:pos x="0" y="13"/>
              </a:cxn>
              <a:cxn ang="0">
                <a:pos x="129" y="713"/>
              </a:cxn>
              <a:cxn ang="0">
                <a:pos x="265" y="697"/>
              </a:cxn>
              <a:cxn ang="0">
                <a:pos x="403" y="765"/>
              </a:cxn>
              <a:cxn ang="0">
                <a:pos x="485" y="787"/>
              </a:cxn>
              <a:cxn ang="0">
                <a:pos x="514" y="781"/>
              </a:cxn>
              <a:cxn ang="0">
                <a:pos x="547" y="792"/>
              </a:cxn>
              <a:cxn ang="0">
                <a:pos x="554" y="829"/>
              </a:cxn>
              <a:cxn ang="0">
                <a:pos x="600" y="843"/>
              </a:cxn>
              <a:cxn ang="0">
                <a:pos x="585" y="865"/>
              </a:cxn>
              <a:cxn ang="0">
                <a:pos x="609" y="910"/>
              </a:cxn>
              <a:cxn ang="0">
                <a:pos x="659" y="944"/>
              </a:cxn>
              <a:cxn ang="0">
                <a:pos x="688" y="1000"/>
              </a:cxn>
              <a:cxn ang="0">
                <a:pos x="716" y="1054"/>
              </a:cxn>
              <a:cxn ang="0">
                <a:pos x="724" y="1098"/>
              </a:cxn>
              <a:cxn ang="0">
                <a:pos x="746" y="1136"/>
              </a:cxn>
              <a:cxn ang="0">
                <a:pos x="766" y="1086"/>
              </a:cxn>
              <a:cxn ang="0">
                <a:pos x="796" y="1062"/>
              </a:cxn>
              <a:cxn ang="0">
                <a:pos x="865" y="998"/>
              </a:cxn>
              <a:cxn ang="0">
                <a:pos x="925" y="943"/>
              </a:cxn>
              <a:cxn ang="0">
                <a:pos x="973" y="885"/>
              </a:cxn>
              <a:cxn ang="0">
                <a:pos x="989" y="863"/>
              </a:cxn>
              <a:cxn ang="0">
                <a:pos x="974" y="923"/>
              </a:cxn>
              <a:cxn ang="0">
                <a:pos x="930" y="1050"/>
              </a:cxn>
              <a:cxn ang="0">
                <a:pos x="895" y="1135"/>
              </a:cxn>
              <a:cxn ang="0">
                <a:pos x="906" y="1182"/>
              </a:cxn>
              <a:cxn ang="0">
                <a:pos x="931" y="1182"/>
              </a:cxn>
              <a:cxn ang="0">
                <a:pos x="957" y="1159"/>
              </a:cxn>
              <a:cxn ang="0">
                <a:pos x="982" y="1075"/>
              </a:cxn>
              <a:cxn ang="0">
                <a:pos x="1006" y="1036"/>
              </a:cxn>
              <a:cxn ang="0">
                <a:pos x="1018" y="1076"/>
              </a:cxn>
              <a:cxn ang="0">
                <a:pos x="1051" y="1138"/>
              </a:cxn>
              <a:cxn ang="0">
                <a:pos x="1030" y="1195"/>
              </a:cxn>
              <a:cxn ang="0">
                <a:pos x="1036" y="1235"/>
              </a:cxn>
              <a:cxn ang="0">
                <a:pos x="1095" y="1200"/>
              </a:cxn>
              <a:cxn ang="0">
                <a:pos x="1112" y="1241"/>
              </a:cxn>
              <a:cxn ang="0">
                <a:pos x="1155" y="1316"/>
              </a:cxn>
              <a:cxn ang="0">
                <a:pos x="1145" y="1411"/>
              </a:cxn>
              <a:cxn ang="0">
                <a:pos x="1241" y="1556"/>
              </a:cxn>
              <a:cxn ang="0">
                <a:pos x="1369" y="25"/>
              </a:cxn>
            </a:cxnLst>
            <a:rect l="0" t="0" r="r" b="b"/>
            <a:pathLst>
              <a:path w="1369" h="1556">
                <a:moveTo>
                  <a:pt x="683" y="1086"/>
                </a:moveTo>
                <a:cubicBezTo>
                  <a:pt x="694" y="1084"/>
                  <a:pt x="694" y="1084"/>
                  <a:pt x="694" y="1084"/>
                </a:cubicBezTo>
                <a:cubicBezTo>
                  <a:pt x="705" y="1095"/>
                  <a:pt x="705" y="1095"/>
                  <a:pt x="705" y="1095"/>
                </a:cubicBezTo>
                <a:cubicBezTo>
                  <a:pt x="713" y="1086"/>
                  <a:pt x="713" y="1086"/>
                  <a:pt x="713" y="1086"/>
                </a:cubicBezTo>
                <a:cubicBezTo>
                  <a:pt x="691" y="1070"/>
                  <a:pt x="691" y="1070"/>
                  <a:pt x="691" y="1070"/>
                </a:cubicBezTo>
                <a:lnTo>
                  <a:pt x="683" y="1086"/>
                </a:lnTo>
                <a:close/>
                <a:moveTo>
                  <a:pt x="947" y="1239"/>
                </a:moveTo>
                <a:cubicBezTo>
                  <a:pt x="943" y="1224"/>
                  <a:pt x="943" y="1224"/>
                  <a:pt x="943" y="1224"/>
                </a:cubicBezTo>
                <a:cubicBezTo>
                  <a:pt x="911" y="1203"/>
                  <a:pt x="910" y="1220"/>
                  <a:pt x="887" y="1228"/>
                </a:cubicBezTo>
                <a:cubicBezTo>
                  <a:pt x="864" y="1236"/>
                  <a:pt x="831" y="1241"/>
                  <a:pt x="831" y="1241"/>
                </a:cubicBezTo>
                <a:cubicBezTo>
                  <a:pt x="830" y="1262"/>
                  <a:pt x="830" y="1262"/>
                  <a:pt x="830" y="1262"/>
                </a:cubicBezTo>
                <a:cubicBezTo>
                  <a:pt x="844" y="1269"/>
                  <a:pt x="844" y="1269"/>
                  <a:pt x="844" y="1269"/>
                </a:cubicBezTo>
                <a:cubicBezTo>
                  <a:pt x="844" y="1269"/>
                  <a:pt x="867" y="1280"/>
                  <a:pt x="880" y="1280"/>
                </a:cubicBezTo>
                <a:cubicBezTo>
                  <a:pt x="894" y="1280"/>
                  <a:pt x="896" y="1269"/>
                  <a:pt x="904" y="1268"/>
                </a:cubicBezTo>
                <a:cubicBezTo>
                  <a:pt x="912" y="1266"/>
                  <a:pt x="919" y="1282"/>
                  <a:pt x="931" y="1284"/>
                </a:cubicBezTo>
                <a:cubicBezTo>
                  <a:pt x="943" y="1285"/>
                  <a:pt x="943" y="1262"/>
                  <a:pt x="943" y="1262"/>
                </a:cubicBezTo>
                <a:cubicBezTo>
                  <a:pt x="961" y="1260"/>
                  <a:pt x="961" y="1260"/>
                  <a:pt x="961" y="1260"/>
                </a:cubicBezTo>
                <a:cubicBezTo>
                  <a:pt x="961" y="1260"/>
                  <a:pt x="959" y="1248"/>
                  <a:pt x="959" y="1244"/>
                </a:cubicBezTo>
                <a:cubicBezTo>
                  <a:pt x="959" y="1240"/>
                  <a:pt x="947" y="1239"/>
                  <a:pt x="947" y="1239"/>
                </a:cubicBezTo>
                <a:close/>
                <a:moveTo>
                  <a:pt x="979" y="1239"/>
                </a:moveTo>
                <a:cubicBezTo>
                  <a:pt x="968" y="1249"/>
                  <a:pt x="968" y="1249"/>
                  <a:pt x="968" y="1249"/>
                </a:cubicBezTo>
                <a:cubicBezTo>
                  <a:pt x="983" y="1260"/>
                  <a:pt x="983" y="1260"/>
                  <a:pt x="983" y="1260"/>
                </a:cubicBezTo>
                <a:cubicBezTo>
                  <a:pt x="996" y="1256"/>
                  <a:pt x="996" y="1256"/>
                  <a:pt x="996" y="1256"/>
                </a:cubicBezTo>
                <a:cubicBezTo>
                  <a:pt x="996" y="1256"/>
                  <a:pt x="992" y="1239"/>
                  <a:pt x="979" y="1239"/>
                </a:cubicBezTo>
                <a:close/>
                <a:moveTo>
                  <a:pt x="1016" y="15"/>
                </a:moveTo>
                <a:cubicBezTo>
                  <a:pt x="1016" y="15"/>
                  <a:pt x="1008" y="9"/>
                  <a:pt x="996" y="0"/>
                </a:cubicBezTo>
                <a:cubicBezTo>
                  <a:pt x="749" y="0"/>
                  <a:pt x="749" y="0"/>
                  <a:pt x="749" y="0"/>
                </a:cubicBezTo>
                <a:cubicBezTo>
                  <a:pt x="702" y="0"/>
                  <a:pt x="213" y="9"/>
                  <a:pt x="0" y="13"/>
                </a:cubicBezTo>
                <a:cubicBezTo>
                  <a:pt x="28" y="725"/>
                  <a:pt x="28" y="725"/>
                  <a:pt x="28" y="725"/>
                </a:cubicBezTo>
                <a:cubicBezTo>
                  <a:pt x="48" y="720"/>
                  <a:pt x="116" y="713"/>
                  <a:pt x="129" y="713"/>
                </a:cubicBezTo>
                <a:cubicBezTo>
                  <a:pt x="143" y="713"/>
                  <a:pt x="239" y="715"/>
                  <a:pt x="240" y="713"/>
                </a:cubicBezTo>
                <a:cubicBezTo>
                  <a:pt x="241" y="712"/>
                  <a:pt x="243" y="692"/>
                  <a:pt x="265" y="697"/>
                </a:cubicBezTo>
                <a:cubicBezTo>
                  <a:pt x="287" y="702"/>
                  <a:pt x="379" y="766"/>
                  <a:pt x="379" y="766"/>
                </a:cubicBezTo>
                <a:cubicBezTo>
                  <a:pt x="379" y="766"/>
                  <a:pt x="402" y="767"/>
                  <a:pt x="403" y="765"/>
                </a:cubicBezTo>
                <a:cubicBezTo>
                  <a:pt x="404" y="764"/>
                  <a:pt x="403" y="751"/>
                  <a:pt x="417" y="753"/>
                </a:cubicBezTo>
                <a:cubicBezTo>
                  <a:pt x="430" y="755"/>
                  <a:pt x="485" y="787"/>
                  <a:pt x="485" y="787"/>
                </a:cubicBezTo>
                <a:cubicBezTo>
                  <a:pt x="497" y="796"/>
                  <a:pt x="497" y="796"/>
                  <a:pt x="497" y="796"/>
                </a:cubicBezTo>
                <a:cubicBezTo>
                  <a:pt x="514" y="781"/>
                  <a:pt x="514" y="781"/>
                  <a:pt x="514" y="781"/>
                </a:cubicBezTo>
                <a:cubicBezTo>
                  <a:pt x="527" y="799"/>
                  <a:pt x="527" y="799"/>
                  <a:pt x="527" y="799"/>
                </a:cubicBezTo>
                <a:cubicBezTo>
                  <a:pt x="527" y="799"/>
                  <a:pt x="527" y="777"/>
                  <a:pt x="547" y="792"/>
                </a:cubicBezTo>
                <a:cubicBezTo>
                  <a:pt x="566" y="807"/>
                  <a:pt x="566" y="814"/>
                  <a:pt x="564" y="814"/>
                </a:cubicBezTo>
                <a:cubicBezTo>
                  <a:pt x="562" y="814"/>
                  <a:pt x="545" y="828"/>
                  <a:pt x="554" y="829"/>
                </a:cubicBezTo>
                <a:cubicBezTo>
                  <a:pt x="562" y="830"/>
                  <a:pt x="582" y="819"/>
                  <a:pt x="582" y="819"/>
                </a:cubicBezTo>
                <a:cubicBezTo>
                  <a:pt x="582" y="819"/>
                  <a:pt x="601" y="840"/>
                  <a:pt x="600" y="843"/>
                </a:cubicBezTo>
                <a:cubicBezTo>
                  <a:pt x="599" y="846"/>
                  <a:pt x="579" y="853"/>
                  <a:pt x="579" y="853"/>
                </a:cubicBezTo>
                <a:cubicBezTo>
                  <a:pt x="579" y="853"/>
                  <a:pt x="592" y="859"/>
                  <a:pt x="585" y="865"/>
                </a:cubicBezTo>
                <a:cubicBezTo>
                  <a:pt x="577" y="872"/>
                  <a:pt x="576" y="877"/>
                  <a:pt x="576" y="877"/>
                </a:cubicBezTo>
                <a:cubicBezTo>
                  <a:pt x="609" y="910"/>
                  <a:pt x="609" y="910"/>
                  <a:pt x="609" y="910"/>
                </a:cubicBezTo>
                <a:cubicBezTo>
                  <a:pt x="609" y="910"/>
                  <a:pt x="623" y="900"/>
                  <a:pt x="637" y="910"/>
                </a:cubicBezTo>
                <a:cubicBezTo>
                  <a:pt x="651" y="921"/>
                  <a:pt x="659" y="939"/>
                  <a:pt x="659" y="944"/>
                </a:cubicBezTo>
                <a:cubicBezTo>
                  <a:pt x="659" y="949"/>
                  <a:pt x="663" y="973"/>
                  <a:pt x="663" y="973"/>
                </a:cubicBezTo>
                <a:cubicBezTo>
                  <a:pt x="663" y="973"/>
                  <a:pt x="677" y="994"/>
                  <a:pt x="688" y="1000"/>
                </a:cubicBezTo>
                <a:cubicBezTo>
                  <a:pt x="699" y="1006"/>
                  <a:pt x="708" y="1019"/>
                  <a:pt x="704" y="1024"/>
                </a:cubicBezTo>
                <a:cubicBezTo>
                  <a:pt x="700" y="1030"/>
                  <a:pt x="717" y="1052"/>
                  <a:pt x="716" y="1054"/>
                </a:cubicBezTo>
                <a:cubicBezTo>
                  <a:pt x="715" y="1055"/>
                  <a:pt x="714" y="1076"/>
                  <a:pt x="719" y="1078"/>
                </a:cubicBezTo>
                <a:cubicBezTo>
                  <a:pt x="724" y="1080"/>
                  <a:pt x="724" y="1098"/>
                  <a:pt x="724" y="1098"/>
                </a:cubicBezTo>
                <a:cubicBezTo>
                  <a:pt x="724" y="1098"/>
                  <a:pt x="717" y="1102"/>
                  <a:pt x="717" y="1104"/>
                </a:cubicBezTo>
                <a:cubicBezTo>
                  <a:pt x="717" y="1106"/>
                  <a:pt x="742" y="1142"/>
                  <a:pt x="746" y="1136"/>
                </a:cubicBezTo>
                <a:cubicBezTo>
                  <a:pt x="750" y="1130"/>
                  <a:pt x="773" y="1115"/>
                  <a:pt x="772" y="1111"/>
                </a:cubicBezTo>
                <a:cubicBezTo>
                  <a:pt x="771" y="1108"/>
                  <a:pt x="758" y="1091"/>
                  <a:pt x="766" y="1086"/>
                </a:cubicBezTo>
                <a:cubicBezTo>
                  <a:pt x="774" y="1081"/>
                  <a:pt x="788" y="1085"/>
                  <a:pt x="789" y="1082"/>
                </a:cubicBezTo>
                <a:cubicBezTo>
                  <a:pt x="789" y="1078"/>
                  <a:pt x="796" y="1065"/>
                  <a:pt x="796" y="1062"/>
                </a:cubicBezTo>
                <a:cubicBezTo>
                  <a:pt x="796" y="1060"/>
                  <a:pt x="815" y="1029"/>
                  <a:pt x="824" y="1021"/>
                </a:cubicBezTo>
                <a:cubicBezTo>
                  <a:pt x="834" y="1013"/>
                  <a:pt x="853" y="998"/>
                  <a:pt x="865" y="998"/>
                </a:cubicBezTo>
                <a:cubicBezTo>
                  <a:pt x="877" y="998"/>
                  <a:pt x="886" y="990"/>
                  <a:pt x="896" y="986"/>
                </a:cubicBezTo>
                <a:cubicBezTo>
                  <a:pt x="906" y="982"/>
                  <a:pt x="920" y="953"/>
                  <a:pt x="925" y="943"/>
                </a:cubicBezTo>
                <a:cubicBezTo>
                  <a:pt x="929" y="934"/>
                  <a:pt x="937" y="921"/>
                  <a:pt x="942" y="911"/>
                </a:cubicBezTo>
                <a:cubicBezTo>
                  <a:pt x="947" y="901"/>
                  <a:pt x="973" y="895"/>
                  <a:pt x="973" y="885"/>
                </a:cubicBezTo>
                <a:cubicBezTo>
                  <a:pt x="973" y="874"/>
                  <a:pt x="970" y="851"/>
                  <a:pt x="973" y="847"/>
                </a:cubicBezTo>
                <a:cubicBezTo>
                  <a:pt x="976" y="842"/>
                  <a:pt x="989" y="855"/>
                  <a:pt x="989" y="863"/>
                </a:cubicBezTo>
                <a:cubicBezTo>
                  <a:pt x="989" y="870"/>
                  <a:pt x="1002" y="903"/>
                  <a:pt x="996" y="911"/>
                </a:cubicBezTo>
                <a:cubicBezTo>
                  <a:pt x="990" y="919"/>
                  <a:pt x="974" y="915"/>
                  <a:pt x="974" y="923"/>
                </a:cubicBezTo>
                <a:cubicBezTo>
                  <a:pt x="975" y="931"/>
                  <a:pt x="991" y="954"/>
                  <a:pt x="988" y="961"/>
                </a:cubicBezTo>
                <a:cubicBezTo>
                  <a:pt x="984" y="968"/>
                  <a:pt x="925" y="1039"/>
                  <a:pt x="930" y="1050"/>
                </a:cubicBezTo>
                <a:cubicBezTo>
                  <a:pt x="935" y="1061"/>
                  <a:pt x="940" y="1129"/>
                  <a:pt x="930" y="1134"/>
                </a:cubicBezTo>
                <a:cubicBezTo>
                  <a:pt x="919" y="1140"/>
                  <a:pt x="910" y="1129"/>
                  <a:pt x="895" y="1135"/>
                </a:cubicBezTo>
                <a:cubicBezTo>
                  <a:pt x="881" y="1141"/>
                  <a:pt x="866" y="1158"/>
                  <a:pt x="879" y="1168"/>
                </a:cubicBezTo>
                <a:cubicBezTo>
                  <a:pt x="892" y="1177"/>
                  <a:pt x="905" y="1184"/>
                  <a:pt x="906" y="1182"/>
                </a:cubicBezTo>
                <a:cubicBezTo>
                  <a:pt x="907" y="1179"/>
                  <a:pt x="931" y="1157"/>
                  <a:pt x="931" y="1157"/>
                </a:cubicBezTo>
                <a:cubicBezTo>
                  <a:pt x="931" y="1157"/>
                  <a:pt x="931" y="1176"/>
                  <a:pt x="931" y="1182"/>
                </a:cubicBezTo>
                <a:cubicBezTo>
                  <a:pt x="931" y="1187"/>
                  <a:pt x="938" y="1203"/>
                  <a:pt x="948" y="1203"/>
                </a:cubicBezTo>
                <a:cubicBezTo>
                  <a:pt x="958" y="1203"/>
                  <a:pt x="957" y="1175"/>
                  <a:pt x="957" y="1159"/>
                </a:cubicBezTo>
                <a:cubicBezTo>
                  <a:pt x="957" y="1143"/>
                  <a:pt x="977" y="1126"/>
                  <a:pt x="977" y="1112"/>
                </a:cubicBezTo>
                <a:cubicBezTo>
                  <a:pt x="977" y="1098"/>
                  <a:pt x="977" y="1080"/>
                  <a:pt x="982" y="1075"/>
                </a:cubicBezTo>
                <a:cubicBezTo>
                  <a:pt x="988" y="1070"/>
                  <a:pt x="993" y="1074"/>
                  <a:pt x="993" y="1061"/>
                </a:cubicBezTo>
                <a:cubicBezTo>
                  <a:pt x="993" y="1049"/>
                  <a:pt x="1002" y="1041"/>
                  <a:pt x="1006" y="1036"/>
                </a:cubicBezTo>
                <a:cubicBezTo>
                  <a:pt x="1010" y="1031"/>
                  <a:pt x="1026" y="1054"/>
                  <a:pt x="1026" y="1054"/>
                </a:cubicBezTo>
                <a:cubicBezTo>
                  <a:pt x="1026" y="1054"/>
                  <a:pt x="1019" y="1065"/>
                  <a:pt x="1018" y="1076"/>
                </a:cubicBezTo>
                <a:cubicBezTo>
                  <a:pt x="1017" y="1087"/>
                  <a:pt x="1031" y="1105"/>
                  <a:pt x="1034" y="1112"/>
                </a:cubicBezTo>
                <a:cubicBezTo>
                  <a:pt x="1037" y="1118"/>
                  <a:pt x="1051" y="1125"/>
                  <a:pt x="1051" y="1138"/>
                </a:cubicBezTo>
                <a:cubicBezTo>
                  <a:pt x="1050" y="1151"/>
                  <a:pt x="1042" y="1162"/>
                  <a:pt x="1039" y="1163"/>
                </a:cubicBezTo>
                <a:cubicBezTo>
                  <a:pt x="1036" y="1165"/>
                  <a:pt x="1038" y="1187"/>
                  <a:pt x="1030" y="1195"/>
                </a:cubicBezTo>
                <a:cubicBezTo>
                  <a:pt x="1021" y="1203"/>
                  <a:pt x="988" y="1215"/>
                  <a:pt x="994" y="1226"/>
                </a:cubicBezTo>
                <a:cubicBezTo>
                  <a:pt x="1000" y="1236"/>
                  <a:pt x="1012" y="1238"/>
                  <a:pt x="1036" y="1235"/>
                </a:cubicBezTo>
                <a:cubicBezTo>
                  <a:pt x="1060" y="1231"/>
                  <a:pt x="1045" y="1227"/>
                  <a:pt x="1057" y="1220"/>
                </a:cubicBezTo>
                <a:cubicBezTo>
                  <a:pt x="1069" y="1214"/>
                  <a:pt x="1077" y="1203"/>
                  <a:pt x="1095" y="1200"/>
                </a:cubicBezTo>
                <a:cubicBezTo>
                  <a:pt x="1114" y="1196"/>
                  <a:pt x="1137" y="1181"/>
                  <a:pt x="1127" y="1196"/>
                </a:cubicBezTo>
                <a:cubicBezTo>
                  <a:pt x="1116" y="1211"/>
                  <a:pt x="1110" y="1225"/>
                  <a:pt x="1112" y="1241"/>
                </a:cubicBezTo>
                <a:cubicBezTo>
                  <a:pt x="1114" y="1257"/>
                  <a:pt x="1122" y="1261"/>
                  <a:pt x="1131" y="1270"/>
                </a:cubicBezTo>
                <a:cubicBezTo>
                  <a:pt x="1140" y="1279"/>
                  <a:pt x="1153" y="1305"/>
                  <a:pt x="1155" y="1316"/>
                </a:cubicBezTo>
                <a:cubicBezTo>
                  <a:pt x="1157" y="1327"/>
                  <a:pt x="1179" y="1379"/>
                  <a:pt x="1169" y="1388"/>
                </a:cubicBezTo>
                <a:cubicBezTo>
                  <a:pt x="1158" y="1398"/>
                  <a:pt x="1145" y="1409"/>
                  <a:pt x="1145" y="1411"/>
                </a:cubicBezTo>
                <a:cubicBezTo>
                  <a:pt x="1145" y="1414"/>
                  <a:pt x="1138" y="1442"/>
                  <a:pt x="1189" y="1486"/>
                </a:cubicBezTo>
                <a:cubicBezTo>
                  <a:pt x="1232" y="1543"/>
                  <a:pt x="1241" y="1556"/>
                  <a:pt x="1241" y="1556"/>
                </a:cubicBezTo>
                <a:cubicBezTo>
                  <a:pt x="1278" y="1555"/>
                  <a:pt x="1278" y="1555"/>
                  <a:pt x="1278" y="1555"/>
                </a:cubicBezTo>
                <a:cubicBezTo>
                  <a:pt x="1369" y="25"/>
                  <a:pt x="1369" y="25"/>
                  <a:pt x="1369" y="25"/>
                </a:cubicBezTo>
                <a:lnTo>
                  <a:pt x="1016" y="15"/>
                </a:lnTo>
                <a:close/>
              </a:path>
            </a:pathLst>
          </a:custGeom>
          <a:solidFill>
            <a:srgbClr val="902017"/>
          </a:solidFill>
          <a:ln w="9525" cap="flat" cmpd="sng">
            <a:solidFill>
              <a:schemeClr val="bg1"/>
            </a:solidFill>
            <a:prstDash val="solid"/>
            <a:round/>
            <a:headEnd type="none" w="med" len="med"/>
            <a:tailEnd type="none" w="med" len="med"/>
          </a:ln>
          <a:effectLst/>
        </p:spPr>
        <p:txBody>
          <a:bodyPr/>
          <a:lstStyle/>
          <a:p>
            <a:endParaRPr lang="en-GB"/>
          </a:p>
        </p:txBody>
      </p:sp>
      <p:sp>
        <p:nvSpPr>
          <p:cNvPr id="41" name="Freeform 21" descr="© INSCALE GmbH, 05.05.2010&#10;http://www.presentationload.com/"/>
          <p:cNvSpPr>
            <a:spLocks noChangeAspect="1" noEditPoints="1"/>
          </p:cNvSpPr>
          <p:nvPr/>
        </p:nvSpPr>
        <p:spPr bwMode="auto">
          <a:xfrm>
            <a:off x="1960282" y="2738285"/>
            <a:ext cx="489297" cy="429316"/>
          </a:xfrm>
          <a:custGeom>
            <a:avLst/>
            <a:gdLst/>
            <a:ahLst/>
            <a:cxnLst>
              <a:cxn ang="0">
                <a:pos x="527" y="691"/>
              </a:cxn>
              <a:cxn ang="0">
                <a:pos x="517" y="672"/>
              </a:cxn>
              <a:cxn ang="0">
                <a:pos x="279" y="716"/>
              </a:cxn>
              <a:cxn ang="0">
                <a:pos x="266" y="756"/>
              </a:cxn>
              <a:cxn ang="0">
                <a:pos x="274" y="799"/>
              </a:cxn>
              <a:cxn ang="0">
                <a:pos x="293" y="765"/>
              </a:cxn>
              <a:cxn ang="0">
                <a:pos x="738" y="410"/>
              </a:cxn>
              <a:cxn ang="0">
                <a:pos x="726" y="345"/>
              </a:cxn>
              <a:cxn ang="0">
                <a:pos x="721" y="304"/>
              </a:cxn>
              <a:cxn ang="0">
                <a:pos x="679" y="305"/>
              </a:cxn>
              <a:cxn ang="0">
                <a:pos x="649" y="310"/>
              </a:cxn>
              <a:cxn ang="0">
                <a:pos x="631" y="340"/>
              </a:cxn>
              <a:cxn ang="0">
                <a:pos x="585" y="290"/>
              </a:cxn>
              <a:cxn ang="0">
                <a:pos x="514" y="288"/>
              </a:cxn>
              <a:cxn ang="0">
                <a:pos x="472" y="275"/>
              </a:cxn>
              <a:cxn ang="0">
                <a:pos x="420" y="293"/>
              </a:cxn>
              <a:cxn ang="0">
                <a:pos x="366" y="261"/>
              </a:cxn>
              <a:cxn ang="0">
                <a:pos x="312" y="193"/>
              </a:cxn>
              <a:cxn ang="0">
                <a:pos x="285" y="166"/>
              </a:cxn>
              <a:cxn ang="0">
                <a:pos x="266" y="114"/>
              </a:cxn>
              <a:cxn ang="0">
                <a:pos x="193" y="110"/>
              </a:cxn>
              <a:cxn ang="0">
                <a:pos x="169" y="73"/>
              </a:cxn>
              <a:cxn ang="0">
                <a:pos x="128" y="8"/>
              </a:cxn>
              <a:cxn ang="0">
                <a:pos x="81" y="25"/>
              </a:cxn>
              <a:cxn ang="0">
                <a:pos x="30" y="0"/>
              </a:cxn>
              <a:cxn ang="0">
                <a:pos x="6" y="509"/>
              </a:cxn>
              <a:cxn ang="0">
                <a:pos x="49" y="561"/>
              </a:cxn>
              <a:cxn ang="0">
                <a:pos x="112" y="560"/>
              </a:cxn>
              <a:cxn ang="0">
                <a:pos x="199" y="611"/>
              </a:cxn>
              <a:cxn ang="0">
                <a:pos x="258" y="603"/>
              </a:cxn>
              <a:cxn ang="0">
                <a:pos x="324" y="575"/>
              </a:cxn>
              <a:cxn ang="0">
                <a:pos x="373" y="550"/>
              </a:cxn>
              <a:cxn ang="0">
                <a:pos x="370" y="513"/>
              </a:cxn>
              <a:cxn ang="0">
                <a:pos x="417" y="556"/>
              </a:cxn>
              <a:cxn ang="0">
                <a:pos x="407" y="595"/>
              </a:cxn>
              <a:cxn ang="0">
                <a:pos x="448" y="587"/>
              </a:cxn>
              <a:cxn ang="0">
                <a:pos x="458" y="627"/>
              </a:cxn>
              <a:cxn ang="0">
                <a:pos x="488" y="657"/>
              </a:cxn>
              <a:cxn ang="0">
                <a:pos x="557" y="645"/>
              </a:cxn>
              <a:cxn ang="0">
                <a:pos x="691" y="555"/>
              </a:cxn>
              <a:cxn ang="0">
                <a:pos x="770" y="550"/>
              </a:cxn>
              <a:cxn ang="0">
                <a:pos x="890" y="535"/>
              </a:cxn>
              <a:cxn ang="0">
                <a:pos x="738" y="410"/>
              </a:cxn>
            </a:cxnLst>
            <a:rect l="0" t="0" r="r" b="b"/>
            <a:pathLst>
              <a:path w="912" h="799">
                <a:moveTo>
                  <a:pt x="517" y="672"/>
                </a:moveTo>
                <a:cubicBezTo>
                  <a:pt x="517" y="672"/>
                  <a:pt x="520" y="690"/>
                  <a:pt x="527" y="691"/>
                </a:cubicBezTo>
                <a:cubicBezTo>
                  <a:pt x="533" y="692"/>
                  <a:pt x="537" y="676"/>
                  <a:pt x="540" y="668"/>
                </a:cubicBezTo>
                <a:cubicBezTo>
                  <a:pt x="543" y="660"/>
                  <a:pt x="523" y="660"/>
                  <a:pt x="517" y="672"/>
                </a:cubicBezTo>
                <a:close/>
                <a:moveTo>
                  <a:pt x="291" y="734"/>
                </a:moveTo>
                <a:cubicBezTo>
                  <a:pt x="279" y="716"/>
                  <a:pt x="279" y="716"/>
                  <a:pt x="279" y="716"/>
                </a:cubicBezTo>
                <a:cubicBezTo>
                  <a:pt x="279" y="716"/>
                  <a:pt x="269" y="730"/>
                  <a:pt x="266" y="736"/>
                </a:cubicBezTo>
                <a:cubicBezTo>
                  <a:pt x="263" y="743"/>
                  <a:pt x="266" y="752"/>
                  <a:pt x="266" y="756"/>
                </a:cubicBezTo>
                <a:cubicBezTo>
                  <a:pt x="266" y="760"/>
                  <a:pt x="262" y="772"/>
                  <a:pt x="262" y="772"/>
                </a:cubicBezTo>
                <a:cubicBezTo>
                  <a:pt x="274" y="799"/>
                  <a:pt x="274" y="799"/>
                  <a:pt x="274" y="799"/>
                </a:cubicBezTo>
                <a:cubicBezTo>
                  <a:pt x="295" y="775"/>
                  <a:pt x="295" y="775"/>
                  <a:pt x="295" y="775"/>
                </a:cubicBezTo>
                <a:cubicBezTo>
                  <a:pt x="293" y="765"/>
                  <a:pt x="293" y="765"/>
                  <a:pt x="293" y="765"/>
                </a:cubicBezTo>
                <a:lnTo>
                  <a:pt x="291" y="734"/>
                </a:lnTo>
                <a:close/>
                <a:moveTo>
                  <a:pt x="738" y="410"/>
                </a:moveTo>
                <a:cubicBezTo>
                  <a:pt x="754" y="383"/>
                  <a:pt x="754" y="383"/>
                  <a:pt x="754" y="383"/>
                </a:cubicBezTo>
                <a:cubicBezTo>
                  <a:pt x="726" y="345"/>
                  <a:pt x="726" y="345"/>
                  <a:pt x="726" y="345"/>
                </a:cubicBezTo>
                <a:cubicBezTo>
                  <a:pt x="734" y="329"/>
                  <a:pt x="734" y="329"/>
                  <a:pt x="734" y="329"/>
                </a:cubicBezTo>
                <a:cubicBezTo>
                  <a:pt x="721" y="304"/>
                  <a:pt x="721" y="304"/>
                  <a:pt x="721" y="304"/>
                </a:cubicBezTo>
                <a:cubicBezTo>
                  <a:pt x="698" y="307"/>
                  <a:pt x="698" y="307"/>
                  <a:pt x="698" y="307"/>
                </a:cubicBezTo>
                <a:cubicBezTo>
                  <a:pt x="679" y="305"/>
                  <a:pt x="679" y="305"/>
                  <a:pt x="679" y="305"/>
                </a:cubicBezTo>
                <a:cubicBezTo>
                  <a:pt x="670" y="312"/>
                  <a:pt x="670" y="312"/>
                  <a:pt x="670" y="312"/>
                </a:cubicBezTo>
                <a:cubicBezTo>
                  <a:pt x="649" y="310"/>
                  <a:pt x="649" y="310"/>
                  <a:pt x="649" y="310"/>
                </a:cubicBezTo>
                <a:cubicBezTo>
                  <a:pt x="648" y="329"/>
                  <a:pt x="648" y="329"/>
                  <a:pt x="648" y="329"/>
                </a:cubicBezTo>
                <a:cubicBezTo>
                  <a:pt x="631" y="340"/>
                  <a:pt x="631" y="340"/>
                  <a:pt x="631" y="340"/>
                </a:cubicBezTo>
                <a:cubicBezTo>
                  <a:pt x="629" y="312"/>
                  <a:pt x="629" y="312"/>
                  <a:pt x="629" y="312"/>
                </a:cubicBezTo>
                <a:cubicBezTo>
                  <a:pt x="629" y="312"/>
                  <a:pt x="588" y="290"/>
                  <a:pt x="585" y="290"/>
                </a:cubicBezTo>
                <a:cubicBezTo>
                  <a:pt x="582" y="290"/>
                  <a:pt x="569" y="299"/>
                  <a:pt x="553" y="300"/>
                </a:cubicBezTo>
                <a:cubicBezTo>
                  <a:pt x="536" y="301"/>
                  <a:pt x="514" y="288"/>
                  <a:pt x="514" y="288"/>
                </a:cubicBezTo>
                <a:cubicBezTo>
                  <a:pt x="502" y="271"/>
                  <a:pt x="502" y="271"/>
                  <a:pt x="502" y="271"/>
                </a:cubicBezTo>
                <a:cubicBezTo>
                  <a:pt x="472" y="275"/>
                  <a:pt x="472" y="275"/>
                  <a:pt x="472" y="275"/>
                </a:cubicBezTo>
                <a:cubicBezTo>
                  <a:pt x="472" y="275"/>
                  <a:pt x="451" y="261"/>
                  <a:pt x="431" y="261"/>
                </a:cubicBezTo>
                <a:cubicBezTo>
                  <a:pt x="411" y="261"/>
                  <a:pt x="420" y="293"/>
                  <a:pt x="420" y="293"/>
                </a:cubicBezTo>
                <a:cubicBezTo>
                  <a:pt x="402" y="294"/>
                  <a:pt x="402" y="294"/>
                  <a:pt x="402" y="294"/>
                </a:cubicBezTo>
                <a:cubicBezTo>
                  <a:pt x="366" y="261"/>
                  <a:pt x="366" y="261"/>
                  <a:pt x="366" y="261"/>
                </a:cubicBezTo>
                <a:cubicBezTo>
                  <a:pt x="366" y="244"/>
                  <a:pt x="366" y="244"/>
                  <a:pt x="366" y="244"/>
                </a:cubicBezTo>
                <a:cubicBezTo>
                  <a:pt x="312" y="193"/>
                  <a:pt x="312" y="193"/>
                  <a:pt x="312" y="193"/>
                </a:cubicBezTo>
                <a:cubicBezTo>
                  <a:pt x="287" y="190"/>
                  <a:pt x="287" y="190"/>
                  <a:pt x="287" y="190"/>
                </a:cubicBezTo>
                <a:cubicBezTo>
                  <a:pt x="285" y="166"/>
                  <a:pt x="285" y="166"/>
                  <a:pt x="285" y="166"/>
                </a:cubicBezTo>
                <a:cubicBezTo>
                  <a:pt x="265" y="163"/>
                  <a:pt x="265" y="163"/>
                  <a:pt x="265" y="163"/>
                </a:cubicBezTo>
                <a:cubicBezTo>
                  <a:pt x="266" y="114"/>
                  <a:pt x="266" y="114"/>
                  <a:pt x="266" y="114"/>
                </a:cubicBezTo>
                <a:cubicBezTo>
                  <a:pt x="212" y="85"/>
                  <a:pt x="212" y="85"/>
                  <a:pt x="212" y="85"/>
                </a:cubicBezTo>
                <a:cubicBezTo>
                  <a:pt x="212" y="85"/>
                  <a:pt x="198" y="106"/>
                  <a:pt x="193" y="110"/>
                </a:cubicBezTo>
                <a:cubicBezTo>
                  <a:pt x="187" y="115"/>
                  <a:pt x="182" y="80"/>
                  <a:pt x="182" y="80"/>
                </a:cubicBezTo>
                <a:cubicBezTo>
                  <a:pt x="169" y="73"/>
                  <a:pt x="169" y="73"/>
                  <a:pt x="169" y="73"/>
                </a:cubicBezTo>
                <a:cubicBezTo>
                  <a:pt x="172" y="48"/>
                  <a:pt x="172" y="48"/>
                  <a:pt x="172" y="48"/>
                </a:cubicBezTo>
                <a:cubicBezTo>
                  <a:pt x="128" y="8"/>
                  <a:pt x="128" y="8"/>
                  <a:pt x="128" y="8"/>
                </a:cubicBezTo>
                <a:cubicBezTo>
                  <a:pt x="96" y="11"/>
                  <a:pt x="96" y="11"/>
                  <a:pt x="96" y="11"/>
                </a:cubicBezTo>
                <a:cubicBezTo>
                  <a:pt x="81" y="25"/>
                  <a:pt x="81" y="25"/>
                  <a:pt x="81" y="25"/>
                </a:cubicBezTo>
                <a:cubicBezTo>
                  <a:pt x="50" y="3"/>
                  <a:pt x="50" y="3"/>
                  <a:pt x="50" y="3"/>
                </a:cubicBezTo>
                <a:cubicBezTo>
                  <a:pt x="30" y="0"/>
                  <a:pt x="30" y="0"/>
                  <a:pt x="30" y="0"/>
                </a:cubicBezTo>
                <a:cubicBezTo>
                  <a:pt x="0" y="510"/>
                  <a:pt x="0" y="510"/>
                  <a:pt x="0" y="510"/>
                </a:cubicBezTo>
                <a:cubicBezTo>
                  <a:pt x="6" y="509"/>
                  <a:pt x="6" y="509"/>
                  <a:pt x="6" y="509"/>
                </a:cubicBezTo>
                <a:cubicBezTo>
                  <a:pt x="6" y="509"/>
                  <a:pt x="29" y="550"/>
                  <a:pt x="33" y="552"/>
                </a:cubicBezTo>
                <a:cubicBezTo>
                  <a:pt x="36" y="553"/>
                  <a:pt x="42" y="562"/>
                  <a:pt x="49" y="561"/>
                </a:cubicBezTo>
                <a:cubicBezTo>
                  <a:pt x="56" y="560"/>
                  <a:pt x="58" y="525"/>
                  <a:pt x="71" y="528"/>
                </a:cubicBezTo>
                <a:cubicBezTo>
                  <a:pt x="83" y="532"/>
                  <a:pt x="108" y="560"/>
                  <a:pt x="112" y="560"/>
                </a:cubicBezTo>
                <a:cubicBezTo>
                  <a:pt x="116" y="560"/>
                  <a:pt x="150" y="559"/>
                  <a:pt x="152" y="560"/>
                </a:cubicBezTo>
                <a:cubicBezTo>
                  <a:pt x="154" y="560"/>
                  <a:pt x="193" y="611"/>
                  <a:pt x="199" y="611"/>
                </a:cubicBezTo>
                <a:cubicBezTo>
                  <a:pt x="204" y="610"/>
                  <a:pt x="241" y="621"/>
                  <a:pt x="242" y="620"/>
                </a:cubicBezTo>
                <a:cubicBezTo>
                  <a:pt x="242" y="618"/>
                  <a:pt x="245" y="603"/>
                  <a:pt x="258" y="603"/>
                </a:cubicBezTo>
                <a:cubicBezTo>
                  <a:pt x="272" y="602"/>
                  <a:pt x="286" y="616"/>
                  <a:pt x="292" y="611"/>
                </a:cubicBezTo>
                <a:cubicBezTo>
                  <a:pt x="298" y="607"/>
                  <a:pt x="309" y="583"/>
                  <a:pt x="324" y="575"/>
                </a:cubicBezTo>
                <a:cubicBezTo>
                  <a:pt x="338" y="566"/>
                  <a:pt x="351" y="568"/>
                  <a:pt x="359" y="564"/>
                </a:cubicBezTo>
                <a:cubicBezTo>
                  <a:pt x="366" y="560"/>
                  <a:pt x="374" y="551"/>
                  <a:pt x="373" y="550"/>
                </a:cubicBezTo>
                <a:cubicBezTo>
                  <a:pt x="371" y="549"/>
                  <a:pt x="350" y="544"/>
                  <a:pt x="349" y="540"/>
                </a:cubicBezTo>
                <a:cubicBezTo>
                  <a:pt x="348" y="536"/>
                  <a:pt x="352" y="518"/>
                  <a:pt x="370" y="513"/>
                </a:cubicBezTo>
                <a:cubicBezTo>
                  <a:pt x="387" y="508"/>
                  <a:pt x="414" y="512"/>
                  <a:pt x="414" y="519"/>
                </a:cubicBezTo>
                <a:cubicBezTo>
                  <a:pt x="414" y="526"/>
                  <a:pt x="432" y="549"/>
                  <a:pt x="417" y="556"/>
                </a:cubicBezTo>
                <a:cubicBezTo>
                  <a:pt x="402" y="563"/>
                  <a:pt x="376" y="580"/>
                  <a:pt x="381" y="583"/>
                </a:cubicBezTo>
                <a:cubicBezTo>
                  <a:pt x="386" y="587"/>
                  <a:pt x="402" y="598"/>
                  <a:pt x="407" y="595"/>
                </a:cubicBezTo>
                <a:cubicBezTo>
                  <a:pt x="413" y="592"/>
                  <a:pt x="430" y="560"/>
                  <a:pt x="440" y="564"/>
                </a:cubicBezTo>
                <a:cubicBezTo>
                  <a:pt x="450" y="568"/>
                  <a:pt x="460" y="577"/>
                  <a:pt x="448" y="587"/>
                </a:cubicBezTo>
                <a:cubicBezTo>
                  <a:pt x="436" y="597"/>
                  <a:pt x="424" y="605"/>
                  <a:pt x="432" y="609"/>
                </a:cubicBezTo>
                <a:cubicBezTo>
                  <a:pt x="440" y="613"/>
                  <a:pt x="458" y="627"/>
                  <a:pt x="458" y="627"/>
                </a:cubicBezTo>
                <a:cubicBezTo>
                  <a:pt x="469" y="625"/>
                  <a:pt x="469" y="625"/>
                  <a:pt x="469" y="625"/>
                </a:cubicBezTo>
                <a:cubicBezTo>
                  <a:pt x="469" y="625"/>
                  <a:pt x="474" y="661"/>
                  <a:pt x="488" y="657"/>
                </a:cubicBezTo>
                <a:cubicBezTo>
                  <a:pt x="501" y="654"/>
                  <a:pt x="499" y="635"/>
                  <a:pt x="522" y="636"/>
                </a:cubicBezTo>
                <a:cubicBezTo>
                  <a:pt x="545" y="637"/>
                  <a:pt x="547" y="647"/>
                  <a:pt x="557" y="645"/>
                </a:cubicBezTo>
                <a:cubicBezTo>
                  <a:pt x="566" y="644"/>
                  <a:pt x="594" y="630"/>
                  <a:pt x="597" y="627"/>
                </a:cubicBezTo>
                <a:cubicBezTo>
                  <a:pt x="600" y="624"/>
                  <a:pt x="673" y="559"/>
                  <a:pt x="691" y="555"/>
                </a:cubicBezTo>
                <a:cubicBezTo>
                  <a:pt x="710" y="551"/>
                  <a:pt x="748" y="538"/>
                  <a:pt x="748" y="538"/>
                </a:cubicBezTo>
                <a:cubicBezTo>
                  <a:pt x="748" y="538"/>
                  <a:pt x="768" y="550"/>
                  <a:pt x="770" y="550"/>
                </a:cubicBezTo>
                <a:cubicBezTo>
                  <a:pt x="773" y="549"/>
                  <a:pt x="845" y="562"/>
                  <a:pt x="856" y="554"/>
                </a:cubicBezTo>
                <a:cubicBezTo>
                  <a:pt x="866" y="547"/>
                  <a:pt x="890" y="535"/>
                  <a:pt x="890" y="535"/>
                </a:cubicBezTo>
                <a:cubicBezTo>
                  <a:pt x="912" y="534"/>
                  <a:pt x="912" y="534"/>
                  <a:pt x="912" y="534"/>
                </a:cubicBezTo>
                <a:lnTo>
                  <a:pt x="738" y="410"/>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42" name="Freeform 22" descr="© INSCALE GmbH, 05.05.2010&#10;http://www.presentationload.com/"/>
          <p:cNvSpPr>
            <a:spLocks noChangeAspect="1" noEditPoints="1"/>
          </p:cNvSpPr>
          <p:nvPr/>
        </p:nvSpPr>
        <p:spPr bwMode="auto">
          <a:xfrm>
            <a:off x="1976496" y="2393878"/>
            <a:ext cx="765898" cy="630618"/>
          </a:xfrm>
          <a:custGeom>
            <a:avLst/>
            <a:gdLst/>
            <a:ahLst/>
            <a:cxnLst>
              <a:cxn ang="0">
                <a:pos x="1395" y="59"/>
              </a:cxn>
              <a:cxn ang="0">
                <a:pos x="1359" y="67"/>
              </a:cxn>
              <a:cxn ang="0">
                <a:pos x="1251" y="67"/>
              </a:cxn>
              <a:cxn ang="0">
                <a:pos x="1207" y="111"/>
              </a:cxn>
              <a:cxn ang="0">
                <a:pos x="1167" y="107"/>
              </a:cxn>
              <a:cxn ang="0">
                <a:pos x="1083" y="75"/>
              </a:cxn>
              <a:cxn ang="0">
                <a:pos x="1019" y="47"/>
              </a:cxn>
              <a:cxn ang="0">
                <a:pos x="915" y="83"/>
              </a:cxn>
              <a:cxn ang="0">
                <a:pos x="0" y="643"/>
              </a:cxn>
              <a:cxn ang="0">
                <a:pos x="51" y="668"/>
              </a:cxn>
              <a:cxn ang="0">
                <a:pos x="98" y="651"/>
              </a:cxn>
              <a:cxn ang="0">
                <a:pos x="139" y="716"/>
              </a:cxn>
              <a:cxn ang="0">
                <a:pos x="163" y="753"/>
              </a:cxn>
              <a:cxn ang="0">
                <a:pos x="236" y="757"/>
              </a:cxn>
              <a:cxn ang="0">
                <a:pos x="255" y="809"/>
              </a:cxn>
              <a:cxn ang="0">
                <a:pos x="282" y="836"/>
              </a:cxn>
              <a:cxn ang="0">
                <a:pos x="336" y="904"/>
              </a:cxn>
              <a:cxn ang="0">
                <a:pos x="390" y="936"/>
              </a:cxn>
              <a:cxn ang="0">
                <a:pos x="442" y="918"/>
              </a:cxn>
              <a:cxn ang="0">
                <a:pos x="484" y="931"/>
              </a:cxn>
              <a:cxn ang="0">
                <a:pos x="555" y="933"/>
              </a:cxn>
              <a:cxn ang="0">
                <a:pos x="601" y="983"/>
              </a:cxn>
              <a:cxn ang="0">
                <a:pos x="619" y="953"/>
              </a:cxn>
              <a:cxn ang="0">
                <a:pos x="649" y="948"/>
              </a:cxn>
              <a:cxn ang="0">
                <a:pos x="691" y="947"/>
              </a:cxn>
              <a:cxn ang="0">
                <a:pos x="696" y="988"/>
              </a:cxn>
              <a:cxn ang="0">
                <a:pos x="708" y="1053"/>
              </a:cxn>
              <a:cxn ang="0">
                <a:pos x="888" y="1177"/>
              </a:cxn>
              <a:cxn ang="0">
                <a:pos x="884" y="1105"/>
              </a:cxn>
              <a:cxn ang="0">
                <a:pos x="924" y="983"/>
              </a:cxn>
              <a:cxn ang="0">
                <a:pos x="989" y="886"/>
              </a:cxn>
              <a:cxn ang="0">
                <a:pos x="1015" y="873"/>
              </a:cxn>
              <a:cxn ang="0">
                <a:pos x="1025" y="828"/>
              </a:cxn>
              <a:cxn ang="0">
                <a:pos x="1056" y="768"/>
              </a:cxn>
              <a:cxn ang="0">
                <a:pos x="1091" y="691"/>
              </a:cxn>
              <a:cxn ang="0">
                <a:pos x="1175" y="614"/>
              </a:cxn>
              <a:cxn ang="0">
                <a:pos x="1215" y="582"/>
              </a:cxn>
              <a:cxn ang="0">
                <a:pos x="1239" y="562"/>
              </a:cxn>
              <a:cxn ang="0">
                <a:pos x="1296" y="463"/>
              </a:cxn>
              <a:cxn ang="0">
                <a:pos x="1322" y="357"/>
              </a:cxn>
              <a:cxn ang="0">
                <a:pos x="1388" y="190"/>
              </a:cxn>
              <a:cxn ang="0">
                <a:pos x="1423" y="99"/>
              </a:cxn>
              <a:cxn ang="0">
                <a:pos x="1427" y="59"/>
              </a:cxn>
              <a:cxn ang="0">
                <a:pos x="831" y="943"/>
              </a:cxn>
              <a:cxn ang="0">
                <a:pos x="803" y="948"/>
              </a:cxn>
              <a:cxn ang="0">
                <a:pos x="791" y="932"/>
              </a:cxn>
              <a:cxn ang="0">
                <a:pos x="800" y="881"/>
              </a:cxn>
              <a:cxn ang="0">
                <a:pos x="842" y="881"/>
              </a:cxn>
              <a:cxn ang="0">
                <a:pos x="837" y="914"/>
              </a:cxn>
            </a:cxnLst>
            <a:rect l="0" t="0" r="r" b="b"/>
            <a:pathLst>
              <a:path w="1429" h="1177">
                <a:moveTo>
                  <a:pt x="1427" y="59"/>
                </a:moveTo>
                <a:cubicBezTo>
                  <a:pt x="1395" y="59"/>
                  <a:pt x="1395" y="59"/>
                  <a:pt x="1395" y="59"/>
                </a:cubicBezTo>
                <a:cubicBezTo>
                  <a:pt x="1391" y="75"/>
                  <a:pt x="1391" y="75"/>
                  <a:pt x="1391" y="75"/>
                </a:cubicBezTo>
                <a:cubicBezTo>
                  <a:pt x="1359" y="67"/>
                  <a:pt x="1359" y="67"/>
                  <a:pt x="1359" y="67"/>
                </a:cubicBezTo>
                <a:cubicBezTo>
                  <a:pt x="1311" y="51"/>
                  <a:pt x="1311" y="51"/>
                  <a:pt x="1311" y="51"/>
                </a:cubicBezTo>
                <a:cubicBezTo>
                  <a:pt x="1251" y="67"/>
                  <a:pt x="1251" y="67"/>
                  <a:pt x="1251" y="67"/>
                </a:cubicBezTo>
                <a:cubicBezTo>
                  <a:pt x="1251" y="67"/>
                  <a:pt x="1243" y="95"/>
                  <a:pt x="1239" y="111"/>
                </a:cubicBezTo>
                <a:cubicBezTo>
                  <a:pt x="1235" y="127"/>
                  <a:pt x="1207" y="111"/>
                  <a:pt x="1207" y="111"/>
                </a:cubicBezTo>
                <a:cubicBezTo>
                  <a:pt x="1171" y="139"/>
                  <a:pt x="1171" y="139"/>
                  <a:pt x="1171" y="139"/>
                </a:cubicBezTo>
                <a:cubicBezTo>
                  <a:pt x="1167" y="107"/>
                  <a:pt x="1167" y="107"/>
                  <a:pt x="1167" y="107"/>
                </a:cubicBezTo>
                <a:cubicBezTo>
                  <a:pt x="1127" y="71"/>
                  <a:pt x="1127" y="71"/>
                  <a:pt x="1127" y="71"/>
                </a:cubicBezTo>
                <a:cubicBezTo>
                  <a:pt x="1083" y="75"/>
                  <a:pt x="1083" y="75"/>
                  <a:pt x="1083" y="75"/>
                </a:cubicBezTo>
                <a:cubicBezTo>
                  <a:pt x="1059" y="47"/>
                  <a:pt x="1059" y="47"/>
                  <a:pt x="1059" y="47"/>
                </a:cubicBezTo>
                <a:cubicBezTo>
                  <a:pt x="1019" y="47"/>
                  <a:pt x="1019" y="47"/>
                  <a:pt x="1019" y="47"/>
                </a:cubicBezTo>
                <a:cubicBezTo>
                  <a:pt x="979" y="39"/>
                  <a:pt x="979" y="39"/>
                  <a:pt x="979" y="39"/>
                </a:cubicBezTo>
                <a:cubicBezTo>
                  <a:pt x="915" y="83"/>
                  <a:pt x="915" y="83"/>
                  <a:pt x="915" y="83"/>
                </a:cubicBezTo>
                <a:cubicBezTo>
                  <a:pt x="39" y="0"/>
                  <a:pt x="39" y="0"/>
                  <a:pt x="39" y="0"/>
                </a:cubicBezTo>
                <a:cubicBezTo>
                  <a:pt x="0" y="643"/>
                  <a:pt x="0" y="643"/>
                  <a:pt x="0" y="643"/>
                </a:cubicBezTo>
                <a:cubicBezTo>
                  <a:pt x="20" y="646"/>
                  <a:pt x="20" y="646"/>
                  <a:pt x="20" y="646"/>
                </a:cubicBezTo>
                <a:cubicBezTo>
                  <a:pt x="51" y="668"/>
                  <a:pt x="51" y="668"/>
                  <a:pt x="51" y="668"/>
                </a:cubicBezTo>
                <a:cubicBezTo>
                  <a:pt x="66" y="654"/>
                  <a:pt x="66" y="654"/>
                  <a:pt x="66" y="654"/>
                </a:cubicBezTo>
                <a:cubicBezTo>
                  <a:pt x="98" y="651"/>
                  <a:pt x="98" y="651"/>
                  <a:pt x="98" y="651"/>
                </a:cubicBezTo>
                <a:cubicBezTo>
                  <a:pt x="142" y="691"/>
                  <a:pt x="142" y="691"/>
                  <a:pt x="142" y="691"/>
                </a:cubicBezTo>
                <a:cubicBezTo>
                  <a:pt x="139" y="716"/>
                  <a:pt x="139" y="716"/>
                  <a:pt x="139" y="716"/>
                </a:cubicBezTo>
                <a:cubicBezTo>
                  <a:pt x="152" y="723"/>
                  <a:pt x="152" y="723"/>
                  <a:pt x="152" y="723"/>
                </a:cubicBezTo>
                <a:cubicBezTo>
                  <a:pt x="152" y="723"/>
                  <a:pt x="157" y="758"/>
                  <a:pt x="163" y="753"/>
                </a:cubicBezTo>
                <a:cubicBezTo>
                  <a:pt x="168" y="749"/>
                  <a:pt x="182" y="728"/>
                  <a:pt x="182" y="728"/>
                </a:cubicBezTo>
                <a:cubicBezTo>
                  <a:pt x="236" y="757"/>
                  <a:pt x="236" y="757"/>
                  <a:pt x="236" y="757"/>
                </a:cubicBezTo>
                <a:cubicBezTo>
                  <a:pt x="235" y="806"/>
                  <a:pt x="235" y="806"/>
                  <a:pt x="235" y="806"/>
                </a:cubicBezTo>
                <a:cubicBezTo>
                  <a:pt x="255" y="809"/>
                  <a:pt x="255" y="809"/>
                  <a:pt x="255" y="809"/>
                </a:cubicBezTo>
                <a:cubicBezTo>
                  <a:pt x="257" y="833"/>
                  <a:pt x="257" y="833"/>
                  <a:pt x="257" y="833"/>
                </a:cubicBezTo>
                <a:cubicBezTo>
                  <a:pt x="282" y="836"/>
                  <a:pt x="282" y="836"/>
                  <a:pt x="282" y="836"/>
                </a:cubicBezTo>
                <a:cubicBezTo>
                  <a:pt x="336" y="887"/>
                  <a:pt x="336" y="887"/>
                  <a:pt x="336" y="887"/>
                </a:cubicBezTo>
                <a:cubicBezTo>
                  <a:pt x="336" y="904"/>
                  <a:pt x="336" y="904"/>
                  <a:pt x="336" y="904"/>
                </a:cubicBezTo>
                <a:cubicBezTo>
                  <a:pt x="372" y="937"/>
                  <a:pt x="372" y="937"/>
                  <a:pt x="372" y="937"/>
                </a:cubicBezTo>
                <a:cubicBezTo>
                  <a:pt x="390" y="936"/>
                  <a:pt x="390" y="936"/>
                  <a:pt x="390" y="936"/>
                </a:cubicBezTo>
                <a:cubicBezTo>
                  <a:pt x="390" y="936"/>
                  <a:pt x="381" y="904"/>
                  <a:pt x="401" y="904"/>
                </a:cubicBezTo>
                <a:cubicBezTo>
                  <a:pt x="421" y="904"/>
                  <a:pt x="442" y="918"/>
                  <a:pt x="442" y="918"/>
                </a:cubicBezTo>
                <a:cubicBezTo>
                  <a:pt x="472" y="914"/>
                  <a:pt x="472" y="914"/>
                  <a:pt x="472" y="914"/>
                </a:cubicBezTo>
                <a:cubicBezTo>
                  <a:pt x="484" y="931"/>
                  <a:pt x="484" y="931"/>
                  <a:pt x="484" y="931"/>
                </a:cubicBezTo>
                <a:cubicBezTo>
                  <a:pt x="484" y="931"/>
                  <a:pt x="506" y="944"/>
                  <a:pt x="523" y="943"/>
                </a:cubicBezTo>
                <a:cubicBezTo>
                  <a:pt x="539" y="942"/>
                  <a:pt x="552" y="933"/>
                  <a:pt x="555" y="933"/>
                </a:cubicBezTo>
                <a:cubicBezTo>
                  <a:pt x="558" y="933"/>
                  <a:pt x="599" y="955"/>
                  <a:pt x="599" y="955"/>
                </a:cubicBezTo>
                <a:cubicBezTo>
                  <a:pt x="601" y="983"/>
                  <a:pt x="601" y="983"/>
                  <a:pt x="601" y="983"/>
                </a:cubicBezTo>
                <a:cubicBezTo>
                  <a:pt x="618" y="972"/>
                  <a:pt x="618" y="972"/>
                  <a:pt x="618" y="972"/>
                </a:cubicBezTo>
                <a:cubicBezTo>
                  <a:pt x="619" y="953"/>
                  <a:pt x="619" y="953"/>
                  <a:pt x="619" y="953"/>
                </a:cubicBezTo>
                <a:cubicBezTo>
                  <a:pt x="640" y="955"/>
                  <a:pt x="640" y="955"/>
                  <a:pt x="640" y="955"/>
                </a:cubicBezTo>
                <a:cubicBezTo>
                  <a:pt x="649" y="948"/>
                  <a:pt x="649" y="948"/>
                  <a:pt x="649" y="948"/>
                </a:cubicBezTo>
                <a:cubicBezTo>
                  <a:pt x="668" y="950"/>
                  <a:pt x="668" y="950"/>
                  <a:pt x="668" y="950"/>
                </a:cubicBezTo>
                <a:cubicBezTo>
                  <a:pt x="691" y="947"/>
                  <a:pt x="691" y="947"/>
                  <a:pt x="691" y="947"/>
                </a:cubicBezTo>
                <a:cubicBezTo>
                  <a:pt x="704" y="972"/>
                  <a:pt x="704" y="972"/>
                  <a:pt x="704" y="972"/>
                </a:cubicBezTo>
                <a:cubicBezTo>
                  <a:pt x="696" y="988"/>
                  <a:pt x="696" y="988"/>
                  <a:pt x="696" y="988"/>
                </a:cubicBezTo>
                <a:cubicBezTo>
                  <a:pt x="724" y="1026"/>
                  <a:pt x="724" y="1026"/>
                  <a:pt x="724" y="1026"/>
                </a:cubicBezTo>
                <a:cubicBezTo>
                  <a:pt x="708" y="1053"/>
                  <a:pt x="708" y="1053"/>
                  <a:pt x="708" y="1053"/>
                </a:cubicBezTo>
                <a:cubicBezTo>
                  <a:pt x="882" y="1177"/>
                  <a:pt x="882" y="1177"/>
                  <a:pt x="882" y="1177"/>
                </a:cubicBezTo>
                <a:cubicBezTo>
                  <a:pt x="888" y="1177"/>
                  <a:pt x="888" y="1177"/>
                  <a:pt x="888" y="1177"/>
                </a:cubicBezTo>
                <a:cubicBezTo>
                  <a:pt x="888" y="1177"/>
                  <a:pt x="899" y="1137"/>
                  <a:pt x="895" y="1130"/>
                </a:cubicBezTo>
                <a:cubicBezTo>
                  <a:pt x="891" y="1122"/>
                  <a:pt x="884" y="1115"/>
                  <a:pt x="884" y="1105"/>
                </a:cubicBezTo>
                <a:cubicBezTo>
                  <a:pt x="884" y="1094"/>
                  <a:pt x="910" y="1043"/>
                  <a:pt x="913" y="1033"/>
                </a:cubicBezTo>
                <a:cubicBezTo>
                  <a:pt x="917" y="1022"/>
                  <a:pt x="924" y="1004"/>
                  <a:pt x="924" y="983"/>
                </a:cubicBezTo>
                <a:cubicBezTo>
                  <a:pt x="924" y="963"/>
                  <a:pt x="954" y="931"/>
                  <a:pt x="967" y="915"/>
                </a:cubicBezTo>
                <a:cubicBezTo>
                  <a:pt x="980" y="900"/>
                  <a:pt x="989" y="886"/>
                  <a:pt x="989" y="886"/>
                </a:cubicBezTo>
                <a:cubicBezTo>
                  <a:pt x="1008" y="886"/>
                  <a:pt x="1008" y="886"/>
                  <a:pt x="1008" y="886"/>
                </a:cubicBezTo>
                <a:cubicBezTo>
                  <a:pt x="1015" y="873"/>
                  <a:pt x="1015" y="873"/>
                  <a:pt x="1015" y="873"/>
                </a:cubicBezTo>
                <a:cubicBezTo>
                  <a:pt x="1015" y="873"/>
                  <a:pt x="1003" y="854"/>
                  <a:pt x="1005" y="851"/>
                </a:cubicBezTo>
                <a:cubicBezTo>
                  <a:pt x="1007" y="847"/>
                  <a:pt x="1022" y="839"/>
                  <a:pt x="1025" y="828"/>
                </a:cubicBezTo>
                <a:cubicBezTo>
                  <a:pt x="1029" y="818"/>
                  <a:pt x="1028" y="799"/>
                  <a:pt x="1030" y="793"/>
                </a:cubicBezTo>
                <a:cubicBezTo>
                  <a:pt x="1033" y="787"/>
                  <a:pt x="1049" y="775"/>
                  <a:pt x="1056" y="768"/>
                </a:cubicBezTo>
                <a:cubicBezTo>
                  <a:pt x="1062" y="760"/>
                  <a:pt x="1071" y="747"/>
                  <a:pt x="1075" y="735"/>
                </a:cubicBezTo>
                <a:cubicBezTo>
                  <a:pt x="1078" y="723"/>
                  <a:pt x="1085" y="698"/>
                  <a:pt x="1091" y="691"/>
                </a:cubicBezTo>
                <a:cubicBezTo>
                  <a:pt x="1098" y="684"/>
                  <a:pt x="1150" y="622"/>
                  <a:pt x="1150" y="622"/>
                </a:cubicBezTo>
                <a:cubicBezTo>
                  <a:pt x="1150" y="622"/>
                  <a:pt x="1172" y="616"/>
                  <a:pt x="1175" y="614"/>
                </a:cubicBezTo>
                <a:cubicBezTo>
                  <a:pt x="1178" y="612"/>
                  <a:pt x="1196" y="596"/>
                  <a:pt x="1196" y="596"/>
                </a:cubicBezTo>
                <a:cubicBezTo>
                  <a:pt x="1196" y="596"/>
                  <a:pt x="1215" y="586"/>
                  <a:pt x="1215" y="582"/>
                </a:cubicBezTo>
                <a:cubicBezTo>
                  <a:pt x="1215" y="579"/>
                  <a:pt x="1216" y="566"/>
                  <a:pt x="1216" y="566"/>
                </a:cubicBezTo>
                <a:cubicBezTo>
                  <a:pt x="1239" y="562"/>
                  <a:pt x="1239" y="562"/>
                  <a:pt x="1239" y="562"/>
                </a:cubicBezTo>
                <a:cubicBezTo>
                  <a:pt x="1239" y="562"/>
                  <a:pt x="1245" y="528"/>
                  <a:pt x="1247" y="525"/>
                </a:cubicBezTo>
                <a:cubicBezTo>
                  <a:pt x="1248" y="522"/>
                  <a:pt x="1293" y="471"/>
                  <a:pt x="1296" y="463"/>
                </a:cubicBezTo>
                <a:cubicBezTo>
                  <a:pt x="1298" y="454"/>
                  <a:pt x="1317" y="408"/>
                  <a:pt x="1327" y="398"/>
                </a:cubicBezTo>
                <a:cubicBezTo>
                  <a:pt x="1337" y="388"/>
                  <a:pt x="1317" y="369"/>
                  <a:pt x="1322" y="357"/>
                </a:cubicBezTo>
                <a:cubicBezTo>
                  <a:pt x="1326" y="344"/>
                  <a:pt x="1373" y="255"/>
                  <a:pt x="1373" y="254"/>
                </a:cubicBezTo>
                <a:cubicBezTo>
                  <a:pt x="1373" y="252"/>
                  <a:pt x="1380" y="202"/>
                  <a:pt x="1388" y="190"/>
                </a:cubicBezTo>
                <a:cubicBezTo>
                  <a:pt x="1396" y="178"/>
                  <a:pt x="1423" y="147"/>
                  <a:pt x="1423" y="145"/>
                </a:cubicBezTo>
                <a:cubicBezTo>
                  <a:pt x="1424" y="144"/>
                  <a:pt x="1425" y="111"/>
                  <a:pt x="1423" y="99"/>
                </a:cubicBezTo>
                <a:cubicBezTo>
                  <a:pt x="1421" y="87"/>
                  <a:pt x="1428" y="78"/>
                  <a:pt x="1429" y="70"/>
                </a:cubicBezTo>
                <a:cubicBezTo>
                  <a:pt x="1429" y="68"/>
                  <a:pt x="1428" y="64"/>
                  <a:pt x="1427" y="59"/>
                </a:cubicBezTo>
                <a:close/>
                <a:moveTo>
                  <a:pt x="837" y="914"/>
                </a:moveTo>
                <a:cubicBezTo>
                  <a:pt x="835" y="917"/>
                  <a:pt x="833" y="928"/>
                  <a:pt x="831" y="943"/>
                </a:cubicBezTo>
                <a:cubicBezTo>
                  <a:pt x="829" y="957"/>
                  <a:pt x="825" y="970"/>
                  <a:pt x="825" y="970"/>
                </a:cubicBezTo>
                <a:cubicBezTo>
                  <a:pt x="803" y="948"/>
                  <a:pt x="803" y="948"/>
                  <a:pt x="803" y="948"/>
                </a:cubicBezTo>
                <a:cubicBezTo>
                  <a:pt x="803" y="933"/>
                  <a:pt x="803" y="933"/>
                  <a:pt x="803" y="933"/>
                </a:cubicBezTo>
                <a:cubicBezTo>
                  <a:pt x="791" y="932"/>
                  <a:pt x="791" y="932"/>
                  <a:pt x="791" y="932"/>
                </a:cubicBezTo>
                <a:cubicBezTo>
                  <a:pt x="800" y="896"/>
                  <a:pt x="800" y="896"/>
                  <a:pt x="800" y="896"/>
                </a:cubicBezTo>
                <a:cubicBezTo>
                  <a:pt x="800" y="881"/>
                  <a:pt x="800" y="881"/>
                  <a:pt x="800" y="881"/>
                </a:cubicBezTo>
                <a:cubicBezTo>
                  <a:pt x="816" y="877"/>
                  <a:pt x="816" y="877"/>
                  <a:pt x="816" y="877"/>
                </a:cubicBezTo>
                <a:cubicBezTo>
                  <a:pt x="831" y="853"/>
                  <a:pt x="842" y="881"/>
                  <a:pt x="842" y="881"/>
                </a:cubicBezTo>
                <a:cubicBezTo>
                  <a:pt x="863" y="886"/>
                  <a:pt x="863" y="886"/>
                  <a:pt x="863" y="886"/>
                </a:cubicBezTo>
                <a:cubicBezTo>
                  <a:pt x="863" y="886"/>
                  <a:pt x="840" y="911"/>
                  <a:pt x="837" y="914"/>
                </a:cubicBez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sp>
        <p:nvSpPr>
          <p:cNvPr id="43" name="Freeform 23" descr="© INSCALE GmbH, 05.05.2010&#10;http://www.presentationload.com/"/>
          <p:cNvSpPr>
            <a:spLocks noChangeAspect="1" noEditPoints="1"/>
          </p:cNvSpPr>
          <p:nvPr/>
        </p:nvSpPr>
        <p:spPr bwMode="auto">
          <a:xfrm>
            <a:off x="1808628" y="1057274"/>
            <a:ext cx="1117849" cy="1410065"/>
          </a:xfrm>
          <a:custGeom>
            <a:avLst/>
            <a:gdLst/>
            <a:ahLst/>
            <a:cxnLst>
              <a:cxn ang="0">
                <a:pos x="638" y="132"/>
              </a:cxn>
              <a:cxn ang="0">
                <a:pos x="1113" y="1095"/>
              </a:cxn>
              <a:cxn ang="0">
                <a:pos x="1189" y="644"/>
              </a:cxn>
              <a:cxn ang="0">
                <a:pos x="1321" y="1319"/>
              </a:cxn>
              <a:cxn ang="0">
                <a:pos x="1023" y="862"/>
              </a:cxn>
              <a:cxn ang="0">
                <a:pos x="1367" y="1374"/>
              </a:cxn>
              <a:cxn ang="0">
                <a:pos x="932" y="637"/>
              </a:cxn>
              <a:cxn ang="0">
                <a:pos x="1037" y="829"/>
              </a:cxn>
              <a:cxn ang="0">
                <a:pos x="1014" y="713"/>
              </a:cxn>
              <a:cxn ang="0">
                <a:pos x="1043" y="910"/>
              </a:cxn>
              <a:cxn ang="0">
                <a:pos x="1007" y="670"/>
              </a:cxn>
              <a:cxn ang="0">
                <a:pos x="1754" y="1704"/>
              </a:cxn>
              <a:cxn ang="0">
                <a:pos x="1753" y="1806"/>
              </a:cxn>
              <a:cxn ang="0">
                <a:pos x="1715" y="1673"/>
              </a:cxn>
              <a:cxn ang="0">
                <a:pos x="1366" y="1510"/>
              </a:cxn>
              <a:cxn ang="0">
                <a:pos x="1347" y="1162"/>
              </a:cxn>
              <a:cxn ang="0">
                <a:pos x="1506" y="1688"/>
              </a:cxn>
              <a:cxn ang="0">
                <a:pos x="1564" y="1494"/>
              </a:cxn>
              <a:cxn ang="0">
                <a:pos x="878" y="213"/>
              </a:cxn>
              <a:cxn ang="0">
                <a:pos x="1736" y="2453"/>
              </a:cxn>
              <a:cxn ang="0">
                <a:pos x="1723" y="2339"/>
              </a:cxn>
              <a:cxn ang="0">
                <a:pos x="1649" y="2071"/>
              </a:cxn>
              <a:cxn ang="0">
                <a:pos x="1548" y="1928"/>
              </a:cxn>
              <a:cxn ang="0">
                <a:pos x="1506" y="1759"/>
              </a:cxn>
              <a:cxn ang="0">
                <a:pos x="1408" y="1788"/>
              </a:cxn>
              <a:cxn ang="0">
                <a:pos x="1329" y="1521"/>
              </a:cxn>
              <a:cxn ang="0">
                <a:pos x="1238" y="1422"/>
              </a:cxn>
              <a:cxn ang="0">
                <a:pos x="1131" y="1334"/>
              </a:cxn>
              <a:cxn ang="0">
                <a:pos x="1063" y="1129"/>
              </a:cxn>
              <a:cxn ang="0">
                <a:pos x="998" y="922"/>
              </a:cxn>
              <a:cxn ang="0">
                <a:pos x="970" y="735"/>
              </a:cxn>
              <a:cxn ang="0">
                <a:pos x="846" y="677"/>
              </a:cxn>
              <a:cxn ang="0">
                <a:pos x="771" y="461"/>
              </a:cxn>
              <a:cxn ang="0">
                <a:pos x="718" y="328"/>
              </a:cxn>
              <a:cxn ang="0">
                <a:pos x="660" y="204"/>
              </a:cxn>
              <a:cxn ang="0">
                <a:pos x="583" y="426"/>
              </a:cxn>
              <a:cxn ang="0">
                <a:pos x="524" y="578"/>
              </a:cxn>
              <a:cxn ang="0">
                <a:pos x="425" y="1024"/>
              </a:cxn>
              <a:cxn ang="0">
                <a:pos x="171" y="946"/>
              </a:cxn>
              <a:cxn ang="0">
                <a:pos x="351" y="2490"/>
              </a:cxn>
              <a:cxn ang="0">
                <a:pos x="1483" y="2629"/>
              </a:cxn>
              <a:cxn ang="0">
                <a:pos x="1739" y="2549"/>
              </a:cxn>
              <a:cxn ang="0">
                <a:pos x="775" y="333"/>
              </a:cxn>
              <a:cxn ang="0">
                <a:pos x="656" y="12"/>
              </a:cxn>
              <a:cxn ang="0">
                <a:pos x="1770" y="1403"/>
              </a:cxn>
              <a:cxn ang="0">
                <a:pos x="1903" y="1741"/>
              </a:cxn>
              <a:cxn ang="0">
                <a:pos x="1760" y="1648"/>
              </a:cxn>
              <a:cxn ang="0">
                <a:pos x="1765" y="2156"/>
              </a:cxn>
              <a:cxn ang="0">
                <a:pos x="1760" y="2196"/>
              </a:cxn>
              <a:cxn ang="0">
                <a:pos x="229" y="898"/>
              </a:cxn>
              <a:cxn ang="0">
                <a:pos x="826" y="411"/>
              </a:cxn>
              <a:cxn ang="0">
                <a:pos x="837" y="505"/>
              </a:cxn>
              <a:cxn ang="0">
                <a:pos x="781" y="262"/>
              </a:cxn>
              <a:cxn ang="0">
                <a:pos x="795" y="470"/>
              </a:cxn>
              <a:cxn ang="0">
                <a:pos x="826" y="529"/>
              </a:cxn>
              <a:cxn ang="0">
                <a:pos x="869" y="165"/>
              </a:cxn>
              <a:cxn ang="0">
                <a:pos x="890" y="57"/>
              </a:cxn>
              <a:cxn ang="0">
                <a:pos x="906" y="39"/>
              </a:cxn>
              <a:cxn ang="0">
                <a:pos x="871" y="618"/>
              </a:cxn>
            </a:cxnLst>
            <a:rect l="0" t="0" r="r" b="b"/>
            <a:pathLst>
              <a:path w="2083" h="2629">
                <a:moveTo>
                  <a:pt x="641" y="162"/>
                </a:moveTo>
                <a:cubicBezTo>
                  <a:pt x="636" y="162"/>
                  <a:pt x="633" y="173"/>
                  <a:pt x="633" y="173"/>
                </a:cubicBezTo>
                <a:cubicBezTo>
                  <a:pt x="633" y="173"/>
                  <a:pt x="653" y="181"/>
                  <a:pt x="654" y="177"/>
                </a:cubicBezTo>
                <a:cubicBezTo>
                  <a:pt x="656" y="173"/>
                  <a:pt x="661" y="165"/>
                  <a:pt x="654" y="160"/>
                </a:cubicBezTo>
                <a:cubicBezTo>
                  <a:pt x="648" y="154"/>
                  <a:pt x="649" y="144"/>
                  <a:pt x="649" y="137"/>
                </a:cubicBezTo>
                <a:cubicBezTo>
                  <a:pt x="649" y="130"/>
                  <a:pt x="650" y="129"/>
                  <a:pt x="653" y="118"/>
                </a:cubicBezTo>
                <a:cubicBezTo>
                  <a:pt x="656" y="108"/>
                  <a:pt x="653" y="96"/>
                  <a:pt x="646" y="104"/>
                </a:cubicBezTo>
                <a:cubicBezTo>
                  <a:pt x="640" y="112"/>
                  <a:pt x="646" y="128"/>
                  <a:pt x="638" y="132"/>
                </a:cubicBezTo>
                <a:cubicBezTo>
                  <a:pt x="630" y="136"/>
                  <a:pt x="633" y="145"/>
                  <a:pt x="637" y="148"/>
                </a:cubicBezTo>
                <a:cubicBezTo>
                  <a:pt x="641" y="150"/>
                  <a:pt x="646" y="162"/>
                  <a:pt x="641" y="162"/>
                </a:cubicBezTo>
                <a:close/>
                <a:moveTo>
                  <a:pt x="1133" y="1145"/>
                </a:moveTo>
                <a:cubicBezTo>
                  <a:pt x="1143" y="1135"/>
                  <a:pt x="1116" y="1139"/>
                  <a:pt x="1116" y="1139"/>
                </a:cubicBezTo>
                <a:cubicBezTo>
                  <a:pt x="1116" y="1139"/>
                  <a:pt x="1124" y="1156"/>
                  <a:pt x="1133" y="1145"/>
                </a:cubicBezTo>
                <a:close/>
                <a:moveTo>
                  <a:pt x="1104" y="1124"/>
                </a:moveTo>
                <a:cubicBezTo>
                  <a:pt x="1109" y="1112"/>
                  <a:pt x="1109" y="1112"/>
                  <a:pt x="1109" y="1112"/>
                </a:cubicBezTo>
                <a:cubicBezTo>
                  <a:pt x="1113" y="1095"/>
                  <a:pt x="1113" y="1095"/>
                  <a:pt x="1113" y="1095"/>
                </a:cubicBezTo>
                <a:cubicBezTo>
                  <a:pt x="1107" y="1092"/>
                  <a:pt x="1085" y="1113"/>
                  <a:pt x="1088" y="1124"/>
                </a:cubicBezTo>
                <a:cubicBezTo>
                  <a:pt x="1091" y="1135"/>
                  <a:pt x="1104" y="1124"/>
                  <a:pt x="1104" y="1124"/>
                </a:cubicBezTo>
                <a:close/>
                <a:moveTo>
                  <a:pt x="1189" y="644"/>
                </a:moveTo>
                <a:cubicBezTo>
                  <a:pt x="1168" y="617"/>
                  <a:pt x="1168" y="617"/>
                  <a:pt x="1168" y="617"/>
                </a:cubicBezTo>
                <a:cubicBezTo>
                  <a:pt x="1168" y="632"/>
                  <a:pt x="1168" y="632"/>
                  <a:pt x="1168" y="632"/>
                </a:cubicBezTo>
                <a:cubicBezTo>
                  <a:pt x="1148" y="634"/>
                  <a:pt x="1148" y="634"/>
                  <a:pt x="1148" y="634"/>
                </a:cubicBezTo>
                <a:cubicBezTo>
                  <a:pt x="1172" y="654"/>
                  <a:pt x="1172" y="654"/>
                  <a:pt x="1172" y="654"/>
                </a:cubicBezTo>
                <a:lnTo>
                  <a:pt x="1189" y="644"/>
                </a:lnTo>
                <a:close/>
                <a:moveTo>
                  <a:pt x="1290" y="996"/>
                </a:moveTo>
                <a:cubicBezTo>
                  <a:pt x="1315" y="984"/>
                  <a:pt x="1315" y="984"/>
                  <a:pt x="1315" y="984"/>
                </a:cubicBezTo>
                <a:cubicBezTo>
                  <a:pt x="1315" y="984"/>
                  <a:pt x="1296" y="963"/>
                  <a:pt x="1286" y="967"/>
                </a:cubicBezTo>
                <a:cubicBezTo>
                  <a:pt x="1294" y="983"/>
                  <a:pt x="1294" y="983"/>
                  <a:pt x="1294" y="983"/>
                </a:cubicBezTo>
                <a:lnTo>
                  <a:pt x="1290" y="996"/>
                </a:lnTo>
                <a:close/>
                <a:moveTo>
                  <a:pt x="1286" y="1353"/>
                </a:moveTo>
                <a:cubicBezTo>
                  <a:pt x="1288" y="1342"/>
                  <a:pt x="1305" y="1329"/>
                  <a:pt x="1305" y="1329"/>
                </a:cubicBezTo>
                <a:cubicBezTo>
                  <a:pt x="1321" y="1319"/>
                  <a:pt x="1321" y="1319"/>
                  <a:pt x="1321" y="1319"/>
                </a:cubicBezTo>
                <a:cubicBezTo>
                  <a:pt x="1306" y="1313"/>
                  <a:pt x="1306" y="1313"/>
                  <a:pt x="1306" y="1313"/>
                </a:cubicBezTo>
                <a:cubicBezTo>
                  <a:pt x="1298" y="1305"/>
                  <a:pt x="1298" y="1305"/>
                  <a:pt x="1298" y="1305"/>
                </a:cubicBezTo>
                <a:cubicBezTo>
                  <a:pt x="1292" y="1323"/>
                  <a:pt x="1292" y="1323"/>
                  <a:pt x="1292" y="1323"/>
                </a:cubicBezTo>
                <a:cubicBezTo>
                  <a:pt x="1292" y="1323"/>
                  <a:pt x="1260" y="1343"/>
                  <a:pt x="1266" y="1358"/>
                </a:cubicBezTo>
                <a:cubicBezTo>
                  <a:pt x="1266" y="1358"/>
                  <a:pt x="1285" y="1363"/>
                  <a:pt x="1286" y="1353"/>
                </a:cubicBezTo>
                <a:close/>
                <a:moveTo>
                  <a:pt x="1023" y="862"/>
                </a:moveTo>
                <a:cubicBezTo>
                  <a:pt x="1026" y="850"/>
                  <a:pt x="1002" y="849"/>
                  <a:pt x="1002" y="849"/>
                </a:cubicBezTo>
                <a:cubicBezTo>
                  <a:pt x="1002" y="849"/>
                  <a:pt x="1020" y="874"/>
                  <a:pt x="1023" y="862"/>
                </a:cubicBezTo>
                <a:close/>
                <a:moveTo>
                  <a:pt x="936" y="158"/>
                </a:moveTo>
                <a:cubicBezTo>
                  <a:pt x="943" y="158"/>
                  <a:pt x="944" y="140"/>
                  <a:pt x="944" y="132"/>
                </a:cubicBezTo>
                <a:cubicBezTo>
                  <a:pt x="944" y="124"/>
                  <a:pt x="954" y="112"/>
                  <a:pt x="950" y="108"/>
                </a:cubicBezTo>
                <a:cubicBezTo>
                  <a:pt x="946" y="104"/>
                  <a:pt x="934" y="116"/>
                  <a:pt x="932" y="121"/>
                </a:cubicBezTo>
                <a:cubicBezTo>
                  <a:pt x="931" y="126"/>
                  <a:pt x="930" y="158"/>
                  <a:pt x="936" y="158"/>
                </a:cubicBezTo>
                <a:close/>
                <a:moveTo>
                  <a:pt x="1337" y="1366"/>
                </a:moveTo>
                <a:cubicBezTo>
                  <a:pt x="1357" y="1363"/>
                  <a:pt x="1357" y="1363"/>
                  <a:pt x="1357" y="1363"/>
                </a:cubicBezTo>
                <a:cubicBezTo>
                  <a:pt x="1357" y="1363"/>
                  <a:pt x="1354" y="1374"/>
                  <a:pt x="1367" y="1374"/>
                </a:cubicBezTo>
                <a:cubicBezTo>
                  <a:pt x="1381" y="1374"/>
                  <a:pt x="1395" y="1374"/>
                  <a:pt x="1395" y="1374"/>
                </a:cubicBezTo>
                <a:cubicBezTo>
                  <a:pt x="1371" y="1363"/>
                  <a:pt x="1371" y="1363"/>
                  <a:pt x="1371" y="1363"/>
                </a:cubicBezTo>
                <a:cubicBezTo>
                  <a:pt x="1342" y="1350"/>
                  <a:pt x="1342" y="1350"/>
                  <a:pt x="1342" y="1350"/>
                </a:cubicBezTo>
                <a:cubicBezTo>
                  <a:pt x="1342" y="1350"/>
                  <a:pt x="1342" y="1339"/>
                  <a:pt x="1337" y="1334"/>
                </a:cubicBezTo>
                <a:cubicBezTo>
                  <a:pt x="1331" y="1329"/>
                  <a:pt x="1333" y="1354"/>
                  <a:pt x="1333" y="1354"/>
                </a:cubicBezTo>
                <a:lnTo>
                  <a:pt x="1337" y="1366"/>
                </a:lnTo>
                <a:close/>
                <a:moveTo>
                  <a:pt x="943" y="621"/>
                </a:moveTo>
                <a:cubicBezTo>
                  <a:pt x="943" y="621"/>
                  <a:pt x="930" y="633"/>
                  <a:pt x="932" y="637"/>
                </a:cubicBezTo>
                <a:cubicBezTo>
                  <a:pt x="935" y="641"/>
                  <a:pt x="943" y="654"/>
                  <a:pt x="943" y="654"/>
                </a:cubicBezTo>
                <a:cubicBezTo>
                  <a:pt x="943" y="654"/>
                  <a:pt x="918" y="653"/>
                  <a:pt x="919" y="657"/>
                </a:cubicBezTo>
                <a:cubicBezTo>
                  <a:pt x="920" y="661"/>
                  <a:pt x="935" y="664"/>
                  <a:pt x="946" y="662"/>
                </a:cubicBezTo>
                <a:cubicBezTo>
                  <a:pt x="956" y="661"/>
                  <a:pt x="966" y="656"/>
                  <a:pt x="955" y="644"/>
                </a:cubicBezTo>
                <a:cubicBezTo>
                  <a:pt x="944" y="632"/>
                  <a:pt x="963" y="617"/>
                  <a:pt x="943" y="621"/>
                </a:cubicBezTo>
                <a:close/>
                <a:moveTo>
                  <a:pt x="1037" y="797"/>
                </a:moveTo>
                <a:cubicBezTo>
                  <a:pt x="1032" y="811"/>
                  <a:pt x="1028" y="822"/>
                  <a:pt x="1028" y="822"/>
                </a:cubicBezTo>
                <a:cubicBezTo>
                  <a:pt x="1028" y="822"/>
                  <a:pt x="1037" y="814"/>
                  <a:pt x="1037" y="829"/>
                </a:cubicBezTo>
                <a:cubicBezTo>
                  <a:pt x="1037" y="843"/>
                  <a:pt x="1035" y="870"/>
                  <a:pt x="1035" y="870"/>
                </a:cubicBezTo>
                <a:cubicBezTo>
                  <a:pt x="1035" y="870"/>
                  <a:pt x="1053" y="873"/>
                  <a:pt x="1052" y="850"/>
                </a:cubicBezTo>
                <a:cubicBezTo>
                  <a:pt x="1051" y="827"/>
                  <a:pt x="1044" y="813"/>
                  <a:pt x="1044" y="813"/>
                </a:cubicBezTo>
                <a:cubicBezTo>
                  <a:pt x="1044" y="813"/>
                  <a:pt x="1052" y="773"/>
                  <a:pt x="1049" y="758"/>
                </a:cubicBezTo>
                <a:cubicBezTo>
                  <a:pt x="1047" y="743"/>
                  <a:pt x="1053" y="714"/>
                  <a:pt x="1045" y="714"/>
                </a:cubicBezTo>
                <a:cubicBezTo>
                  <a:pt x="1037" y="714"/>
                  <a:pt x="1033" y="718"/>
                  <a:pt x="1033" y="718"/>
                </a:cubicBezTo>
                <a:cubicBezTo>
                  <a:pt x="1033" y="718"/>
                  <a:pt x="1043" y="782"/>
                  <a:pt x="1037" y="797"/>
                </a:cubicBezTo>
                <a:close/>
                <a:moveTo>
                  <a:pt x="1014" y="713"/>
                </a:moveTo>
                <a:cubicBezTo>
                  <a:pt x="1014" y="713"/>
                  <a:pt x="1006" y="718"/>
                  <a:pt x="1011" y="722"/>
                </a:cubicBezTo>
                <a:cubicBezTo>
                  <a:pt x="1016" y="726"/>
                  <a:pt x="1024" y="736"/>
                  <a:pt x="1024" y="736"/>
                </a:cubicBezTo>
                <a:lnTo>
                  <a:pt x="1014" y="713"/>
                </a:lnTo>
                <a:close/>
                <a:moveTo>
                  <a:pt x="1049" y="879"/>
                </a:moveTo>
                <a:cubicBezTo>
                  <a:pt x="1044" y="877"/>
                  <a:pt x="1032" y="883"/>
                  <a:pt x="1032" y="883"/>
                </a:cubicBezTo>
                <a:cubicBezTo>
                  <a:pt x="1043" y="890"/>
                  <a:pt x="1043" y="890"/>
                  <a:pt x="1043" y="890"/>
                </a:cubicBezTo>
                <a:cubicBezTo>
                  <a:pt x="1036" y="900"/>
                  <a:pt x="1036" y="900"/>
                  <a:pt x="1036" y="900"/>
                </a:cubicBezTo>
                <a:cubicBezTo>
                  <a:pt x="1043" y="910"/>
                  <a:pt x="1043" y="910"/>
                  <a:pt x="1043" y="910"/>
                </a:cubicBezTo>
                <a:cubicBezTo>
                  <a:pt x="1035" y="915"/>
                  <a:pt x="1035" y="915"/>
                  <a:pt x="1035" y="915"/>
                </a:cubicBezTo>
                <a:cubicBezTo>
                  <a:pt x="1035" y="915"/>
                  <a:pt x="1061" y="920"/>
                  <a:pt x="1056" y="907"/>
                </a:cubicBezTo>
                <a:cubicBezTo>
                  <a:pt x="1051" y="894"/>
                  <a:pt x="1055" y="882"/>
                  <a:pt x="1049" y="879"/>
                </a:cubicBezTo>
                <a:close/>
                <a:moveTo>
                  <a:pt x="968" y="658"/>
                </a:moveTo>
                <a:cubicBezTo>
                  <a:pt x="986" y="680"/>
                  <a:pt x="986" y="680"/>
                  <a:pt x="986" y="680"/>
                </a:cubicBezTo>
                <a:cubicBezTo>
                  <a:pt x="1012" y="688"/>
                  <a:pt x="1012" y="688"/>
                  <a:pt x="1012" y="688"/>
                </a:cubicBezTo>
                <a:cubicBezTo>
                  <a:pt x="1012" y="688"/>
                  <a:pt x="1022" y="702"/>
                  <a:pt x="1028" y="701"/>
                </a:cubicBezTo>
                <a:cubicBezTo>
                  <a:pt x="1035" y="700"/>
                  <a:pt x="1016" y="672"/>
                  <a:pt x="1007" y="670"/>
                </a:cubicBezTo>
                <a:cubicBezTo>
                  <a:pt x="998" y="669"/>
                  <a:pt x="971" y="652"/>
                  <a:pt x="971" y="652"/>
                </a:cubicBezTo>
                <a:lnTo>
                  <a:pt x="968" y="658"/>
                </a:lnTo>
                <a:close/>
                <a:moveTo>
                  <a:pt x="971" y="98"/>
                </a:moveTo>
                <a:cubicBezTo>
                  <a:pt x="968" y="93"/>
                  <a:pt x="967" y="117"/>
                  <a:pt x="967" y="117"/>
                </a:cubicBezTo>
                <a:cubicBezTo>
                  <a:pt x="967" y="117"/>
                  <a:pt x="974" y="104"/>
                  <a:pt x="971" y="98"/>
                </a:cubicBezTo>
                <a:close/>
                <a:moveTo>
                  <a:pt x="1784" y="1774"/>
                </a:moveTo>
                <a:cubicBezTo>
                  <a:pt x="1761" y="1705"/>
                  <a:pt x="1761" y="1705"/>
                  <a:pt x="1761" y="1705"/>
                </a:cubicBezTo>
                <a:cubicBezTo>
                  <a:pt x="1754" y="1704"/>
                  <a:pt x="1754" y="1704"/>
                  <a:pt x="1754" y="1704"/>
                </a:cubicBezTo>
                <a:cubicBezTo>
                  <a:pt x="1774" y="1776"/>
                  <a:pt x="1774" y="1776"/>
                  <a:pt x="1774" y="1776"/>
                </a:cubicBezTo>
                <a:lnTo>
                  <a:pt x="1784" y="1774"/>
                </a:lnTo>
                <a:close/>
                <a:moveTo>
                  <a:pt x="1736" y="1180"/>
                </a:moveTo>
                <a:cubicBezTo>
                  <a:pt x="1737" y="1170"/>
                  <a:pt x="1748" y="1161"/>
                  <a:pt x="1748" y="1161"/>
                </a:cubicBezTo>
                <a:cubicBezTo>
                  <a:pt x="1709" y="1180"/>
                  <a:pt x="1709" y="1180"/>
                  <a:pt x="1709" y="1180"/>
                </a:cubicBezTo>
                <a:cubicBezTo>
                  <a:pt x="1709" y="1180"/>
                  <a:pt x="1734" y="1189"/>
                  <a:pt x="1736" y="1180"/>
                </a:cubicBezTo>
                <a:close/>
                <a:moveTo>
                  <a:pt x="1773" y="1785"/>
                </a:moveTo>
                <a:cubicBezTo>
                  <a:pt x="1770" y="1780"/>
                  <a:pt x="1742" y="1778"/>
                  <a:pt x="1753" y="1806"/>
                </a:cubicBezTo>
                <a:cubicBezTo>
                  <a:pt x="1758" y="1820"/>
                  <a:pt x="1776" y="1790"/>
                  <a:pt x="1773" y="1785"/>
                </a:cubicBezTo>
                <a:close/>
                <a:moveTo>
                  <a:pt x="1793" y="1157"/>
                </a:moveTo>
                <a:cubicBezTo>
                  <a:pt x="1786" y="1151"/>
                  <a:pt x="1777" y="1166"/>
                  <a:pt x="1777" y="1166"/>
                </a:cubicBezTo>
                <a:cubicBezTo>
                  <a:pt x="1781" y="1166"/>
                  <a:pt x="1800" y="1164"/>
                  <a:pt x="1793" y="1157"/>
                </a:cubicBezTo>
                <a:close/>
                <a:moveTo>
                  <a:pt x="1800" y="1132"/>
                </a:moveTo>
                <a:cubicBezTo>
                  <a:pt x="1786" y="1129"/>
                  <a:pt x="1786" y="1127"/>
                  <a:pt x="1801" y="1145"/>
                </a:cubicBezTo>
                <a:cubicBezTo>
                  <a:pt x="1801" y="1145"/>
                  <a:pt x="1813" y="1135"/>
                  <a:pt x="1800" y="1132"/>
                </a:cubicBezTo>
                <a:close/>
                <a:moveTo>
                  <a:pt x="1715" y="1673"/>
                </a:moveTo>
                <a:cubicBezTo>
                  <a:pt x="1718" y="1664"/>
                  <a:pt x="1712" y="1651"/>
                  <a:pt x="1712" y="1651"/>
                </a:cubicBezTo>
                <a:cubicBezTo>
                  <a:pt x="1688" y="1671"/>
                  <a:pt x="1688" y="1671"/>
                  <a:pt x="1688" y="1671"/>
                </a:cubicBezTo>
                <a:cubicBezTo>
                  <a:pt x="1688" y="1671"/>
                  <a:pt x="1711" y="1683"/>
                  <a:pt x="1715" y="1673"/>
                </a:cubicBezTo>
                <a:close/>
                <a:moveTo>
                  <a:pt x="1385" y="1506"/>
                </a:moveTo>
                <a:cubicBezTo>
                  <a:pt x="1375" y="1488"/>
                  <a:pt x="1370" y="1455"/>
                  <a:pt x="1370" y="1455"/>
                </a:cubicBezTo>
                <a:cubicBezTo>
                  <a:pt x="1354" y="1463"/>
                  <a:pt x="1354" y="1463"/>
                  <a:pt x="1354" y="1463"/>
                </a:cubicBezTo>
                <a:cubicBezTo>
                  <a:pt x="1366" y="1491"/>
                  <a:pt x="1366" y="1491"/>
                  <a:pt x="1366" y="1491"/>
                </a:cubicBezTo>
                <a:cubicBezTo>
                  <a:pt x="1366" y="1510"/>
                  <a:pt x="1366" y="1510"/>
                  <a:pt x="1366" y="1510"/>
                </a:cubicBezTo>
                <a:cubicBezTo>
                  <a:pt x="1366" y="1510"/>
                  <a:pt x="1394" y="1523"/>
                  <a:pt x="1385" y="1506"/>
                </a:cubicBezTo>
                <a:close/>
                <a:moveTo>
                  <a:pt x="1387" y="1430"/>
                </a:moveTo>
                <a:cubicBezTo>
                  <a:pt x="1391" y="1433"/>
                  <a:pt x="1401" y="1413"/>
                  <a:pt x="1401" y="1413"/>
                </a:cubicBezTo>
                <a:cubicBezTo>
                  <a:pt x="1397" y="1398"/>
                  <a:pt x="1397" y="1398"/>
                  <a:pt x="1397" y="1398"/>
                </a:cubicBezTo>
                <a:cubicBezTo>
                  <a:pt x="1397" y="1398"/>
                  <a:pt x="1375" y="1421"/>
                  <a:pt x="1387" y="1430"/>
                </a:cubicBezTo>
                <a:close/>
                <a:moveTo>
                  <a:pt x="1366" y="1135"/>
                </a:moveTo>
                <a:cubicBezTo>
                  <a:pt x="1358" y="1124"/>
                  <a:pt x="1334" y="1158"/>
                  <a:pt x="1334" y="1158"/>
                </a:cubicBezTo>
                <a:cubicBezTo>
                  <a:pt x="1341" y="1160"/>
                  <a:pt x="1347" y="1162"/>
                  <a:pt x="1347" y="1162"/>
                </a:cubicBezTo>
                <a:cubicBezTo>
                  <a:pt x="1347" y="1162"/>
                  <a:pt x="1374" y="1145"/>
                  <a:pt x="1366" y="1135"/>
                </a:cubicBezTo>
                <a:close/>
                <a:moveTo>
                  <a:pt x="1462" y="1432"/>
                </a:moveTo>
                <a:cubicBezTo>
                  <a:pt x="1468" y="1423"/>
                  <a:pt x="1451" y="1398"/>
                  <a:pt x="1451" y="1398"/>
                </a:cubicBezTo>
                <a:cubicBezTo>
                  <a:pt x="1451" y="1398"/>
                  <a:pt x="1448" y="1411"/>
                  <a:pt x="1446" y="1415"/>
                </a:cubicBezTo>
                <a:cubicBezTo>
                  <a:pt x="1443" y="1419"/>
                  <a:pt x="1417" y="1406"/>
                  <a:pt x="1411" y="1421"/>
                </a:cubicBezTo>
                <a:cubicBezTo>
                  <a:pt x="1426" y="1430"/>
                  <a:pt x="1426" y="1430"/>
                  <a:pt x="1426" y="1430"/>
                </a:cubicBezTo>
                <a:cubicBezTo>
                  <a:pt x="1426" y="1430"/>
                  <a:pt x="1455" y="1442"/>
                  <a:pt x="1462" y="1432"/>
                </a:cubicBezTo>
                <a:close/>
                <a:moveTo>
                  <a:pt x="1506" y="1688"/>
                </a:moveTo>
                <a:cubicBezTo>
                  <a:pt x="1515" y="1685"/>
                  <a:pt x="1479" y="1668"/>
                  <a:pt x="1479" y="1668"/>
                </a:cubicBezTo>
                <a:cubicBezTo>
                  <a:pt x="1482" y="1689"/>
                  <a:pt x="1496" y="1691"/>
                  <a:pt x="1506" y="1688"/>
                </a:cubicBezTo>
                <a:close/>
                <a:moveTo>
                  <a:pt x="1676" y="1664"/>
                </a:moveTo>
                <a:cubicBezTo>
                  <a:pt x="1677" y="1643"/>
                  <a:pt x="1677" y="1643"/>
                  <a:pt x="1677" y="1643"/>
                </a:cubicBezTo>
                <a:cubicBezTo>
                  <a:pt x="1677" y="1643"/>
                  <a:pt x="1643" y="1633"/>
                  <a:pt x="1627" y="1673"/>
                </a:cubicBezTo>
                <a:cubicBezTo>
                  <a:pt x="1664" y="1652"/>
                  <a:pt x="1664" y="1652"/>
                  <a:pt x="1664" y="1652"/>
                </a:cubicBezTo>
                <a:lnTo>
                  <a:pt x="1676" y="1664"/>
                </a:lnTo>
                <a:close/>
                <a:moveTo>
                  <a:pt x="1564" y="1494"/>
                </a:moveTo>
                <a:cubicBezTo>
                  <a:pt x="1580" y="1507"/>
                  <a:pt x="1580" y="1507"/>
                  <a:pt x="1580" y="1507"/>
                </a:cubicBezTo>
                <a:cubicBezTo>
                  <a:pt x="1580" y="1507"/>
                  <a:pt x="1571" y="1464"/>
                  <a:pt x="1564" y="1494"/>
                </a:cubicBezTo>
                <a:close/>
                <a:moveTo>
                  <a:pt x="874" y="251"/>
                </a:moveTo>
                <a:cubicBezTo>
                  <a:pt x="867" y="255"/>
                  <a:pt x="853" y="295"/>
                  <a:pt x="853" y="295"/>
                </a:cubicBezTo>
                <a:cubicBezTo>
                  <a:pt x="886" y="278"/>
                  <a:pt x="886" y="278"/>
                  <a:pt x="886" y="278"/>
                </a:cubicBezTo>
                <a:cubicBezTo>
                  <a:pt x="867" y="273"/>
                  <a:pt x="867" y="273"/>
                  <a:pt x="867" y="273"/>
                </a:cubicBezTo>
                <a:cubicBezTo>
                  <a:pt x="867" y="273"/>
                  <a:pt x="887" y="265"/>
                  <a:pt x="886" y="254"/>
                </a:cubicBezTo>
                <a:cubicBezTo>
                  <a:pt x="885" y="243"/>
                  <a:pt x="877" y="217"/>
                  <a:pt x="878" y="213"/>
                </a:cubicBezTo>
                <a:cubicBezTo>
                  <a:pt x="879" y="209"/>
                  <a:pt x="881" y="194"/>
                  <a:pt x="877" y="190"/>
                </a:cubicBezTo>
                <a:cubicBezTo>
                  <a:pt x="873" y="186"/>
                  <a:pt x="866" y="190"/>
                  <a:pt x="866" y="206"/>
                </a:cubicBezTo>
                <a:cubicBezTo>
                  <a:pt x="866" y="222"/>
                  <a:pt x="881" y="247"/>
                  <a:pt x="874" y="251"/>
                </a:cubicBezTo>
                <a:close/>
                <a:moveTo>
                  <a:pt x="878" y="605"/>
                </a:moveTo>
                <a:cubicBezTo>
                  <a:pt x="878" y="605"/>
                  <a:pt x="919" y="625"/>
                  <a:pt x="928" y="618"/>
                </a:cubicBezTo>
                <a:cubicBezTo>
                  <a:pt x="938" y="612"/>
                  <a:pt x="938" y="607"/>
                  <a:pt x="931" y="607"/>
                </a:cubicBezTo>
                <a:cubicBezTo>
                  <a:pt x="924" y="607"/>
                  <a:pt x="878" y="596"/>
                  <a:pt x="878" y="605"/>
                </a:cubicBezTo>
                <a:close/>
                <a:moveTo>
                  <a:pt x="1736" y="2453"/>
                </a:moveTo>
                <a:cubicBezTo>
                  <a:pt x="1732" y="2461"/>
                  <a:pt x="1748" y="2474"/>
                  <a:pt x="1748" y="2474"/>
                </a:cubicBezTo>
                <a:cubicBezTo>
                  <a:pt x="1758" y="2459"/>
                  <a:pt x="1758" y="2459"/>
                  <a:pt x="1758" y="2459"/>
                </a:cubicBezTo>
                <a:cubicBezTo>
                  <a:pt x="1756" y="2446"/>
                  <a:pt x="1756" y="2446"/>
                  <a:pt x="1756" y="2446"/>
                </a:cubicBezTo>
                <a:cubicBezTo>
                  <a:pt x="1752" y="2413"/>
                  <a:pt x="1740" y="2445"/>
                  <a:pt x="1736" y="2453"/>
                </a:cubicBezTo>
                <a:close/>
                <a:moveTo>
                  <a:pt x="1728" y="2408"/>
                </a:moveTo>
                <a:cubicBezTo>
                  <a:pt x="1728" y="2408"/>
                  <a:pt x="1719" y="2386"/>
                  <a:pt x="1726" y="2374"/>
                </a:cubicBezTo>
                <a:cubicBezTo>
                  <a:pt x="1733" y="2362"/>
                  <a:pt x="1733" y="2362"/>
                  <a:pt x="1733" y="2362"/>
                </a:cubicBezTo>
                <a:cubicBezTo>
                  <a:pt x="1733" y="2362"/>
                  <a:pt x="1717" y="2347"/>
                  <a:pt x="1723" y="2339"/>
                </a:cubicBezTo>
                <a:cubicBezTo>
                  <a:pt x="1728" y="2331"/>
                  <a:pt x="1728" y="2300"/>
                  <a:pt x="1728" y="2298"/>
                </a:cubicBezTo>
                <a:cubicBezTo>
                  <a:pt x="1728" y="2296"/>
                  <a:pt x="1750" y="2267"/>
                  <a:pt x="1750" y="2267"/>
                </a:cubicBezTo>
                <a:cubicBezTo>
                  <a:pt x="1750" y="2267"/>
                  <a:pt x="1738" y="2250"/>
                  <a:pt x="1734" y="2243"/>
                </a:cubicBezTo>
                <a:cubicBezTo>
                  <a:pt x="1730" y="2237"/>
                  <a:pt x="1704" y="2236"/>
                  <a:pt x="1719" y="2220"/>
                </a:cubicBezTo>
                <a:cubicBezTo>
                  <a:pt x="1734" y="2204"/>
                  <a:pt x="1739" y="2193"/>
                  <a:pt x="1731" y="2182"/>
                </a:cubicBezTo>
                <a:cubicBezTo>
                  <a:pt x="1723" y="2170"/>
                  <a:pt x="1709" y="2169"/>
                  <a:pt x="1699" y="2155"/>
                </a:cubicBezTo>
                <a:cubicBezTo>
                  <a:pt x="1689" y="2140"/>
                  <a:pt x="1688" y="2106"/>
                  <a:pt x="1688" y="2106"/>
                </a:cubicBezTo>
                <a:cubicBezTo>
                  <a:pt x="1688" y="2106"/>
                  <a:pt x="1655" y="2097"/>
                  <a:pt x="1649" y="2071"/>
                </a:cubicBezTo>
                <a:cubicBezTo>
                  <a:pt x="1643" y="2046"/>
                  <a:pt x="1643" y="2029"/>
                  <a:pt x="1641" y="2026"/>
                </a:cubicBezTo>
                <a:cubicBezTo>
                  <a:pt x="1639" y="2024"/>
                  <a:pt x="1612" y="1991"/>
                  <a:pt x="1612" y="1991"/>
                </a:cubicBezTo>
                <a:cubicBezTo>
                  <a:pt x="1587" y="2001"/>
                  <a:pt x="1587" y="2001"/>
                  <a:pt x="1587" y="2001"/>
                </a:cubicBezTo>
                <a:cubicBezTo>
                  <a:pt x="1573" y="1974"/>
                  <a:pt x="1573" y="1974"/>
                  <a:pt x="1573" y="1974"/>
                </a:cubicBezTo>
                <a:cubicBezTo>
                  <a:pt x="1573" y="1974"/>
                  <a:pt x="1583" y="1965"/>
                  <a:pt x="1582" y="1962"/>
                </a:cubicBezTo>
                <a:cubicBezTo>
                  <a:pt x="1581" y="1958"/>
                  <a:pt x="1567" y="1926"/>
                  <a:pt x="1567" y="1926"/>
                </a:cubicBezTo>
                <a:cubicBezTo>
                  <a:pt x="1567" y="1926"/>
                  <a:pt x="1574" y="1965"/>
                  <a:pt x="1566" y="1957"/>
                </a:cubicBezTo>
                <a:cubicBezTo>
                  <a:pt x="1558" y="1950"/>
                  <a:pt x="1548" y="1928"/>
                  <a:pt x="1548" y="1928"/>
                </a:cubicBezTo>
                <a:cubicBezTo>
                  <a:pt x="1548" y="1928"/>
                  <a:pt x="1532" y="1926"/>
                  <a:pt x="1529" y="1923"/>
                </a:cubicBezTo>
                <a:cubicBezTo>
                  <a:pt x="1527" y="1921"/>
                  <a:pt x="1527" y="1902"/>
                  <a:pt x="1529" y="1892"/>
                </a:cubicBezTo>
                <a:cubicBezTo>
                  <a:pt x="1531" y="1882"/>
                  <a:pt x="1541" y="1879"/>
                  <a:pt x="1539" y="1865"/>
                </a:cubicBezTo>
                <a:cubicBezTo>
                  <a:pt x="1537" y="1850"/>
                  <a:pt x="1533" y="1841"/>
                  <a:pt x="1535" y="1835"/>
                </a:cubicBezTo>
                <a:cubicBezTo>
                  <a:pt x="1536" y="1830"/>
                  <a:pt x="1550" y="1820"/>
                  <a:pt x="1544" y="1813"/>
                </a:cubicBezTo>
                <a:cubicBezTo>
                  <a:pt x="1539" y="1806"/>
                  <a:pt x="1548" y="1791"/>
                  <a:pt x="1538" y="1781"/>
                </a:cubicBezTo>
                <a:cubicBezTo>
                  <a:pt x="1528" y="1770"/>
                  <a:pt x="1506" y="1747"/>
                  <a:pt x="1504" y="1747"/>
                </a:cubicBezTo>
                <a:cubicBezTo>
                  <a:pt x="1503" y="1747"/>
                  <a:pt x="1506" y="1759"/>
                  <a:pt x="1506" y="1759"/>
                </a:cubicBezTo>
                <a:cubicBezTo>
                  <a:pt x="1506" y="1759"/>
                  <a:pt x="1531" y="1783"/>
                  <a:pt x="1530" y="1789"/>
                </a:cubicBezTo>
                <a:cubicBezTo>
                  <a:pt x="1530" y="1796"/>
                  <a:pt x="1525" y="1803"/>
                  <a:pt x="1518" y="1800"/>
                </a:cubicBezTo>
                <a:cubicBezTo>
                  <a:pt x="1511" y="1796"/>
                  <a:pt x="1477" y="1773"/>
                  <a:pt x="1474" y="1767"/>
                </a:cubicBezTo>
                <a:cubicBezTo>
                  <a:pt x="1471" y="1762"/>
                  <a:pt x="1456" y="1728"/>
                  <a:pt x="1449" y="1727"/>
                </a:cubicBezTo>
                <a:cubicBezTo>
                  <a:pt x="1441" y="1725"/>
                  <a:pt x="1439" y="1741"/>
                  <a:pt x="1439" y="1741"/>
                </a:cubicBezTo>
                <a:cubicBezTo>
                  <a:pt x="1439" y="1741"/>
                  <a:pt x="1457" y="1792"/>
                  <a:pt x="1450" y="1790"/>
                </a:cubicBezTo>
                <a:cubicBezTo>
                  <a:pt x="1444" y="1788"/>
                  <a:pt x="1426" y="1763"/>
                  <a:pt x="1426" y="1763"/>
                </a:cubicBezTo>
                <a:cubicBezTo>
                  <a:pt x="1426" y="1763"/>
                  <a:pt x="1413" y="1794"/>
                  <a:pt x="1408" y="1788"/>
                </a:cubicBezTo>
                <a:cubicBezTo>
                  <a:pt x="1404" y="1781"/>
                  <a:pt x="1394" y="1780"/>
                  <a:pt x="1397" y="1768"/>
                </a:cubicBezTo>
                <a:cubicBezTo>
                  <a:pt x="1400" y="1756"/>
                  <a:pt x="1406" y="1743"/>
                  <a:pt x="1404" y="1738"/>
                </a:cubicBezTo>
                <a:cubicBezTo>
                  <a:pt x="1402" y="1732"/>
                  <a:pt x="1409" y="1717"/>
                  <a:pt x="1404" y="1711"/>
                </a:cubicBezTo>
                <a:cubicBezTo>
                  <a:pt x="1400" y="1705"/>
                  <a:pt x="1394" y="1707"/>
                  <a:pt x="1394" y="1693"/>
                </a:cubicBezTo>
                <a:cubicBezTo>
                  <a:pt x="1395" y="1678"/>
                  <a:pt x="1403" y="1661"/>
                  <a:pt x="1401" y="1654"/>
                </a:cubicBezTo>
                <a:cubicBezTo>
                  <a:pt x="1398" y="1646"/>
                  <a:pt x="1382" y="1636"/>
                  <a:pt x="1380" y="1623"/>
                </a:cubicBezTo>
                <a:cubicBezTo>
                  <a:pt x="1378" y="1610"/>
                  <a:pt x="1373" y="1578"/>
                  <a:pt x="1368" y="1572"/>
                </a:cubicBezTo>
                <a:cubicBezTo>
                  <a:pt x="1363" y="1566"/>
                  <a:pt x="1331" y="1528"/>
                  <a:pt x="1329" y="1521"/>
                </a:cubicBezTo>
                <a:cubicBezTo>
                  <a:pt x="1326" y="1513"/>
                  <a:pt x="1326" y="1498"/>
                  <a:pt x="1338" y="1499"/>
                </a:cubicBezTo>
                <a:cubicBezTo>
                  <a:pt x="1350" y="1500"/>
                  <a:pt x="1356" y="1510"/>
                  <a:pt x="1356" y="1510"/>
                </a:cubicBezTo>
                <a:cubicBezTo>
                  <a:pt x="1356" y="1510"/>
                  <a:pt x="1348" y="1483"/>
                  <a:pt x="1340" y="1474"/>
                </a:cubicBezTo>
                <a:cubicBezTo>
                  <a:pt x="1332" y="1465"/>
                  <a:pt x="1312" y="1442"/>
                  <a:pt x="1312" y="1442"/>
                </a:cubicBezTo>
                <a:cubicBezTo>
                  <a:pt x="1312" y="1442"/>
                  <a:pt x="1312" y="1467"/>
                  <a:pt x="1302" y="1465"/>
                </a:cubicBezTo>
                <a:cubicBezTo>
                  <a:pt x="1291" y="1463"/>
                  <a:pt x="1292" y="1442"/>
                  <a:pt x="1285" y="1436"/>
                </a:cubicBezTo>
                <a:cubicBezTo>
                  <a:pt x="1279" y="1430"/>
                  <a:pt x="1257" y="1415"/>
                  <a:pt x="1257" y="1415"/>
                </a:cubicBezTo>
                <a:cubicBezTo>
                  <a:pt x="1257" y="1415"/>
                  <a:pt x="1238" y="1425"/>
                  <a:pt x="1238" y="1422"/>
                </a:cubicBezTo>
                <a:cubicBezTo>
                  <a:pt x="1238" y="1418"/>
                  <a:pt x="1240" y="1393"/>
                  <a:pt x="1237" y="1393"/>
                </a:cubicBezTo>
                <a:cubicBezTo>
                  <a:pt x="1235" y="1392"/>
                  <a:pt x="1213" y="1408"/>
                  <a:pt x="1213" y="1408"/>
                </a:cubicBezTo>
                <a:cubicBezTo>
                  <a:pt x="1213" y="1408"/>
                  <a:pt x="1210" y="1369"/>
                  <a:pt x="1207" y="1363"/>
                </a:cubicBezTo>
                <a:cubicBezTo>
                  <a:pt x="1203" y="1358"/>
                  <a:pt x="1194" y="1341"/>
                  <a:pt x="1194" y="1341"/>
                </a:cubicBezTo>
                <a:cubicBezTo>
                  <a:pt x="1194" y="1341"/>
                  <a:pt x="1179" y="1360"/>
                  <a:pt x="1176" y="1358"/>
                </a:cubicBezTo>
                <a:cubicBezTo>
                  <a:pt x="1174" y="1357"/>
                  <a:pt x="1146" y="1339"/>
                  <a:pt x="1146" y="1339"/>
                </a:cubicBezTo>
                <a:cubicBezTo>
                  <a:pt x="1153" y="1321"/>
                  <a:pt x="1153" y="1321"/>
                  <a:pt x="1153" y="1321"/>
                </a:cubicBezTo>
                <a:cubicBezTo>
                  <a:pt x="1153" y="1321"/>
                  <a:pt x="1136" y="1339"/>
                  <a:pt x="1131" y="1334"/>
                </a:cubicBezTo>
                <a:cubicBezTo>
                  <a:pt x="1127" y="1329"/>
                  <a:pt x="1105" y="1309"/>
                  <a:pt x="1093" y="1298"/>
                </a:cubicBezTo>
                <a:cubicBezTo>
                  <a:pt x="1080" y="1287"/>
                  <a:pt x="1060" y="1263"/>
                  <a:pt x="1060" y="1261"/>
                </a:cubicBezTo>
                <a:cubicBezTo>
                  <a:pt x="1060" y="1259"/>
                  <a:pt x="1076" y="1241"/>
                  <a:pt x="1076" y="1241"/>
                </a:cubicBezTo>
                <a:cubicBezTo>
                  <a:pt x="1076" y="1241"/>
                  <a:pt x="1083" y="1215"/>
                  <a:pt x="1078" y="1208"/>
                </a:cubicBezTo>
                <a:cubicBezTo>
                  <a:pt x="1072" y="1200"/>
                  <a:pt x="1069" y="1188"/>
                  <a:pt x="1068" y="1188"/>
                </a:cubicBezTo>
                <a:cubicBezTo>
                  <a:pt x="1066" y="1188"/>
                  <a:pt x="1050" y="1192"/>
                  <a:pt x="1050" y="1192"/>
                </a:cubicBezTo>
                <a:cubicBezTo>
                  <a:pt x="1050" y="1192"/>
                  <a:pt x="1041" y="1161"/>
                  <a:pt x="1043" y="1158"/>
                </a:cubicBezTo>
                <a:cubicBezTo>
                  <a:pt x="1044" y="1155"/>
                  <a:pt x="1063" y="1149"/>
                  <a:pt x="1063" y="1129"/>
                </a:cubicBezTo>
                <a:cubicBezTo>
                  <a:pt x="1063" y="1109"/>
                  <a:pt x="1057" y="1076"/>
                  <a:pt x="1057" y="1074"/>
                </a:cubicBezTo>
                <a:cubicBezTo>
                  <a:pt x="1057" y="1073"/>
                  <a:pt x="1050" y="1070"/>
                  <a:pt x="1048" y="1058"/>
                </a:cubicBezTo>
                <a:cubicBezTo>
                  <a:pt x="1046" y="1045"/>
                  <a:pt x="1038" y="1029"/>
                  <a:pt x="1038" y="1028"/>
                </a:cubicBezTo>
                <a:cubicBezTo>
                  <a:pt x="1038" y="1026"/>
                  <a:pt x="1050" y="1014"/>
                  <a:pt x="1050" y="1014"/>
                </a:cubicBezTo>
                <a:cubicBezTo>
                  <a:pt x="1050" y="1014"/>
                  <a:pt x="1030" y="1023"/>
                  <a:pt x="1030" y="1020"/>
                </a:cubicBezTo>
                <a:cubicBezTo>
                  <a:pt x="1030" y="1017"/>
                  <a:pt x="1015" y="994"/>
                  <a:pt x="1011" y="984"/>
                </a:cubicBezTo>
                <a:cubicBezTo>
                  <a:pt x="1008" y="975"/>
                  <a:pt x="996" y="961"/>
                  <a:pt x="992" y="947"/>
                </a:cubicBezTo>
                <a:cubicBezTo>
                  <a:pt x="988" y="934"/>
                  <a:pt x="998" y="922"/>
                  <a:pt x="998" y="922"/>
                </a:cubicBezTo>
                <a:cubicBezTo>
                  <a:pt x="992" y="910"/>
                  <a:pt x="992" y="910"/>
                  <a:pt x="992" y="910"/>
                </a:cubicBezTo>
                <a:cubicBezTo>
                  <a:pt x="992" y="910"/>
                  <a:pt x="1002" y="912"/>
                  <a:pt x="999" y="900"/>
                </a:cubicBezTo>
                <a:cubicBezTo>
                  <a:pt x="997" y="887"/>
                  <a:pt x="996" y="882"/>
                  <a:pt x="992" y="877"/>
                </a:cubicBezTo>
                <a:cubicBezTo>
                  <a:pt x="988" y="872"/>
                  <a:pt x="988" y="840"/>
                  <a:pt x="985" y="824"/>
                </a:cubicBezTo>
                <a:cubicBezTo>
                  <a:pt x="983" y="808"/>
                  <a:pt x="992" y="796"/>
                  <a:pt x="992" y="796"/>
                </a:cubicBezTo>
                <a:cubicBezTo>
                  <a:pt x="982" y="783"/>
                  <a:pt x="982" y="783"/>
                  <a:pt x="982" y="783"/>
                </a:cubicBezTo>
                <a:cubicBezTo>
                  <a:pt x="994" y="761"/>
                  <a:pt x="994" y="761"/>
                  <a:pt x="994" y="761"/>
                </a:cubicBezTo>
                <a:cubicBezTo>
                  <a:pt x="994" y="761"/>
                  <a:pt x="979" y="739"/>
                  <a:pt x="970" y="735"/>
                </a:cubicBezTo>
                <a:cubicBezTo>
                  <a:pt x="960" y="731"/>
                  <a:pt x="949" y="725"/>
                  <a:pt x="949" y="725"/>
                </a:cubicBezTo>
                <a:cubicBezTo>
                  <a:pt x="948" y="712"/>
                  <a:pt x="948" y="712"/>
                  <a:pt x="948" y="712"/>
                </a:cubicBezTo>
                <a:cubicBezTo>
                  <a:pt x="918" y="691"/>
                  <a:pt x="918" y="691"/>
                  <a:pt x="918" y="691"/>
                </a:cubicBezTo>
                <a:cubicBezTo>
                  <a:pt x="918" y="691"/>
                  <a:pt x="912" y="658"/>
                  <a:pt x="908" y="654"/>
                </a:cubicBezTo>
                <a:cubicBezTo>
                  <a:pt x="903" y="651"/>
                  <a:pt x="898" y="647"/>
                  <a:pt x="898" y="647"/>
                </a:cubicBezTo>
                <a:cubicBezTo>
                  <a:pt x="898" y="647"/>
                  <a:pt x="880" y="667"/>
                  <a:pt x="878" y="667"/>
                </a:cubicBezTo>
                <a:cubicBezTo>
                  <a:pt x="877" y="667"/>
                  <a:pt x="864" y="656"/>
                  <a:pt x="864" y="656"/>
                </a:cubicBezTo>
                <a:cubicBezTo>
                  <a:pt x="864" y="656"/>
                  <a:pt x="856" y="672"/>
                  <a:pt x="846" y="677"/>
                </a:cubicBezTo>
                <a:cubicBezTo>
                  <a:pt x="836" y="682"/>
                  <a:pt x="827" y="690"/>
                  <a:pt x="821" y="684"/>
                </a:cubicBezTo>
                <a:cubicBezTo>
                  <a:pt x="816" y="678"/>
                  <a:pt x="798" y="661"/>
                  <a:pt x="801" y="653"/>
                </a:cubicBezTo>
                <a:cubicBezTo>
                  <a:pt x="803" y="644"/>
                  <a:pt x="801" y="618"/>
                  <a:pt x="798" y="616"/>
                </a:cubicBezTo>
                <a:cubicBezTo>
                  <a:pt x="796" y="613"/>
                  <a:pt x="786" y="595"/>
                  <a:pt x="786" y="583"/>
                </a:cubicBezTo>
                <a:cubicBezTo>
                  <a:pt x="786" y="572"/>
                  <a:pt x="805" y="560"/>
                  <a:pt x="804" y="553"/>
                </a:cubicBezTo>
                <a:cubicBezTo>
                  <a:pt x="804" y="547"/>
                  <a:pt x="792" y="530"/>
                  <a:pt x="792" y="530"/>
                </a:cubicBezTo>
                <a:cubicBezTo>
                  <a:pt x="792" y="530"/>
                  <a:pt x="798" y="493"/>
                  <a:pt x="792" y="480"/>
                </a:cubicBezTo>
                <a:cubicBezTo>
                  <a:pt x="787" y="468"/>
                  <a:pt x="771" y="464"/>
                  <a:pt x="771" y="461"/>
                </a:cubicBezTo>
                <a:cubicBezTo>
                  <a:pt x="772" y="457"/>
                  <a:pt x="785" y="446"/>
                  <a:pt x="782" y="435"/>
                </a:cubicBezTo>
                <a:cubicBezTo>
                  <a:pt x="779" y="423"/>
                  <a:pt x="764" y="422"/>
                  <a:pt x="764" y="422"/>
                </a:cubicBezTo>
                <a:cubicBezTo>
                  <a:pt x="759" y="403"/>
                  <a:pt x="759" y="403"/>
                  <a:pt x="759" y="403"/>
                </a:cubicBezTo>
                <a:cubicBezTo>
                  <a:pt x="759" y="403"/>
                  <a:pt x="739" y="398"/>
                  <a:pt x="737" y="385"/>
                </a:cubicBezTo>
                <a:cubicBezTo>
                  <a:pt x="735" y="373"/>
                  <a:pt x="754" y="365"/>
                  <a:pt x="756" y="356"/>
                </a:cubicBezTo>
                <a:cubicBezTo>
                  <a:pt x="759" y="347"/>
                  <a:pt x="764" y="347"/>
                  <a:pt x="764" y="347"/>
                </a:cubicBezTo>
                <a:cubicBezTo>
                  <a:pt x="733" y="341"/>
                  <a:pt x="733" y="341"/>
                  <a:pt x="733" y="341"/>
                </a:cubicBezTo>
                <a:cubicBezTo>
                  <a:pt x="733" y="341"/>
                  <a:pt x="718" y="335"/>
                  <a:pt x="718" y="328"/>
                </a:cubicBezTo>
                <a:cubicBezTo>
                  <a:pt x="718" y="321"/>
                  <a:pt x="717" y="280"/>
                  <a:pt x="717" y="280"/>
                </a:cubicBezTo>
                <a:cubicBezTo>
                  <a:pt x="717" y="280"/>
                  <a:pt x="728" y="274"/>
                  <a:pt x="726" y="271"/>
                </a:cubicBezTo>
                <a:cubicBezTo>
                  <a:pt x="725" y="268"/>
                  <a:pt x="713" y="253"/>
                  <a:pt x="713" y="253"/>
                </a:cubicBezTo>
                <a:cubicBezTo>
                  <a:pt x="715" y="221"/>
                  <a:pt x="715" y="221"/>
                  <a:pt x="715" y="221"/>
                </a:cubicBezTo>
                <a:cubicBezTo>
                  <a:pt x="715" y="221"/>
                  <a:pt x="694" y="203"/>
                  <a:pt x="687" y="205"/>
                </a:cubicBezTo>
                <a:cubicBezTo>
                  <a:pt x="680" y="206"/>
                  <a:pt x="707" y="191"/>
                  <a:pt x="699" y="184"/>
                </a:cubicBezTo>
                <a:cubicBezTo>
                  <a:pt x="691" y="177"/>
                  <a:pt x="681" y="172"/>
                  <a:pt x="675" y="177"/>
                </a:cubicBezTo>
                <a:cubicBezTo>
                  <a:pt x="669" y="182"/>
                  <a:pt x="662" y="203"/>
                  <a:pt x="660" y="204"/>
                </a:cubicBezTo>
                <a:cubicBezTo>
                  <a:pt x="658" y="205"/>
                  <a:pt x="634" y="207"/>
                  <a:pt x="634" y="207"/>
                </a:cubicBezTo>
                <a:cubicBezTo>
                  <a:pt x="634" y="207"/>
                  <a:pt x="656" y="233"/>
                  <a:pt x="628" y="269"/>
                </a:cubicBezTo>
                <a:cubicBezTo>
                  <a:pt x="600" y="305"/>
                  <a:pt x="594" y="337"/>
                  <a:pt x="594" y="337"/>
                </a:cubicBezTo>
                <a:cubicBezTo>
                  <a:pt x="593" y="352"/>
                  <a:pt x="593" y="352"/>
                  <a:pt x="593" y="352"/>
                </a:cubicBezTo>
                <a:cubicBezTo>
                  <a:pt x="581" y="351"/>
                  <a:pt x="581" y="351"/>
                  <a:pt x="581" y="351"/>
                </a:cubicBezTo>
                <a:cubicBezTo>
                  <a:pt x="554" y="411"/>
                  <a:pt x="554" y="411"/>
                  <a:pt x="554" y="411"/>
                </a:cubicBezTo>
                <a:cubicBezTo>
                  <a:pt x="554" y="411"/>
                  <a:pt x="563" y="403"/>
                  <a:pt x="569" y="408"/>
                </a:cubicBezTo>
                <a:cubicBezTo>
                  <a:pt x="574" y="414"/>
                  <a:pt x="583" y="426"/>
                  <a:pt x="583" y="426"/>
                </a:cubicBezTo>
                <a:cubicBezTo>
                  <a:pt x="583" y="426"/>
                  <a:pt x="607" y="410"/>
                  <a:pt x="609" y="417"/>
                </a:cubicBezTo>
                <a:cubicBezTo>
                  <a:pt x="611" y="423"/>
                  <a:pt x="594" y="439"/>
                  <a:pt x="594" y="439"/>
                </a:cubicBezTo>
                <a:cubicBezTo>
                  <a:pt x="589" y="457"/>
                  <a:pt x="589" y="457"/>
                  <a:pt x="589" y="457"/>
                </a:cubicBezTo>
                <a:cubicBezTo>
                  <a:pt x="589" y="457"/>
                  <a:pt x="584" y="432"/>
                  <a:pt x="579" y="432"/>
                </a:cubicBezTo>
                <a:cubicBezTo>
                  <a:pt x="574" y="432"/>
                  <a:pt x="553" y="459"/>
                  <a:pt x="550" y="460"/>
                </a:cubicBezTo>
                <a:cubicBezTo>
                  <a:pt x="546" y="460"/>
                  <a:pt x="549" y="491"/>
                  <a:pt x="552" y="492"/>
                </a:cubicBezTo>
                <a:cubicBezTo>
                  <a:pt x="554" y="493"/>
                  <a:pt x="558" y="508"/>
                  <a:pt x="555" y="509"/>
                </a:cubicBezTo>
                <a:cubicBezTo>
                  <a:pt x="552" y="511"/>
                  <a:pt x="516" y="563"/>
                  <a:pt x="524" y="578"/>
                </a:cubicBezTo>
                <a:cubicBezTo>
                  <a:pt x="532" y="592"/>
                  <a:pt x="543" y="607"/>
                  <a:pt x="540" y="615"/>
                </a:cubicBezTo>
                <a:cubicBezTo>
                  <a:pt x="538" y="623"/>
                  <a:pt x="525" y="670"/>
                  <a:pt x="524" y="684"/>
                </a:cubicBezTo>
                <a:cubicBezTo>
                  <a:pt x="523" y="698"/>
                  <a:pt x="541" y="735"/>
                  <a:pt x="541" y="735"/>
                </a:cubicBezTo>
                <a:cubicBezTo>
                  <a:pt x="541" y="735"/>
                  <a:pt x="511" y="768"/>
                  <a:pt x="506" y="801"/>
                </a:cubicBezTo>
                <a:cubicBezTo>
                  <a:pt x="501" y="834"/>
                  <a:pt x="499" y="867"/>
                  <a:pt x="499" y="867"/>
                </a:cubicBezTo>
                <a:cubicBezTo>
                  <a:pt x="499" y="867"/>
                  <a:pt x="485" y="902"/>
                  <a:pt x="479" y="917"/>
                </a:cubicBezTo>
                <a:cubicBezTo>
                  <a:pt x="472" y="931"/>
                  <a:pt x="455" y="965"/>
                  <a:pt x="442" y="970"/>
                </a:cubicBezTo>
                <a:cubicBezTo>
                  <a:pt x="430" y="974"/>
                  <a:pt x="425" y="1024"/>
                  <a:pt x="425" y="1024"/>
                </a:cubicBezTo>
                <a:cubicBezTo>
                  <a:pt x="425" y="1024"/>
                  <a:pt x="382" y="1055"/>
                  <a:pt x="371" y="1057"/>
                </a:cubicBezTo>
                <a:cubicBezTo>
                  <a:pt x="360" y="1058"/>
                  <a:pt x="323" y="1065"/>
                  <a:pt x="320" y="1063"/>
                </a:cubicBezTo>
                <a:cubicBezTo>
                  <a:pt x="316" y="1061"/>
                  <a:pt x="291" y="1045"/>
                  <a:pt x="285" y="1042"/>
                </a:cubicBezTo>
                <a:cubicBezTo>
                  <a:pt x="279" y="1039"/>
                  <a:pt x="265" y="1037"/>
                  <a:pt x="264" y="1035"/>
                </a:cubicBezTo>
                <a:cubicBezTo>
                  <a:pt x="264" y="1033"/>
                  <a:pt x="255" y="1012"/>
                  <a:pt x="246" y="1011"/>
                </a:cubicBezTo>
                <a:cubicBezTo>
                  <a:pt x="238" y="1010"/>
                  <a:pt x="219" y="1007"/>
                  <a:pt x="216" y="998"/>
                </a:cubicBezTo>
                <a:cubicBezTo>
                  <a:pt x="213" y="989"/>
                  <a:pt x="235" y="979"/>
                  <a:pt x="205" y="959"/>
                </a:cubicBezTo>
                <a:cubicBezTo>
                  <a:pt x="175" y="940"/>
                  <a:pt x="173" y="947"/>
                  <a:pt x="171" y="946"/>
                </a:cubicBezTo>
                <a:cubicBezTo>
                  <a:pt x="170" y="945"/>
                  <a:pt x="153" y="930"/>
                  <a:pt x="153" y="930"/>
                </a:cubicBezTo>
                <a:cubicBezTo>
                  <a:pt x="153" y="930"/>
                  <a:pt x="121" y="937"/>
                  <a:pt x="95" y="918"/>
                </a:cubicBezTo>
                <a:cubicBezTo>
                  <a:pt x="89" y="913"/>
                  <a:pt x="83" y="907"/>
                  <a:pt x="78" y="901"/>
                </a:cubicBezTo>
                <a:cubicBezTo>
                  <a:pt x="30" y="2088"/>
                  <a:pt x="30" y="2088"/>
                  <a:pt x="30" y="2088"/>
                </a:cubicBezTo>
                <a:cubicBezTo>
                  <a:pt x="30" y="2088"/>
                  <a:pt x="18" y="2088"/>
                  <a:pt x="0" y="2088"/>
                </a:cubicBezTo>
                <a:cubicBezTo>
                  <a:pt x="12" y="2097"/>
                  <a:pt x="20" y="2103"/>
                  <a:pt x="20" y="2103"/>
                </a:cubicBezTo>
                <a:cubicBezTo>
                  <a:pt x="373" y="2113"/>
                  <a:pt x="373" y="2113"/>
                  <a:pt x="373" y="2113"/>
                </a:cubicBezTo>
                <a:cubicBezTo>
                  <a:pt x="351" y="2490"/>
                  <a:pt x="351" y="2490"/>
                  <a:pt x="351" y="2490"/>
                </a:cubicBezTo>
                <a:cubicBezTo>
                  <a:pt x="1227" y="2573"/>
                  <a:pt x="1227" y="2573"/>
                  <a:pt x="1227" y="2573"/>
                </a:cubicBezTo>
                <a:cubicBezTo>
                  <a:pt x="1291" y="2529"/>
                  <a:pt x="1291" y="2529"/>
                  <a:pt x="1291" y="2529"/>
                </a:cubicBezTo>
                <a:cubicBezTo>
                  <a:pt x="1331" y="2537"/>
                  <a:pt x="1331" y="2537"/>
                  <a:pt x="1331" y="2537"/>
                </a:cubicBezTo>
                <a:cubicBezTo>
                  <a:pt x="1371" y="2537"/>
                  <a:pt x="1371" y="2537"/>
                  <a:pt x="1371" y="2537"/>
                </a:cubicBezTo>
                <a:cubicBezTo>
                  <a:pt x="1395" y="2565"/>
                  <a:pt x="1395" y="2565"/>
                  <a:pt x="1395" y="2565"/>
                </a:cubicBezTo>
                <a:cubicBezTo>
                  <a:pt x="1439" y="2561"/>
                  <a:pt x="1439" y="2561"/>
                  <a:pt x="1439" y="2561"/>
                </a:cubicBezTo>
                <a:cubicBezTo>
                  <a:pt x="1479" y="2597"/>
                  <a:pt x="1479" y="2597"/>
                  <a:pt x="1479" y="2597"/>
                </a:cubicBezTo>
                <a:cubicBezTo>
                  <a:pt x="1483" y="2629"/>
                  <a:pt x="1483" y="2629"/>
                  <a:pt x="1483" y="2629"/>
                </a:cubicBezTo>
                <a:cubicBezTo>
                  <a:pt x="1519" y="2601"/>
                  <a:pt x="1519" y="2601"/>
                  <a:pt x="1519" y="2601"/>
                </a:cubicBezTo>
                <a:cubicBezTo>
                  <a:pt x="1519" y="2601"/>
                  <a:pt x="1547" y="2617"/>
                  <a:pt x="1551" y="2601"/>
                </a:cubicBezTo>
                <a:cubicBezTo>
                  <a:pt x="1555" y="2585"/>
                  <a:pt x="1563" y="2557"/>
                  <a:pt x="1563" y="2557"/>
                </a:cubicBezTo>
                <a:cubicBezTo>
                  <a:pt x="1623" y="2541"/>
                  <a:pt x="1623" y="2541"/>
                  <a:pt x="1623" y="2541"/>
                </a:cubicBezTo>
                <a:cubicBezTo>
                  <a:pt x="1671" y="2557"/>
                  <a:pt x="1671" y="2557"/>
                  <a:pt x="1671" y="2557"/>
                </a:cubicBezTo>
                <a:cubicBezTo>
                  <a:pt x="1703" y="2565"/>
                  <a:pt x="1703" y="2565"/>
                  <a:pt x="1703" y="2565"/>
                </a:cubicBezTo>
                <a:cubicBezTo>
                  <a:pt x="1707" y="2549"/>
                  <a:pt x="1707" y="2549"/>
                  <a:pt x="1707" y="2549"/>
                </a:cubicBezTo>
                <a:cubicBezTo>
                  <a:pt x="1739" y="2549"/>
                  <a:pt x="1739" y="2549"/>
                  <a:pt x="1739" y="2549"/>
                </a:cubicBezTo>
                <a:cubicBezTo>
                  <a:pt x="1737" y="2541"/>
                  <a:pt x="1733" y="2530"/>
                  <a:pt x="1733" y="2524"/>
                </a:cubicBezTo>
                <a:cubicBezTo>
                  <a:pt x="1732" y="2515"/>
                  <a:pt x="1737" y="2495"/>
                  <a:pt x="1740" y="2488"/>
                </a:cubicBezTo>
                <a:cubicBezTo>
                  <a:pt x="1743" y="2481"/>
                  <a:pt x="1710" y="2426"/>
                  <a:pt x="1710" y="2426"/>
                </a:cubicBezTo>
                <a:lnTo>
                  <a:pt x="1728" y="2408"/>
                </a:lnTo>
                <a:close/>
                <a:moveTo>
                  <a:pt x="790" y="348"/>
                </a:moveTo>
                <a:cubicBezTo>
                  <a:pt x="790" y="348"/>
                  <a:pt x="790" y="338"/>
                  <a:pt x="789" y="325"/>
                </a:cubicBezTo>
                <a:cubicBezTo>
                  <a:pt x="787" y="311"/>
                  <a:pt x="762" y="326"/>
                  <a:pt x="762" y="326"/>
                </a:cubicBezTo>
                <a:cubicBezTo>
                  <a:pt x="775" y="333"/>
                  <a:pt x="775" y="333"/>
                  <a:pt x="775" y="333"/>
                </a:cubicBezTo>
                <a:lnTo>
                  <a:pt x="790" y="348"/>
                </a:lnTo>
                <a:close/>
                <a:moveTo>
                  <a:pt x="660" y="72"/>
                </a:moveTo>
                <a:cubicBezTo>
                  <a:pt x="669" y="61"/>
                  <a:pt x="686" y="43"/>
                  <a:pt x="678" y="44"/>
                </a:cubicBezTo>
                <a:cubicBezTo>
                  <a:pt x="670" y="45"/>
                  <a:pt x="670" y="53"/>
                  <a:pt x="658" y="59"/>
                </a:cubicBezTo>
                <a:cubicBezTo>
                  <a:pt x="646" y="64"/>
                  <a:pt x="642" y="85"/>
                  <a:pt x="642" y="85"/>
                </a:cubicBezTo>
                <a:cubicBezTo>
                  <a:pt x="642" y="85"/>
                  <a:pt x="650" y="82"/>
                  <a:pt x="660" y="72"/>
                </a:cubicBezTo>
                <a:close/>
                <a:moveTo>
                  <a:pt x="678" y="12"/>
                </a:moveTo>
                <a:cubicBezTo>
                  <a:pt x="672" y="0"/>
                  <a:pt x="656" y="5"/>
                  <a:pt x="656" y="12"/>
                </a:cubicBezTo>
                <a:cubicBezTo>
                  <a:pt x="656" y="12"/>
                  <a:pt x="685" y="24"/>
                  <a:pt x="678" y="12"/>
                </a:cubicBezTo>
                <a:close/>
                <a:moveTo>
                  <a:pt x="241" y="978"/>
                </a:moveTo>
                <a:cubicBezTo>
                  <a:pt x="241" y="978"/>
                  <a:pt x="242" y="983"/>
                  <a:pt x="253" y="983"/>
                </a:cubicBezTo>
                <a:cubicBezTo>
                  <a:pt x="263" y="983"/>
                  <a:pt x="269" y="978"/>
                  <a:pt x="269" y="978"/>
                </a:cubicBezTo>
                <a:cubicBezTo>
                  <a:pt x="258" y="966"/>
                  <a:pt x="258" y="966"/>
                  <a:pt x="258" y="966"/>
                </a:cubicBezTo>
                <a:lnTo>
                  <a:pt x="241" y="978"/>
                </a:lnTo>
                <a:close/>
                <a:moveTo>
                  <a:pt x="1786" y="1395"/>
                </a:moveTo>
                <a:cubicBezTo>
                  <a:pt x="1770" y="1403"/>
                  <a:pt x="1770" y="1403"/>
                  <a:pt x="1770" y="1403"/>
                </a:cubicBezTo>
                <a:cubicBezTo>
                  <a:pt x="1774" y="1419"/>
                  <a:pt x="1774" y="1419"/>
                  <a:pt x="1774" y="1419"/>
                </a:cubicBezTo>
                <a:cubicBezTo>
                  <a:pt x="1792" y="1401"/>
                  <a:pt x="1792" y="1401"/>
                  <a:pt x="1792" y="1401"/>
                </a:cubicBezTo>
                <a:cubicBezTo>
                  <a:pt x="1806" y="1389"/>
                  <a:pt x="1806" y="1389"/>
                  <a:pt x="1806" y="1389"/>
                </a:cubicBezTo>
                <a:cubicBezTo>
                  <a:pt x="1789" y="1387"/>
                  <a:pt x="1789" y="1387"/>
                  <a:pt x="1789" y="1387"/>
                </a:cubicBezTo>
                <a:lnTo>
                  <a:pt x="1786" y="1395"/>
                </a:lnTo>
                <a:close/>
                <a:moveTo>
                  <a:pt x="1866" y="1766"/>
                </a:moveTo>
                <a:cubicBezTo>
                  <a:pt x="1873" y="1773"/>
                  <a:pt x="1873" y="1773"/>
                  <a:pt x="1873" y="1773"/>
                </a:cubicBezTo>
                <a:cubicBezTo>
                  <a:pt x="1903" y="1741"/>
                  <a:pt x="1903" y="1741"/>
                  <a:pt x="1903" y="1741"/>
                </a:cubicBezTo>
                <a:cubicBezTo>
                  <a:pt x="1893" y="1738"/>
                  <a:pt x="1893" y="1738"/>
                  <a:pt x="1893" y="1738"/>
                </a:cubicBezTo>
                <a:lnTo>
                  <a:pt x="1866" y="1766"/>
                </a:lnTo>
                <a:close/>
                <a:moveTo>
                  <a:pt x="2062" y="1825"/>
                </a:moveTo>
                <a:cubicBezTo>
                  <a:pt x="2058" y="1825"/>
                  <a:pt x="2043" y="1833"/>
                  <a:pt x="2043" y="1833"/>
                </a:cubicBezTo>
                <a:cubicBezTo>
                  <a:pt x="2043" y="1833"/>
                  <a:pt x="2036" y="1839"/>
                  <a:pt x="2058" y="1839"/>
                </a:cubicBezTo>
                <a:cubicBezTo>
                  <a:pt x="2079" y="1839"/>
                  <a:pt x="2083" y="1822"/>
                  <a:pt x="2083" y="1822"/>
                </a:cubicBezTo>
                <a:cubicBezTo>
                  <a:pt x="2083" y="1822"/>
                  <a:pt x="2066" y="1825"/>
                  <a:pt x="2062" y="1825"/>
                </a:cubicBezTo>
                <a:close/>
                <a:moveTo>
                  <a:pt x="1760" y="1648"/>
                </a:moveTo>
                <a:cubicBezTo>
                  <a:pt x="1760" y="1648"/>
                  <a:pt x="1772" y="1653"/>
                  <a:pt x="1772" y="1661"/>
                </a:cubicBezTo>
                <a:cubicBezTo>
                  <a:pt x="1772" y="1669"/>
                  <a:pt x="1774" y="1681"/>
                  <a:pt x="1774" y="1681"/>
                </a:cubicBezTo>
                <a:cubicBezTo>
                  <a:pt x="1774" y="1681"/>
                  <a:pt x="1784" y="1671"/>
                  <a:pt x="1784" y="1665"/>
                </a:cubicBezTo>
                <a:cubicBezTo>
                  <a:pt x="1784" y="1660"/>
                  <a:pt x="1798" y="1652"/>
                  <a:pt x="1790" y="1637"/>
                </a:cubicBezTo>
                <a:cubicBezTo>
                  <a:pt x="1782" y="1623"/>
                  <a:pt x="1760" y="1648"/>
                  <a:pt x="1760" y="1648"/>
                </a:cubicBezTo>
                <a:close/>
                <a:moveTo>
                  <a:pt x="1781" y="2115"/>
                </a:moveTo>
                <a:cubicBezTo>
                  <a:pt x="1776" y="2106"/>
                  <a:pt x="1762" y="2117"/>
                  <a:pt x="1762" y="2121"/>
                </a:cubicBezTo>
                <a:cubicBezTo>
                  <a:pt x="1762" y="2125"/>
                  <a:pt x="1768" y="2141"/>
                  <a:pt x="1765" y="2156"/>
                </a:cubicBezTo>
                <a:cubicBezTo>
                  <a:pt x="1762" y="2171"/>
                  <a:pt x="1745" y="2157"/>
                  <a:pt x="1745" y="2168"/>
                </a:cubicBezTo>
                <a:cubicBezTo>
                  <a:pt x="1745" y="2179"/>
                  <a:pt x="1766" y="2180"/>
                  <a:pt x="1766" y="2180"/>
                </a:cubicBezTo>
                <a:cubicBezTo>
                  <a:pt x="1790" y="2149"/>
                  <a:pt x="1790" y="2149"/>
                  <a:pt x="1790" y="2149"/>
                </a:cubicBezTo>
                <a:cubicBezTo>
                  <a:pt x="1778" y="2129"/>
                  <a:pt x="1778" y="2129"/>
                  <a:pt x="1778" y="2129"/>
                </a:cubicBezTo>
                <a:lnTo>
                  <a:pt x="1781" y="2115"/>
                </a:lnTo>
                <a:close/>
                <a:moveTo>
                  <a:pt x="1733" y="2219"/>
                </a:moveTo>
                <a:cubicBezTo>
                  <a:pt x="1732" y="2228"/>
                  <a:pt x="1744" y="2229"/>
                  <a:pt x="1744" y="2229"/>
                </a:cubicBezTo>
                <a:cubicBezTo>
                  <a:pt x="1760" y="2196"/>
                  <a:pt x="1760" y="2196"/>
                  <a:pt x="1760" y="2196"/>
                </a:cubicBezTo>
                <a:cubicBezTo>
                  <a:pt x="1760" y="2196"/>
                  <a:pt x="1756" y="2188"/>
                  <a:pt x="1748" y="2180"/>
                </a:cubicBezTo>
                <a:cubicBezTo>
                  <a:pt x="1740" y="2172"/>
                  <a:pt x="1734" y="2209"/>
                  <a:pt x="1733" y="2219"/>
                </a:cubicBezTo>
                <a:close/>
                <a:moveTo>
                  <a:pt x="243" y="932"/>
                </a:moveTo>
                <a:cubicBezTo>
                  <a:pt x="259" y="908"/>
                  <a:pt x="259" y="908"/>
                  <a:pt x="259" y="908"/>
                </a:cubicBezTo>
                <a:cubicBezTo>
                  <a:pt x="289" y="906"/>
                  <a:pt x="289" y="906"/>
                  <a:pt x="289" y="906"/>
                </a:cubicBezTo>
                <a:cubicBezTo>
                  <a:pt x="289" y="906"/>
                  <a:pt x="282" y="888"/>
                  <a:pt x="275" y="888"/>
                </a:cubicBezTo>
                <a:cubicBezTo>
                  <a:pt x="269" y="888"/>
                  <a:pt x="259" y="895"/>
                  <a:pt x="259" y="895"/>
                </a:cubicBezTo>
                <a:cubicBezTo>
                  <a:pt x="259" y="895"/>
                  <a:pt x="243" y="884"/>
                  <a:pt x="229" y="898"/>
                </a:cubicBezTo>
                <a:cubicBezTo>
                  <a:pt x="214" y="911"/>
                  <a:pt x="212" y="947"/>
                  <a:pt x="212" y="947"/>
                </a:cubicBezTo>
                <a:cubicBezTo>
                  <a:pt x="219" y="932"/>
                  <a:pt x="219" y="932"/>
                  <a:pt x="219" y="932"/>
                </a:cubicBezTo>
                <a:lnTo>
                  <a:pt x="243" y="932"/>
                </a:lnTo>
                <a:close/>
                <a:moveTo>
                  <a:pt x="851" y="536"/>
                </a:moveTo>
                <a:cubicBezTo>
                  <a:pt x="853" y="501"/>
                  <a:pt x="853" y="501"/>
                  <a:pt x="853" y="501"/>
                </a:cubicBezTo>
                <a:cubicBezTo>
                  <a:pt x="853" y="501"/>
                  <a:pt x="838" y="479"/>
                  <a:pt x="833" y="467"/>
                </a:cubicBezTo>
                <a:cubicBezTo>
                  <a:pt x="827" y="455"/>
                  <a:pt x="833" y="434"/>
                  <a:pt x="833" y="430"/>
                </a:cubicBezTo>
                <a:cubicBezTo>
                  <a:pt x="833" y="426"/>
                  <a:pt x="826" y="411"/>
                  <a:pt x="826" y="411"/>
                </a:cubicBezTo>
                <a:cubicBezTo>
                  <a:pt x="846" y="386"/>
                  <a:pt x="846" y="386"/>
                  <a:pt x="846" y="386"/>
                </a:cubicBezTo>
                <a:cubicBezTo>
                  <a:pt x="846" y="386"/>
                  <a:pt x="845" y="380"/>
                  <a:pt x="837" y="380"/>
                </a:cubicBezTo>
                <a:cubicBezTo>
                  <a:pt x="829" y="380"/>
                  <a:pt x="835" y="362"/>
                  <a:pt x="835" y="362"/>
                </a:cubicBezTo>
                <a:cubicBezTo>
                  <a:pt x="826" y="348"/>
                  <a:pt x="830" y="386"/>
                  <a:pt x="830" y="386"/>
                </a:cubicBezTo>
                <a:cubicBezTo>
                  <a:pt x="813" y="408"/>
                  <a:pt x="813" y="408"/>
                  <a:pt x="813" y="408"/>
                </a:cubicBezTo>
                <a:cubicBezTo>
                  <a:pt x="813" y="408"/>
                  <a:pt x="819" y="418"/>
                  <a:pt x="825" y="430"/>
                </a:cubicBezTo>
                <a:cubicBezTo>
                  <a:pt x="830" y="442"/>
                  <a:pt x="822" y="458"/>
                  <a:pt x="822" y="467"/>
                </a:cubicBezTo>
                <a:cubicBezTo>
                  <a:pt x="822" y="476"/>
                  <a:pt x="830" y="481"/>
                  <a:pt x="837" y="505"/>
                </a:cubicBezTo>
                <a:cubicBezTo>
                  <a:pt x="843" y="529"/>
                  <a:pt x="851" y="536"/>
                  <a:pt x="851" y="536"/>
                </a:cubicBezTo>
                <a:close/>
                <a:moveTo>
                  <a:pt x="843" y="315"/>
                </a:moveTo>
                <a:cubicBezTo>
                  <a:pt x="830" y="340"/>
                  <a:pt x="830" y="340"/>
                  <a:pt x="830" y="340"/>
                </a:cubicBezTo>
                <a:cubicBezTo>
                  <a:pt x="843" y="329"/>
                  <a:pt x="843" y="329"/>
                  <a:pt x="843" y="329"/>
                </a:cubicBezTo>
                <a:lnTo>
                  <a:pt x="843" y="315"/>
                </a:lnTo>
                <a:close/>
                <a:moveTo>
                  <a:pt x="778" y="282"/>
                </a:moveTo>
                <a:cubicBezTo>
                  <a:pt x="787" y="287"/>
                  <a:pt x="799" y="287"/>
                  <a:pt x="799" y="287"/>
                </a:cubicBezTo>
                <a:cubicBezTo>
                  <a:pt x="781" y="262"/>
                  <a:pt x="781" y="262"/>
                  <a:pt x="781" y="262"/>
                </a:cubicBezTo>
                <a:cubicBezTo>
                  <a:pt x="781" y="262"/>
                  <a:pt x="769" y="277"/>
                  <a:pt x="778" y="282"/>
                </a:cubicBezTo>
                <a:close/>
                <a:moveTo>
                  <a:pt x="795" y="470"/>
                </a:moveTo>
                <a:cubicBezTo>
                  <a:pt x="810" y="460"/>
                  <a:pt x="810" y="460"/>
                  <a:pt x="810" y="460"/>
                </a:cubicBezTo>
                <a:cubicBezTo>
                  <a:pt x="810" y="460"/>
                  <a:pt x="823" y="452"/>
                  <a:pt x="810" y="435"/>
                </a:cubicBezTo>
                <a:cubicBezTo>
                  <a:pt x="797" y="418"/>
                  <a:pt x="774" y="406"/>
                  <a:pt x="773" y="412"/>
                </a:cubicBezTo>
                <a:cubicBezTo>
                  <a:pt x="773" y="412"/>
                  <a:pt x="798" y="431"/>
                  <a:pt x="798" y="435"/>
                </a:cubicBezTo>
                <a:cubicBezTo>
                  <a:pt x="798" y="439"/>
                  <a:pt x="802" y="444"/>
                  <a:pt x="799" y="452"/>
                </a:cubicBezTo>
                <a:cubicBezTo>
                  <a:pt x="797" y="460"/>
                  <a:pt x="795" y="470"/>
                  <a:pt x="795" y="470"/>
                </a:cubicBezTo>
                <a:close/>
                <a:moveTo>
                  <a:pt x="783" y="400"/>
                </a:moveTo>
                <a:cubicBezTo>
                  <a:pt x="789" y="396"/>
                  <a:pt x="759" y="382"/>
                  <a:pt x="759" y="382"/>
                </a:cubicBezTo>
                <a:cubicBezTo>
                  <a:pt x="759" y="382"/>
                  <a:pt x="778" y="404"/>
                  <a:pt x="783" y="400"/>
                </a:cubicBezTo>
                <a:close/>
                <a:moveTo>
                  <a:pt x="877" y="588"/>
                </a:moveTo>
                <a:cubicBezTo>
                  <a:pt x="883" y="581"/>
                  <a:pt x="855" y="537"/>
                  <a:pt x="850" y="551"/>
                </a:cubicBezTo>
                <a:cubicBezTo>
                  <a:pt x="850" y="551"/>
                  <a:pt x="870" y="595"/>
                  <a:pt x="877" y="588"/>
                </a:cubicBezTo>
                <a:close/>
                <a:moveTo>
                  <a:pt x="821" y="548"/>
                </a:moveTo>
                <a:cubicBezTo>
                  <a:pt x="826" y="529"/>
                  <a:pt x="826" y="529"/>
                  <a:pt x="826" y="529"/>
                </a:cubicBezTo>
                <a:cubicBezTo>
                  <a:pt x="811" y="509"/>
                  <a:pt x="814" y="557"/>
                  <a:pt x="814" y="557"/>
                </a:cubicBezTo>
                <a:lnTo>
                  <a:pt x="821" y="548"/>
                </a:lnTo>
                <a:close/>
                <a:moveTo>
                  <a:pt x="869" y="165"/>
                </a:moveTo>
                <a:cubicBezTo>
                  <a:pt x="871" y="174"/>
                  <a:pt x="877" y="156"/>
                  <a:pt x="877" y="141"/>
                </a:cubicBezTo>
                <a:cubicBezTo>
                  <a:pt x="877" y="126"/>
                  <a:pt x="894" y="86"/>
                  <a:pt x="903" y="81"/>
                </a:cubicBezTo>
                <a:cubicBezTo>
                  <a:pt x="912" y="76"/>
                  <a:pt x="918" y="65"/>
                  <a:pt x="918" y="65"/>
                </a:cubicBezTo>
                <a:cubicBezTo>
                  <a:pt x="903" y="60"/>
                  <a:pt x="886" y="94"/>
                  <a:pt x="877" y="105"/>
                </a:cubicBezTo>
                <a:cubicBezTo>
                  <a:pt x="867" y="116"/>
                  <a:pt x="866" y="156"/>
                  <a:pt x="869" y="165"/>
                </a:cubicBezTo>
                <a:close/>
                <a:moveTo>
                  <a:pt x="877" y="20"/>
                </a:moveTo>
                <a:cubicBezTo>
                  <a:pt x="878" y="5"/>
                  <a:pt x="865" y="31"/>
                  <a:pt x="863" y="37"/>
                </a:cubicBezTo>
                <a:cubicBezTo>
                  <a:pt x="863" y="37"/>
                  <a:pt x="875" y="35"/>
                  <a:pt x="877" y="20"/>
                </a:cubicBezTo>
                <a:close/>
                <a:moveTo>
                  <a:pt x="815" y="104"/>
                </a:moveTo>
                <a:cubicBezTo>
                  <a:pt x="819" y="104"/>
                  <a:pt x="839" y="96"/>
                  <a:pt x="839" y="96"/>
                </a:cubicBezTo>
                <a:cubicBezTo>
                  <a:pt x="854" y="113"/>
                  <a:pt x="854" y="113"/>
                  <a:pt x="854" y="113"/>
                </a:cubicBezTo>
                <a:cubicBezTo>
                  <a:pt x="854" y="113"/>
                  <a:pt x="858" y="102"/>
                  <a:pt x="869" y="90"/>
                </a:cubicBezTo>
                <a:cubicBezTo>
                  <a:pt x="879" y="78"/>
                  <a:pt x="894" y="56"/>
                  <a:pt x="890" y="57"/>
                </a:cubicBezTo>
                <a:cubicBezTo>
                  <a:pt x="886" y="59"/>
                  <a:pt x="869" y="76"/>
                  <a:pt x="869" y="76"/>
                </a:cubicBezTo>
                <a:cubicBezTo>
                  <a:pt x="862" y="56"/>
                  <a:pt x="862" y="56"/>
                  <a:pt x="862" y="56"/>
                </a:cubicBezTo>
                <a:cubicBezTo>
                  <a:pt x="862" y="56"/>
                  <a:pt x="862" y="70"/>
                  <a:pt x="858" y="73"/>
                </a:cubicBezTo>
                <a:cubicBezTo>
                  <a:pt x="854" y="76"/>
                  <a:pt x="841" y="84"/>
                  <a:pt x="841" y="84"/>
                </a:cubicBezTo>
                <a:cubicBezTo>
                  <a:pt x="794" y="84"/>
                  <a:pt x="794" y="84"/>
                  <a:pt x="794" y="84"/>
                </a:cubicBezTo>
                <a:cubicBezTo>
                  <a:pt x="794" y="84"/>
                  <a:pt x="811" y="104"/>
                  <a:pt x="815" y="104"/>
                </a:cubicBezTo>
                <a:close/>
                <a:moveTo>
                  <a:pt x="910" y="51"/>
                </a:moveTo>
                <a:cubicBezTo>
                  <a:pt x="916" y="49"/>
                  <a:pt x="906" y="39"/>
                  <a:pt x="906" y="39"/>
                </a:cubicBezTo>
                <a:cubicBezTo>
                  <a:pt x="906" y="39"/>
                  <a:pt x="903" y="52"/>
                  <a:pt x="910" y="51"/>
                </a:cubicBezTo>
                <a:close/>
                <a:moveTo>
                  <a:pt x="881" y="315"/>
                </a:moveTo>
                <a:cubicBezTo>
                  <a:pt x="874" y="305"/>
                  <a:pt x="859" y="314"/>
                  <a:pt x="859" y="314"/>
                </a:cubicBezTo>
                <a:cubicBezTo>
                  <a:pt x="866" y="322"/>
                  <a:pt x="866" y="322"/>
                  <a:pt x="866" y="322"/>
                </a:cubicBezTo>
                <a:cubicBezTo>
                  <a:pt x="869" y="336"/>
                  <a:pt x="869" y="336"/>
                  <a:pt x="869" y="336"/>
                </a:cubicBezTo>
                <a:cubicBezTo>
                  <a:pt x="869" y="336"/>
                  <a:pt x="887" y="326"/>
                  <a:pt x="881" y="315"/>
                </a:cubicBezTo>
                <a:close/>
                <a:moveTo>
                  <a:pt x="847" y="628"/>
                </a:moveTo>
                <a:cubicBezTo>
                  <a:pt x="871" y="618"/>
                  <a:pt x="871" y="618"/>
                  <a:pt x="871" y="618"/>
                </a:cubicBezTo>
                <a:cubicBezTo>
                  <a:pt x="857" y="610"/>
                  <a:pt x="857" y="610"/>
                  <a:pt x="857" y="610"/>
                </a:cubicBezTo>
                <a:lnTo>
                  <a:pt x="847" y="628"/>
                </a:lnTo>
                <a:close/>
              </a:path>
            </a:pathLst>
          </a:custGeom>
          <a:noFill/>
          <a:ln w="9525" cap="flat" cmpd="sng">
            <a:solidFill>
              <a:schemeClr val="bg1"/>
            </a:solidFill>
            <a:prstDash val="solid"/>
            <a:round/>
            <a:headEnd type="none" w="med" len="med"/>
            <a:tailEnd type="none" w="med" len="med"/>
          </a:ln>
          <a:effectLst/>
        </p:spPr>
        <p:txBody>
          <a:bodyPr/>
          <a:lstStyle/>
          <a:p>
            <a:endParaRPr lang="en-GB"/>
          </a:p>
        </p:txBody>
      </p:sp>
      <p:grpSp>
        <p:nvGrpSpPr>
          <p:cNvPr id="47" name="Gruppieren 46"/>
          <p:cNvGrpSpPr/>
          <p:nvPr/>
        </p:nvGrpSpPr>
        <p:grpSpPr>
          <a:xfrm>
            <a:off x="1674348" y="1223858"/>
            <a:ext cx="1449834" cy="1446172"/>
            <a:chOff x="1674348" y="1223858"/>
            <a:chExt cx="1449834" cy="1446172"/>
          </a:xfrm>
        </p:grpSpPr>
        <p:sp>
          <p:nvSpPr>
            <p:cNvPr id="32" name="Oval 43" descr="© INSCALE GmbH, 05.05.2010&#10;http://www.presentationload.com/"/>
            <p:cNvSpPr>
              <a:spLocks noChangeArrowheads="1"/>
            </p:cNvSpPr>
            <p:nvPr>
              <p:custDataLst>
                <p:tags r:id="rId1"/>
              </p:custDataLst>
            </p:nvPr>
          </p:nvSpPr>
          <p:spPr bwMode="auto">
            <a:xfrm>
              <a:off x="1674348" y="1223858"/>
              <a:ext cx="1449834" cy="1446172"/>
            </a:xfrm>
            <a:prstGeom prst="ellipse">
              <a:avLst/>
            </a:prstGeom>
            <a:gradFill rotWithShape="1">
              <a:gsLst>
                <a:gs pos="0">
                  <a:srgbClr val="C0C0C0">
                    <a:gamma/>
                    <a:tint val="0"/>
                    <a:invGamma/>
                  </a:srgbClr>
                </a:gs>
                <a:gs pos="100000">
                  <a:srgbClr val="C0C0C0"/>
                </a:gs>
              </a:gsLst>
              <a:path path="shape">
                <a:fillToRect l="50000" t="50000" r="50000" b="50000"/>
              </a:path>
            </a:gradFill>
            <a:ln w="28575">
              <a:solidFill>
                <a:schemeClr val="bg1"/>
              </a:solidFill>
              <a:round/>
              <a:headEnd/>
              <a:tailEnd/>
            </a:ln>
            <a:effectLst/>
          </p:spPr>
          <p:txBody>
            <a:bodyPr wrap="none" anchor="ctr"/>
            <a:lstStyle/>
            <a:p>
              <a:endParaRPr lang="en-GB"/>
            </a:p>
          </p:txBody>
        </p:sp>
        <p:sp>
          <p:nvSpPr>
            <p:cNvPr id="44" name="Freeform 20" descr="© INSCALE GmbH, 05.05.2010&#10;http://www.presentationload.com/"/>
            <p:cNvSpPr>
              <a:spLocks noChangeAspect="1" noEditPoints="1"/>
            </p:cNvSpPr>
            <p:nvPr/>
          </p:nvSpPr>
          <p:spPr bwMode="auto">
            <a:xfrm>
              <a:off x="1929873" y="1472466"/>
              <a:ext cx="889524" cy="1012232"/>
            </a:xfrm>
            <a:custGeom>
              <a:avLst/>
              <a:gdLst/>
              <a:ahLst/>
              <a:cxnLst>
                <a:cxn ang="0">
                  <a:pos x="694" y="1084"/>
                </a:cxn>
                <a:cxn ang="0">
                  <a:pos x="713" y="1086"/>
                </a:cxn>
                <a:cxn ang="0">
                  <a:pos x="683" y="1086"/>
                </a:cxn>
                <a:cxn ang="0">
                  <a:pos x="943" y="1224"/>
                </a:cxn>
                <a:cxn ang="0">
                  <a:pos x="831" y="1241"/>
                </a:cxn>
                <a:cxn ang="0">
                  <a:pos x="844" y="1269"/>
                </a:cxn>
                <a:cxn ang="0">
                  <a:pos x="904" y="1268"/>
                </a:cxn>
                <a:cxn ang="0">
                  <a:pos x="943" y="1262"/>
                </a:cxn>
                <a:cxn ang="0">
                  <a:pos x="959" y="1244"/>
                </a:cxn>
                <a:cxn ang="0">
                  <a:pos x="979" y="1239"/>
                </a:cxn>
                <a:cxn ang="0">
                  <a:pos x="983" y="1260"/>
                </a:cxn>
                <a:cxn ang="0">
                  <a:pos x="979" y="1239"/>
                </a:cxn>
                <a:cxn ang="0">
                  <a:pos x="996" y="0"/>
                </a:cxn>
                <a:cxn ang="0">
                  <a:pos x="0" y="13"/>
                </a:cxn>
                <a:cxn ang="0">
                  <a:pos x="129" y="713"/>
                </a:cxn>
                <a:cxn ang="0">
                  <a:pos x="265" y="697"/>
                </a:cxn>
                <a:cxn ang="0">
                  <a:pos x="403" y="765"/>
                </a:cxn>
                <a:cxn ang="0">
                  <a:pos x="485" y="787"/>
                </a:cxn>
                <a:cxn ang="0">
                  <a:pos x="514" y="781"/>
                </a:cxn>
                <a:cxn ang="0">
                  <a:pos x="547" y="792"/>
                </a:cxn>
                <a:cxn ang="0">
                  <a:pos x="554" y="829"/>
                </a:cxn>
                <a:cxn ang="0">
                  <a:pos x="600" y="843"/>
                </a:cxn>
                <a:cxn ang="0">
                  <a:pos x="585" y="865"/>
                </a:cxn>
                <a:cxn ang="0">
                  <a:pos x="609" y="910"/>
                </a:cxn>
                <a:cxn ang="0">
                  <a:pos x="659" y="944"/>
                </a:cxn>
                <a:cxn ang="0">
                  <a:pos x="688" y="1000"/>
                </a:cxn>
                <a:cxn ang="0">
                  <a:pos x="716" y="1054"/>
                </a:cxn>
                <a:cxn ang="0">
                  <a:pos x="724" y="1098"/>
                </a:cxn>
                <a:cxn ang="0">
                  <a:pos x="746" y="1136"/>
                </a:cxn>
                <a:cxn ang="0">
                  <a:pos x="766" y="1086"/>
                </a:cxn>
                <a:cxn ang="0">
                  <a:pos x="796" y="1062"/>
                </a:cxn>
                <a:cxn ang="0">
                  <a:pos x="865" y="998"/>
                </a:cxn>
                <a:cxn ang="0">
                  <a:pos x="925" y="943"/>
                </a:cxn>
                <a:cxn ang="0">
                  <a:pos x="973" y="885"/>
                </a:cxn>
                <a:cxn ang="0">
                  <a:pos x="989" y="863"/>
                </a:cxn>
                <a:cxn ang="0">
                  <a:pos x="974" y="923"/>
                </a:cxn>
                <a:cxn ang="0">
                  <a:pos x="930" y="1050"/>
                </a:cxn>
                <a:cxn ang="0">
                  <a:pos x="895" y="1135"/>
                </a:cxn>
                <a:cxn ang="0">
                  <a:pos x="906" y="1182"/>
                </a:cxn>
                <a:cxn ang="0">
                  <a:pos x="931" y="1182"/>
                </a:cxn>
                <a:cxn ang="0">
                  <a:pos x="957" y="1159"/>
                </a:cxn>
                <a:cxn ang="0">
                  <a:pos x="982" y="1075"/>
                </a:cxn>
                <a:cxn ang="0">
                  <a:pos x="1006" y="1036"/>
                </a:cxn>
                <a:cxn ang="0">
                  <a:pos x="1018" y="1076"/>
                </a:cxn>
                <a:cxn ang="0">
                  <a:pos x="1051" y="1138"/>
                </a:cxn>
                <a:cxn ang="0">
                  <a:pos x="1030" y="1195"/>
                </a:cxn>
                <a:cxn ang="0">
                  <a:pos x="1036" y="1235"/>
                </a:cxn>
                <a:cxn ang="0">
                  <a:pos x="1095" y="1200"/>
                </a:cxn>
                <a:cxn ang="0">
                  <a:pos x="1112" y="1241"/>
                </a:cxn>
                <a:cxn ang="0">
                  <a:pos x="1155" y="1316"/>
                </a:cxn>
                <a:cxn ang="0">
                  <a:pos x="1145" y="1411"/>
                </a:cxn>
                <a:cxn ang="0">
                  <a:pos x="1241" y="1556"/>
                </a:cxn>
                <a:cxn ang="0">
                  <a:pos x="1369" y="25"/>
                </a:cxn>
              </a:cxnLst>
              <a:rect l="0" t="0" r="r" b="b"/>
              <a:pathLst>
                <a:path w="1369" h="1556">
                  <a:moveTo>
                    <a:pt x="683" y="1086"/>
                  </a:moveTo>
                  <a:cubicBezTo>
                    <a:pt x="694" y="1084"/>
                    <a:pt x="694" y="1084"/>
                    <a:pt x="694" y="1084"/>
                  </a:cubicBezTo>
                  <a:cubicBezTo>
                    <a:pt x="705" y="1095"/>
                    <a:pt x="705" y="1095"/>
                    <a:pt x="705" y="1095"/>
                  </a:cubicBezTo>
                  <a:cubicBezTo>
                    <a:pt x="713" y="1086"/>
                    <a:pt x="713" y="1086"/>
                    <a:pt x="713" y="1086"/>
                  </a:cubicBezTo>
                  <a:cubicBezTo>
                    <a:pt x="691" y="1070"/>
                    <a:pt x="691" y="1070"/>
                    <a:pt x="691" y="1070"/>
                  </a:cubicBezTo>
                  <a:lnTo>
                    <a:pt x="683" y="1086"/>
                  </a:lnTo>
                  <a:close/>
                  <a:moveTo>
                    <a:pt x="947" y="1239"/>
                  </a:moveTo>
                  <a:cubicBezTo>
                    <a:pt x="943" y="1224"/>
                    <a:pt x="943" y="1224"/>
                    <a:pt x="943" y="1224"/>
                  </a:cubicBezTo>
                  <a:cubicBezTo>
                    <a:pt x="911" y="1203"/>
                    <a:pt x="910" y="1220"/>
                    <a:pt x="887" y="1228"/>
                  </a:cubicBezTo>
                  <a:cubicBezTo>
                    <a:pt x="864" y="1236"/>
                    <a:pt x="831" y="1241"/>
                    <a:pt x="831" y="1241"/>
                  </a:cubicBezTo>
                  <a:cubicBezTo>
                    <a:pt x="830" y="1262"/>
                    <a:pt x="830" y="1262"/>
                    <a:pt x="830" y="1262"/>
                  </a:cubicBezTo>
                  <a:cubicBezTo>
                    <a:pt x="844" y="1269"/>
                    <a:pt x="844" y="1269"/>
                    <a:pt x="844" y="1269"/>
                  </a:cubicBezTo>
                  <a:cubicBezTo>
                    <a:pt x="844" y="1269"/>
                    <a:pt x="867" y="1280"/>
                    <a:pt x="880" y="1280"/>
                  </a:cubicBezTo>
                  <a:cubicBezTo>
                    <a:pt x="894" y="1280"/>
                    <a:pt x="896" y="1269"/>
                    <a:pt x="904" y="1268"/>
                  </a:cubicBezTo>
                  <a:cubicBezTo>
                    <a:pt x="912" y="1266"/>
                    <a:pt x="919" y="1282"/>
                    <a:pt x="931" y="1284"/>
                  </a:cubicBezTo>
                  <a:cubicBezTo>
                    <a:pt x="943" y="1285"/>
                    <a:pt x="943" y="1262"/>
                    <a:pt x="943" y="1262"/>
                  </a:cubicBezTo>
                  <a:cubicBezTo>
                    <a:pt x="961" y="1260"/>
                    <a:pt x="961" y="1260"/>
                    <a:pt x="961" y="1260"/>
                  </a:cubicBezTo>
                  <a:cubicBezTo>
                    <a:pt x="961" y="1260"/>
                    <a:pt x="959" y="1248"/>
                    <a:pt x="959" y="1244"/>
                  </a:cubicBezTo>
                  <a:cubicBezTo>
                    <a:pt x="959" y="1240"/>
                    <a:pt x="947" y="1239"/>
                    <a:pt x="947" y="1239"/>
                  </a:cubicBezTo>
                  <a:close/>
                  <a:moveTo>
                    <a:pt x="979" y="1239"/>
                  </a:moveTo>
                  <a:cubicBezTo>
                    <a:pt x="968" y="1249"/>
                    <a:pt x="968" y="1249"/>
                    <a:pt x="968" y="1249"/>
                  </a:cubicBezTo>
                  <a:cubicBezTo>
                    <a:pt x="983" y="1260"/>
                    <a:pt x="983" y="1260"/>
                    <a:pt x="983" y="1260"/>
                  </a:cubicBezTo>
                  <a:cubicBezTo>
                    <a:pt x="996" y="1256"/>
                    <a:pt x="996" y="1256"/>
                    <a:pt x="996" y="1256"/>
                  </a:cubicBezTo>
                  <a:cubicBezTo>
                    <a:pt x="996" y="1256"/>
                    <a:pt x="992" y="1239"/>
                    <a:pt x="979" y="1239"/>
                  </a:cubicBezTo>
                  <a:close/>
                  <a:moveTo>
                    <a:pt x="1016" y="15"/>
                  </a:moveTo>
                  <a:cubicBezTo>
                    <a:pt x="1016" y="15"/>
                    <a:pt x="1008" y="9"/>
                    <a:pt x="996" y="0"/>
                  </a:cubicBezTo>
                  <a:cubicBezTo>
                    <a:pt x="749" y="0"/>
                    <a:pt x="749" y="0"/>
                    <a:pt x="749" y="0"/>
                  </a:cubicBezTo>
                  <a:cubicBezTo>
                    <a:pt x="702" y="0"/>
                    <a:pt x="213" y="9"/>
                    <a:pt x="0" y="13"/>
                  </a:cubicBezTo>
                  <a:cubicBezTo>
                    <a:pt x="28" y="725"/>
                    <a:pt x="28" y="725"/>
                    <a:pt x="28" y="725"/>
                  </a:cubicBezTo>
                  <a:cubicBezTo>
                    <a:pt x="48" y="720"/>
                    <a:pt x="116" y="713"/>
                    <a:pt x="129" y="713"/>
                  </a:cubicBezTo>
                  <a:cubicBezTo>
                    <a:pt x="143" y="713"/>
                    <a:pt x="239" y="715"/>
                    <a:pt x="240" y="713"/>
                  </a:cubicBezTo>
                  <a:cubicBezTo>
                    <a:pt x="241" y="712"/>
                    <a:pt x="243" y="692"/>
                    <a:pt x="265" y="697"/>
                  </a:cubicBezTo>
                  <a:cubicBezTo>
                    <a:pt x="287" y="702"/>
                    <a:pt x="379" y="766"/>
                    <a:pt x="379" y="766"/>
                  </a:cubicBezTo>
                  <a:cubicBezTo>
                    <a:pt x="379" y="766"/>
                    <a:pt x="402" y="767"/>
                    <a:pt x="403" y="765"/>
                  </a:cubicBezTo>
                  <a:cubicBezTo>
                    <a:pt x="404" y="764"/>
                    <a:pt x="403" y="751"/>
                    <a:pt x="417" y="753"/>
                  </a:cubicBezTo>
                  <a:cubicBezTo>
                    <a:pt x="430" y="755"/>
                    <a:pt x="485" y="787"/>
                    <a:pt x="485" y="787"/>
                  </a:cubicBezTo>
                  <a:cubicBezTo>
                    <a:pt x="497" y="796"/>
                    <a:pt x="497" y="796"/>
                    <a:pt x="497" y="796"/>
                  </a:cubicBezTo>
                  <a:cubicBezTo>
                    <a:pt x="514" y="781"/>
                    <a:pt x="514" y="781"/>
                    <a:pt x="514" y="781"/>
                  </a:cubicBezTo>
                  <a:cubicBezTo>
                    <a:pt x="527" y="799"/>
                    <a:pt x="527" y="799"/>
                    <a:pt x="527" y="799"/>
                  </a:cubicBezTo>
                  <a:cubicBezTo>
                    <a:pt x="527" y="799"/>
                    <a:pt x="527" y="777"/>
                    <a:pt x="547" y="792"/>
                  </a:cubicBezTo>
                  <a:cubicBezTo>
                    <a:pt x="566" y="807"/>
                    <a:pt x="566" y="814"/>
                    <a:pt x="564" y="814"/>
                  </a:cubicBezTo>
                  <a:cubicBezTo>
                    <a:pt x="562" y="814"/>
                    <a:pt x="545" y="828"/>
                    <a:pt x="554" y="829"/>
                  </a:cubicBezTo>
                  <a:cubicBezTo>
                    <a:pt x="562" y="830"/>
                    <a:pt x="582" y="819"/>
                    <a:pt x="582" y="819"/>
                  </a:cubicBezTo>
                  <a:cubicBezTo>
                    <a:pt x="582" y="819"/>
                    <a:pt x="601" y="840"/>
                    <a:pt x="600" y="843"/>
                  </a:cubicBezTo>
                  <a:cubicBezTo>
                    <a:pt x="599" y="846"/>
                    <a:pt x="579" y="853"/>
                    <a:pt x="579" y="853"/>
                  </a:cubicBezTo>
                  <a:cubicBezTo>
                    <a:pt x="579" y="853"/>
                    <a:pt x="592" y="859"/>
                    <a:pt x="585" y="865"/>
                  </a:cubicBezTo>
                  <a:cubicBezTo>
                    <a:pt x="577" y="872"/>
                    <a:pt x="576" y="877"/>
                    <a:pt x="576" y="877"/>
                  </a:cubicBezTo>
                  <a:cubicBezTo>
                    <a:pt x="609" y="910"/>
                    <a:pt x="609" y="910"/>
                    <a:pt x="609" y="910"/>
                  </a:cubicBezTo>
                  <a:cubicBezTo>
                    <a:pt x="609" y="910"/>
                    <a:pt x="623" y="900"/>
                    <a:pt x="637" y="910"/>
                  </a:cubicBezTo>
                  <a:cubicBezTo>
                    <a:pt x="651" y="921"/>
                    <a:pt x="659" y="939"/>
                    <a:pt x="659" y="944"/>
                  </a:cubicBezTo>
                  <a:cubicBezTo>
                    <a:pt x="659" y="949"/>
                    <a:pt x="663" y="973"/>
                    <a:pt x="663" y="973"/>
                  </a:cubicBezTo>
                  <a:cubicBezTo>
                    <a:pt x="663" y="973"/>
                    <a:pt x="677" y="994"/>
                    <a:pt x="688" y="1000"/>
                  </a:cubicBezTo>
                  <a:cubicBezTo>
                    <a:pt x="699" y="1006"/>
                    <a:pt x="708" y="1019"/>
                    <a:pt x="704" y="1024"/>
                  </a:cubicBezTo>
                  <a:cubicBezTo>
                    <a:pt x="700" y="1030"/>
                    <a:pt x="717" y="1052"/>
                    <a:pt x="716" y="1054"/>
                  </a:cubicBezTo>
                  <a:cubicBezTo>
                    <a:pt x="715" y="1055"/>
                    <a:pt x="714" y="1076"/>
                    <a:pt x="719" y="1078"/>
                  </a:cubicBezTo>
                  <a:cubicBezTo>
                    <a:pt x="724" y="1080"/>
                    <a:pt x="724" y="1098"/>
                    <a:pt x="724" y="1098"/>
                  </a:cubicBezTo>
                  <a:cubicBezTo>
                    <a:pt x="724" y="1098"/>
                    <a:pt x="717" y="1102"/>
                    <a:pt x="717" y="1104"/>
                  </a:cubicBezTo>
                  <a:cubicBezTo>
                    <a:pt x="717" y="1106"/>
                    <a:pt x="742" y="1142"/>
                    <a:pt x="746" y="1136"/>
                  </a:cubicBezTo>
                  <a:cubicBezTo>
                    <a:pt x="750" y="1130"/>
                    <a:pt x="773" y="1115"/>
                    <a:pt x="772" y="1111"/>
                  </a:cubicBezTo>
                  <a:cubicBezTo>
                    <a:pt x="771" y="1108"/>
                    <a:pt x="758" y="1091"/>
                    <a:pt x="766" y="1086"/>
                  </a:cubicBezTo>
                  <a:cubicBezTo>
                    <a:pt x="774" y="1081"/>
                    <a:pt x="788" y="1085"/>
                    <a:pt x="789" y="1082"/>
                  </a:cubicBezTo>
                  <a:cubicBezTo>
                    <a:pt x="789" y="1078"/>
                    <a:pt x="796" y="1065"/>
                    <a:pt x="796" y="1062"/>
                  </a:cubicBezTo>
                  <a:cubicBezTo>
                    <a:pt x="796" y="1060"/>
                    <a:pt x="815" y="1029"/>
                    <a:pt x="824" y="1021"/>
                  </a:cubicBezTo>
                  <a:cubicBezTo>
                    <a:pt x="834" y="1013"/>
                    <a:pt x="853" y="998"/>
                    <a:pt x="865" y="998"/>
                  </a:cubicBezTo>
                  <a:cubicBezTo>
                    <a:pt x="877" y="998"/>
                    <a:pt x="886" y="990"/>
                    <a:pt x="896" y="986"/>
                  </a:cubicBezTo>
                  <a:cubicBezTo>
                    <a:pt x="906" y="982"/>
                    <a:pt x="920" y="953"/>
                    <a:pt x="925" y="943"/>
                  </a:cubicBezTo>
                  <a:cubicBezTo>
                    <a:pt x="929" y="934"/>
                    <a:pt x="937" y="921"/>
                    <a:pt x="942" y="911"/>
                  </a:cubicBezTo>
                  <a:cubicBezTo>
                    <a:pt x="947" y="901"/>
                    <a:pt x="973" y="895"/>
                    <a:pt x="973" y="885"/>
                  </a:cubicBezTo>
                  <a:cubicBezTo>
                    <a:pt x="973" y="874"/>
                    <a:pt x="970" y="851"/>
                    <a:pt x="973" y="847"/>
                  </a:cubicBezTo>
                  <a:cubicBezTo>
                    <a:pt x="976" y="842"/>
                    <a:pt x="989" y="855"/>
                    <a:pt x="989" y="863"/>
                  </a:cubicBezTo>
                  <a:cubicBezTo>
                    <a:pt x="989" y="870"/>
                    <a:pt x="1002" y="903"/>
                    <a:pt x="996" y="911"/>
                  </a:cubicBezTo>
                  <a:cubicBezTo>
                    <a:pt x="990" y="919"/>
                    <a:pt x="974" y="915"/>
                    <a:pt x="974" y="923"/>
                  </a:cubicBezTo>
                  <a:cubicBezTo>
                    <a:pt x="975" y="931"/>
                    <a:pt x="991" y="954"/>
                    <a:pt x="988" y="961"/>
                  </a:cubicBezTo>
                  <a:cubicBezTo>
                    <a:pt x="984" y="968"/>
                    <a:pt x="925" y="1039"/>
                    <a:pt x="930" y="1050"/>
                  </a:cubicBezTo>
                  <a:cubicBezTo>
                    <a:pt x="935" y="1061"/>
                    <a:pt x="940" y="1129"/>
                    <a:pt x="930" y="1134"/>
                  </a:cubicBezTo>
                  <a:cubicBezTo>
                    <a:pt x="919" y="1140"/>
                    <a:pt x="910" y="1129"/>
                    <a:pt x="895" y="1135"/>
                  </a:cubicBezTo>
                  <a:cubicBezTo>
                    <a:pt x="881" y="1141"/>
                    <a:pt x="866" y="1158"/>
                    <a:pt x="879" y="1168"/>
                  </a:cubicBezTo>
                  <a:cubicBezTo>
                    <a:pt x="892" y="1177"/>
                    <a:pt x="905" y="1184"/>
                    <a:pt x="906" y="1182"/>
                  </a:cubicBezTo>
                  <a:cubicBezTo>
                    <a:pt x="907" y="1179"/>
                    <a:pt x="931" y="1157"/>
                    <a:pt x="931" y="1157"/>
                  </a:cubicBezTo>
                  <a:cubicBezTo>
                    <a:pt x="931" y="1157"/>
                    <a:pt x="931" y="1176"/>
                    <a:pt x="931" y="1182"/>
                  </a:cubicBezTo>
                  <a:cubicBezTo>
                    <a:pt x="931" y="1187"/>
                    <a:pt x="938" y="1203"/>
                    <a:pt x="948" y="1203"/>
                  </a:cubicBezTo>
                  <a:cubicBezTo>
                    <a:pt x="958" y="1203"/>
                    <a:pt x="957" y="1175"/>
                    <a:pt x="957" y="1159"/>
                  </a:cubicBezTo>
                  <a:cubicBezTo>
                    <a:pt x="957" y="1143"/>
                    <a:pt x="977" y="1126"/>
                    <a:pt x="977" y="1112"/>
                  </a:cubicBezTo>
                  <a:cubicBezTo>
                    <a:pt x="977" y="1098"/>
                    <a:pt x="977" y="1080"/>
                    <a:pt x="982" y="1075"/>
                  </a:cubicBezTo>
                  <a:cubicBezTo>
                    <a:pt x="988" y="1070"/>
                    <a:pt x="993" y="1074"/>
                    <a:pt x="993" y="1061"/>
                  </a:cubicBezTo>
                  <a:cubicBezTo>
                    <a:pt x="993" y="1049"/>
                    <a:pt x="1002" y="1041"/>
                    <a:pt x="1006" y="1036"/>
                  </a:cubicBezTo>
                  <a:cubicBezTo>
                    <a:pt x="1010" y="1031"/>
                    <a:pt x="1026" y="1054"/>
                    <a:pt x="1026" y="1054"/>
                  </a:cubicBezTo>
                  <a:cubicBezTo>
                    <a:pt x="1026" y="1054"/>
                    <a:pt x="1019" y="1065"/>
                    <a:pt x="1018" y="1076"/>
                  </a:cubicBezTo>
                  <a:cubicBezTo>
                    <a:pt x="1017" y="1087"/>
                    <a:pt x="1031" y="1105"/>
                    <a:pt x="1034" y="1112"/>
                  </a:cubicBezTo>
                  <a:cubicBezTo>
                    <a:pt x="1037" y="1118"/>
                    <a:pt x="1051" y="1125"/>
                    <a:pt x="1051" y="1138"/>
                  </a:cubicBezTo>
                  <a:cubicBezTo>
                    <a:pt x="1050" y="1151"/>
                    <a:pt x="1042" y="1162"/>
                    <a:pt x="1039" y="1163"/>
                  </a:cubicBezTo>
                  <a:cubicBezTo>
                    <a:pt x="1036" y="1165"/>
                    <a:pt x="1038" y="1187"/>
                    <a:pt x="1030" y="1195"/>
                  </a:cubicBezTo>
                  <a:cubicBezTo>
                    <a:pt x="1021" y="1203"/>
                    <a:pt x="988" y="1215"/>
                    <a:pt x="994" y="1226"/>
                  </a:cubicBezTo>
                  <a:cubicBezTo>
                    <a:pt x="1000" y="1236"/>
                    <a:pt x="1012" y="1238"/>
                    <a:pt x="1036" y="1235"/>
                  </a:cubicBezTo>
                  <a:cubicBezTo>
                    <a:pt x="1060" y="1231"/>
                    <a:pt x="1045" y="1227"/>
                    <a:pt x="1057" y="1220"/>
                  </a:cubicBezTo>
                  <a:cubicBezTo>
                    <a:pt x="1069" y="1214"/>
                    <a:pt x="1077" y="1203"/>
                    <a:pt x="1095" y="1200"/>
                  </a:cubicBezTo>
                  <a:cubicBezTo>
                    <a:pt x="1114" y="1196"/>
                    <a:pt x="1137" y="1181"/>
                    <a:pt x="1127" y="1196"/>
                  </a:cubicBezTo>
                  <a:cubicBezTo>
                    <a:pt x="1116" y="1211"/>
                    <a:pt x="1110" y="1225"/>
                    <a:pt x="1112" y="1241"/>
                  </a:cubicBezTo>
                  <a:cubicBezTo>
                    <a:pt x="1114" y="1257"/>
                    <a:pt x="1122" y="1261"/>
                    <a:pt x="1131" y="1270"/>
                  </a:cubicBezTo>
                  <a:cubicBezTo>
                    <a:pt x="1140" y="1279"/>
                    <a:pt x="1153" y="1305"/>
                    <a:pt x="1155" y="1316"/>
                  </a:cubicBezTo>
                  <a:cubicBezTo>
                    <a:pt x="1157" y="1327"/>
                    <a:pt x="1179" y="1379"/>
                    <a:pt x="1169" y="1388"/>
                  </a:cubicBezTo>
                  <a:cubicBezTo>
                    <a:pt x="1158" y="1398"/>
                    <a:pt x="1145" y="1409"/>
                    <a:pt x="1145" y="1411"/>
                  </a:cubicBezTo>
                  <a:cubicBezTo>
                    <a:pt x="1145" y="1414"/>
                    <a:pt x="1138" y="1442"/>
                    <a:pt x="1189" y="1486"/>
                  </a:cubicBezTo>
                  <a:cubicBezTo>
                    <a:pt x="1232" y="1543"/>
                    <a:pt x="1241" y="1556"/>
                    <a:pt x="1241" y="1556"/>
                  </a:cubicBezTo>
                  <a:cubicBezTo>
                    <a:pt x="1278" y="1555"/>
                    <a:pt x="1278" y="1555"/>
                    <a:pt x="1278" y="1555"/>
                  </a:cubicBezTo>
                  <a:cubicBezTo>
                    <a:pt x="1369" y="25"/>
                    <a:pt x="1369" y="25"/>
                    <a:pt x="1369" y="25"/>
                  </a:cubicBezTo>
                  <a:lnTo>
                    <a:pt x="1016" y="15"/>
                  </a:lnTo>
                  <a:close/>
                </a:path>
              </a:pathLst>
            </a:custGeom>
            <a:gradFill rotWithShape="1">
              <a:gsLst>
                <a:gs pos="0">
                  <a:srgbClr val="9B2219">
                    <a:gamma/>
                    <a:tint val="68627"/>
                    <a:invGamma/>
                  </a:srgbClr>
                </a:gs>
                <a:gs pos="100000">
                  <a:srgbClr val="9B2219"/>
                </a:gs>
              </a:gsLst>
              <a:lin ang="5400000" scaled="1"/>
            </a:gradFill>
            <a:ln w="3175" cap="flat" cmpd="sng">
              <a:prstDash val="solid"/>
              <a:miter lim="800000"/>
              <a:headEnd type="none" w="med" len="med"/>
              <a:tailEnd type="none" w="med" len="med"/>
            </a:ln>
            <a:effectLst/>
            <a:scene3d>
              <a:camera prst="legacyObliqueBottom"/>
              <a:lightRig rig="legacyFlat4" dir="b"/>
            </a:scene3d>
            <a:sp3d extrusionH="125400" prstMaterial="legacyMatte">
              <a:bevelT w="13500" h="13500" prst="angle"/>
              <a:bevelB w="13500" h="13500" prst="angle"/>
              <a:extrusionClr>
                <a:srgbClr val="9B2219"/>
              </a:extrusionClr>
            </a:sp3d>
          </p:spPr>
          <p:txBody>
            <a:bodyPr>
              <a:flatTx/>
            </a:bodyPr>
            <a:lstStyle/>
            <a:p>
              <a:pPr>
                <a:spcBef>
                  <a:spcPct val="20000"/>
                </a:spcBef>
              </a:pPr>
              <a:endParaRPr lang="en-GB" sz="1200">
                <a:solidFill>
                  <a:srgbClr val="FFFFFF"/>
                </a:solidFill>
              </a:endParaRPr>
            </a:p>
          </p:txBody>
        </p:sp>
      </p:grpSp>
      <p:sp>
        <p:nvSpPr>
          <p:cNvPr id="34" name="Freeform 48" descr="© INSCALE GmbH, 05.05.2010&#10;http://www.presentationload.com/"/>
          <p:cNvSpPr>
            <a:spLocks/>
          </p:cNvSpPr>
          <p:nvPr/>
        </p:nvSpPr>
        <p:spPr bwMode="auto">
          <a:xfrm rot="20526575" flipH="1">
            <a:off x="1344321" y="2050783"/>
            <a:ext cx="684837" cy="293404"/>
          </a:xfrm>
          <a:custGeom>
            <a:avLst/>
            <a:gdLst/>
            <a:ahLst/>
            <a:cxnLst>
              <a:cxn ang="0">
                <a:pos x="631" y="282"/>
              </a:cxn>
              <a:cxn ang="0">
                <a:pos x="112" y="57"/>
              </a:cxn>
              <a:cxn ang="0">
                <a:pos x="100" y="0"/>
              </a:cxn>
              <a:cxn ang="0">
                <a:pos x="0" y="169"/>
              </a:cxn>
              <a:cxn ang="0">
                <a:pos x="147" y="306"/>
              </a:cxn>
              <a:cxn ang="0">
                <a:pos x="135" y="238"/>
              </a:cxn>
              <a:cxn ang="0">
                <a:pos x="631" y="282"/>
              </a:cxn>
            </a:cxnLst>
            <a:rect l="0" t="0" r="r" b="b"/>
            <a:pathLst>
              <a:path w="631" h="306">
                <a:moveTo>
                  <a:pt x="631" y="282"/>
                </a:moveTo>
                <a:cubicBezTo>
                  <a:pt x="631" y="282"/>
                  <a:pt x="328" y="32"/>
                  <a:pt x="112" y="57"/>
                </a:cubicBezTo>
                <a:cubicBezTo>
                  <a:pt x="100" y="0"/>
                  <a:pt x="100" y="0"/>
                  <a:pt x="100" y="0"/>
                </a:cubicBezTo>
                <a:cubicBezTo>
                  <a:pt x="0" y="169"/>
                  <a:pt x="0" y="169"/>
                  <a:pt x="0" y="169"/>
                </a:cubicBezTo>
                <a:cubicBezTo>
                  <a:pt x="147" y="306"/>
                  <a:pt x="147" y="306"/>
                  <a:pt x="147" y="306"/>
                </a:cubicBezTo>
                <a:cubicBezTo>
                  <a:pt x="135" y="238"/>
                  <a:pt x="135" y="238"/>
                  <a:pt x="135" y="238"/>
                </a:cubicBezTo>
                <a:cubicBezTo>
                  <a:pt x="135" y="238"/>
                  <a:pt x="162" y="161"/>
                  <a:pt x="631" y="282"/>
                </a:cubicBezTo>
                <a:close/>
              </a:path>
            </a:pathLst>
          </a:custGeom>
          <a:gradFill rotWithShape="1">
            <a:gsLst>
              <a:gs pos="0">
                <a:srgbClr val="FFFFFF">
                  <a:gamma/>
                  <a:shade val="88235"/>
                  <a:invGamma/>
                </a:srgbClr>
              </a:gs>
              <a:gs pos="50000">
                <a:srgbClr val="FFFFFF"/>
              </a:gs>
              <a:gs pos="100000">
                <a:srgbClr val="FFFFFF">
                  <a:gamma/>
                  <a:shade val="88235"/>
                  <a:invGamma/>
                </a:srgbClr>
              </a:gs>
            </a:gsLst>
            <a:lin ang="0" scaled="1"/>
          </a:gradFill>
          <a:ln w="9525" cap="flat" cmpd="sng">
            <a:solidFill>
              <a:schemeClr val="tx2"/>
            </a:solidFill>
            <a:prstDash val="solid"/>
            <a:round/>
            <a:headEnd type="none" w="med" len="med"/>
            <a:tailEnd type="none" w="med" len="med"/>
          </a:ln>
          <a:effectLst>
            <a:outerShdw dist="91581" dir="3378596" algn="ctr" rotWithShape="0">
              <a:schemeClr val="tx2">
                <a:alpha val="50000"/>
              </a:schemeClr>
            </a:outerShdw>
          </a:effectLst>
        </p:spPr>
        <p:txBody>
          <a:bodyPr/>
          <a:lstStyle/>
          <a:p>
            <a:endParaRPr lang="en-GB"/>
          </a:p>
        </p:txBody>
      </p:sp>
      <p:sp>
        <p:nvSpPr>
          <p:cNvPr id="51" name="Rectangle 5"/>
          <p:cNvSpPr>
            <a:spLocks noChangeArrowheads="1"/>
          </p:cNvSpPr>
          <p:nvPr/>
        </p:nvSpPr>
        <p:spPr bwMode="gray">
          <a:xfrm>
            <a:off x="639763" y="4627750"/>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Zuerst klicken Sie auf die weißen Konturlinien des Landes und </a:t>
            </a:r>
            <a:r>
              <a:rPr lang="de-DE" sz="1200" dirty="0" err="1" smtClean="0">
                <a:latin typeface="Myriad Pro" pitchFamily="34" charset="0"/>
                <a:ea typeface="Arial Unicode MS" pitchFamily="34" charset="-128"/>
                <a:cs typeface="Arial" charset="0"/>
              </a:rPr>
              <a:t>Degruppieren</a:t>
            </a:r>
            <a:r>
              <a:rPr lang="de-DE" sz="1200" dirty="0" smtClean="0">
                <a:latin typeface="Myriad Pro" pitchFamily="34" charset="0"/>
                <a:ea typeface="Arial Unicode MS" pitchFamily="34" charset="-128"/>
                <a:cs typeface="Arial" charset="0"/>
              </a:rPr>
              <a:t> diese.  Anschließend können Sie ihre gewünschte Region einfärben indem sie auf die Konturlinie der Region klicken.</a:t>
            </a:r>
            <a:endParaRPr lang="de-DE" sz="1200" dirty="0">
              <a:latin typeface="Myriad Pro" pitchFamily="34" charset="0"/>
              <a:ea typeface="Arial Unicode MS" pitchFamily="34" charset="-128"/>
              <a:cs typeface="Arial" charset="0"/>
            </a:endParaRPr>
          </a:p>
        </p:txBody>
      </p:sp>
      <p:sp>
        <p:nvSpPr>
          <p:cNvPr id="52" name="PPTShape_5"/>
          <p:cNvSpPr>
            <a:spLocks noChangeArrowheads="1"/>
          </p:cNvSpPr>
          <p:nvPr/>
        </p:nvSpPr>
        <p:spPr bwMode="gray">
          <a:xfrm>
            <a:off x="639763" y="5244706"/>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Danach kopieren Sie die neu eingefärbte Fläche und platzieren diese im Kreis. Um den 3D Effekt der Vorlage zu erzielen verwenden Sie die Format Übertragen Funktion.</a:t>
            </a:r>
            <a:endParaRPr lang="de-DE" dirty="0">
              <a:solidFill>
                <a:srgbClr val="000000"/>
              </a:solidFill>
              <a:ea typeface="Arial Unicode MS" pitchFamily="34" charset="-128"/>
              <a:cs typeface="Arial" charset="0"/>
            </a:endParaRPr>
          </a:p>
        </p:txBody>
      </p:sp>
      <p:grpSp>
        <p:nvGrpSpPr>
          <p:cNvPr id="54" name="Gruppieren 275"/>
          <p:cNvGrpSpPr/>
          <p:nvPr/>
        </p:nvGrpSpPr>
        <p:grpSpPr>
          <a:xfrm>
            <a:off x="203518" y="4627750"/>
            <a:ext cx="347663" cy="338138"/>
            <a:chOff x="203518" y="4378643"/>
            <a:chExt cx="347663" cy="338138"/>
          </a:xfrm>
        </p:grpSpPr>
        <p:pic>
          <p:nvPicPr>
            <p:cNvPr id="55" name="Grafik 54" descr="schatten.png"/>
            <p:cNvPicPr>
              <a:picLocks noChangeAspect="1"/>
            </p:cNvPicPr>
            <p:nvPr/>
          </p:nvPicPr>
          <p:blipFill>
            <a:blip r:embed="rId5" cstate="print">
              <a:lum bright="30000"/>
            </a:blip>
            <a:srcRect l="17603" t="9404" r="15359" b="14528"/>
            <a:stretch>
              <a:fillRect/>
            </a:stretch>
          </p:blipFill>
          <p:spPr>
            <a:xfrm>
              <a:off x="203518" y="4378643"/>
              <a:ext cx="347663" cy="338138"/>
            </a:xfrm>
            <a:prstGeom prst="rect">
              <a:avLst/>
            </a:prstGeom>
          </p:spPr>
        </p:pic>
        <p:sp>
          <p:nvSpPr>
            <p:cNvPr id="56"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57" name="Gruppieren 278"/>
          <p:cNvGrpSpPr/>
          <p:nvPr/>
        </p:nvGrpSpPr>
        <p:grpSpPr>
          <a:xfrm>
            <a:off x="203518" y="5244706"/>
            <a:ext cx="347663" cy="338138"/>
            <a:chOff x="203518" y="4966018"/>
            <a:chExt cx="347663" cy="338138"/>
          </a:xfrm>
        </p:grpSpPr>
        <p:pic>
          <p:nvPicPr>
            <p:cNvPr id="58" name="Grafik 57" descr="schatten.png"/>
            <p:cNvPicPr>
              <a:picLocks noChangeAspect="1"/>
            </p:cNvPicPr>
            <p:nvPr/>
          </p:nvPicPr>
          <p:blipFill>
            <a:blip r:embed="rId5" cstate="print">
              <a:lum bright="30000"/>
            </a:blip>
            <a:srcRect l="17603" t="9404" r="15359" b="14528"/>
            <a:stretch>
              <a:fillRect/>
            </a:stretch>
          </p:blipFill>
          <p:spPr>
            <a:xfrm>
              <a:off x="203518" y="4966018"/>
              <a:ext cx="347663" cy="338138"/>
            </a:xfrm>
            <a:prstGeom prst="rect">
              <a:avLst/>
            </a:prstGeom>
          </p:spPr>
        </p:pic>
        <p:sp>
          <p:nvSpPr>
            <p:cNvPr id="59"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82" name="Group 45"/>
          <p:cNvGrpSpPr>
            <a:grpSpLocks/>
          </p:cNvGrpSpPr>
          <p:nvPr/>
        </p:nvGrpSpPr>
        <p:grpSpPr bwMode="auto">
          <a:xfrm rot="20287264">
            <a:off x="1795923" y="2909662"/>
            <a:ext cx="374650" cy="609600"/>
            <a:chOff x="1950" y="1045"/>
            <a:chExt cx="568" cy="928"/>
          </a:xfrm>
        </p:grpSpPr>
        <p:sp>
          <p:nvSpPr>
            <p:cNvPr id="104"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dirty="0">
                <a:latin typeface="Myriad Pro" pitchFamily="34" charset="0"/>
              </a:endParaRPr>
            </a:p>
          </p:txBody>
        </p:sp>
        <p:sp>
          <p:nvSpPr>
            <p:cNvPr id="105"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dirty="0"/>
            </a:p>
          </p:txBody>
        </p:sp>
        <p:sp>
          <p:nvSpPr>
            <p:cNvPr id="106"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107"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dirty="0"/>
            </a:p>
          </p:txBody>
        </p:sp>
        <p:sp>
          <p:nvSpPr>
            <p:cNvPr id="108"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109"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dirty="0"/>
            </a:p>
          </p:txBody>
        </p:sp>
        <p:sp>
          <p:nvSpPr>
            <p:cNvPr id="110"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dirty="0"/>
            </a:p>
          </p:txBody>
        </p:sp>
        <p:sp>
          <p:nvSpPr>
            <p:cNvPr id="111"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dirty="0">
                <a:latin typeface="Myriad Pro" pitchFamily="34" charset="0"/>
              </a:endParaRPr>
            </a:p>
          </p:txBody>
        </p:sp>
        <p:sp>
          <p:nvSpPr>
            <p:cNvPr id="112"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dirty="0"/>
            </a:p>
          </p:txBody>
        </p:sp>
        <p:sp>
          <p:nvSpPr>
            <p:cNvPr id="113"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dirty="0"/>
            </a:p>
          </p:txBody>
        </p:sp>
        <p:sp>
          <p:nvSpPr>
            <p:cNvPr id="114"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dirty="0"/>
            </a:p>
          </p:txBody>
        </p:sp>
        <p:sp>
          <p:nvSpPr>
            <p:cNvPr id="115"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dirty="0"/>
            </a:p>
          </p:txBody>
        </p:sp>
      </p:grpSp>
      <p:grpSp>
        <p:nvGrpSpPr>
          <p:cNvPr id="353" name="Gruppieren 352"/>
          <p:cNvGrpSpPr/>
          <p:nvPr/>
        </p:nvGrpSpPr>
        <p:grpSpPr>
          <a:xfrm>
            <a:off x="4262046" y="1485303"/>
            <a:ext cx="1140898" cy="380299"/>
            <a:chOff x="7502526" y="-1362605"/>
            <a:chExt cx="1238250" cy="412750"/>
          </a:xfrm>
        </p:grpSpPr>
        <p:pic>
          <p:nvPicPr>
            <p:cNvPr id="3074" name="Picture 2"/>
            <p:cNvPicPr>
              <a:picLocks noChangeAspect="1" noChangeArrowheads="1"/>
            </p:cNvPicPr>
            <p:nvPr/>
          </p:nvPicPr>
          <p:blipFill>
            <a:blip r:embed="rId6"/>
            <a:srcRect/>
            <a:stretch>
              <a:fillRect/>
            </a:stretch>
          </p:blipFill>
          <p:spPr bwMode="auto">
            <a:xfrm>
              <a:off x="7502526" y="-1362605"/>
              <a:ext cx="1238250" cy="41275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sp>
          <p:nvSpPr>
            <p:cNvPr id="136" name="Rechteck 135"/>
            <p:cNvSpPr/>
            <p:nvPr/>
          </p:nvSpPr>
          <p:spPr>
            <a:xfrm>
              <a:off x="7523163" y="-1094468"/>
              <a:ext cx="1202735" cy="12926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20" name="Gruppieren 275"/>
          <p:cNvGrpSpPr/>
          <p:nvPr/>
        </p:nvGrpSpPr>
        <p:grpSpPr>
          <a:xfrm>
            <a:off x="2946718" y="1190816"/>
            <a:ext cx="347663" cy="338138"/>
            <a:chOff x="203518" y="4378643"/>
            <a:chExt cx="347663" cy="338138"/>
          </a:xfrm>
        </p:grpSpPr>
        <p:pic>
          <p:nvPicPr>
            <p:cNvPr id="421" name="Grafik 420" descr="schatten.png"/>
            <p:cNvPicPr>
              <a:picLocks noChangeAspect="1"/>
            </p:cNvPicPr>
            <p:nvPr/>
          </p:nvPicPr>
          <p:blipFill>
            <a:blip r:embed="rId5" cstate="print">
              <a:lum bright="30000"/>
            </a:blip>
            <a:srcRect l="17603" t="9404" r="15359" b="14528"/>
            <a:stretch>
              <a:fillRect/>
            </a:stretch>
          </p:blipFill>
          <p:spPr>
            <a:xfrm>
              <a:off x="203518" y="4378643"/>
              <a:ext cx="347663" cy="338138"/>
            </a:xfrm>
            <a:prstGeom prst="rect">
              <a:avLst/>
            </a:prstGeom>
          </p:spPr>
        </p:pic>
        <p:sp>
          <p:nvSpPr>
            <p:cNvPr id="422"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423" name="Gruppieren 275"/>
          <p:cNvGrpSpPr/>
          <p:nvPr/>
        </p:nvGrpSpPr>
        <p:grpSpPr>
          <a:xfrm>
            <a:off x="2917824" y="2847066"/>
            <a:ext cx="347663" cy="338138"/>
            <a:chOff x="203518" y="4378643"/>
            <a:chExt cx="347663" cy="338138"/>
          </a:xfrm>
        </p:grpSpPr>
        <p:pic>
          <p:nvPicPr>
            <p:cNvPr id="424" name="Grafik 423" descr="schatten.png"/>
            <p:cNvPicPr>
              <a:picLocks noChangeAspect="1"/>
            </p:cNvPicPr>
            <p:nvPr/>
          </p:nvPicPr>
          <p:blipFill>
            <a:blip r:embed="rId5" cstate="print">
              <a:lum bright="30000"/>
            </a:blip>
            <a:srcRect l="17603" t="9404" r="15359" b="14528"/>
            <a:stretch>
              <a:fillRect/>
            </a:stretch>
          </p:blipFill>
          <p:spPr>
            <a:xfrm>
              <a:off x="203518" y="4378643"/>
              <a:ext cx="347663" cy="338138"/>
            </a:xfrm>
            <a:prstGeom prst="rect">
              <a:avLst/>
            </a:prstGeom>
          </p:spPr>
        </p:pic>
        <p:sp>
          <p:nvSpPr>
            <p:cNvPr id="425"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pic>
        <p:nvPicPr>
          <p:cNvPr id="129" name="Picture 2" descr="C:\Users\patrick.z\Desktop\Tutorials\Landkarten\DE\02_Regionen einfärben.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6165" y="2083803"/>
            <a:ext cx="1396230" cy="296836"/>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3" descr="C:\Users\patrick.z\Desktop\Tutorials\Landkarten\DE\03_Regionen einfärbe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42886" y="2380639"/>
            <a:ext cx="834111" cy="1404565"/>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31" name="Picture 2" descr="C:\Users\patrick.z\Desktop\Tutorials\Landkarten\DE\01_Karte gruppieren.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13339" y="1188626"/>
            <a:ext cx="948707" cy="1475765"/>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132" name="Rechteck 131"/>
          <p:cNvSpPr/>
          <p:nvPr/>
        </p:nvSpPr>
        <p:spPr>
          <a:xfrm>
            <a:off x="3313338" y="1738162"/>
            <a:ext cx="925287" cy="119105"/>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3" name="Rechteck 132"/>
          <p:cNvSpPr/>
          <p:nvPr/>
        </p:nvSpPr>
        <p:spPr>
          <a:xfrm>
            <a:off x="5586708" y="2083803"/>
            <a:ext cx="401687" cy="7485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83" name="Gruppieren 278"/>
          <p:cNvGrpSpPr/>
          <p:nvPr/>
        </p:nvGrpSpPr>
        <p:grpSpPr>
          <a:xfrm>
            <a:off x="5915200" y="2127707"/>
            <a:ext cx="62259" cy="108679"/>
            <a:chOff x="2806936" y="1682676"/>
            <a:chExt cx="852584" cy="1488282"/>
          </a:xfrm>
          <a:effectLst>
            <a:outerShdw blurRad="50800" dist="38100" dir="2700000" algn="tl" rotWithShape="0">
              <a:prstClr val="black">
                <a:alpha val="40000"/>
              </a:prstClr>
            </a:outerShdw>
          </a:effectLst>
        </p:grpSpPr>
        <p:sp>
          <p:nvSpPr>
            <p:cNvPr id="84" name="Freeform 209"/>
            <p:cNvSpPr>
              <a:spLocks/>
            </p:cNvSpPr>
            <p:nvPr/>
          </p:nvSpPr>
          <p:spPr bwMode="auto">
            <a:xfrm>
              <a:off x="2877569" y="1823942"/>
              <a:ext cx="639853" cy="1276382"/>
            </a:xfrm>
            <a:custGeom>
              <a:avLst/>
              <a:gdLst/>
              <a:ahLst/>
              <a:cxnLst>
                <a:cxn ang="0">
                  <a:pos x="770" y="1366"/>
                </a:cxn>
                <a:cxn ang="0">
                  <a:pos x="770" y="1536"/>
                </a:cxn>
                <a:cxn ang="0">
                  <a:pos x="598" y="1536"/>
                </a:cxn>
                <a:cxn ang="0">
                  <a:pos x="598" y="1366"/>
                </a:cxn>
                <a:cxn ang="0">
                  <a:pos x="513" y="1366"/>
                </a:cxn>
                <a:cxn ang="0">
                  <a:pos x="513" y="1195"/>
                </a:cxn>
                <a:cxn ang="0">
                  <a:pos x="428" y="1195"/>
                </a:cxn>
                <a:cxn ang="0">
                  <a:pos x="428" y="1023"/>
                </a:cxn>
                <a:cxn ang="0">
                  <a:pos x="343" y="1023"/>
                </a:cxn>
                <a:cxn ang="0">
                  <a:pos x="343" y="853"/>
                </a:cxn>
                <a:cxn ang="0">
                  <a:pos x="258" y="853"/>
                </a:cxn>
                <a:cxn ang="0">
                  <a:pos x="258" y="938"/>
                </a:cxn>
                <a:cxn ang="0">
                  <a:pos x="173" y="938"/>
                </a:cxn>
                <a:cxn ang="0">
                  <a:pos x="173" y="1023"/>
                </a:cxn>
                <a:cxn ang="0">
                  <a:pos x="87" y="1023"/>
                </a:cxn>
                <a:cxn ang="0">
                  <a:pos x="87" y="1108"/>
                </a:cxn>
                <a:cxn ang="0">
                  <a:pos x="0" y="1108"/>
                </a:cxn>
                <a:cxn ang="0">
                  <a:pos x="0" y="0"/>
                </a:cxn>
                <a:cxn ang="0">
                  <a:pos x="87" y="0"/>
                </a:cxn>
                <a:cxn ang="0">
                  <a:pos x="87" y="85"/>
                </a:cxn>
                <a:cxn ang="0">
                  <a:pos x="173" y="85"/>
                </a:cxn>
                <a:cxn ang="0">
                  <a:pos x="173" y="170"/>
                </a:cxn>
                <a:cxn ang="0">
                  <a:pos x="258" y="170"/>
                </a:cxn>
                <a:cxn ang="0">
                  <a:pos x="258" y="255"/>
                </a:cxn>
                <a:cxn ang="0">
                  <a:pos x="343" y="255"/>
                </a:cxn>
                <a:cxn ang="0">
                  <a:pos x="343" y="340"/>
                </a:cxn>
                <a:cxn ang="0">
                  <a:pos x="428" y="340"/>
                </a:cxn>
                <a:cxn ang="0">
                  <a:pos x="428" y="425"/>
                </a:cxn>
                <a:cxn ang="0">
                  <a:pos x="513" y="425"/>
                </a:cxn>
                <a:cxn ang="0">
                  <a:pos x="513" y="513"/>
                </a:cxn>
                <a:cxn ang="0">
                  <a:pos x="598" y="513"/>
                </a:cxn>
                <a:cxn ang="0">
                  <a:pos x="598" y="598"/>
                </a:cxn>
                <a:cxn ang="0">
                  <a:pos x="683" y="598"/>
                </a:cxn>
                <a:cxn ang="0">
                  <a:pos x="683" y="683"/>
                </a:cxn>
                <a:cxn ang="0">
                  <a:pos x="770" y="683"/>
                </a:cxn>
                <a:cxn ang="0">
                  <a:pos x="770" y="768"/>
                </a:cxn>
                <a:cxn ang="0">
                  <a:pos x="513" y="768"/>
                </a:cxn>
                <a:cxn ang="0">
                  <a:pos x="513" y="1023"/>
                </a:cxn>
                <a:cxn ang="0">
                  <a:pos x="598" y="1023"/>
                </a:cxn>
                <a:cxn ang="0">
                  <a:pos x="598" y="1195"/>
                </a:cxn>
                <a:cxn ang="0">
                  <a:pos x="683" y="1195"/>
                </a:cxn>
                <a:cxn ang="0">
                  <a:pos x="683" y="1366"/>
                </a:cxn>
                <a:cxn ang="0">
                  <a:pos x="770" y="1366"/>
                </a:cxn>
              </a:cxnLst>
              <a:rect l="0" t="0" r="r" b="b"/>
              <a:pathLst>
                <a:path w="770" h="1536">
                  <a:moveTo>
                    <a:pt x="770" y="1366"/>
                  </a:moveTo>
                  <a:lnTo>
                    <a:pt x="770" y="1536"/>
                  </a:lnTo>
                  <a:lnTo>
                    <a:pt x="598" y="1536"/>
                  </a:lnTo>
                  <a:lnTo>
                    <a:pt x="598" y="1366"/>
                  </a:lnTo>
                  <a:lnTo>
                    <a:pt x="513" y="1366"/>
                  </a:lnTo>
                  <a:lnTo>
                    <a:pt x="513" y="1195"/>
                  </a:lnTo>
                  <a:lnTo>
                    <a:pt x="428" y="1195"/>
                  </a:lnTo>
                  <a:lnTo>
                    <a:pt x="428" y="1023"/>
                  </a:lnTo>
                  <a:lnTo>
                    <a:pt x="343" y="1023"/>
                  </a:lnTo>
                  <a:lnTo>
                    <a:pt x="343" y="853"/>
                  </a:lnTo>
                  <a:lnTo>
                    <a:pt x="258" y="853"/>
                  </a:lnTo>
                  <a:lnTo>
                    <a:pt x="258" y="938"/>
                  </a:lnTo>
                  <a:lnTo>
                    <a:pt x="173" y="938"/>
                  </a:lnTo>
                  <a:lnTo>
                    <a:pt x="173" y="1023"/>
                  </a:lnTo>
                  <a:lnTo>
                    <a:pt x="87" y="1023"/>
                  </a:lnTo>
                  <a:lnTo>
                    <a:pt x="87" y="1108"/>
                  </a:lnTo>
                  <a:lnTo>
                    <a:pt x="0" y="1108"/>
                  </a:lnTo>
                  <a:lnTo>
                    <a:pt x="0" y="0"/>
                  </a:lnTo>
                  <a:lnTo>
                    <a:pt x="87" y="0"/>
                  </a:lnTo>
                  <a:lnTo>
                    <a:pt x="87" y="85"/>
                  </a:lnTo>
                  <a:lnTo>
                    <a:pt x="173" y="85"/>
                  </a:lnTo>
                  <a:lnTo>
                    <a:pt x="173" y="170"/>
                  </a:lnTo>
                  <a:lnTo>
                    <a:pt x="258" y="170"/>
                  </a:lnTo>
                  <a:lnTo>
                    <a:pt x="258" y="255"/>
                  </a:lnTo>
                  <a:lnTo>
                    <a:pt x="343" y="255"/>
                  </a:lnTo>
                  <a:lnTo>
                    <a:pt x="343" y="340"/>
                  </a:lnTo>
                  <a:lnTo>
                    <a:pt x="428" y="340"/>
                  </a:lnTo>
                  <a:lnTo>
                    <a:pt x="428" y="425"/>
                  </a:lnTo>
                  <a:lnTo>
                    <a:pt x="513" y="425"/>
                  </a:lnTo>
                  <a:lnTo>
                    <a:pt x="513" y="513"/>
                  </a:lnTo>
                  <a:lnTo>
                    <a:pt x="598" y="513"/>
                  </a:lnTo>
                  <a:lnTo>
                    <a:pt x="598" y="598"/>
                  </a:lnTo>
                  <a:lnTo>
                    <a:pt x="683" y="598"/>
                  </a:lnTo>
                  <a:lnTo>
                    <a:pt x="683" y="683"/>
                  </a:lnTo>
                  <a:lnTo>
                    <a:pt x="770" y="683"/>
                  </a:lnTo>
                  <a:lnTo>
                    <a:pt x="770" y="768"/>
                  </a:lnTo>
                  <a:lnTo>
                    <a:pt x="513" y="768"/>
                  </a:lnTo>
                  <a:lnTo>
                    <a:pt x="513" y="1023"/>
                  </a:lnTo>
                  <a:lnTo>
                    <a:pt x="598" y="1023"/>
                  </a:lnTo>
                  <a:lnTo>
                    <a:pt x="598" y="1195"/>
                  </a:lnTo>
                  <a:lnTo>
                    <a:pt x="683" y="1195"/>
                  </a:lnTo>
                  <a:lnTo>
                    <a:pt x="683" y="1366"/>
                  </a:lnTo>
                  <a:lnTo>
                    <a:pt x="770" y="1366"/>
                  </a:lnTo>
                  <a:close/>
                </a:path>
              </a:pathLst>
            </a:custGeom>
            <a:gradFill flip="none" rotWithShape="1">
              <a:gsLst>
                <a:gs pos="0">
                  <a:schemeClr val="bg1">
                    <a:lumMod val="85000"/>
                  </a:schemeClr>
                </a:gs>
                <a:gs pos="50000">
                  <a:schemeClr val="bg1">
                    <a:lumMod val="95000"/>
                  </a:schemeClr>
                </a:gs>
                <a:gs pos="100000">
                  <a:schemeClr val="bg1">
                    <a:shade val="100000"/>
                    <a:satMod val="11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85" name="Freeform 210"/>
            <p:cNvSpPr>
              <a:spLocks/>
            </p:cNvSpPr>
            <p:nvPr/>
          </p:nvSpPr>
          <p:spPr bwMode="auto">
            <a:xfrm>
              <a:off x="3303861" y="2391501"/>
              <a:ext cx="355659" cy="282533"/>
            </a:xfrm>
            <a:custGeom>
              <a:avLst/>
              <a:gdLst/>
              <a:ahLst/>
              <a:cxnLst>
                <a:cxn ang="0">
                  <a:pos x="428" y="85"/>
                </a:cxn>
                <a:cxn ang="0">
                  <a:pos x="428" y="170"/>
                </a:cxn>
                <a:cxn ang="0">
                  <a:pos x="85" y="170"/>
                </a:cxn>
                <a:cxn ang="0">
                  <a:pos x="85" y="340"/>
                </a:cxn>
                <a:cxn ang="0">
                  <a:pos x="0" y="340"/>
                </a:cxn>
                <a:cxn ang="0">
                  <a:pos x="0" y="85"/>
                </a:cxn>
                <a:cxn ang="0">
                  <a:pos x="257" y="85"/>
                </a:cxn>
                <a:cxn ang="0">
                  <a:pos x="257" y="0"/>
                </a:cxn>
                <a:cxn ang="0">
                  <a:pos x="343" y="0"/>
                </a:cxn>
                <a:cxn ang="0">
                  <a:pos x="343" y="85"/>
                </a:cxn>
                <a:cxn ang="0">
                  <a:pos x="428" y="85"/>
                </a:cxn>
              </a:cxnLst>
              <a:rect l="0" t="0" r="r" b="b"/>
              <a:pathLst>
                <a:path w="428" h="340">
                  <a:moveTo>
                    <a:pt x="428" y="85"/>
                  </a:moveTo>
                  <a:lnTo>
                    <a:pt x="428" y="170"/>
                  </a:lnTo>
                  <a:lnTo>
                    <a:pt x="85" y="170"/>
                  </a:lnTo>
                  <a:lnTo>
                    <a:pt x="85" y="340"/>
                  </a:lnTo>
                  <a:lnTo>
                    <a:pt x="0" y="340"/>
                  </a:lnTo>
                  <a:lnTo>
                    <a:pt x="0" y="85"/>
                  </a:lnTo>
                  <a:lnTo>
                    <a:pt x="257" y="85"/>
                  </a:lnTo>
                  <a:lnTo>
                    <a:pt x="257" y="0"/>
                  </a:lnTo>
                  <a:lnTo>
                    <a:pt x="343" y="0"/>
                  </a:lnTo>
                  <a:lnTo>
                    <a:pt x="343" y="85"/>
                  </a:lnTo>
                  <a:lnTo>
                    <a:pt x="428" y="85"/>
                  </a:lnTo>
                  <a:close/>
                </a:path>
              </a:pathLst>
            </a:custGeom>
            <a:solidFill>
              <a:schemeClr val="bg1">
                <a:lumMod val="50000"/>
              </a:schemeClr>
            </a:solidFill>
            <a:ln w="9525">
              <a:noFill/>
              <a:round/>
              <a:headEnd/>
              <a:tailEnd/>
            </a:ln>
          </p:spPr>
          <p:txBody>
            <a:bodyPr/>
            <a:lstStyle/>
            <a:p>
              <a:pPr>
                <a:defRPr/>
              </a:pPr>
              <a:endParaRPr lang="de-DE" dirty="0"/>
            </a:p>
          </p:txBody>
        </p:sp>
        <p:sp>
          <p:nvSpPr>
            <p:cNvPr id="86" name="Rectangle 211"/>
            <p:cNvSpPr>
              <a:spLocks noChangeArrowheads="1"/>
            </p:cNvSpPr>
            <p:nvPr/>
          </p:nvSpPr>
          <p:spPr bwMode="auto">
            <a:xfrm>
              <a:off x="3517423" y="2959058"/>
              <a:ext cx="71464" cy="14126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87" name="Rectangle 212"/>
            <p:cNvSpPr>
              <a:spLocks noChangeArrowheads="1"/>
            </p:cNvSpPr>
            <p:nvPr/>
          </p:nvSpPr>
          <p:spPr bwMode="auto">
            <a:xfrm>
              <a:off x="3374495" y="3100325"/>
              <a:ext cx="142928"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88" name="Rectangle 213"/>
            <p:cNvSpPr>
              <a:spLocks noChangeArrowheads="1"/>
            </p:cNvSpPr>
            <p:nvPr/>
          </p:nvSpPr>
          <p:spPr bwMode="auto">
            <a:xfrm>
              <a:off x="3445128" y="2816961"/>
              <a:ext cx="72295" cy="14209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89" name="Rectangle 214"/>
            <p:cNvSpPr>
              <a:spLocks noChangeArrowheads="1"/>
            </p:cNvSpPr>
            <p:nvPr/>
          </p:nvSpPr>
          <p:spPr bwMode="auto">
            <a:xfrm>
              <a:off x="3445128" y="2320867"/>
              <a:ext cx="72295"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90" name="Rectangle 215"/>
            <p:cNvSpPr>
              <a:spLocks noChangeArrowheads="1"/>
            </p:cNvSpPr>
            <p:nvPr/>
          </p:nvSpPr>
          <p:spPr bwMode="auto">
            <a:xfrm>
              <a:off x="3374495" y="2674033"/>
              <a:ext cx="70633" cy="14292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91" name="Rectangle 216"/>
            <p:cNvSpPr>
              <a:spLocks noChangeArrowheads="1"/>
            </p:cNvSpPr>
            <p:nvPr/>
          </p:nvSpPr>
          <p:spPr bwMode="auto">
            <a:xfrm>
              <a:off x="3374495" y="2250234"/>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92" name="Rectangle 217"/>
            <p:cNvSpPr>
              <a:spLocks noChangeArrowheads="1"/>
            </p:cNvSpPr>
            <p:nvPr/>
          </p:nvSpPr>
          <p:spPr bwMode="auto">
            <a:xfrm>
              <a:off x="3303861" y="2959058"/>
              <a:ext cx="70633" cy="14126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93" name="Rectangle 218"/>
            <p:cNvSpPr>
              <a:spLocks noChangeArrowheads="1"/>
            </p:cNvSpPr>
            <p:nvPr/>
          </p:nvSpPr>
          <p:spPr bwMode="auto">
            <a:xfrm>
              <a:off x="3303861" y="2177108"/>
              <a:ext cx="70633" cy="7312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94" name="Rectangle 219"/>
            <p:cNvSpPr>
              <a:spLocks noChangeArrowheads="1"/>
            </p:cNvSpPr>
            <p:nvPr/>
          </p:nvSpPr>
          <p:spPr bwMode="auto">
            <a:xfrm>
              <a:off x="3233228" y="2816961"/>
              <a:ext cx="70633" cy="14209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95" name="Rectangle 220"/>
            <p:cNvSpPr>
              <a:spLocks noChangeArrowheads="1"/>
            </p:cNvSpPr>
            <p:nvPr/>
          </p:nvSpPr>
          <p:spPr bwMode="auto">
            <a:xfrm>
              <a:off x="3233228" y="2106475"/>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96" name="Rectangle 221"/>
            <p:cNvSpPr>
              <a:spLocks noChangeArrowheads="1"/>
            </p:cNvSpPr>
            <p:nvPr/>
          </p:nvSpPr>
          <p:spPr bwMode="auto">
            <a:xfrm>
              <a:off x="3162595" y="2674033"/>
              <a:ext cx="70633" cy="14292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97" name="Rectangle 222"/>
            <p:cNvSpPr>
              <a:spLocks noChangeArrowheads="1"/>
            </p:cNvSpPr>
            <p:nvPr/>
          </p:nvSpPr>
          <p:spPr bwMode="auto">
            <a:xfrm>
              <a:off x="3162595" y="2035842"/>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98" name="Freeform 223"/>
            <p:cNvSpPr>
              <a:spLocks/>
            </p:cNvSpPr>
            <p:nvPr/>
          </p:nvSpPr>
          <p:spPr bwMode="auto">
            <a:xfrm>
              <a:off x="3021328" y="2532767"/>
              <a:ext cx="141266" cy="141266"/>
            </a:xfrm>
            <a:custGeom>
              <a:avLst/>
              <a:gdLst/>
              <a:ahLst/>
              <a:cxnLst>
                <a:cxn ang="0">
                  <a:pos x="170" y="0"/>
                </a:cxn>
                <a:cxn ang="0">
                  <a:pos x="170" y="170"/>
                </a:cxn>
                <a:cxn ang="0">
                  <a:pos x="0" y="170"/>
                </a:cxn>
                <a:cxn ang="0">
                  <a:pos x="0" y="85"/>
                </a:cxn>
                <a:cxn ang="0">
                  <a:pos x="85" y="85"/>
                </a:cxn>
                <a:cxn ang="0">
                  <a:pos x="85" y="0"/>
                </a:cxn>
                <a:cxn ang="0">
                  <a:pos x="170" y="0"/>
                </a:cxn>
              </a:cxnLst>
              <a:rect l="0" t="0" r="r" b="b"/>
              <a:pathLst>
                <a:path w="170" h="170">
                  <a:moveTo>
                    <a:pt x="170" y="0"/>
                  </a:moveTo>
                  <a:lnTo>
                    <a:pt x="170" y="170"/>
                  </a:lnTo>
                  <a:lnTo>
                    <a:pt x="0" y="170"/>
                  </a:lnTo>
                  <a:lnTo>
                    <a:pt x="0" y="85"/>
                  </a:lnTo>
                  <a:lnTo>
                    <a:pt x="85" y="85"/>
                  </a:lnTo>
                  <a:lnTo>
                    <a:pt x="85" y="0"/>
                  </a:lnTo>
                  <a:lnTo>
                    <a:pt x="170" y="0"/>
                  </a:lnTo>
                  <a:close/>
                </a:path>
              </a:pathLst>
            </a:custGeom>
            <a:solidFill>
              <a:schemeClr val="bg1">
                <a:lumMod val="50000"/>
              </a:schemeClr>
            </a:solidFill>
            <a:ln w="9525">
              <a:noFill/>
              <a:round/>
              <a:headEnd/>
              <a:tailEnd/>
            </a:ln>
          </p:spPr>
          <p:txBody>
            <a:bodyPr/>
            <a:lstStyle/>
            <a:p>
              <a:pPr>
                <a:defRPr/>
              </a:pPr>
              <a:endParaRPr lang="de-DE" dirty="0"/>
            </a:p>
          </p:txBody>
        </p:sp>
        <p:sp>
          <p:nvSpPr>
            <p:cNvPr id="99" name="Rectangle 224"/>
            <p:cNvSpPr>
              <a:spLocks noChangeArrowheads="1"/>
            </p:cNvSpPr>
            <p:nvPr/>
          </p:nvSpPr>
          <p:spPr bwMode="auto">
            <a:xfrm>
              <a:off x="3091962" y="1965209"/>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00" name="Rectangle 225"/>
            <p:cNvSpPr>
              <a:spLocks noChangeArrowheads="1"/>
            </p:cNvSpPr>
            <p:nvPr/>
          </p:nvSpPr>
          <p:spPr bwMode="auto">
            <a:xfrm>
              <a:off x="3021328" y="1894576"/>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01" name="Rectangle 226"/>
            <p:cNvSpPr>
              <a:spLocks noChangeArrowheads="1"/>
            </p:cNvSpPr>
            <p:nvPr/>
          </p:nvSpPr>
          <p:spPr bwMode="auto">
            <a:xfrm>
              <a:off x="2949864" y="2674033"/>
              <a:ext cx="71464"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02" name="Rectangle 227"/>
            <p:cNvSpPr>
              <a:spLocks noChangeArrowheads="1"/>
            </p:cNvSpPr>
            <p:nvPr/>
          </p:nvSpPr>
          <p:spPr bwMode="auto">
            <a:xfrm>
              <a:off x="2949864" y="1823942"/>
              <a:ext cx="71464"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03" name="Freeform 228"/>
            <p:cNvSpPr>
              <a:spLocks/>
            </p:cNvSpPr>
            <p:nvPr/>
          </p:nvSpPr>
          <p:spPr bwMode="auto">
            <a:xfrm>
              <a:off x="2806936" y="1682676"/>
              <a:ext cx="142928" cy="1205749"/>
            </a:xfrm>
            <a:custGeom>
              <a:avLst/>
              <a:gdLst/>
              <a:ahLst/>
              <a:cxnLst>
                <a:cxn ang="0">
                  <a:pos x="172" y="1278"/>
                </a:cxn>
                <a:cxn ang="0">
                  <a:pos x="172" y="1365"/>
                </a:cxn>
                <a:cxn ang="0">
                  <a:pos x="85" y="1365"/>
                </a:cxn>
                <a:cxn ang="0">
                  <a:pos x="85" y="1451"/>
                </a:cxn>
                <a:cxn ang="0">
                  <a:pos x="0" y="1451"/>
                </a:cxn>
                <a:cxn ang="0">
                  <a:pos x="0" y="0"/>
                </a:cxn>
                <a:cxn ang="0">
                  <a:pos x="85" y="0"/>
                </a:cxn>
                <a:cxn ang="0">
                  <a:pos x="85" y="85"/>
                </a:cxn>
                <a:cxn ang="0">
                  <a:pos x="172" y="85"/>
                </a:cxn>
                <a:cxn ang="0">
                  <a:pos x="172" y="170"/>
                </a:cxn>
                <a:cxn ang="0">
                  <a:pos x="85" y="170"/>
                </a:cxn>
                <a:cxn ang="0">
                  <a:pos x="85" y="1278"/>
                </a:cxn>
                <a:cxn ang="0">
                  <a:pos x="172" y="1278"/>
                </a:cxn>
              </a:cxnLst>
              <a:rect l="0" t="0" r="r" b="b"/>
              <a:pathLst>
                <a:path w="172" h="1451">
                  <a:moveTo>
                    <a:pt x="172" y="1278"/>
                  </a:moveTo>
                  <a:lnTo>
                    <a:pt x="172" y="1365"/>
                  </a:lnTo>
                  <a:lnTo>
                    <a:pt x="85" y="1365"/>
                  </a:lnTo>
                  <a:lnTo>
                    <a:pt x="85" y="1451"/>
                  </a:lnTo>
                  <a:lnTo>
                    <a:pt x="0" y="1451"/>
                  </a:lnTo>
                  <a:lnTo>
                    <a:pt x="0" y="0"/>
                  </a:lnTo>
                  <a:lnTo>
                    <a:pt x="85" y="0"/>
                  </a:lnTo>
                  <a:lnTo>
                    <a:pt x="85" y="85"/>
                  </a:lnTo>
                  <a:lnTo>
                    <a:pt x="172" y="85"/>
                  </a:lnTo>
                  <a:lnTo>
                    <a:pt x="172" y="170"/>
                  </a:lnTo>
                  <a:lnTo>
                    <a:pt x="85" y="170"/>
                  </a:lnTo>
                  <a:lnTo>
                    <a:pt x="85" y="1278"/>
                  </a:lnTo>
                  <a:lnTo>
                    <a:pt x="172" y="1278"/>
                  </a:lnTo>
                  <a:close/>
                </a:path>
              </a:pathLst>
            </a:custGeom>
            <a:solidFill>
              <a:schemeClr val="bg1">
                <a:lumMod val="50000"/>
              </a:schemeClr>
            </a:solidFill>
            <a:ln w="9525">
              <a:noFill/>
              <a:round/>
              <a:headEnd/>
              <a:tailEnd/>
            </a:ln>
          </p:spPr>
          <p:txBody>
            <a:bodyPr/>
            <a:lstStyle/>
            <a:p>
              <a:pPr>
                <a:defRPr/>
              </a:pPr>
              <a:endParaRPr lang="de-DE" dirty="0"/>
            </a:p>
          </p:txBody>
        </p:sp>
      </p:grpSp>
      <p:pic>
        <p:nvPicPr>
          <p:cNvPr id="1026" name="Picture 2" descr="C:\Users\patrick.z\Desktop\Tutorials\Landkarten\DE\08_Regionen hervorheben.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60688" y="3293372"/>
            <a:ext cx="1683133" cy="76676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134" name="Rechteck 133"/>
          <p:cNvSpPr/>
          <p:nvPr/>
        </p:nvSpPr>
        <p:spPr>
          <a:xfrm>
            <a:off x="3465738" y="3725651"/>
            <a:ext cx="1120427" cy="189124"/>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98904758"/>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 name="Picture 2"/>
          <p:cNvPicPr>
            <a:picLocks noChangeAspect="1" noChangeArrowheads="1"/>
          </p:cNvPicPr>
          <p:nvPr/>
        </p:nvPicPr>
        <p:blipFill>
          <a:blip r:embed="rId35"/>
          <a:srcRect/>
          <a:stretch>
            <a:fillRect/>
          </a:stretch>
        </p:blipFill>
        <p:spPr bwMode="auto">
          <a:xfrm>
            <a:off x="-12700" y="3022600"/>
            <a:ext cx="9156700" cy="3359150"/>
          </a:xfrm>
          <a:prstGeom prst="rect">
            <a:avLst/>
          </a:prstGeom>
          <a:noFill/>
          <a:ln w="9525">
            <a:noFill/>
            <a:miter lim="800000"/>
            <a:headEnd/>
            <a:tailEnd/>
          </a:ln>
          <a:effectLst/>
        </p:spPr>
      </p:pic>
      <p:sp>
        <p:nvSpPr>
          <p:cNvPr id="27651" name="Titel 7"/>
          <p:cNvSpPr>
            <a:spLocks noGrp="1"/>
          </p:cNvSpPr>
          <p:nvPr>
            <p:ph type="title"/>
          </p:nvPr>
        </p:nvSpPr>
        <p:spPr bwMode="auto">
          <a:xfrm>
            <a:off x="131763" y="274638"/>
            <a:ext cx="9015412" cy="461962"/>
          </a:xfrm>
          <a:noFill/>
          <a:ln>
            <a:miter lim="800000"/>
            <a:headEnd/>
            <a:tailEnd/>
          </a:ln>
        </p:spPr>
        <p:txBody>
          <a:bodyPr vert="horz" wrap="square" lIns="91440" tIns="45720" rIns="91440" bIns="45720" numCol="1" anchor="t" anchorCtr="0" compatLnSpc="1">
            <a:prstTxWarp prst="textNoShape">
              <a:avLst/>
            </a:prstTxWarp>
          </a:bodyPr>
          <a:lstStyle/>
          <a:p>
            <a:r>
              <a:rPr lang="de-DE" dirty="0" smtClean="0"/>
              <a:t>Karte gruppieren</a:t>
            </a:r>
          </a:p>
        </p:txBody>
      </p:sp>
      <p:sp>
        <p:nvSpPr>
          <p:cNvPr id="98" name="Rechteck 97">
            <a:hlinkClick r:id="rId36"/>
          </p:cNvPr>
          <p:cNvSpPr/>
          <p:nvPr/>
        </p:nvSpPr>
        <p:spPr>
          <a:xfrm>
            <a:off x="6648450" y="6296025"/>
            <a:ext cx="2495550" cy="56197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3</a:t>
            </a:r>
            <a:endParaRPr lang="de-DE" sz="900" dirty="0">
              <a:solidFill>
                <a:schemeClr val="bg1">
                  <a:lumMod val="50000"/>
                </a:schemeClr>
              </a:solidFill>
            </a:endParaRPr>
          </a:p>
        </p:txBody>
      </p:sp>
      <p:grpSp>
        <p:nvGrpSpPr>
          <p:cNvPr id="2" name="Group 304"/>
          <p:cNvGrpSpPr/>
          <p:nvPr/>
        </p:nvGrpSpPr>
        <p:grpSpPr>
          <a:xfrm>
            <a:off x="578530" y="546669"/>
            <a:ext cx="8125896" cy="4399798"/>
            <a:chOff x="578530" y="546669"/>
            <a:chExt cx="8125896" cy="4399798"/>
          </a:xfrm>
        </p:grpSpPr>
        <p:sp>
          <p:nvSpPr>
            <p:cNvPr id="523" name="Ellipse 436"/>
            <p:cNvSpPr/>
            <p:nvPr/>
          </p:nvSpPr>
          <p:spPr>
            <a:xfrm>
              <a:off x="2836678" y="210808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3" name="Gruppieren 320"/>
            <p:cNvGrpSpPr/>
            <p:nvPr/>
          </p:nvGrpSpPr>
          <p:grpSpPr>
            <a:xfrm>
              <a:off x="685800" y="822244"/>
              <a:ext cx="2678442" cy="3626574"/>
              <a:chOff x="685800" y="822244"/>
              <a:chExt cx="2678442" cy="3626574"/>
            </a:xfrm>
            <a:effectLst>
              <a:reflection blurRad="6350" stA="52000" endA="300" endPos="35000" dir="5400000" sy="-100000" algn="bl" rotWithShape="0"/>
            </a:effectLst>
          </p:grpSpPr>
          <p:sp>
            <p:nvSpPr>
              <p:cNvPr id="524" name="Freeform 24"/>
              <p:cNvSpPr>
                <a:spLocks noEditPoints="1"/>
              </p:cNvSpPr>
              <p:nvPr>
                <p:custDataLst>
                  <p:tags r:id="rId17"/>
                </p:custDataLst>
              </p:nvPr>
            </p:nvSpPr>
            <p:spPr bwMode="auto">
              <a:xfrm>
                <a:off x="2259919" y="1514124"/>
                <a:ext cx="1007924" cy="1014025"/>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43" name="Freeform 20"/>
              <p:cNvSpPr>
                <a:spLocks/>
              </p:cNvSpPr>
              <p:nvPr>
                <p:custDataLst>
                  <p:tags r:id="rId18"/>
                </p:custDataLst>
              </p:nvPr>
            </p:nvSpPr>
            <p:spPr bwMode="auto">
              <a:xfrm>
                <a:off x="2069560" y="1760614"/>
                <a:ext cx="745571" cy="977418"/>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44" name="Freeform 21"/>
              <p:cNvSpPr>
                <a:spLocks/>
              </p:cNvSpPr>
              <p:nvPr>
                <p:custDataLst>
                  <p:tags r:id="rId19"/>
                </p:custDataLst>
              </p:nvPr>
            </p:nvSpPr>
            <p:spPr bwMode="auto">
              <a:xfrm>
                <a:off x="1859678" y="2414666"/>
                <a:ext cx="815125" cy="651612"/>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45" name="Freeform 22"/>
              <p:cNvSpPr>
                <a:spLocks/>
              </p:cNvSpPr>
              <p:nvPr>
                <p:custDataLst>
                  <p:tags r:id="rId20"/>
                </p:custDataLst>
              </p:nvPr>
            </p:nvSpPr>
            <p:spPr bwMode="auto">
              <a:xfrm>
                <a:off x="2788285" y="1924127"/>
                <a:ext cx="174495" cy="152531"/>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46" name="Freeform 23"/>
              <p:cNvSpPr>
                <a:spLocks/>
              </p:cNvSpPr>
              <p:nvPr>
                <p:custDataLst>
                  <p:tags r:id="rId21"/>
                </p:custDataLst>
              </p:nvPr>
            </p:nvSpPr>
            <p:spPr bwMode="auto">
              <a:xfrm>
                <a:off x="2458819" y="2389041"/>
                <a:ext cx="905423" cy="717505"/>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48" name="Freeform 25"/>
              <p:cNvSpPr>
                <a:spLocks/>
              </p:cNvSpPr>
              <p:nvPr>
                <p:custDataLst>
                  <p:tags r:id="rId22"/>
                </p:custDataLst>
              </p:nvPr>
            </p:nvSpPr>
            <p:spPr bwMode="auto">
              <a:xfrm>
                <a:off x="1593664" y="2916188"/>
                <a:ext cx="1466737" cy="1532630"/>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49" name="Freeform 26"/>
              <p:cNvSpPr>
                <a:spLocks/>
              </p:cNvSpPr>
              <p:nvPr>
                <p:custDataLst>
                  <p:tags r:id="rId23"/>
                </p:custDataLst>
              </p:nvPr>
            </p:nvSpPr>
            <p:spPr bwMode="auto">
              <a:xfrm>
                <a:off x="783420" y="3310328"/>
                <a:ext cx="320925" cy="278216"/>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50" name="Freeform 27"/>
              <p:cNvSpPr>
                <a:spLocks/>
              </p:cNvSpPr>
              <p:nvPr>
                <p:custDataLst>
                  <p:tags r:id="rId24"/>
                </p:custDataLst>
              </p:nvPr>
            </p:nvSpPr>
            <p:spPr bwMode="auto">
              <a:xfrm>
                <a:off x="1238572" y="2406125"/>
                <a:ext cx="728487" cy="1049412"/>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51" name="Freeform 28"/>
              <p:cNvSpPr>
                <a:spLocks/>
              </p:cNvSpPr>
              <p:nvPr>
                <p:custDataLst>
                  <p:tags r:id="rId25"/>
                </p:custDataLst>
              </p:nvPr>
            </p:nvSpPr>
            <p:spPr bwMode="auto">
              <a:xfrm>
                <a:off x="738271" y="2730710"/>
                <a:ext cx="704082" cy="917626"/>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54" name="Freeform 29"/>
              <p:cNvSpPr>
                <a:spLocks/>
              </p:cNvSpPr>
              <p:nvPr>
                <p:custDataLst>
                  <p:tags r:id="rId26"/>
                </p:custDataLst>
              </p:nvPr>
            </p:nvSpPr>
            <p:spPr bwMode="auto">
              <a:xfrm>
                <a:off x="685800" y="1994901"/>
                <a:ext cx="1060395" cy="989620"/>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57" name="Freeform 30"/>
              <p:cNvSpPr>
                <a:spLocks noEditPoints="1"/>
              </p:cNvSpPr>
              <p:nvPr>
                <p:custDataLst>
                  <p:tags r:id="rId27"/>
                </p:custDataLst>
              </p:nvPr>
            </p:nvSpPr>
            <p:spPr bwMode="auto">
              <a:xfrm>
                <a:off x="2048816" y="988198"/>
                <a:ext cx="1075038" cy="74557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58" name="Freeform 31"/>
              <p:cNvSpPr>
                <a:spLocks noEditPoints="1"/>
              </p:cNvSpPr>
              <p:nvPr>
                <p:custDataLst>
                  <p:tags r:id="rId28"/>
                </p:custDataLst>
              </p:nvPr>
            </p:nvSpPr>
            <p:spPr bwMode="auto">
              <a:xfrm>
                <a:off x="1464318" y="1321325"/>
                <a:ext cx="540569" cy="283097"/>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59" name="Freeform 32"/>
              <p:cNvSpPr>
                <a:spLocks/>
              </p:cNvSpPr>
              <p:nvPr>
                <p:custDataLst>
                  <p:tags r:id="rId29"/>
                </p:custDataLst>
              </p:nvPr>
            </p:nvSpPr>
            <p:spPr bwMode="auto">
              <a:xfrm>
                <a:off x="1491163" y="1666655"/>
                <a:ext cx="139108" cy="106161"/>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60" name="Freeform 33"/>
              <p:cNvSpPr>
                <a:spLocks noEditPoints="1"/>
              </p:cNvSpPr>
              <p:nvPr>
                <p:custDataLst>
                  <p:tags r:id="rId30"/>
                </p:custDataLst>
              </p:nvPr>
            </p:nvSpPr>
            <p:spPr bwMode="auto">
              <a:xfrm>
                <a:off x="921308" y="1351831"/>
                <a:ext cx="1428909" cy="1227568"/>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61" name="Freeform 34"/>
              <p:cNvSpPr>
                <a:spLocks noEditPoints="1"/>
              </p:cNvSpPr>
              <p:nvPr>
                <p:custDataLst>
                  <p:tags r:id="rId31"/>
                </p:custDataLst>
              </p:nvPr>
            </p:nvSpPr>
            <p:spPr bwMode="auto">
              <a:xfrm>
                <a:off x="1090922" y="3249315"/>
                <a:ext cx="949352" cy="107015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62" name="Freeform 35"/>
              <p:cNvSpPr>
                <a:spLocks noEditPoints="1"/>
              </p:cNvSpPr>
              <p:nvPr>
                <p:custDataLst>
                  <p:tags r:id="rId32"/>
                </p:custDataLst>
              </p:nvPr>
            </p:nvSpPr>
            <p:spPr bwMode="auto">
              <a:xfrm>
                <a:off x="1330090" y="822244"/>
                <a:ext cx="934709" cy="796821"/>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grpSp>
        <p:grpSp>
          <p:nvGrpSpPr>
            <p:cNvPr id="4" name="Group 19"/>
            <p:cNvGrpSpPr>
              <a:grpSpLocks/>
            </p:cNvGrpSpPr>
            <p:nvPr/>
          </p:nvGrpSpPr>
          <p:grpSpPr bwMode="auto">
            <a:xfrm>
              <a:off x="5849955" y="822244"/>
              <a:ext cx="2678442" cy="3626574"/>
              <a:chOff x="670" y="640"/>
              <a:chExt cx="2195" cy="2972"/>
            </a:xfrm>
            <a:effectLst>
              <a:reflection blurRad="6350" stA="52000" endA="300" endPos="35000" dir="5400000" sy="-100000" algn="bl" rotWithShape="0"/>
            </a:effectLst>
          </p:grpSpPr>
          <p:sp>
            <p:nvSpPr>
              <p:cNvPr id="177"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78"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79"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80"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81"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82"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83"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84"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97"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204"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205"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206"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207"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208"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209"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214"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grpSp>
        <p:grpSp>
          <p:nvGrpSpPr>
            <p:cNvPr id="5" name="Group 45"/>
            <p:cNvGrpSpPr>
              <a:grpSpLocks/>
            </p:cNvGrpSpPr>
            <p:nvPr/>
          </p:nvGrpSpPr>
          <p:grpSpPr bwMode="auto">
            <a:xfrm rot="-1312736">
              <a:off x="2678793" y="4336867"/>
              <a:ext cx="374650" cy="609600"/>
              <a:chOff x="1950" y="1045"/>
              <a:chExt cx="568" cy="928"/>
            </a:xfrm>
          </p:grpSpPr>
          <p:sp>
            <p:nvSpPr>
              <p:cNvPr id="491"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dirty="0">
                  <a:latin typeface="Myriad Pro" pitchFamily="34" charset="0"/>
                </a:endParaRPr>
              </a:p>
            </p:txBody>
          </p:sp>
          <p:sp>
            <p:nvSpPr>
              <p:cNvPr id="492"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dirty="0"/>
              </a:p>
            </p:txBody>
          </p:sp>
          <p:sp>
            <p:nvSpPr>
              <p:cNvPr id="493"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494"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dirty="0"/>
              </a:p>
            </p:txBody>
          </p:sp>
          <p:sp>
            <p:nvSpPr>
              <p:cNvPr id="495"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496"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dirty="0"/>
              </a:p>
            </p:txBody>
          </p:sp>
          <p:sp>
            <p:nvSpPr>
              <p:cNvPr id="497"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dirty="0"/>
              </a:p>
            </p:txBody>
          </p:sp>
          <p:sp>
            <p:nvSpPr>
              <p:cNvPr id="498"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dirty="0">
                  <a:latin typeface="Myriad Pro" pitchFamily="34" charset="0"/>
                </a:endParaRPr>
              </a:p>
            </p:txBody>
          </p:sp>
          <p:sp>
            <p:nvSpPr>
              <p:cNvPr id="499"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dirty="0"/>
              </a:p>
            </p:txBody>
          </p:sp>
          <p:sp>
            <p:nvSpPr>
              <p:cNvPr id="500"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dirty="0"/>
              </a:p>
            </p:txBody>
          </p:sp>
          <p:sp>
            <p:nvSpPr>
              <p:cNvPr id="501"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dirty="0"/>
              </a:p>
            </p:txBody>
          </p:sp>
          <p:sp>
            <p:nvSpPr>
              <p:cNvPr id="502"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dirty="0"/>
              </a:p>
            </p:txBody>
          </p:sp>
        </p:grpSp>
        <p:grpSp>
          <p:nvGrpSpPr>
            <p:cNvPr id="6" name="Gruppieren 332"/>
            <p:cNvGrpSpPr/>
            <p:nvPr/>
          </p:nvGrpSpPr>
          <p:grpSpPr>
            <a:xfrm>
              <a:off x="719138" y="3037107"/>
              <a:ext cx="462950" cy="611046"/>
              <a:chOff x="719138" y="3037107"/>
              <a:chExt cx="462950" cy="611046"/>
            </a:xfrm>
          </p:grpSpPr>
          <p:sp>
            <p:nvSpPr>
              <p:cNvPr id="408" name="Ellipse 407"/>
              <p:cNvSpPr/>
              <p:nvPr/>
            </p:nvSpPr>
            <p:spPr>
              <a:xfrm>
                <a:off x="1103128" y="323520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09" name="Ellipse 408"/>
              <p:cNvSpPr/>
              <p:nvPr/>
            </p:nvSpPr>
            <p:spPr>
              <a:xfrm>
                <a:off x="719138" y="356507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11" name="Ellipse 410"/>
              <p:cNvSpPr/>
              <p:nvPr/>
            </p:nvSpPr>
            <p:spPr>
              <a:xfrm>
                <a:off x="1103128" y="357255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12" name="Ellipse 411"/>
              <p:cNvSpPr/>
              <p:nvPr/>
            </p:nvSpPr>
            <p:spPr>
              <a:xfrm>
                <a:off x="719138" y="322772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82" name="Ellipse 408"/>
              <p:cNvSpPr/>
              <p:nvPr/>
            </p:nvSpPr>
            <p:spPr>
              <a:xfrm>
                <a:off x="719138" y="3405788"/>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84" name="Ellipse 408"/>
              <p:cNvSpPr/>
              <p:nvPr/>
            </p:nvSpPr>
            <p:spPr>
              <a:xfrm>
                <a:off x="1106488" y="3405788"/>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86" name="Ellipse 408"/>
              <p:cNvSpPr/>
              <p:nvPr/>
            </p:nvSpPr>
            <p:spPr>
              <a:xfrm>
                <a:off x="915988" y="356507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7" name="Gruppieren 323"/>
              <p:cNvGrpSpPr/>
              <p:nvPr/>
            </p:nvGrpSpPr>
            <p:grpSpPr>
              <a:xfrm>
                <a:off x="911133" y="3037107"/>
                <a:ext cx="80455" cy="267017"/>
                <a:chOff x="911133" y="3037107"/>
                <a:chExt cx="80455" cy="267017"/>
              </a:xfrm>
            </p:grpSpPr>
            <p:sp>
              <p:nvSpPr>
                <p:cNvPr id="414" name="Ellipse 413"/>
                <p:cNvSpPr/>
                <p:nvPr/>
              </p:nvSpPr>
              <p:spPr>
                <a:xfrm>
                  <a:off x="911133" y="3037107"/>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416" name="Gerade Verbindung 415"/>
                <p:cNvCxnSpPr/>
                <p:nvPr/>
              </p:nvCxnSpPr>
              <p:spPr>
                <a:xfrm rot="5400000">
                  <a:off x="885871" y="3174174"/>
                  <a:ext cx="119775" cy="0"/>
                </a:xfrm>
                <a:prstGeom prst="line">
                  <a:avLst/>
                </a:prstGeom>
                <a:noFill/>
                <a:ln w="9525">
                  <a:solidFill>
                    <a:schemeClr val="tx1"/>
                  </a:solidFill>
                  <a:round/>
                  <a:headEnd/>
                  <a:tailEnd/>
                </a:ln>
                <a:effectLst/>
              </p:spPr>
            </p:cxnSp>
            <p:sp>
              <p:nvSpPr>
                <p:cNvPr id="388" name="Ellipse 408"/>
                <p:cNvSpPr/>
                <p:nvPr/>
              </p:nvSpPr>
              <p:spPr>
                <a:xfrm>
                  <a:off x="915988" y="322852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8" name="Gruppieren 382"/>
            <p:cNvGrpSpPr/>
            <p:nvPr/>
          </p:nvGrpSpPr>
          <p:grpSpPr>
            <a:xfrm>
              <a:off x="971590" y="2971143"/>
              <a:ext cx="1149271" cy="1445120"/>
              <a:chOff x="971590" y="2971143"/>
              <a:chExt cx="1149271" cy="1445120"/>
            </a:xfrm>
          </p:grpSpPr>
          <p:sp>
            <p:nvSpPr>
              <p:cNvPr id="450" name="Ellipse 449"/>
              <p:cNvSpPr/>
              <p:nvPr/>
            </p:nvSpPr>
            <p:spPr>
              <a:xfrm>
                <a:off x="2045261" y="317622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51" name="Ellipse 450"/>
              <p:cNvSpPr/>
              <p:nvPr/>
            </p:nvSpPr>
            <p:spPr>
              <a:xfrm>
                <a:off x="971590" y="432626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53" name="Ellipse 452"/>
              <p:cNvSpPr/>
              <p:nvPr/>
            </p:nvSpPr>
            <p:spPr>
              <a:xfrm>
                <a:off x="2045261" y="432626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54" name="Ellipse 453"/>
              <p:cNvSpPr/>
              <p:nvPr/>
            </p:nvSpPr>
            <p:spPr>
              <a:xfrm>
                <a:off x="971590" y="317622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70" name="Ellipse 452"/>
              <p:cNvSpPr/>
              <p:nvPr/>
            </p:nvSpPr>
            <p:spPr>
              <a:xfrm>
                <a:off x="1515626" y="434066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74" name="Ellipse 452"/>
              <p:cNvSpPr/>
              <p:nvPr/>
            </p:nvSpPr>
            <p:spPr>
              <a:xfrm>
                <a:off x="2036326" y="374997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78" name="Ellipse 452"/>
              <p:cNvSpPr/>
              <p:nvPr/>
            </p:nvSpPr>
            <p:spPr>
              <a:xfrm>
                <a:off x="982226" y="374997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9" name="Gruppieren 333"/>
              <p:cNvGrpSpPr/>
              <p:nvPr/>
            </p:nvGrpSpPr>
            <p:grpSpPr>
              <a:xfrm>
                <a:off x="1508426" y="2971143"/>
                <a:ext cx="79625" cy="272224"/>
                <a:chOff x="1508426" y="2971143"/>
                <a:chExt cx="79625" cy="272224"/>
              </a:xfrm>
            </p:grpSpPr>
            <p:sp>
              <p:nvSpPr>
                <p:cNvPr id="456" name="Ellipse 455"/>
                <p:cNvSpPr/>
                <p:nvPr/>
              </p:nvSpPr>
              <p:spPr>
                <a:xfrm>
                  <a:off x="1508426" y="2971143"/>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458" name="Gerade Verbindung 457"/>
                <p:cNvCxnSpPr/>
                <p:nvPr/>
              </p:nvCxnSpPr>
              <p:spPr>
                <a:xfrm rot="5400000">
                  <a:off x="1483164" y="3108210"/>
                  <a:ext cx="119775" cy="0"/>
                </a:xfrm>
                <a:prstGeom prst="line">
                  <a:avLst/>
                </a:prstGeom>
                <a:noFill/>
                <a:ln w="9525">
                  <a:solidFill>
                    <a:schemeClr val="tx1"/>
                  </a:solidFill>
                  <a:round/>
                  <a:headEnd/>
                  <a:tailEnd/>
                </a:ln>
                <a:effectLst/>
              </p:spPr>
            </p:cxnSp>
            <p:sp>
              <p:nvSpPr>
                <p:cNvPr id="418" name="Ellipse 350"/>
                <p:cNvSpPr/>
                <p:nvPr/>
              </p:nvSpPr>
              <p:spPr>
                <a:xfrm>
                  <a:off x="1512451" y="316776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10" name="Gruppieren 384"/>
            <p:cNvGrpSpPr/>
            <p:nvPr/>
          </p:nvGrpSpPr>
          <p:grpSpPr>
            <a:xfrm>
              <a:off x="1499235" y="2615543"/>
              <a:ext cx="1698541" cy="2002220"/>
              <a:chOff x="1499235" y="2615543"/>
              <a:chExt cx="1698541" cy="2002220"/>
            </a:xfrm>
          </p:grpSpPr>
          <p:sp>
            <p:nvSpPr>
              <p:cNvPr id="167" name="Ellipse 166"/>
              <p:cNvSpPr/>
              <p:nvPr/>
            </p:nvSpPr>
            <p:spPr>
              <a:xfrm>
                <a:off x="3115831" y="282062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68" name="Ellipse 167"/>
              <p:cNvSpPr/>
              <p:nvPr/>
            </p:nvSpPr>
            <p:spPr>
              <a:xfrm>
                <a:off x="1499235" y="454216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70" name="Ellipse 169"/>
              <p:cNvSpPr/>
              <p:nvPr/>
            </p:nvSpPr>
            <p:spPr>
              <a:xfrm>
                <a:off x="3115831" y="454216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72" name="Ellipse 171"/>
              <p:cNvSpPr/>
              <p:nvPr/>
            </p:nvSpPr>
            <p:spPr>
              <a:xfrm>
                <a:off x="1499235" y="282062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68" name="Ellipse 452"/>
              <p:cNvSpPr/>
              <p:nvPr/>
            </p:nvSpPr>
            <p:spPr>
              <a:xfrm>
                <a:off x="2314733" y="454216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72" name="Ellipse 452"/>
              <p:cNvSpPr/>
              <p:nvPr/>
            </p:nvSpPr>
            <p:spPr>
              <a:xfrm>
                <a:off x="1515626" y="374997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76" name="Ellipse 452"/>
              <p:cNvSpPr/>
              <p:nvPr/>
            </p:nvSpPr>
            <p:spPr>
              <a:xfrm>
                <a:off x="3122176" y="374997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1" name="Gruppieren 334"/>
              <p:cNvGrpSpPr/>
              <p:nvPr/>
            </p:nvGrpSpPr>
            <p:grpSpPr>
              <a:xfrm>
                <a:off x="2274298" y="2615543"/>
                <a:ext cx="85975" cy="272224"/>
                <a:chOff x="2274298" y="2615543"/>
                <a:chExt cx="85975" cy="272224"/>
              </a:xfrm>
            </p:grpSpPr>
            <p:sp>
              <p:nvSpPr>
                <p:cNvPr id="173" name="Ellipse 172"/>
                <p:cNvSpPr/>
                <p:nvPr/>
              </p:nvSpPr>
              <p:spPr>
                <a:xfrm>
                  <a:off x="2284673" y="2615543"/>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175" name="Gerade Verbindung 174"/>
                <p:cNvCxnSpPr/>
                <p:nvPr/>
              </p:nvCxnSpPr>
              <p:spPr>
                <a:xfrm rot="5400000">
                  <a:off x="2259411" y="2752610"/>
                  <a:ext cx="119775" cy="0"/>
                </a:xfrm>
                <a:prstGeom prst="line">
                  <a:avLst/>
                </a:prstGeom>
                <a:noFill/>
                <a:ln w="9525">
                  <a:solidFill>
                    <a:schemeClr val="tx1"/>
                  </a:solidFill>
                  <a:round/>
                  <a:headEnd/>
                  <a:tailEnd/>
                </a:ln>
                <a:effectLst/>
              </p:spPr>
            </p:cxnSp>
            <p:sp>
              <p:nvSpPr>
                <p:cNvPr id="487" name="Ellipse 439"/>
                <p:cNvSpPr/>
                <p:nvPr/>
              </p:nvSpPr>
              <p:spPr>
                <a:xfrm>
                  <a:off x="2274298" y="281216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12" name="Gruppieren 406"/>
            <p:cNvGrpSpPr/>
            <p:nvPr/>
          </p:nvGrpSpPr>
          <p:grpSpPr>
            <a:xfrm>
              <a:off x="2680264" y="1640107"/>
              <a:ext cx="386750" cy="538020"/>
              <a:chOff x="2680264" y="1640107"/>
              <a:chExt cx="386750" cy="538020"/>
            </a:xfrm>
          </p:grpSpPr>
          <p:sp>
            <p:nvSpPr>
              <p:cNvPr id="294" name="Ellipse 293"/>
              <p:cNvSpPr/>
              <p:nvPr/>
            </p:nvSpPr>
            <p:spPr>
              <a:xfrm>
                <a:off x="2990437" y="183185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95" name="Ellipse 294"/>
              <p:cNvSpPr/>
              <p:nvPr/>
            </p:nvSpPr>
            <p:spPr>
              <a:xfrm>
                <a:off x="2680264" y="210252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97" name="Ellipse 296"/>
              <p:cNvSpPr/>
              <p:nvPr/>
            </p:nvSpPr>
            <p:spPr>
              <a:xfrm>
                <a:off x="2990437" y="210252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98" name="Ellipse 297"/>
              <p:cNvSpPr/>
              <p:nvPr/>
            </p:nvSpPr>
            <p:spPr>
              <a:xfrm>
                <a:off x="2685027" y="183185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11" name="Ellipse 294"/>
              <p:cNvSpPr/>
              <p:nvPr/>
            </p:nvSpPr>
            <p:spPr>
              <a:xfrm>
                <a:off x="2680264" y="196917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13" name="Ellipse 294"/>
              <p:cNvSpPr/>
              <p:nvPr/>
            </p:nvSpPr>
            <p:spPr>
              <a:xfrm>
                <a:off x="2991414" y="196917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3" name="Gruppieren 374"/>
              <p:cNvGrpSpPr/>
              <p:nvPr/>
            </p:nvGrpSpPr>
            <p:grpSpPr>
              <a:xfrm>
                <a:off x="2837732" y="1640107"/>
                <a:ext cx="75905" cy="267348"/>
                <a:chOff x="2837732" y="1640107"/>
                <a:chExt cx="75905" cy="267348"/>
              </a:xfrm>
            </p:grpSpPr>
            <p:sp>
              <p:nvSpPr>
                <p:cNvPr id="300" name="Ellipse 299"/>
                <p:cNvSpPr/>
                <p:nvPr/>
              </p:nvSpPr>
              <p:spPr>
                <a:xfrm>
                  <a:off x="2837732" y="1640107"/>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302" name="Gerade Verbindung 301"/>
                <p:cNvCxnSpPr/>
                <p:nvPr/>
              </p:nvCxnSpPr>
              <p:spPr>
                <a:xfrm rot="5400000">
                  <a:off x="2812470" y="1777174"/>
                  <a:ext cx="119775" cy="0"/>
                </a:xfrm>
                <a:prstGeom prst="line">
                  <a:avLst/>
                </a:prstGeom>
                <a:noFill/>
                <a:ln w="9525">
                  <a:solidFill>
                    <a:schemeClr val="tx1"/>
                  </a:solidFill>
                  <a:round/>
                  <a:headEnd/>
                  <a:tailEnd/>
                </a:ln>
                <a:effectLst/>
              </p:spPr>
            </p:cxnSp>
            <p:sp>
              <p:nvSpPr>
                <p:cNvPr id="517" name="Ellipse 293"/>
                <p:cNvSpPr/>
                <p:nvPr/>
              </p:nvSpPr>
              <p:spPr>
                <a:xfrm>
                  <a:off x="2838037" y="183185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14" name="Gruppieren 405"/>
            <p:cNvGrpSpPr/>
            <p:nvPr/>
          </p:nvGrpSpPr>
          <p:grpSpPr>
            <a:xfrm>
              <a:off x="2353989" y="2119701"/>
              <a:ext cx="1104059" cy="1044151"/>
              <a:chOff x="2353989" y="2119701"/>
              <a:chExt cx="1104059" cy="1044151"/>
            </a:xfrm>
          </p:grpSpPr>
          <p:sp>
            <p:nvSpPr>
              <p:cNvPr id="464" name="Ellipse 463"/>
              <p:cNvSpPr/>
              <p:nvPr/>
            </p:nvSpPr>
            <p:spPr>
              <a:xfrm>
                <a:off x="3376098" y="231843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65" name="Ellipse 464"/>
              <p:cNvSpPr/>
              <p:nvPr/>
            </p:nvSpPr>
            <p:spPr>
              <a:xfrm>
                <a:off x="2353989" y="308190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67" name="Ellipse 466"/>
              <p:cNvSpPr/>
              <p:nvPr/>
            </p:nvSpPr>
            <p:spPr>
              <a:xfrm>
                <a:off x="3376098" y="308190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68" name="Ellipse 467"/>
              <p:cNvSpPr/>
              <p:nvPr/>
            </p:nvSpPr>
            <p:spPr>
              <a:xfrm>
                <a:off x="2353989" y="231843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33" name="Ellipse 466"/>
              <p:cNvSpPr/>
              <p:nvPr/>
            </p:nvSpPr>
            <p:spPr>
              <a:xfrm>
                <a:off x="2861748" y="308825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46" name="Ellipse 466"/>
              <p:cNvSpPr/>
              <p:nvPr/>
            </p:nvSpPr>
            <p:spPr>
              <a:xfrm>
                <a:off x="3382448" y="270090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5" name="Gruppieren 376"/>
              <p:cNvGrpSpPr/>
              <p:nvPr/>
            </p:nvGrpSpPr>
            <p:grpSpPr>
              <a:xfrm>
                <a:off x="2865043" y="2119701"/>
                <a:ext cx="75810" cy="270355"/>
                <a:chOff x="2865043" y="2119701"/>
                <a:chExt cx="75810" cy="270355"/>
              </a:xfrm>
            </p:grpSpPr>
            <p:sp>
              <p:nvSpPr>
                <p:cNvPr id="470" name="Ellipse 469"/>
                <p:cNvSpPr/>
                <p:nvPr/>
              </p:nvSpPr>
              <p:spPr>
                <a:xfrm>
                  <a:off x="2865043" y="2119701"/>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472" name="Gerade Verbindung 471"/>
                <p:cNvCxnSpPr/>
                <p:nvPr/>
              </p:nvCxnSpPr>
              <p:spPr>
                <a:xfrm rot="5400000">
                  <a:off x="2839781" y="2256768"/>
                  <a:ext cx="119775" cy="0"/>
                </a:xfrm>
                <a:prstGeom prst="line">
                  <a:avLst/>
                </a:prstGeom>
                <a:noFill/>
                <a:ln w="9525">
                  <a:solidFill>
                    <a:schemeClr val="tx1"/>
                  </a:solidFill>
                  <a:round/>
                  <a:headEnd/>
                  <a:tailEnd/>
                </a:ln>
                <a:effectLst/>
              </p:spPr>
            </p:cxnSp>
            <p:sp>
              <p:nvSpPr>
                <p:cNvPr id="519" name="Ellipse 436"/>
                <p:cNvSpPr/>
                <p:nvPr/>
              </p:nvSpPr>
              <p:spPr>
                <a:xfrm>
                  <a:off x="2865253" y="231445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sp>
            <p:nvSpPr>
              <p:cNvPr id="528" name="Ellipse 479"/>
              <p:cNvSpPr/>
              <p:nvPr/>
            </p:nvSpPr>
            <p:spPr>
              <a:xfrm>
                <a:off x="2357253" y="2699428"/>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nvGrpSpPr>
            <p:cNvPr id="16" name="Gruppieren 390"/>
            <p:cNvGrpSpPr/>
            <p:nvPr/>
          </p:nvGrpSpPr>
          <p:grpSpPr>
            <a:xfrm>
              <a:off x="2196827" y="1228340"/>
              <a:ext cx="1197732" cy="1387938"/>
              <a:chOff x="2196827" y="1228340"/>
              <a:chExt cx="1197732" cy="1387938"/>
            </a:xfrm>
          </p:grpSpPr>
          <p:sp>
            <p:nvSpPr>
              <p:cNvPr id="280" name="Ellipse 279"/>
              <p:cNvSpPr/>
              <p:nvPr/>
            </p:nvSpPr>
            <p:spPr>
              <a:xfrm>
                <a:off x="3318959" y="142707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81" name="Ellipse 280"/>
              <p:cNvSpPr/>
              <p:nvPr/>
            </p:nvSpPr>
            <p:spPr>
              <a:xfrm>
                <a:off x="2196827" y="253347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83" name="Ellipse 282"/>
              <p:cNvSpPr/>
              <p:nvPr/>
            </p:nvSpPr>
            <p:spPr>
              <a:xfrm>
                <a:off x="3318959" y="253347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84" name="Ellipse 283"/>
              <p:cNvSpPr/>
              <p:nvPr/>
            </p:nvSpPr>
            <p:spPr>
              <a:xfrm>
                <a:off x="2196827" y="142707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59" name="Ellipse 466"/>
              <p:cNvSpPr/>
              <p:nvPr/>
            </p:nvSpPr>
            <p:spPr>
              <a:xfrm>
                <a:off x="3312598" y="198335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7" name="Gruppieren 378"/>
              <p:cNvGrpSpPr/>
              <p:nvPr/>
            </p:nvGrpSpPr>
            <p:grpSpPr>
              <a:xfrm>
                <a:off x="2757893" y="1228340"/>
                <a:ext cx="79625" cy="257824"/>
                <a:chOff x="2757893" y="1228340"/>
                <a:chExt cx="79625" cy="257824"/>
              </a:xfrm>
            </p:grpSpPr>
            <p:sp>
              <p:nvSpPr>
                <p:cNvPr id="286" name="Ellipse 285"/>
                <p:cNvSpPr/>
                <p:nvPr/>
              </p:nvSpPr>
              <p:spPr>
                <a:xfrm>
                  <a:off x="2757893" y="1228340"/>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288" name="Gerade Verbindung 287"/>
                <p:cNvCxnSpPr/>
                <p:nvPr/>
              </p:nvCxnSpPr>
              <p:spPr>
                <a:xfrm rot="5400000">
                  <a:off x="2732631" y="1365407"/>
                  <a:ext cx="119775" cy="0"/>
                </a:xfrm>
                <a:prstGeom prst="line">
                  <a:avLst/>
                </a:prstGeom>
                <a:noFill/>
                <a:ln w="9525">
                  <a:solidFill>
                    <a:schemeClr val="tx1"/>
                  </a:solidFill>
                  <a:round/>
                  <a:headEnd/>
                  <a:tailEnd/>
                </a:ln>
                <a:effectLst/>
              </p:spPr>
            </p:cxnSp>
            <p:sp>
              <p:nvSpPr>
                <p:cNvPr id="509" name="Ellipse 279"/>
                <p:cNvSpPr/>
                <p:nvPr/>
              </p:nvSpPr>
              <p:spPr>
                <a:xfrm>
                  <a:off x="2761918" y="141056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sp>
            <p:nvSpPr>
              <p:cNvPr id="532" name="Ellipse 479"/>
              <p:cNvSpPr/>
              <p:nvPr/>
            </p:nvSpPr>
            <p:spPr>
              <a:xfrm>
                <a:off x="2754128" y="2540678"/>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40" name="Ellipse 349"/>
              <p:cNvSpPr/>
              <p:nvPr/>
            </p:nvSpPr>
            <p:spPr>
              <a:xfrm>
                <a:off x="2201563" y="197790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nvGrpSpPr>
            <p:cNvPr id="18" name="Gruppieren 278"/>
            <p:cNvGrpSpPr/>
            <p:nvPr/>
          </p:nvGrpSpPr>
          <p:grpSpPr>
            <a:xfrm>
              <a:off x="1982603" y="1497232"/>
              <a:ext cx="939200" cy="1271446"/>
              <a:chOff x="1982603" y="1497232"/>
              <a:chExt cx="939200" cy="1271446"/>
            </a:xfrm>
          </p:grpSpPr>
          <p:sp>
            <p:nvSpPr>
              <p:cNvPr id="477" name="Ellipse 476"/>
              <p:cNvSpPr/>
              <p:nvPr/>
            </p:nvSpPr>
            <p:spPr>
              <a:xfrm>
                <a:off x="2833503" y="169533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78" name="Ellipse 477"/>
              <p:cNvSpPr/>
              <p:nvPr/>
            </p:nvSpPr>
            <p:spPr>
              <a:xfrm>
                <a:off x="1985963" y="2685599"/>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80" name="Ellipse 479"/>
              <p:cNvSpPr/>
              <p:nvPr/>
            </p:nvSpPr>
            <p:spPr>
              <a:xfrm>
                <a:off x="2833503" y="2693078"/>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81" name="Ellipse 480"/>
              <p:cNvSpPr/>
              <p:nvPr/>
            </p:nvSpPr>
            <p:spPr>
              <a:xfrm>
                <a:off x="1985963" y="168785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21" name="Ellipse 436"/>
              <p:cNvSpPr/>
              <p:nvPr/>
            </p:nvSpPr>
            <p:spPr>
              <a:xfrm>
                <a:off x="2846203" y="220650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30" name="Ellipse 479"/>
              <p:cNvSpPr/>
              <p:nvPr/>
            </p:nvSpPr>
            <p:spPr>
              <a:xfrm>
                <a:off x="2411228" y="2680378"/>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36" name="Ellipse 421"/>
              <p:cNvSpPr/>
              <p:nvPr/>
            </p:nvSpPr>
            <p:spPr>
              <a:xfrm>
                <a:off x="1982603" y="218428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9" name="Gruppieren 372"/>
              <p:cNvGrpSpPr/>
              <p:nvPr/>
            </p:nvGrpSpPr>
            <p:grpSpPr>
              <a:xfrm>
                <a:off x="2409733" y="1497232"/>
                <a:ext cx="76980" cy="260999"/>
                <a:chOff x="2409733" y="1497232"/>
                <a:chExt cx="76980" cy="260999"/>
              </a:xfrm>
            </p:grpSpPr>
            <p:sp>
              <p:nvSpPr>
                <p:cNvPr id="483" name="Ellipse 482"/>
                <p:cNvSpPr/>
                <p:nvPr/>
              </p:nvSpPr>
              <p:spPr>
                <a:xfrm>
                  <a:off x="2409733" y="1497232"/>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485" name="Gerade Verbindung 484"/>
                <p:cNvCxnSpPr/>
                <p:nvPr/>
              </p:nvCxnSpPr>
              <p:spPr>
                <a:xfrm rot="5400000">
                  <a:off x="2384471" y="1634299"/>
                  <a:ext cx="119775" cy="0"/>
                </a:xfrm>
                <a:prstGeom prst="line">
                  <a:avLst/>
                </a:prstGeom>
                <a:noFill/>
                <a:ln w="9525">
                  <a:solidFill>
                    <a:schemeClr val="tx1"/>
                  </a:solidFill>
                  <a:round/>
                  <a:headEnd/>
                  <a:tailEnd/>
                </a:ln>
                <a:effectLst/>
              </p:spPr>
            </p:cxnSp>
            <p:sp>
              <p:nvSpPr>
                <p:cNvPr id="542" name="Ellipse 349"/>
                <p:cNvSpPr/>
                <p:nvPr/>
              </p:nvSpPr>
              <p:spPr>
                <a:xfrm>
                  <a:off x="2411113" y="168263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20" name="Gruppieren 392"/>
            <p:cNvGrpSpPr/>
            <p:nvPr/>
          </p:nvGrpSpPr>
          <p:grpSpPr>
            <a:xfrm>
              <a:off x="1393769" y="1367850"/>
              <a:ext cx="320647" cy="471342"/>
              <a:chOff x="1393769" y="1367850"/>
              <a:chExt cx="320647" cy="471342"/>
            </a:xfrm>
          </p:grpSpPr>
          <p:sp>
            <p:nvSpPr>
              <p:cNvPr id="276" name="Ellipse 275"/>
              <p:cNvSpPr/>
              <p:nvPr/>
            </p:nvSpPr>
            <p:spPr>
              <a:xfrm>
                <a:off x="1638816" y="156035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90" name="Ellipse 289"/>
              <p:cNvSpPr/>
              <p:nvPr/>
            </p:nvSpPr>
            <p:spPr>
              <a:xfrm>
                <a:off x="1393769" y="156035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18" name="Ellipse 317"/>
              <p:cNvSpPr/>
              <p:nvPr/>
            </p:nvSpPr>
            <p:spPr>
              <a:xfrm>
                <a:off x="1638816" y="176359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32" name="Ellipse 331"/>
              <p:cNvSpPr/>
              <p:nvPr/>
            </p:nvSpPr>
            <p:spPr>
              <a:xfrm>
                <a:off x="1393769" y="176359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57" name="Ellipse 317"/>
              <p:cNvSpPr/>
              <p:nvPr/>
            </p:nvSpPr>
            <p:spPr>
              <a:xfrm>
                <a:off x="1514991" y="176359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59" name="Ellipse 331"/>
              <p:cNvSpPr/>
              <p:nvPr/>
            </p:nvSpPr>
            <p:spPr>
              <a:xfrm>
                <a:off x="1393769" y="166516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61" name="Ellipse 317"/>
              <p:cNvSpPr/>
              <p:nvPr/>
            </p:nvSpPr>
            <p:spPr>
              <a:xfrm>
                <a:off x="1638816" y="166516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21" name="Gruppieren 366"/>
              <p:cNvGrpSpPr/>
              <p:nvPr/>
            </p:nvGrpSpPr>
            <p:grpSpPr>
              <a:xfrm>
                <a:off x="1514419" y="1367850"/>
                <a:ext cx="77473" cy="268107"/>
                <a:chOff x="1514419" y="1367850"/>
                <a:chExt cx="77473" cy="268107"/>
              </a:xfrm>
            </p:grpSpPr>
            <p:sp>
              <p:nvSpPr>
                <p:cNvPr id="360" name="Ellipse 359"/>
                <p:cNvSpPr/>
                <p:nvPr/>
              </p:nvSpPr>
              <p:spPr>
                <a:xfrm>
                  <a:off x="1516292" y="1367850"/>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p>
              </p:txBody>
            </p:sp>
            <p:cxnSp>
              <p:nvCxnSpPr>
                <p:cNvPr id="362" name="Gerade Verbindung 361"/>
                <p:cNvCxnSpPr/>
                <p:nvPr/>
              </p:nvCxnSpPr>
              <p:spPr>
                <a:xfrm rot="5400000">
                  <a:off x="1491030" y="1504917"/>
                  <a:ext cx="119775" cy="0"/>
                </a:xfrm>
                <a:prstGeom prst="line">
                  <a:avLst/>
                </a:prstGeom>
                <a:noFill/>
                <a:ln w="9525">
                  <a:solidFill>
                    <a:schemeClr val="tx1"/>
                  </a:solidFill>
                  <a:round/>
                  <a:headEnd/>
                  <a:tailEnd/>
                </a:ln>
                <a:effectLst/>
              </p:spPr>
            </p:cxnSp>
            <p:sp>
              <p:nvSpPr>
                <p:cNvPr id="563" name="Ellipse 289"/>
                <p:cNvSpPr/>
                <p:nvPr/>
              </p:nvSpPr>
              <p:spPr>
                <a:xfrm>
                  <a:off x="1514419" y="156035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22" name="Gruppieren 386"/>
            <p:cNvGrpSpPr/>
            <p:nvPr/>
          </p:nvGrpSpPr>
          <p:grpSpPr>
            <a:xfrm>
              <a:off x="631713" y="2440207"/>
              <a:ext cx="910625" cy="1277796"/>
              <a:chOff x="631713" y="2440207"/>
              <a:chExt cx="910625" cy="1277796"/>
            </a:xfrm>
          </p:grpSpPr>
          <p:sp>
            <p:nvSpPr>
              <p:cNvPr id="394" name="Ellipse 393"/>
              <p:cNvSpPr/>
              <p:nvPr/>
            </p:nvSpPr>
            <p:spPr>
              <a:xfrm>
                <a:off x="1455553" y="264465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95" name="Ellipse 394"/>
              <p:cNvSpPr/>
              <p:nvPr/>
            </p:nvSpPr>
            <p:spPr>
              <a:xfrm>
                <a:off x="646113" y="363492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97" name="Ellipse 396"/>
              <p:cNvSpPr/>
              <p:nvPr/>
            </p:nvSpPr>
            <p:spPr>
              <a:xfrm>
                <a:off x="1455553" y="364240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98" name="Ellipse 397"/>
              <p:cNvSpPr/>
              <p:nvPr/>
            </p:nvSpPr>
            <p:spPr>
              <a:xfrm>
                <a:off x="646113" y="263717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90" name="Ellipse 452"/>
              <p:cNvSpPr/>
              <p:nvPr/>
            </p:nvSpPr>
            <p:spPr>
              <a:xfrm>
                <a:off x="1058033" y="364240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03" name="Ellipse 350"/>
              <p:cNvSpPr/>
              <p:nvPr/>
            </p:nvSpPr>
            <p:spPr>
              <a:xfrm>
                <a:off x="631713" y="314325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13" name="Ellipse 350"/>
              <p:cNvSpPr/>
              <p:nvPr/>
            </p:nvSpPr>
            <p:spPr>
              <a:xfrm>
                <a:off x="1466738" y="314325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23" name="Gruppieren 360"/>
              <p:cNvGrpSpPr/>
              <p:nvPr/>
            </p:nvGrpSpPr>
            <p:grpSpPr>
              <a:xfrm>
                <a:off x="1048359" y="2440207"/>
                <a:ext cx="78074" cy="265763"/>
                <a:chOff x="1048359" y="2440207"/>
                <a:chExt cx="78074" cy="265763"/>
              </a:xfrm>
            </p:grpSpPr>
            <p:sp>
              <p:nvSpPr>
                <p:cNvPr id="400" name="Ellipse 399"/>
                <p:cNvSpPr/>
                <p:nvPr/>
              </p:nvSpPr>
              <p:spPr>
                <a:xfrm>
                  <a:off x="1050833" y="2440207"/>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402" name="Gerade Verbindung 401"/>
                <p:cNvCxnSpPr/>
                <p:nvPr/>
              </p:nvCxnSpPr>
              <p:spPr>
                <a:xfrm rot="5400000">
                  <a:off x="1025571" y="2577274"/>
                  <a:ext cx="119775" cy="0"/>
                </a:xfrm>
                <a:prstGeom prst="line">
                  <a:avLst/>
                </a:prstGeom>
                <a:noFill/>
                <a:ln w="9525">
                  <a:solidFill>
                    <a:schemeClr val="tx1"/>
                  </a:solidFill>
                  <a:round/>
                  <a:headEnd/>
                  <a:tailEnd/>
                </a:ln>
                <a:effectLst/>
              </p:spPr>
            </p:cxnSp>
            <p:sp>
              <p:nvSpPr>
                <p:cNvPr id="264" name="Ellipse 263"/>
                <p:cNvSpPr/>
                <p:nvPr/>
              </p:nvSpPr>
              <p:spPr>
                <a:xfrm>
                  <a:off x="1048359" y="2630370"/>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24" name="Gruppieren 404"/>
            <p:cNvGrpSpPr/>
            <p:nvPr/>
          </p:nvGrpSpPr>
          <p:grpSpPr>
            <a:xfrm>
              <a:off x="1767568" y="2135407"/>
              <a:ext cx="992310" cy="1001571"/>
              <a:chOff x="1767568" y="2135407"/>
              <a:chExt cx="992310" cy="1001571"/>
            </a:xfrm>
          </p:grpSpPr>
          <p:sp>
            <p:nvSpPr>
              <p:cNvPr id="437" name="Ellipse 436"/>
              <p:cNvSpPr/>
              <p:nvPr/>
            </p:nvSpPr>
            <p:spPr>
              <a:xfrm>
                <a:off x="2681103" y="233350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38" name="Ellipse 437"/>
              <p:cNvSpPr/>
              <p:nvPr/>
            </p:nvSpPr>
            <p:spPr>
              <a:xfrm>
                <a:off x="1770063" y="3053899"/>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40" name="Ellipse 439"/>
              <p:cNvSpPr/>
              <p:nvPr/>
            </p:nvSpPr>
            <p:spPr>
              <a:xfrm>
                <a:off x="2681103" y="3061378"/>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41" name="Ellipse 440"/>
              <p:cNvSpPr/>
              <p:nvPr/>
            </p:nvSpPr>
            <p:spPr>
              <a:xfrm>
                <a:off x="1770063" y="232602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69" name="Ellipse 439"/>
              <p:cNvSpPr/>
              <p:nvPr/>
            </p:nvSpPr>
            <p:spPr>
              <a:xfrm>
                <a:off x="2230253" y="3061378"/>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26" name="Ellipse 479"/>
              <p:cNvSpPr/>
              <p:nvPr/>
            </p:nvSpPr>
            <p:spPr>
              <a:xfrm>
                <a:off x="2684278" y="2693078"/>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25" name="Gruppieren 337"/>
              <p:cNvGrpSpPr/>
              <p:nvPr/>
            </p:nvGrpSpPr>
            <p:grpSpPr>
              <a:xfrm>
                <a:off x="2223814" y="2135407"/>
                <a:ext cx="77369" cy="261803"/>
                <a:chOff x="2223814" y="2135407"/>
                <a:chExt cx="77369" cy="261803"/>
              </a:xfrm>
            </p:grpSpPr>
            <p:sp>
              <p:nvSpPr>
                <p:cNvPr id="443" name="Ellipse 442"/>
                <p:cNvSpPr/>
                <p:nvPr/>
              </p:nvSpPr>
              <p:spPr>
                <a:xfrm>
                  <a:off x="2225583" y="2135407"/>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445" name="Gerade Verbindung 444"/>
                <p:cNvCxnSpPr/>
                <p:nvPr/>
              </p:nvCxnSpPr>
              <p:spPr>
                <a:xfrm rot="5400000">
                  <a:off x="2200321" y="2272474"/>
                  <a:ext cx="119775" cy="0"/>
                </a:xfrm>
                <a:prstGeom prst="line">
                  <a:avLst/>
                </a:prstGeom>
                <a:noFill/>
                <a:ln w="9525">
                  <a:solidFill>
                    <a:schemeClr val="tx1"/>
                  </a:solidFill>
                  <a:round/>
                  <a:headEnd/>
                  <a:tailEnd/>
                </a:ln>
                <a:effectLst/>
              </p:spPr>
            </p:cxnSp>
            <p:sp>
              <p:nvSpPr>
                <p:cNvPr id="534" name="Ellipse 467"/>
                <p:cNvSpPr/>
                <p:nvPr/>
              </p:nvSpPr>
              <p:spPr>
                <a:xfrm>
                  <a:off x="2223814" y="2321610"/>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sp>
            <p:nvSpPr>
              <p:cNvPr id="271" name="Ellipse 270"/>
              <p:cNvSpPr/>
              <p:nvPr/>
            </p:nvSpPr>
            <p:spPr>
              <a:xfrm>
                <a:off x="1767568" y="2690020"/>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nvGrpSpPr>
            <p:cNvPr id="26" name="Gruppieren 388"/>
            <p:cNvGrpSpPr/>
            <p:nvPr/>
          </p:nvGrpSpPr>
          <p:grpSpPr>
            <a:xfrm>
              <a:off x="1168872" y="2138582"/>
              <a:ext cx="902031" cy="1407971"/>
              <a:chOff x="1168872" y="2138582"/>
              <a:chExt cx="902031" cy="1407971"/>
            </a:xfrm>
          </p:grpSpPr>
          <p:sp>
            <p:nvSpPr>
              <p:cNvPr id="422" name="Ellipse 421"/>
              <p:cNvSpPr/>
              <p:nvPr/>
            </p:nvSpPr>
            <p:spPr>
              <a:xfrm>
                <a:off x="1995303" y="233668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23" name="Ellipse 422"/>
              <p:cNvSpPr/>
              <p:nvPr/>
            </p:nvSpPr>
            <p:spPr>
              <a:xfrm>
                <a:off x="1173163" y="346347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25" name="Ellipse 424"/>
              <p:cNvSpPr/>
              <p:nvPr/>
            </p:nvSpPr>
            <p:spPr>
              <a:xfrm>
                <a:off x="1995303" y="347095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26" name="Ellipse 425"/>
              <p:cNvSpPr/>
              <p:nvPr/>
            </p:nvSpPr>
            <p:spPr>
              <a:xfrm>
                <a:off x="1173163" y="232920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31" name="Ellipse 452"/>
              <p:cNvSpPr/>
              <p:nvPr/>
            </p:nvSpPr>
            <p:spPr>
              <a:xfrm>
                <a:off x="1577033" y="346290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482" name="Ellipse 439"/>
              <p:cNvSpPr/>
              <p:nvPr/>
            </p:nvSpPr>
            <p:spPr>
              <a:xfrm>
                <a:off x="1992128" y="291101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62" name="Ellipse 261"/>
              <p:cNvSpPr/>
              <p:nvPr/>
            </p:nvSpPr>
            <p:spPr>
              <a:xfrm>
                <a:off x="1168872" y="290024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27" name="Gruppieren 346"/>
              <p:cNvGrpSpPr/>
              <p:nvPr/>
            </p:nvGrpSpPr>
            <p:grpSpPr>
              <a:xfrm>
                <a:off x="1581945" y="2138582"/>
                <a:ext cx="77888" cy="267807"/>
                <a:chOff x="1581945" y="2138582"/>
                <a:chExt cx="77888" cy="267807"/>
              </a:xfrm>
            </p:grpSpPr>
            <p:sp>
              <p:nvSpPr>
                <p:cNvPr id="428" name="Ellipse 427"/>
                <p:cNvSpPr/>
                <p:nvPr/>
              </p:nvSpPr>
              <p:spPr>
                <a:xfrm>
                  <a:off x="1584233" y="2138582"/>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430" name="Gerade Verbindung 429"/>
                <p:cNvCxnSpPr/>
                <p:nvPr/>
              </p:nvCxnSpPr>
              <p:spPr>
                <a:xfrm rot="5400000">
                  <a:off x="1558971" y="2275649"/>
                  <a:ext cx="119775" cy="0"/>
                </a:xfrm>
                <a:prstGeom prst="line">
                  <a:avLst/>
                </a:prstGeom>
                <a:noFill/>
                <a:ln w="9525">
                  <a:solidFill>
                    <a:schemeClr val="tx1"/>
                  </a:solidFill>
                  <a:round/>
                  <a:headEnd/>
                  <a:tailEnd/>
                </a:ln>
                <a:effectLst/>
              </p:spPr>
            </p:cxnSp>
            <p:sp>
              <p:nvSpPr>
                <p:cNvPr id="275" name="Ellipse 274"/>
                <p:cNvSpPr/>
                <p:nvPr/>
              </p:nvSpPr>
              <p:spPr>
                <a:xfrm>
                  <a:off x="1581945" y="2330789"/>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28" name="Gruppieren 292"/>
            <p:cNvGrpSpPr/>
            <p:nvPr/>
          </p:nvGrpSpPr>
          <p:grpSpPr>
            <a:xfrm>
              <a:off x="578530" y="1716307"/>
              <a:ext cx="1276543" cy="1347646"/>
              <a:chOff x="578530" y="1716307"/>
              <a:chExt cx="1276543" cy="1347646"/>
            </a:xfrm>
          </p:grpSpPr>
          <p:sp>
            <p:nvSpPr>
              <p:cNvPr id="350" name="Ellipse 349"/>
              <p:cNvSpPr/>
              <p:nvPr/>
            </p:nvSpPr>
            <p:spPr>
              <a:xfrm>
                <a:off x="1766588" y="191758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51" name="Ellipse 350"/>
              <p:cNvSpPr/>
              <p:nvPr/>
            </p:nvSpPr>
            <p:spPr>
              <a:xfrm>
                <a:off x="585673" y="298087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53" name="Ellipse 352"/>
              <p:cNvSpPr/>
              <p:nvPr/>
            </p:nvSpPr>
            <p:spPr>
              <a:xfrm>
                <a:off x="1766588" y="298835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54" name="Ellipse 353"/>
              <p:cNvSpPr/>
              <p:nvPr/>
            </p:nvSpPr>
            <p:spPr>
              <a:xfrm>
                <a:off x="585673" y="191010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60" name="Ellipse 259"/>
              <p:cNvSpPr/>
              <p:nvPr/>
            </p:nvSpPr>
            <p:spPr>
              <a:xfrm>
                <a:off x="1161729" y="2985970"/>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66" name="Ellipse 265"/>
              <p:cNvSpPr/>
              <p:nvPr/>
            </p:nvSpPr>
            <p:spPr>
              <a:xfrm>
                <a:off x="578530" y="244509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73" name="Ellipse 272"/>
              <p:cNvSpPr/>
              <p:nvPr/>
            </p:nvSpPr>
            <p:spPr>
              <a:xfrm>
                <a:off x="1779473" y="245189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29" name="Gruppieren 365"/>
              <p:cNvGrpSpPr/>
              <p:nvPr/>
            </p:nvGrpSpPr>
            <p:grpSpPr>
              <a:xfrm>
                <a:off x="1185068" y="1716307"/>
                <a:ext cx="83389" cy="267014"/>
                <a:chOff x="1185068" y="1716307"/>
                <a:chExt cx="83389" cy="267014"/>
              </a:xfrm>
            </p:grpSpPr>
            <p:sp>
              <p:nvSpPr>
                <p:cNvPr id="356" name="Ellipse 355"/>
                <p:cNvSpPr/>
                <p:nvPr/>
              </p:nvSpPr>
              <p:spPr>
                <a:xfrm>
                  <a:off x="1192857" y="1716307"/>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358" name="Gerade Verbindung 357"/>
                <p:cNvCxnSpPr/>
                <p:nvPr/>
              </p:nvCxnSpPr>
              <p:spPr>
                <a:xfrm rot="5400000">
                  <a:off x="1167595" y="1853374"/>
                  <a:ext cx="119775" cy="0"/>
                </a:xfrm>
                <a:prstGeom prst="line">
                  <a:avLst/>
                </a:prstGeom>
                <a:noFill/>
                <a:ln w="9525">
                  <a:solidFill>
                    <a:schemeClr val="tx1"/>
                  </a:solidFill>
                  <a:round/>
                  <a:headEnd/>
                  <a:tailEnd/>
                </a:ln>
                <a:effectLst/>
              </p:spPr>
            </p:cxnSp>
            <p:sp>
              <p:nvSpPr>
                <p:cNvPr id="278" name="Ellipse 277"/>
                <p:cNvSpPr/>
                <p:nvPr/>
              </p:nvSpPr>
              <p:spPr>
                <a:xfrm>
                  <a:off x="1185068" y="190772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30" name="Gruppieren 395"/>
            <p:cNvGrpSpPr/>
            <p:nvPr/>
          </p:nvGrpSpPr>
          <p:grpSpPr>
            <a:xfrm>
              <a:off x="1716732" y="1190050"/>
              <a:ext cx="400022" cy="493567"/>
              <a:chOff x="1716732" y="1190050"/>
              <a:chExt cx="400022" cy="493567"/>
            </a:xfrm>
          </p:grpSpPr>
          <p:sp>
            <p:nvSpPr>
              <p:cNvPr id="336" name="Ellipse 335"/>
              <p:cNvSpPr/>
              <p:nvPr/>
            </p:nvSpPr>
            <p:spPr>
              <a:xfrm>
                <a:off x="2041154" y="1386560"/>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37" name="Ellipse 336"/>
              <p:cNvSpPr/>
              <p:nvPr/>
            </p:nvSpPr>
            <p:spPr>
              <a:xfrm>
                <a:off x="1716732" y="137303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39" name="Ellipse 338"/>
              <p:cNvSpPr/>
              <p:nvPr/>
            </p:nvSpPr>
            <p:spPr>
              <a:xfrm>
                <a:off x="2041154" y="160801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49" name="Ellipse 338"/>
              <p:cNvSpPr/>
              <p:nvPr/>
            </p:nvSpPr>
            <p:spPr>
              <a:xfrm>
                <a:off x="2037979" y="149689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51" name="Ellipse 338"/>
              <p:cNvSpPr/>
              <p:nvPr/>
            </p:nvSpPr>
            <p:spPr>
              <a:xfrm>
                <a:off x="1879229" y="160801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40" name="Ellipse 339"/>
              <p:cNvSpPr/>
              <p:nvPr/>
            </p:nvSpPr>
            <p:spPr>
              <a:xfrm>
                <a:off x="1716732" y="160801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55" name="Ellipse 339"/>
              <p:cNvSpPr/>
              <p:nvPr/>
            </p:nvSpPr>
            <p:spPr>
              <a:xfrm>
                <a:off x="1716732" y="149054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31" name="Gruppieren 370"/>
              <p:cNvGrpSpPr/>
              <p:nvPr/>
            </p:nvGrpSpPr>
            <p:grpSpPr>
              <a:xfrm>
                <a:off x="1874467" y="1190050"/>
                <a:ext cx="80076" cy="267348"/>
                <a:chOff x="1874467" y="1190050"/>
                <a:chExt cx="80076" cy="267348"/>
              </a:xfrm>
            </p:grpSpPr>
            <p:sp>
              <p:nvSpPr>
                <p:cNvPr id="342" name="Ellipse 341"/>
                <p:cNvSpPr/>
                <p:nvPr/>
              </p:nvSpPr>
              <p:spPr>
                <a:xfrm>
                  <a:off x="1878943" y="1190050"/>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344" name="Gerade Verbindung 343"/>
                <p:cNvCxnSpPr/>
                <p:nvPr/>
              </p:nvCxnSpPr>
              <p:spPr>
                <a:xfrm rot="5400000">
                  <a:off x="1853681" y="1327117"/>
                  <a:ext cx="119775" cy="0"/>
                </a:xfrm>
                <a:prstGeom prst="line">
                  <a:avLst/>
                </a:prstGeom>
                <a:noFill/>
                <a:ln w="9525">
                  <a:solidFill>
                    <a:schemeClr val="tx1"/>
                  </a:solidFill>
                  <a:round/>
                  <a:headEnd/>
                  <a:tailEnd/>
                </a:ln>
                <a:effectLst/>
              </p:spPr>
            </p:cxnSp>
            <p:sp>
              <p:nvSpPr>
                <p:cNvPr id="289" name="Ellipse 338"/>
                <p:cNvSpPr/>
                <p:nvPr/>
              </p:nvSpPr>
              <p:spPr>
                <a:xfrm>
                  <a:off x="1874467" y="1381798"/>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96" name="Gruppieren 403"/>
            <p:cNvGrpSpPr/>
            <p:nvPr/>
          </p:nvGrpSpPr>
          <p:grpSpPr>
            <a:xfrm>
              <a:off x="863328" y="1073582"/>
              <a:ext cx="1600121" cy="1607046"/>
              <a:chOff x="863328" y="1073582"/>
              <a:chExt cx="1600121" cy="1607046"/>
            </a:xfrm>
          </p:grpSpPr>
          <p:sp>
            <p:nvSpPr>
              <p:cNvPr id="236" name="Ellipse 235"/>
              <p:cNvSpPr/>
              <p:nvPr/>
            </p:nvSpPr>
            <p:spPr>
              <a:xfrm>
                <a:off x="2387849" y="127231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37" name="Ellipse 236"/>
              <p:cNvSpPr/>
              <p:nvPr/>
            </p:nvSpPr>
            <p:spPr>
              <a:xfrm>
                <a:off x="863328" y="260015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39" name="Ellipse 238"/>
              <p:cNvSpPr/>
              <p:nvPr/>
            </p:nvSpPr>
            <p:spPr>
              <a:xfrm>
                <a:off x="2387849" y="260015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40" name="Ellipse 239"/>
              <p:cNvSpPr/>
              <p:nvPr/>
            </p:nvSpPr>
            <p:spPr>
              <a:xfrm>
                <a:off x="863328" y="127231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38" name="Ellipse 349"/>
              <p:cNvSpPr/>
              <p:nvPr/>
            </p:nvSpPr>
            <p:spPr>
              <a:xfrm>
                <a:off x="2376188" y="192710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69" name="Ellipse 268"/>
              <p:cNvSpPr/>
              <p:nvPr/>
            </p:nvSpPr>
            <p:spPr>
              <a:xfrm>
                <a:off x="1625531" y="2605028"/>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82" name="Ellipse 281"/>
              <p:cNvSpPr/>
              <p:nvPr/>
            </p:nvSpPr>
            <p:spPr>
              <a:xfrm>
                <a:off x="870742" y="193391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00" name="Gruppieren 368"/>
              <p:cNvGrpSpPr/>
              <p:nvPr/>
            </p:nvGrpSpPr>
            <p:grpSpPr>
              <a:xfrm>
                <a:off x="1624530" y="1073582"/>
                <a:ext cx="76658" cy="269482"/>
                <a:chOff x="1624530" y="1073582"/>
                <a:chExt cx="76658" cy="269482"/>
              </a:xfrm>
            </p:grpSpPr>
            <p:sp>
              <p:nvSpPr>
                <p:cNvPr id="242" name="Ellipse 241"/>
                <p:cNvSpPr/>
                <p:nvPr/>
              </p:nvSpPr>
              <p:spPr>
                <a:xfrm>
                  <a:off x="1625588" y="1073582"/>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244" name="Gerade Verbindung 243"/>
                <p:cNvCxnSpPr/>
                <p:nvPr/>
              </p:nvCxnSpPr>
              <p:spPr>
                <a:xfrm rot="5400000">
                  <a:off x="1600326" y="1210649"/>
                  <a:ext cx="119775" cy="0"/>
                </a:xfrm>
                <a:prstGeom prst="line">
                  <a:avLst/>
                </a:prstGeom>
                <a:noFill/>
                <a:ln w="9525">
                  <a:solidFill>
                    <a:schemeClr val="tx1"/>
                  </a:solidFill>
                  <a:round/>
                  <a:headEnd/>
                  <a:tailEnd/>
                </a:ln>
                <a:effectLst/>
              </p:spPr>
            </p:cxnSp>
            <p:sp>
              <p:nvSpPr>
                <p:cNvPr id="296" name="Ellipse 295"/>
                <p:cNvSpPr/>
                <p:nvPr/>
              </p:nvSpPr>
              <p:spPr>
                <a:xfrm>
                  <a:off x="1624530" y="126746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101" name="Gruppieren 398"/>
            <p:cNvGrpSpPr/>
            <p:nvPr/>
          </p:nvGrpSpPr>
          <p:grpSpPr>
            <a:xfrm>
              <a:off x="1254848" y="566370"/>
              <a:ext cx="1107254" cy="1117247"/>
              <a:chOff x="1254848" y="566370"/>
              <a:chExt cx="1107254" cy="1117247"/>
            </a:xfrm>
          </p:grpSpPr>
          <p:sp>
            <p:nvSpPr>
              <p:cNvPr id="322" name="Ellipse 321"/>
              <p:cNvSpPr/>
              <p:nvPr/>
            </p:nvSpPr>
            <p:spPr>
              <a:xfrm>
                <a:off x="2286502" y="76510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23" name="Ellipse 322"/>
              <p:cNvSpPr/>
              <p:nvPr/>
            </p:nvSpPr>
            <p:spPr>
              <a:xfrm>
                <a:off x="1254848" y="160163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25" name="Ellipse 324"/>
              <p:cNvSpPr/>
              <p:nvPr/>
            </p:nvSpPr>
            <p:spPr>
              <a:xfrm>
                <a:off x="2286502" y="1601632"/>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26" name="Ellipse 325"/>
              <p:cNvSpPr/>
              <p:nvPr/>
            </p:nvSpPr>
            <p:spPr>
              <a:xfrm>
                <a:off x="1254848" y="765104"/>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46" name="Ellipse 235"/>
              <p:cNvSpPr/>
              <p:nvPr/>
            </p:nvSpPr>
            <p:spPr>
              <a:xfrm>
                <a:off x="2279899" y="117389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53" name="Ellipse 338"/>
              <p:cNvSpPr/>
              <p:nvPr/>
            </p:nvSpPr>
            <p:spPr>
              <a:xfrm>
                <a:off x="1764929" y="160801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04" name="Ellipse 303"/>
              <p:cNvSpPr/>
              <p:nvPr/>
            </p:nvSpPr>
            <p:spPr>
              <a:xfrm>
                <a:off x="1266753" y="118342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02" name="Gruppieren 380"/>
              <p:cNvGrpSpPr/>
              <p:nvPr/>
            </p:nvGrpSpPr>
            <p:grpSpPr>
              <a:xfrm>
                <a:off x="1766817" y="566370"/>
                <a:ext cx="79458" cy="264810"/>
                <a:chOff x="1766817" y="566370"/>
                <a:chExt cx="79458" cy="264810"/>
              </a:xfrm>
            </p:grpSpPr>
            <p:sp>
              <p:nvSpPr>
                <p:cNvPr id="328" name="Ellipse 327"/>
                <p:cNvSpPr/>
                <p:nvPr/>
              </p:nvSpPr>
              <p:spPr>
                <a:xfrm>
                  <a:off x="1770675" y="566370"/>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330" name="Gerade Verbindung 329"/>
                <p:cNvCxnSpPr/>
                <p:nvPr/>
              </p:nvCxnSpPr>
              <p:spPr>
                <a:xfrm rot="5400000">
                  <a:off x="1745413" y="703437"/>
                  <a:ext cx="119775" cy="0"/>
                </a:xfrm>
                <a:prstGeom prst="line">
                  <a:avLst/>
                </a:prstGeom>
                <a:noFill/>
                <a:ln w="9525">
                  <a:solidFill>
                    <a:schemeClr val="tx1"/>
                  </a:solidFill>
                  <a:round/>
                  <a:headEnd/>
                  <a:tailEnd/>
                </a:ln>
                <a:effectLst/>
              </p:spPr>
            </p:cxnSp>
            <p:sp>
              <p:nvSpPr>
                <p:cNvPr id="307" name="Ellipse 306"/>
                <p:cNvSpPr/>
                <p:nvPr/>
              </p:nvSpPr>
              <p:spPr>
                <a:xfrm>
                  <a:off x="1766817" y="755580"/>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103" name="Gruppieren 391"/>
            <p:cNvGrpSpPr/>
            <p:nvPr/>
          </p:nvGrpSpPr>
          <p:grpSpPr>
            <a:xfrm>
              <a:off x="1984102" y="704465"/>
              <a:ext cx="1197732" cy="1114091"/>
              <a:chOff x="1984102" y="704465"/>
              <a:chExt cx="1197732" cy="1114091"/>
            </a:xfrm>
          </p:grpSpPr>
          <p:sp>
            <p:nvSpPr>
              <p:cNvPr id="308" name="Ellipse 307"/>
              <p:cNvSpPr/>
              <p:nvPr/>
            </p:nvSpPr>
            <p:spPr>
              <a:xfrm>
                <a:off x="3106234" y="903199"/>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09" name="Ellipse 308"/>
              <p:cNvSpPr/>
              <p:nvPr/>
            </p:nvSpPr>
            <p:spPr>
              <a:xfrm>
                <a:off x="1984102" y="173972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11" name="Ellipse 310"/>
              <p:cNvSpPr/>
              <p:nvPr/>
            </p:nvSpPr>
            <p:spPr>
              <a:xfrm>
                <a:off x="3106234" y="1739727"/>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12" name="Ellipse 311"/>
              <p:cNvSpPr/>
              <p:nvPr/>
            </p:nvSpPr>
            <p:spPr>
              <a:xfrm>
                <a:off x="1984102" y="903199"/>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03" name="Ellipse 279"/>
              <p:cNvSpPr/>
              <p:nvPr/>
            </p:nvSpPr>
            <p:spPr>
              <a:xfrm>
                <a:off x="3106234" y="132866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544" name="Ellipse 349"/>
              <p:cNvSpPr/>
              <p:nvPr/>
            </p:nvSpPr>
            <p:spPr>
              <a:xfrm>
                <a:off x="2544463" y="174295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92" name="Ellipse 291"/>
              <p:cNvSpPr/>
              <p:nvPr/>
            </p:nvSpPr>
            <p:spPr>
              <a:xfrm>
                <a:off x="1993534" y="1322266"/>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04" name="Gruppieren 379"/>
              <p:cNvGrpSpPr/>
              <p:nvPr/>
            </p:nvGrpSpPr>
            <p:grpSpPr>
              <a:xfrm>
                <a:off x="2541315" y="704465"/>
                <a:ext cx="79453" cy="264810"/>
                <a:chOff x="2541315" y="704465"/>
                <a:chExt cx="79453" cy="264810"/>
              </a:xfrm>
            </p:grpSpPr>
            <p:sp>
              <p:nvSpPr>
                <p:cNvPr id="314" name="Ellipse 313"/>
                <p:cNvSpPr/>
                <p:nvPr/>
              </p:nvSpPr>
              <p:spPr>
                <a:xfrm>
                  <a:off x="2545168" y="704465"/>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316" name="Gerade Verbindung 315"/>
                <p:cNvCxnSpPr/>
                <p:nvPr/>
              </p:nvCxnSpPr>
              <p:spPr>
                <a:xfrm rot="5400000">
                  <a:off x="2519906" y="841532"/>
                  <a:ext cx="119775" cy="0"/>
                </a:xfrm>
                <a:prstGeom prst="line">
                  <a:avLst/>
                </a:prstGeom>
                <a:noFill/>
                <a:ln w="9525">
                  <a:solidFill>
                    <a:schemeClr val="tx1"/>
                  </a:solidFill>
                  <a:round/>
                  <a:headEnd/>
                  <a:tailEnd/>
                </a:ln>
                <a:effectLst/>
              </p:spPr>
            </p:cxnSp>
            <p:sp>
              <p:nvSpPr>
                <p:cNvPr id="319" name="Ellipse 318"/>
                <p:cNvSpPr/>
                <p:nvPr/>
              </p:nvSpPr>
              <p:spPr>
                <a:xfrm>
                  <a:off x="2541315" y="893675"/>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grpSp>
          <p:nvGrpSpPr>
            <p:cNvPr id="105" name="Gruppieren 356"/>
            <p:cNvGrpSpPr/>
            <p:nvPr/>
          </p:nvGrpSpPr>
          <p:grpSpPr>
            <a:xfrm>
              <a:off x="5740530" y="546669"/>
              <a:ext cx="2963896" cy="4028070"/>
              <a:chOff x="5740530" y="546669"/>
              <a:chExt cx="2963896" cy="4028070"/>
            </a:xfrm>
          </p:grpSpPr>
          <p:sp>
            <p:nvSpPr>
              <p:cNvPr id="220" name="Ellipse 219"/>
              <p:cNvSpPr/>
              <p:nvPr/>
            </p:nvSpPr>
            <p:spPr>
              <a:xfrm>
                <a:off x="8614426" y="73808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21" name="Ellipse 220"/>
              <p:cNvSpPr/>
              <p:nvPr/>
            </p:nvSpPr>
            <p:spPr>
              <a:xfrm>
                <a:off x="5740530" y="4484739"/>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23" name="Ellipse 222"/>
              <p:cNvSpPr/>
              <p:nvPr/>
            </p:nvSpPr>
            <p:spPr>
              <a:xfrm>
                <a:off x="8614426" y="4484739"/>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25" name="Ellipse 224"/>
              <p:cNvSpPr/>
              <p:nvPr/>
            </p:nvSpPr>
            <p:spPr>
              <a:xfrm>
                <a:off x="5740530" y="738083"/>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291" name="Ellipse 290"/>
              <p:cNvSpPr/>
              <p:nvPr/>
            </p:nvSpPr>
            <p:spPr>
              <a:xfrm>
                <a:off x="5740530" y="260421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06" name="Gruppieren 342"/>
              <p:cNvGrpSpPr/>
              <p:nvPr/>
            </p:nvGrpSpPr>
            <p:grpSpPr>
              <a:xfrm>
                <a:off x="7169689" y="546669"/>
                <a:ext cx="83389" cy="267014"/>
                <a:chOff x="1185068" y="1716307"/>
                <a:chExt cx="83389" cy="267014"/>
              </a:xfrm>
            </p:grpSpPr>
            <p:sp>
              <p:nvSpPr>
                <p:cNvPr id="345" name="Ellipse 344"/>
                <p:cNvSpPr/>
                <p:nvPr/>
              </p:nvSpPr>
              <p:spPr>
                <a:xfrm>
                  <a:off x="1192857" y="1716307"/>
                  <a:ext cx="75600" cy="756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cxnSp>
              <p:nvCxnSpPr>
                <p:cNvPr id="346" name="Gerade Verbindung 345"/>
                <p:cNvCxnSpPr/>
                <p:nvPr/>
              </p:nvCxnSpPr>
              <p:spPr>
                <a:xfrm rot="5400000">
                  <a:off x="1167595" y="1853374"/>
                  <a:ext cx="119775" cy="0"/>
                </a:xfrm>
                <a:prstGeom prst="line">
                  <a:avLst/>
                </a:prstGeom>
                <a:noFill/>
                <a:ln w="9525">
                  <a:solidFill>
                    <a:schemeClr val="tx1"/>
                  </a:solidFill>
                  <a:round/>
                  <a:headEnd/>
                  <a:tailEnd/>
                </a:ln>
                <a:effectLst/>
              </p:spPr>
            </p:cxnSp>
            <p:sp>
              <p:nvSpPr>
                <p:cNvPr id="348" name="Ellipse 347"/>
                <p:cNvSpPr/>
                <p:nvPr/>
              </p:nvSpPr>
              <p:spPr>
                <a:xfrm>
                  <a:off x="1185068" y="190772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sp>
            <p:nvSpPr>
              <p:cNvPr id="352" name="Ellipse 351"/>
              <p:cNvSpPr/>
              <p:nvPr/>
            </p:nvSpPr>
            <p:spPr>
              <a:xfrm>
                <a:off x="8628826" y="2604211"/>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355" name="Ellipse 354"/>
              <p:cNvSpPr/>
              <p:nvPr/>
            </p:nvSpPr>
            <p:spPr>
              <a:xfrm>
                <a:off x="7170278" y="4499139"/>
                <a:ext cx="75600" cy="756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grpSp>
          <p:nvGrpSpPr>
            <p:cNvPr id="107" name="Gruppieren 284"/>
            <p:cNvGrpSpPr/>
            <p:nvPr/>
          </p:nvGrpSpPr>
          <p:grpSpPr>
            <a:xfrm>
              <a:off x="3519489" y="1806567"/>
              <a:ext cx="2166936" cy="1504638"/>
              <a:chOff x="-3203575" y="1122362"/>
              <a:chExt cx="4279900" cy="2971800"/>
            </a:xfrm>
          </p:grpSpPr>
          <p:pic>
            <p:nvPicPr>
              <p:cNvPr id="287" name="Picture 2"/>
              <p:cNvPicPr>
                <a:picLocks noChangeAspect="1" noChangeArrowheads="1"/>
              </p:cNvPicPr>
              <p:nvPr/>
            </p:nvPicPr>
            <p:blipFill>
              <a:blip r:embed="rId37"/>
              <a:srcRect/>
              <a:stretch>
                <a:fillRect/>
              </a:stretch>
            </p:blipFill>
            <p:spPr bwMode="auto">
              <a:xfrm>
                <a:off x="-3203575" y="1122362"/>
                <a:ext cx="2419350" cy="2971800"/>
              </a:xfrm>
              <a:prstGeom prst="rect">
                <a:avLst/>
              </a:prstGeom>
              <a:noFill/>
              <a:effectLst>
                <a:outerShdw blurRad="50800" dist="38100" dir="2700000" algn="tl" rotWithShape="0">
                  <a:prstClr val="black">
                    <a:alpha val="40000"/>
                  </a:prstClr>
                </a:outerShdw>
              </a:effectLst>
            </p:spPr>
          </p:pic>
          <p:pic>
            <p:nvPicPr>
              <p:cNvPr id="299" name="Picture 3"/>
              <p:cNvPicPr>
                <a:picLocks noChangeAspect="1" noChangeArrowheads="1"/>
              </p:cNvPicPr>
              <p:nvPr/>
            </p:nvPicPr>
            <p:blipFill>
              <a:blip r:embed="rId38"/>
              <a:srcRect/>
              <a:stretch>
                <a:fillRect/>
              </a:stretch>
            </p:blipFill>
            <p:spPr bwMode="auto">
              <a:xfrm>
                <a:off x="-781050" y="2490788"/>
                <a:ext cx="1857375" cy="685800"/>
              </a:xfrm>
              <a:prstGeom prst="rect">
                <a:avLst/>
              </a:prstGeom>
              <a:noFill/>
              <a:effectLst>
                <a:outerShdw blurRad="50800" dist="38100" dir="2700000" algn="tl" rotWithShape="0">
                  <a:prstClr val="black">
                    <a:alpha val="40000"/>
                  </a:prstClr>
                </a:outerShdw>
              </a:effectLst>
            </p:spPr>
          </p:pic>
        </p:grpSp>
        <p:sp>
          <p:nvSpPr>
            <p:cNvPr id="514" name="Rechteck 513"/>
            <p:cNvSpPr/>
            <p:nvPr/>
          </p:nvSpPr>
          <p:spPr>
            <a:xfrm>
              <a:off x="3518223" y="2497250"/>
              <a:ext cx="1208558" cy="13063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1" name="Rechteck 300"/>
            <p:cNvSpPr/>
            <p:nvPr/>
          </p:nvSpPr>
          <p:spPr>
            <a:xfrm>
              <a:off x="4763617" y="2497250"/>
              <a:ext cx="916458" cy="13063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08" name="Gruppieren 77"/>
          <p:cNvGrpSpPr/>
          <p:nvPr/>
        </p:nvGrpSpPr>
        <p:grpSpPr>
          <a:xfrm>
            <a:off x="203518" y="5538253"/>
            <a:ext cx="347663" cy="338138"/>
            <a:chOff x="203518" y="4966018"/>
            <a:chExt cx="347663" cy="338138"/>
          </a:xfrm>
        </p:grpSpPr>
        <p:pic>
          <p:nvPicPr>
            <p:cNvPr id="306" name="Grafik 305" descr="schatten.png"/>
            <p:cNvPicPr>
              <a:picLocks noChangeAspect="1"/>
            </p:cNvPicPr>
            <p:nvPr/>
          </p:nvPicPr>
          <p:blipFill>
            <a:blip r:embed="rId39" cstate="print">
              <a:lum bright="30000"/>
            </a:blip>
            <a:srcRect l="17603" t="9404" r="15359" b="14528"/>
            <a:stretch>
              <a:fillRect/>
            </a:stretch>
          </p:blipFill>
          <p:spPr>
            <a:xfrm>
              <a:off x="203518" y="4966018"/>
              <a:ext cx="347663" cy="338138"/>
            </a:xfrm>
            <a:prstGeom prst="rect">
              <a:avLst/>
            </a:prstGeom>
          </p:spPr>
        </p:pic>
        <p:sp>
          <p:nvSpPr>
            <p:cNvPr id="310"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313"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Wählen Sie ein Objekt, welches Sie kopieren möchten, mit der linken Maustaste aus und klicken Sie danach auf die Rechte Maustaste.</a:t>
            </a:r>
            <a:endParaRPr lang="de-DE" sz="1200" dirty="0">
              <a:latin typeface="Myriad Pro" pitchFamily="34" charset="0"/>
              <a:ea typeface="Arial Unicode MS" pitchFamily="34" charset="-128"/>
              <a:cs typeface="Arial" charset="0"/>
            </a:endParaRPr>
          </a:p>
        </p:txBody>
      </p:sp>
      <p:sp>
        <p:nvSpPr>
          <p:cNvPr id="315" name="Rectangle 5"/>
          <p:cNvSpPr>
            <a:spLocks noChangeArrowheads="1"/>
          </p:cNvSpPr>
          <p:nvPr/>
        </p:nvSpPr>
        <p:spPr bwMode="gray">
          <a:xfrm>
            <a:off x="639763" y="5538253"/>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Anschließend klicken Sie auf die Rechte Maustaste und wählen die Funktion „Gruppieren“ aus.</a:t>
            </a:r>
            <a:endParaRPr lang="de-DE" sz="1200" dirty="0">
              <a:solidFill>
                <a:srgbClr val="000000"/>
              </a:solidFill>
              <a:ea typeface="Arial Unicode MS" pitchFamily="34" charset="-128"/>
              <a:cs typeface="Arial" charset="0"/>
            </a:endParaRPr>
          </a:p>
        </p:txBody>
      </p:sp>
      <p:grpSp>
        <p:nvGrpSpPr>
          <p:cNvPr id="109" name="Gruppieren 73"/>
          <p:cNvGrpSpPr/>
          <p:nvPr/>
        </p:nvGrpSpPr>
        <p:grpSpPr>
          <a:xfrm>
            <a:off x="203518" y="4979777"/>
            <a:ext cx="347663" cy="338138"/>
            <a:chOff x="203518" y="4378643"/>
            <a:chExt cx="347663" cy="338138"/>
          </a:xfrm>
        </p:grpSpPr>
        <p:pic>
          <p:nvPicPr>
            <p:cNvPr id="320" name="Grafik 319" descr="schatten.png"/>
            <p:cNvPicPr>
              <a:picLocks noChangeAspect="1"/>
            </p:cNvPicPr>
            <p:nvPr/>
          </p:nvPicPr>
          <p:blipFill>
            <a:blip r:embed="rId39" cstate="print">
              <a:lum bright="30000"/>
            </a:blip>
            <a:srcRect l="17603" t="9404" r="15359" b="14528"/>
            <a:stretch>
              <a:fillRect/>
            </a:stretch>
          </p:blipFill>
          <p:spPr>
            <a:xfrm>
              <a:off x="203518" y="4378643"/>
              <a:ext cx="347663" cy="338138"/>
            </a:xfrm>
            <a:prstGeom prst="rect">
              <a:avLst/>
            </a:prstGeom>
          </p:spPr>
        </p:pic>
        <p:sp>
          <p:nvSpPr>
            <p:cNvPr id="327"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10" name="Gruppieren 73"/>
          <p:cNvGrpSpPr/>
          <p:nvPr/>
        </p:nvGrpSpPr>
        <p:grpSpPr>
          <a:xfrm>
            <a:off x="204899" y="1399308"/>
            <a:ext cx="347663" cy="338138"/>
            <a:chOff x="203518" y="4378643"/>
            <a:chExt cx="347663" cy="338138"/>
          </a:xfrm>
        </p:grpSpPr>
        <p:pic>
          <p:nvPicPr>
            <p:cNvPr id="331" name="Grafik 330" descr="schatten.png"/>
            <p:cNvPicPr>
              <a:picLocks noChangeAspect="1"/>
            </p:cNvPicPr>
            <p:nvPr/>
          </p:nvPicPr>
          <p:blipFill>
            <a:blip r:embed="rId39" cstate="print">
              <a:lum bright="30000"/>
            </a:blip>
            <a:srcRect l="17603" t="9404" r="15359" b="14528"/>
            <a:stretch>
              <a:fillRect/>
            </a:stretch>
          </p:blipFill>
          <p:spPr>
            <a:xfrm>
              <a:off x="203518" y="4378643"/>
              <a:ext cx="347663" cy="338138"/>
            </a:xfrm>
            <a:prstGeom prst="rect">
              <a:avLst/>
            </a:prstGeom>
          </p:spPr>
        </p:pic>
        <p:sp>
          <p:nvSpPr>
            <p:cNvPr id="341"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11" name="Gruppieren 73"/>
          <p:cNvGrpSpPr/>
          <p:nvPr/>
        </p:nvGrpSpPr>
        <p:grpSpPr>
          <a:xfrm>
            <a:off x="3516748" y="1399308"/>
            <a:ext cx="347663" cy="338138"/>
            <a:chOff x="203518" y="4378643"/>
            <a:chExt cx="347663" cy="338138"/>
          </a:xfrm>
        </p:grpSpPr>
        <p:pic>
          <p:nvPicPr>
            <p:cNvPr id="359" name="Grafik 358" descr="schatten.png"/>
            <p:cNvPicPr>
              <a:picLocks noChangeAspect="1"/>
            </p:cNvPicPr>
            <p:nvPr/>
          </p:nvPicPr>
          <p:blipFill>
            <a:blip r:embed="rId39" cstate="print">
              <a:lum bright="30000"/>
            </a:blip>
            <a:srcRect l="17603" t="9404" r="15359" b="14528"/>
            <a:stretch>
              <a:fillRect/>
            </a:stretch>
          </p:blipFill>
          <p:spPr>
            <a:xfrm>
              <a:off x="203518" y="4378643"/>
              <a:ext cx="347663" cy="338138"/>
            </a:xfrm>
            <a:prstGeom prst="rect">
              <a:avLst/>
            </a:prstGeom>
          </p:spPr>
        </p:pic>
        <p:sp>
          <p:nvSpPr>
            <p:cNvPr id="363"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grpSp>
        <p:nvGrpSpPr>
          <p:cNvPr id="112" name="Gruppieren 73"/>
          <p:cNvGrpSpPr/>
          <p:nvPr/>
        </p:nvGrpSpPr>
        <p:grpSpPr>
          <a:xfrm>
            <a:off x="5369083" y="1399308"/>
            <a:ext cx="347663" cy="338138"/>
            <a:chOff x="203518" y="4378643"/>
            <a:chExt cx="347663" cy="338138"/>
          </a:xfrm>
        </p:grpSpPr>
        <p:pic>
          <p:nvPicPr>
            <p:cNvPr id="365" name="Grafik 364" descr="schatten.png"/>
            <p:cNvPicPr>
              <a:picLocks noChangeAspect="1"/>
            </p:cNvPicPr>
            <p:nvPr/>
          </p:nvPicPr>
          <p:blipFill>
            <a:blip r:embed="rId39" cstate="print">
              <a:lum bright="30000"/>
            </a:blip>
            <a:srcRect l="17603" t="9404" r="15359" b="14528"/>
            <a:stretch>
              <a:fillRect/>
            </a:stretch>
          </p:blipFill>
          <p:spPr>
            <a:xfrm>
              <a:off x="203518" y="4378643"/>
              <a:ext cx="347663" cy="338138"/>
            </a:xfrm>
            <a:prstGeom prst="rect">
              <a:avLst/>
            </a:prstGeom>
          </p:spPr>
        </p:pic>
        <p:sp>
          <p:nvSpPr>
            <p:cNvPr id="401"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3</a:t>
              </a:r>
              <a:endParaRPr lang="de-DE" sz="1600" b="1" noProof="1">
                <a:solidFill>
                  <a:schemeClr val="bg1"/>
                </a:solidFill>
                <a:latin typeface="Myriad Pro" pitchFamily="34" charset="0"/>
              </a:endParaRPr>
            </a:p>
          </p:txBody>
        </p:sp>
      </p:gr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4"/>
          <a:srcRect/>
          <a:stretch>
            <a:fillRect/>
          </a:stretch>
        </p:blipFill>
        <p:spPr bwMode="auto">
          <a:xfrm>
            <a:off x="-12700" y="305435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eaLnBrk="0" hangingPunct="0">
              <a:defRPr/>
            </a:pPr>
            <a:r>
              <a:rPr lang="de-DE" sz="2800" kern="0" dirty="0" smtClean="0">
                <a:solidFill>
                  <a:schemeClr val="tx2"/>
                </a:solidFill>
                <a:latin typeface="Myriad Pro" pitchFamily="34" charset="0"/>
                <a:ea typeface="+mj-ea"/>
                <a:cs typeface="+mj-cs"/>
              </a:rPr>
              <a:t>Karte Skalieren</a:t>
            </a:r>
          </a:p>
        </p:txBody>
      </p:sp>
      <p:sp>
        <p:nvSpPr>
          <p:cNvPr id="4" name="Textfeld 3"/>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3</a:t>
            </a:r>
            <a:endParaRPr lang="de-DE" sz="900" dirty="0">
              <a:solidFill>
                <a:schemeClr val="bg1">
                  <a:lumMod val="50000"/>
                </a:schemeClr>
              </a:solidFill>
            </a:endParaRPr>
          </a:p>
        </p:txBody>
      </p:sp>
      <p:grpSp>
        <p:nvGrpSpPr>
          <p:cNvPr id="5" name="Group 113"/>
          <p:cNvGrpSpPr/>
          <p:nvPr/>
        </p:nvGrpSpPr>
        <p:grpSpPr>
          <a:xfrm>
            <a:off x="5495187" y="332995"/>
            <a:ext cx="2852118" cy="4009972"/>
            <a:chOff x="5495187" y="332995"/>
            <a:chExt cx="2852118" cy="4009972"/>
          </a:xfrm>
          <a:effectLst>
            <a:reflection blurRad="6350" stA="52000" endA="300" endPos="35000" dir="5400000" sy="-100000" algn="bl" rotWithShape="0"/>
          </a:effectLst>
        </p:grpSpPr>
        <p:grpSp>
          <p:nvGrpSpPr>
            <p:cNvPr id="6" name="Gruppieren 118"/>
            <p:cNvGrpSpPr/>
            <p:nvPr/>
          </p:nvGrpSpPr>
          <p:grpSpPr>
            <a:xfrm>
              <a:off x="5495187" y="332995"/>
              <a:ext cx="2852118" cy="4009972"/>
              <a:chOff x="5495187" y="994879"/>
              <a:chExt cx="2852118" cy="4009972"/>
            </a:xfrm>
          </p:grpSpPr>
          <p:sp>
            <p:nvSpPr>
              <p:cNvPr id="76" name="Ellipse 75"/>
              <p:cNvSpPr/>
              <p:nvPr/>
            </p:nvSpPr>
            <p:spPr>
              <a:xfrm>
                <a:off x="5495187" y="1175854"/>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77" name="Ellipse 76"/>
              <p:cNvSpPr/>
              <p:nvPr/>
            </p:nvSpPr>
            <p:spPr>
              <a:xfrm>
                <a:off x="8286105" y="1175854"/>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78" name="Ellipse 77"/>
              <p:cNvSpPr/>
              <p:nvPr/>
            </p:nvSpPr>
            <p:spPr>
              <a:xfrm>
                <a:off x="5495187" y="4943651"/>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79" name="Ellipse 78"/>
              <p:cNvSpPr/>
              <p:nvPr/>
            </p:nvSpPr>
            <p:spPr>
              <a:xfrm>
                <a:off x="6890646" y="4943651"/>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80" name="Ellipse 79"/>
              <p:cNvSpPr/>
              <p:nvPr/>
            </p:nvSpPr>
            <p:spPr>
              <a:xfrm>
                <a:off x="8286105" y="4943651"/>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81" name="Ellipse 80"/>
              <p:cNvSpPr/>
              <p:nvPr/>
            </p:nvSpPr>
            <p:spPr>
              <a:xfrm>
                <a:off x="5495187" y="3059752"/>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82" name="Ellipse 81"/>
              <p:cNvSpPr/>
              <p:nvPr/>
            </p:nvSpPr>
            <p:spPr>
              <a:xfrm>
                <a:off x="8286105" y="3059752"/>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7" name="Gruppieren 88"/>
              <p:cNvGrpSpPr/>
              <p:nvPr/>
            </p:nvGrpSpPr>
            <p:grpSpPr>
              <a:xfrm>
                <a:off x="6890646" y="994879"/>
                <a:ext cx="61200" cy="242175"/>
                <a:chOff x="1662164" y="2113494"/>
                <a:chExt cx="61200" cy="242175"/>
              </a:xfrm>
            </p:grpSpPr>
            <p:sp>
              <p:nvSpPr>
                <p:cNvPr id="84" name="Ellipse 83"/>
                <p:cNvSpPr/>
                <p:nvPr/>
              </p:nvSpPr>
              <p:spPr>
                <a:xfrm>
                  <a:off x="1662164" y="2294469"/>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85" name="Ellipse 84"/>
                <p:cNvSpPr/>
                <p:nvPr/>
              </p:nvSpPr>
              <p:spPr>
                <a:xfrm>
                  <a:off x="1662164" y="2113494"/>
                  <a:ext cx="61200" cy="612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p>
              </p:txBody>
            </p:sp>
            <p:cxnSp>
              <p:nvCxnSpPr>
                <p:cNvPr id="86" name="Gerade Verbindung 85"/>
                <p:cNvCxnSpPr/>
                <p:nvPr/>
              </p:nvCxnSpPr>
              <p:spPr>
                <a:xfrm rot="5400000">
                  <a:off x="1632877" y="2234582"/>
                  <a:ext cx="119775" cy="0"/>
                </a:xfrm>
                <a:prstGeom prst="line">
                  <a:avLst/>
                </a:prstGeom>
                <a:noFill/>
                <a:ln w="9525">
                  <a:solidFill>
                    <a:schemeClr val="tx1"/>
                  </a:solidFill>
                  <a:round/>
                  <a:headEnd/>
                  <a:tailEnd/>
                </a:ln>
                <a:effectLst/>
              </p:spPr>
            </p:cxnSp>
          </p:grpSp>
        </p:grpSp>
        <p:grpSp>
          <p:nvGrpSpPr>
            <p:cNvPr id="8" name="Group 19"/>
            <p:cNvGrpSpPr>
              <a:grpSpLocks/>
            </p:cNvGrpSpPr>
            <p:nvPr/>
          </p:nvGrpSpPr>
          <p:grpSpPr bwMode="auto">
            <a:xfrm>
              <a:off x="5586300" y="626982"/>
              <a:ext cx="2678442" cy="3626574"/>
              <a:chOff x="670" y="640"/>
              <a:chExt cx="2195" cy="2972"/>
            </a:xfrm>
          </p:grpSpPr>
          <p:sp>
            <p:nvSpPr>
              <p:cNvPr id="89" name="Freeform 20"/>
              <p:cNvSpPr>
                <a:spLocks/>
              </p:cNvSpPr>
              <p:nvPr>
                <p:custDataLst>
                  <p:tags r:id="rId17"/>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0" name="Freeform 21"/>
              <p:cNvSpPr>
                <a:spLocks/>
              </p:cNvSpPr>
              <p:nvPr>
                <p:custDataLst>
                  <p:tags r:id="rId18"/>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1" name="Freeform 22"/>
              <p:cNvSpPr>
                <a:spLocks/>
              </p:cNvSpPr>
              <p:nvPr>
                <p:custDataLst>
                  <p:tags r:id="rId19"/>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2" name="Freeform 23"/>
              <p:cNvSpPr>
                <a:spLocks/>
              </p:cNvSpPr>
              <p:nvPr>
                <p:custDataLst>
                  <p:tags r:id="rId20"/>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3" name="Freeform 24"/>
              <p:cNvSpPr>
                <a:spLocks noEditPoints="1"/>
              </p:cNvSpPr>
              <p:nvPr>
                <p:custDataLst>
                  <p:tags r:id="rId21"/>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4" name="Freeform 25"/>
              <p:cNvSpPr>
                <a:spLocks/>
              </p:cNvSpPr>
              <p:nvPr>
                <p:custDataLst>
                  <p:tags r:id="rId22"/>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5" name="Freeform 26"/>
              <p:cNvSpPr>
                <a:spLocks/>
              </p:cNvSpPr>
              <p:nvPr>
                <p:custDataLst>
                  <p:tags r:id="rId23"/>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6" name="Freeform 27"/>
              <p:cNvSpPr>
                <a:spLocks/>
              </p:cNvSpPr>
              <p:nvPr>
                <p:custDataLst>
                  <p:tags r:id="rId24"/>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7" name="Freeform 28"/>
              <p:cNvSpPr>
                <a:spLocks/>
              </p:cNvSpPr>
              <p:nvPr>
                <p:custDataLst>
                  <p:tags r:id="rId25"/>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8" name="Freeform 29"/>
              <p:cNvSpPr>
                <a:spLocks/>
              </p:cNvSpPr>
              <p:nvPr>
                <p:custDataLst>
                  <p:tags r:id="rId26"/>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9" name="Freeform 30"/>
              <p:cNvSpPr>
                <a:spLocks noEditPoints="1"/>
              </p:cNvSpPr>
              <p:nvPr>
                <p:custDataLst>
                  <p:tags r:id="rId27"/>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0" name="Freeform 31"/>
              <p:cNvSpPr>
                <a:spLocks noEditPoints="1"/>
              </p:cNvSpPr>
              <p:nvPr>
                <p:custDataLst>
                  <p:tags r:id="rId28"/>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1" name="Freeform 32"/>
              <p:cNvSpPr>
                <a:spLocks/>
              </p:cNvSpPr>
              <p:nvPr>
                <p:custDataLst>
                  <p:tags r:id="rId29"/>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2" name="Freeform 33"/>
              <p:cNvSpPr>
                <a:spLocks noEditPoints="1"/>
              </p:cNvSpPr>
              <p:nvPr>
                <p:custDataLst>
                  <p:tags r:id="rId30"/>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3" name="Freeform 34"/>
              <p:cNvSpPr>
                <a:spLocks noEditPoints="1"/>
              </p:cNvSpPr>
              <p:nvPr>
                <p:custDataLst>
                  <p:tags r:id="rId31"/>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4" name="Freeform 35"/>
              <p:cNvSpPr>
                <a:spLocks noEditPoints="1"/>
              </p:cNvSpPr>
              <p:nvPr>
                <p:custDataLst>
                  <p:tags r:id="rId32"/>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grpSp>
      </p:grpSp>
      <p:grpSp>
        <p:nvGrpSpPr>
          <p:cNvPr id="9" name="Group 104"/>
          <p:cNvGrpSpPr/>
          <p:nvPr/>
        </p:nvGrpSpPr>
        <p:grpSpPr>
          <a:xfrm>
            <a:off x="1162875" y="1404202"/>
            <a:ext cx="2172816" cy="2903929"/>
            <a:chOff x="1162875" y="1404202"/>
            <a:chExt cx="2172816" cy="2903929"/>
          </a:xfrm>
          <a:effectLst>
            <a:reflection blurRad="6350" stA="52000" endA="300" endPos="35000" dir="5400000" sy="-100000" algn="bl" rotWithShape="0"/>
          </a:effectLst>
        </p:grpSpPr>
        <p:grpSp>
          <p:nvGrpSpPr>
            <p:cNvPr id="10" name="Group 19"/>
            <p:cNvGrpSpPr>
              <a:grpSpLocks/>
            </p:cNvGrpSpPr>
            <p:nvPr/>
          </p:nvGrpSpPr>
          <p:grpSpPr bwMode="auto">
            <a:xfrm>
              <a:off x="1252279" y="1624805"/>
              <a:ext cx="1935058" cy="2620043"/>
              <a:chOff x="670" y="640"/>
              <a:chExt cx="2195" cy="2972"/>
            </a:xfrm>
          </p:grpSpPr>
          <p:sp>
            <p:nvSpPr>
              <p:cNvPr id="1044"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45"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46"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47"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48"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49"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50"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51"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52"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53"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54"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55"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56"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57"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58"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59"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grpSp>
        <p:grpSp>
          <p:nvGrpSpPr>
            <p:cNvPr id="11" name="Gruppieren 117"/>
            <p:cNvGrpSpPr/>
            <p:nvPr/>
          </p:nvGrpSpPr>
          <p:grpSpPr>
            <a:xfrm>
              <a:off x="1162875" y="1404202"/>
              <a:ext cx="2172816" cy="2903929"/>
              <a:chOff x="1162875" y="2100922"/>
              <a:chExt cx="2172816" cy="2903929"/>
            </a:xfrm>
          </p:grpSpPr>
          <p:sp>
            <p:nvSpPr>
              <p:cNvPr id="107" name="Ellipse 106"/>
              <p:cNvSpPr/>
              <p:nvPr/>
            </p:nvSpPr>
            <p:spPr>
              <a:xfrm>
                <a:off x="1162875" y="2281897"/>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08" name="Ellipse 107"/>
              <p:cNvSpPr/>
              <p:nvPr/>
            </p:nvSpPr>
            <p:spPr>
              <a:xfrm>
                <a:off x="3274491" y="2281897"/>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09" name="Ellipse 108"/>
              <p:cNvSpPr/>
              <p:nvPr/>
            </p:nvSpPr>
            <p:spPr>
              <a:xfrm>
                <a:off x="1162875" y="4943651"/>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10" name="Ellipse 109"/>
              <p:cNvSpPr/>
              <p:nvPr/>
            </p:nvSpPr>
            <p:spPr>
              <a:xfrm>
                <a:off x="2218683" y="4943651"/>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11" name="Ellipse 110"/>
              <p:cNvSpPr/>
              <p:nvPr/>
            </p:nvSpPr>
            <p:spPr>
              <a:xfrm>
                <a:off x="3274491" y="4943651"/>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12" name="Ellipse 111"/>
              <p:cNvSpPr/>
              <p:nvPr/>
            </p:nvSpPr>
            <p:spPr>
              <a:xfrm>
                <a:off x="1162875" y="3612774"/>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13" name="Ellipse 112"/>
              <p:cNvSpPr/>
              <p:nvPr/>
            </p:nvSpPr>
            <p:spPr>
              <a:xfrm>
                <a:off x="3274491" y="3612774"/>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2" name="Gruppieren 88"/>
              <p:cNvGrpSpPr/>
              <p:nvPr/>
            </p:nvGrpSpPr>
            <p:grpSpPr>
              <a:xfrm>
                <a:off x="2218683" y="2100922"/>
                <a:ext cx="61200" cy="242175"/>
                <a:chOff x="1662164" y="2113494"/>
                <a:chExt cx="61200" cy="242175"/>
              </a:xfrm>
            </p:grpSpPr>
            <p:sp>
              <p:nvSpPr>
                <p:cNvPr id="115" name="Ellipse 114"/>
                <p:cNvSpPr/>
                <p:nvPr/>
              </p:nvSpPr>
              <p:spPr>
                <a:xfrm>
                  <a:off x="1662164" y="2294469"/>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16" name="Ellipse 115"/>
                <p:cNvSpPr/>
                <p:nvPr/>
              </p:nvSpPr>
              <p:spPr>
                <a:xfrm>
                  <a:off x="1662164" y="2113494"/>
                  <a:ext cx="61200" cy="612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p>
              </p:txBody>
            </p:sp>
            <p:cxnSp>
              <p:nvCxnSpPr>
                <p:cNvPr id="117" name="Gerade Verbindung 116"/>
                <p:cNvCxnSpPr/>
                <p:nvPr/>
              </p:nvCxnSpPr>
              <p:spPr>
                <a:xfrm rot="5400000">
                  <a:off x="1632877" y="2234582"/>
                  <a:ext cx="119775" cy="0"/>
                </a:xfrm>
                <a:prstGeom prst="line">
                  <a:avLst/>
                </a:prstGeom>
                <a:noFill/>
                <a:ln w="9525">
                  <a:solidFill>
                    <a:schemeClr val="tx1"/>
                  </a:solidFill>
                  <a:round/>
                  <a:headEnd/>
                  <a:tailEnd/>
                </a:ln>
                <a:effectLst/>
              </p:spPr>
            </p:cxnSp>
          </p:grpSp>
        </p:grpSp>
      </p:grpSp>
      <p:grpSp>
        <p:nvGrpSpPr>
          <p:cNvPr id="13" name="Gruppieren 77"/>
          <p:cNvGrpSpPr/>
          <p:nvPr/>
        </p:nvGrpSpPr>
        <p:grpSpPr>
          <a:xfrm>
            <a:off x="203518" y="5538253"/>
            <a:ext cx="347663" cy="338138"/>
            <a:chOff x="203518" y="4966018"/>
            <a:chExt cx="347663" cy="338138"/>
          </a:xfrm>
        </p:grpSpPr>
        <p:pic>
          <p:nvPicPr>
            <p:cNvPr id="133" name="Grafik 132"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134"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sp>
        <p:nvSpPr>
          <p:cNvPr id="135" name="Rectangle 5"/>
          <p:cNvSpPr>
            <a:spLocks noChangeArrowheads="1"/>
          </p:cNvSpPr>
          <p:nvPr/>
        </p:nvSpPr>
        <p:spPr bwMode="gray">
          <a:xfrm>
            <a:off x="639763" y="4979777"/>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Skalieren Sie die Karte proportional auf eine beliebige Größe. Wählen Sie hierzu die Karte mit der linken Maustaste aus. </a:t>
            </a:r>
            <a:r>
              <a:rPr lang="de-DE" sz="1200" dirty="0">
                <a:latin typeface="Myriad Pro" pitchFamily="34" charset="0"/>
                <a:ea typeface="Arial Unicode MS" pitchFamily="34" charset="-128"/>
                <a:cs typeface="Arial" charset="0"/>
              </a:rPr>
              <a:t/>
            </a:r>
            <a:br>
              <a:rPr lang="de-DE" sz="1200" dirty="0">
                <a:latin typeface="Myriad Pro" pitchFamily="34" charset="0"/>
                <a:ea typeface="Arial Unicode MS" pitchFamily="34" charset="-128"/>
                <a:cs typeface="Arial" charset="0"/>
              </a:rPr>
            </a:br>
            <a:endParaRPr lang="de-DE" sz="1200" dirty="0">
              <a:latin typeface="Myriad Pro" pitchFamily="34" charset="0"/>
              <a:ea typeface="Arial Unicode MS" pitchFamily="34" charset="-128"/>
              <a:cs typeface="Arial" charset="0"/>
            </a:endParaRPr>
          </a:p>
          <a:p>
            <a:endParaRPr lang="de-DE" sz="1200" dirty="0">
              <a:latin typeface="Myriad Pro" pitchFamily="34" charset="0"/>
              <a:ea typeface="Arial Unicode MS" pitchFamily="34" charset="-128"/>
              <a:cs typeface="Arial" charset="0"/>
            </a:endParaRPr>
          </a:p>
        </p:txBody>
      </p:sp>
      <p:sp>
        <p:nvSpPr>
          <p:cNvPr id="136" name="Rectangle 5"/>
          <p:cNvSpPr>
            <a:spLocks noChangeArrowheads="1"/>
          </p:cNvSpPr>
          <p:nvPr/>
        </p:nvSpPr>
        <p:spPr bwMode="gray">
          <a:xfrm>
            <a:off x="639763" y="5538253"/>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Ziehen Sie mit gedrückter linker Maus- und Umschalt-Taste (Shift) die Karte an einem der erschienenen Eckpunkte </a:t>
            </a:r>
            <a:br>
              <a:rPr lang="de-DE" sz="1200" dirty="0" smtClean="0">
                <a:solidFill>
                  <a:srgbClr val="000000"/>
                </a:solidFill>
                <a:latin typeface="Myriad Pro" pitchFamily="34" charset="0"/>
                <a:ea typeface="Arial Unicode MS" pitchFamily="34" charset="-128"/>
                <a:cs typeface="Arial" charset="0"/>
              </a:rPr>
            </a:br>
            <a:r>
              <a:rPr lang="de-DE" sz="1200" dirty="0" smtClean="0">
                <a:solidFill>
                  <a:srgbClr val="000000"/>
                </a:solidFill>
                <a:latin typeface="Myriad Pro" pitchFamily="34" charset="0"/>
                <a:ea typeface="Arial Unicode MS" pitchFamily="34" charset="-128"/>
                <a:cs typeface="Arial" charset="0"/>
              </a:rPr>
              <a:t>und verändern Sie sie auf die gewünschte Größe. </a:t>
            </a:r>
          </a:p>
        </p:txBody>
      </p:sp>
      <p:grpSp>
        <p:nvGrpSpPr>
          <p:cNvPr id="14" name="Gruppieren 73"/>
          <p:cNvGrpSpPr/>
          <p:nvPr/>
        </p:nvGrpSpPr>
        <p:grpSpPr>
          <a:xfrm>
            <a:off x="203518" y="4979777"/>
            <a:ext cx="347663" cy="338138"/>
            <a:chOff x="203518" y="4378643"/>
            <a:chExt cx="347663" cy="338138"/>
          </a:xfrm>
        </p:grpSpPr>
        <p:pic>
          <p:nvPicPr>
            <p:cNvPr id="138" name="Grafik 137"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139"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5" name="Group 105"/>
          <p:cNvGrpSpPr/>
          <p:nvPr/>
        </p:nvGrpSpPr>
        <p:grpSpPr>
          <a:xfrm>
            <a:off x="2654493" y="4091090"/>
            <a:ext cx="6336862" cy="736478"/>
            <a:chOff x="2654493" y="4091090"/>
            <a:chExt cx="6336862" cy="736478"/>
          </a:xfrm>
        </p:grpSpPr>
        <p:sp>
          <p:nvSpPr>
            <p:cNvPr id="31" name="Rectangle 4"/>
            <p:cNvSpPr>
              <a:spLocks noChangeArrowheads="1"/>
            </p:cNvSpPr>
            <p:nvPr/>
          </p:nvSpPr>
          <p:spPr bwMode="gray">
            <a:xfrm>
              <a:off x="7243947" y="4387832"/>
              <a:ext cx="323854" cy="342900"/>
            </a:xfrm>
            <a:prstGeom prst="rect">
              <a:avLst/>
            </a:prstGeom>
            <a:noFill/>
            <a:ln w="9525">
              <a:noFill/>
              <a:miter lim="800000"/>
              <a:headEnd/>
              <a:tailEnd/>
            </a:ln>
          </p:spPr>
          <p:txBody>
            <a:bodyPr lIns="0" tIns="0" rIns="0" bIns="0" anchor="ctr"/>
            <a:lstStyle/>
            <a:p>
              <a:pPr algn="ctr" defTabSz="801688" eaLnBrk="0" fontAlgn="auto" hangingPunct="0">
                <a:spcBef>
                  <a:spcPts val="0"/>
                </a:spcBef>
                <a:spcAft>
                  <a:spcPts val="0"/>
                </a:spcAft>
                <a:defRPr/>
              </a:pPr>
              <a:r>
                <a:rPr lang="en-GB" sz="3200" kern="0" dirty="0">
                  <a:latin typeface="Myriad Pro" pitchFamily="34" charset="0"/>
                </a:rPr>
                <a:t>+</a:t>
              </a:r>
            </a:p>
          </p:txBody>
        </p:sp>
        <p:pic>
          <p:nvPicPr>
            <p:cNvPr id="45" name="Grafik 44" descr="maus_wischen.png"/>
            <p:cNvPicPr>
              <a:picLocks noChangeAspect="1"/>
            </p:cNvPicPr>
            <p:nvPr/>
          </p:nvPicPr>
          <p:blipFill>
            <a:blip r:embed="rId36" cstate="print"/>
            <a:stretch>
              <a:fillRect/>
            </a:stretch>
          </p:blipFill>
          <p:spPr>
            <a:xfrm>
              <a:off x="7567368" y="4117956"/>
              <a:ext cx="1423987" cy="709612"/>
            </a:xfrm>
            <a:prstGeom prst="rect">
              <a:avLst/>
            </a:prstGeom>
            <a:effectLst>
              <a:outerShdw blurRad="50800" dist="38100" dir="2700000" algn="tl" rotWithShape="0">
                <a:prstClr val="black">
                  <a:alpha val="40000"/>
                </a:prstClr>
              </a:outerShdw>
            </a:effectLst>
          </p:spPr>
        </p:pic>
        <p:grpSp>
          <p:nvGrpSpPr>
            <p:cNvPr id="16" name="Group 45"/>
            <p:cNvGrpSpPr>
              <a:grpSpLocks/>
            </p:cNvGrpSpPr>
            <p:nvPr/>
          </p:nvGrpSpPr>
          <p:grpSpPr bwMode="auto">
            <a:xfrm rot="20287264">
              <a:off x="2654493" y="4091090"/>
              <a:ext cx="374650" cy="609600"/>
              <a:chOff x="1950" y="1045"/>
              <a:chExt cx="568" cy="928"/>
            </a:xfrm>
          </p:grpSpPr>
          <p:sp>
            <p:nvSpPr>
              <p:cNvPr id="33"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dirty="0">
                  <a:latin typeface="Myriad Pro" pitchFamily="34" charset="0"/>
                </a:endParaRPr>
              </a:p>
            </p:txBody>
          </p:sp>
          <p:sp>
            <p:nvSpPr>
              <p:cNvPr id="34"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dirty="0"/>
              </a:p>
            </p:txBody>
          </p:sp>
          <p:sp>
            <p:nvSpPr>
              <p:cNvPr id="35"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36"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dirty="0"/>
              </a:p>
            </p:txBody>
          </p:sp>
          <p:sp>
            <p:nvSpPr>
              <p:cNvPr id="37"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38"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dirty="0"/>
              </a:p>
            </p:txBody>
          </p:sp>
          <p:sp>
            <p:nvSpPr>
              <p:cNvPr id="39"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dirty="0"/>
              </a:p>
            </p:txBody>
          </p:sp>
          <p:sp>
            <p:nvSpPr>
              <p:cNvPr id="40"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dirty="0">
                  <a:latin typeface="Myriad Pro" pitchFamily="34" charset="0"/>
                </a:endParaRPr>
              </a:p>
            </p:txBody>
          </p:sp>
          <p:sp>
            <p:nvSpPr>
              <p:cNvPr id="41"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dirty="0"/>
              </a:p>
            </p:txBody>
          </p:sp>
          <p:sp>
            <p:nvSpPr>
              <p:cNvPr id="42"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dirty="0"/>
              </a:p>
            </p:txBody>
          </p:sp>
          <p:sp>
            <p:nvSpPr>
              <p:cNvPr id="43"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dirty="0"/>
              </a:p>
            </p:txBody>
          </p:sp>
          <p:sp>
            <p:nvSpPr>
              <p:cNvPr id="44"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dirty="0"/>
              </a:p>
            </p:txBody>
          </p:sp>
        </p:grpSp>
        <p:grpSp>
          <p:nvGrpSpPr>
            <p:cNvPr id="17" name="Gruppieren 146"/>
            <p:cNvGrpSpPr/>
            <p:nvPr/>
          </p:nvGrpSpPr>
          <p:grpSpPr bwMode="auto">
            <a:xfrm>
              <a:off x="6646328" y="4422335"/>
              <a:ext cx="516974" cy="342900"/>
              <a:chOff x="7027139" y="784239"/>
              <a:chExt cx="517075" cy="343745"/>
            </a:xfrm>
            <a:effectLst>
              <a:outerShdw blurRad="50800" dist="38100" dir="2700000" algn="tl" rotWithShape="0">
                <a:prstClr val="black">
                  <a:alpha val="40000"/>
                </a:prstClr>
              </a:outerShdw>
            </a:effectLst>
          </p:grpSpPr>
          <p:sp>
            <p:nvSpPr>
              <p:cNvPr id="23" name="AutoShape 74"/>
              <p:cNvSpPr>
                <a:spLocks noChangeAspect="1" noChangeArrowheads="1" noTextEdit="1"/>
              </p:cNvSpPr>
              <p:nvPr/>
            </p:nvSpPr>
            <p:spPr bwMode="gray">
              <a:xfrm>
                <a:off x="7027139" y="784239"/>
                <a:ext cx="517075" cy="343745"/>
              </a:xfrm>
              <a:prstGeom prst="rect">
                <a:avLst/>
              </a:prstGeom>
              <a:noFill/>
              <a:ln w="9525">
                <a:noFill/>
                <a:miter lim="800000"/>
                <a:headEnd/>
                <a:tailEnd/>
              </a:ln>
            </p:spPr>
            <p:txBody>
              <a:bodyPr/>
              <a:lstStyle/>
              <a:p>
                <a:pPr>
                  <a:defRPr/>
                </a:pPr>
                <a:endParaRPr lang="de-DE" dirty="0">
                  <a:latin typeface="Myriad Pro" pitchFamily="34" charset="0"/>
                </a:endParaRPr>
              </a:p>
            </p:txBody>
          </p:sp>
          <p:sp>
            <p:nvSpPr>
              <p:cNvPr id="24" name="Freeform 75"/>
              <p:cNvSpPr>
                <a:spLocks/>
              </p:cNvSpPr>
              <p:nvPr/>
            </p:nvSpPr>
            <p:spPr bwMode="gray">
              <a:xfrm>
                <a:off x="7033261" y="787025"/>
                <a:ext cx="500933" cy="337060"/>
              </a:xfrm>
              <a:custGeom>
                <a:avLst/>
                <a:gdLst>
                  <a:gd name="T0" fmla="*/ 158630 w 247"/>
                  <a:gd name="T1" fmla="*/ 17252 h 256"/>
                  <a:gd name="T2" fmla="*/ 144543 w 247"/>
                  <a:gd name="T3" fmla="*/ 18873 h 256"/>
                  <a:gd name="T4" fmla="*/ 14804 w 247"/>
                  <a:gd name="T5" fmla="*/ 18873 h 256"/>
                  <a:gd name="T6" fmla="*/ 0 w 247"/>
                  <a:gd name="T7" fmla="*/ 17252 h 256"/>
                  <a:gd name="T8" fmla="*/ 0 w 247"/>
                  <a:gd name="T9" fmla="*/ 1626 h 256"/>
                  <a:gd name="T10" fmla="*/ 14804 w 247"/>
                  <a:gd name="T11" fmla="*/ 0 h 256"/>
                  <a:gd name="T12" fmla="*/ 144543 w 247"/>
                  <a:gd name="T13" fmla="*/ 0 h 256"/>
                  <a:gd name="T14" fmla="*/ 158630 w 247"/>
                  <a:gd name="T15" fmla="*/ 1626 h 256"/>
                  <a:gd name="T16" fmla="*/ 158630 w 247"/>
                  <a:gd name="T17" fmla="*/ 17252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7"/>
                  <a:gd name="T28" fmla="*/ 0 h 256"/>
                  <a:gd name="T29" fmla="*/ 247 w 24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7" h="256">
                    <a:moveTo>
                      <a:pt x="247" y="234"/>
                    </a:moveTo>
                    <a:cubicBezTo>
                      <a:pt x="247" y="246"/>
                      <a:pt x="237" y="256"/>
                      <a:pt x="225" y="256"/>
                    </a:cubicBezTo>
                    <a:cubicBezTo>
                      <a:pt x="23" y="256"/>
                      <a:pt x="23" y="256"/>
                      <a:pt x="23" y="256"/>
                    </a:cubicBezTo>
                    <a:cubicBezTo>
                      <a:pt x="10" y="256"/>
                      <a:pt x="0" y="246"/>
                      <a:pt x="0" y="234"/>
                    </a:cubicBezTo>
                    <a:cubicBezTo>
                      <a:pt x="0" y="22"/>
                      <a:pt x="0" y="22"/>
                      <a:pt x="0" y="22"/>
                    </a:cubicBezTo>
                    <a:cubicBezTo>
                      <a:pt x="0" y="10"/>
                      <a:pt x="10" y="0"/>
                      <a:pt x="23" y="0"/>
                    </a:cubicBezTo>
                    <a:cubicBezTo>
                      <a:pt x="225" y="0"/>
                      <a:pt x="225" y="0"/>
                      <a:pt x="225" y="0"/>
                    </a:cubicBezTo>
                    <a:cubicBezTo>
                      <a:pt x="237" y="0"/>
                      <a:pt x="247" y="10"/>
                      <a:pt x="247" y="22"/>
                    </a:cubicBezTo>
                    <a:lnTo>
                      <a:pt x="247" y="234"/>
                    </a:lnTo>
                    <a:close/>
                  </a:path>
                </a:pathLst>
              </a:custGeom>
              <a:solidFill>
                <a:srgbClr val="E0E0DE"/>
              </a:solidFill>
              <a:ln w="9525">
                <a:noFill/>
                <a:round/>
                <a:headEnd/>
                <a:tailEnd/>
              </a:ln>
            </p:spPr>
            <p:txBody>
              <a:bodyPr/>
              <a:lstStyle/>
              <a:p>
                <a:pPr>
                  <a:defRPr/>
                </a:pPr>
                <a:endParaRPr lang="de-DE" dirty="0">
                  <a:latin typeface="Myriad Pro" pitchFamily="34" charset="0"/>
                </a:endParaRPr>
              </a:p>
            </p:txBody>
          </p:sp>
          <p:sp>
            <p:nvSpPr>
              <p:cNvPr id="25" name="Freeform 76"/>
              <p:cNvSpPr>
                <a:spLocks/>
              </p:cNvSpPr>
              <p:nvPr/>
            </p:nvSpPr>
            <p:spPr bwMode="gray">
              <a:xfrm>
                <a:off x="7086138" y="804295"/>
                <a:ext cx="291655" cy="255163"/>
              </a:xfrm>
              <a:custGeom>
                <a:avLst/>
                <a:gdLst>
                  <a:gd name="T0" fmla="*/ 130119 w 132"/>
                  <a:gd name="T1" fmla="*/ 5132 h 194"/>
                  <a:gd name="T2" fmla="*/ 111477 w 132"/>
                  <a:gd name="T3" fmla="*/ 0 h 194"/>
                  <a:gd name="T4" fmla="*/ 22584 w 132"/>
                  <a:gd name="T5" fmla="*/ 0 h 194"/>
                  <a:gd name="T6" fmla="*/ 0 w 132"/>
                  <a:gd name="T7" fmla="*/ 1671 h 194"/>
                  <a:gd name="T8" fmla="*/ 0 w 132"/>
                  <a:gd name="T9" fmla="*/ 12607 h 194"/>
                  <a:gd name="T10" fmla="*/ 18642 w 132"/>
                  <a:gd name="T11" fmla="*/ 14224 h 194"/>
                  <a:gd name="T12" fmla="*/ 130119 w 132"/>
                  <a:gd name="T13" fmla="*/ 5132 h 194"/>
                  <a:gd name="T14" fmla="*/ 0 60000 65536"/>
                  <a:gd name="T15" fmla="*/ 0 60000 65536"/>
                  <a:gd name="T16" fmla="*/ 0 60000 65536"/>
                  <a:gd name="T17" fmla="*/ 0 60000 65536"/>
                  <a:gd name="T18" fmla="*/ 0 60000 65536"/>
                  <a:gd name="T19" fmla="*/ 0 60000 65536"/>
                  <a:gd name="T20" fmla="*/ 0 60000 65536"/>
                  <a:gd name="T21" fmla="*/ 0 w 132"/>
                  <a:gd name="T22" fmla="*/ 0 h 194"/>
                  <a:gd name="T23" fmla="*/ 132 w 132"/>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194">
                    <a:moveTo>
                      <a:pt x="132" y="70"/>
                    </a:moveTo>
                    <a:cubicBezTo>
                      <a:pt x="132" y="44"/>
                      <a:pt x="125" y="20"/>
                      <a:pt x="113" y="0"/>
                    </a:cubicBezTo>
                    <a:cubicBezTo>
                      <a:pt x="23" y="0"/>
                      <a:pt x="23" y="0"/>
                      <a:pt x="23" y="0"/>
                    </a:cubicBezTo>
                    <a:cubicBezTo>
                      <a:pt x="10" y="0"/>
                      <a:pt x="0" y="11"/>
                      <a:pt x="0" y="23"/>
                    </a:cubicBezTo>
                    <a:cubicBezTo>
                      <a:pt x="0" y="172"/>
                      <a:pt x="0" y="172"/>
                      <a:pt x="0" y="172"/>
                    </a:cubicBezTo>
                    <a:cubicBezTo>
                      <a:pt x="0" y="183"/>
                      <a:pt x="8" y="192"/>
                      <a:pt x="19" y="194"/>
                    </a:cubicBezTo>
                    <a:cubicBezTo>
                      <a:pt x="81" y="193"/>
                      <a:pt x="132" y="138"/>
                      <a:pt x="132" y="70"/>
                    </a:cubicBezTo>
                    <a:close/>
                  </a:path>
                </a:pathLst>
              </a:custGeom>
              <a:solidFill>
                <a:srgbClr val="DEDEDC"/>
              </a:solidFill>
              <a:ln w="9525">
                <a:noFill/>
                <a:round/>
                <a:headEnd/>
                <a:tailEnd/>
              </a:ln>
            </p:spPr>
            <p:txBody>
              <a:bodyPr/>
              <a:lstStyle/>
              <a:p>
                <a:pPr>
                  <a:defRPr/>
                </a:pPr>
                <a:endParaRPr lang="de-DE" dirty="0">
                  <a:latin typeface="Myriad Pro" pitchFamily="34" charset="0"/>
                </a:endParaRPr>
              </a:p>
            </p:txBody>
          </p:sp>
          <p:sp>
            <p:nvSpPr>
              <p:cNvPr id="26" name="Freeform 77"/>
              <p:cNvSpPr>
                <a:spLocks/>
              </p:cNvSpPr>
              <p:nvPr/>
            </p:nvSpPr>
            <p:spPr bwMode="gray">
              <a:xfrm>
                <a:off x="7172966" y="806524"/>
                <a:ext cx="342305" cy="255720"/>
              </a:xfrm>
              <a:custGeom>
                <a:avLst/>
                <a:gdLst>
                  <a:gd name="T0" fmla="*/ 128856 w 155"/>
                  <a:gd name="T1" fmla="*/ 0 h 194"/>
                  <a:gd name="T2" fmla="*/ 43356 w 155"/>
                  <a:gd name="T3" fmla="*/ 0 h 194"/>
                  <a:gd name="T4" fmla="*/ 81517 w 155"/>
                  <a:gd name="T5" fmla="*/ 4730 h 194"/>
                  <a:gd name="T6" fmla="*/ 0 w 155"/>
                  <a:gd name="T7" fmla="*/ 14380 h 194"/>
                  <a:gd name="T8" fmla="*/ 128856 w 155"/>
                  <a:gd name="T9" fmla="*/ 14380 h 194"/>
                  <a:gd name="T10" fmla="*/ 152409 w 155"/>
                  <a:gd name="T11" fmla="*/ 12691 h 194"/>
                  <a:gd name="T12" fmla="*/ 152409 w 155"/>
                  <a:gd name="T13" fmla="*/ 1630 h 194"/>
                  <a:gd name="T14" fmla="*/ 128856 w 155"/>
                  <a:gd name="T15" fmla="*/ 0 h 194"/>
                  <a:gd name="T16" fmla="*/ 0 60000 65536"/>
                  <a:gd name="T17" fmla="*/ 0 60000 65536"/>
                  <a:gd name="T18" fmla="*/ 0 60000 65536"/>
                  <a:gd name="T19" fmla="*/ 0 60000 65536"/>
                  <a:gd name="T20" fmla="*/ 0 60000 65536"/>
                  <a:gd name="T21" fmla="*/ 0 60000 65536"/>
                  <a:gd name="T22" fmla="*/ 0 60000 65536"/>
                  <a:gd name="T23" fmla="*/ 0 60000 65536"/>
                  <a:gd name="T24" fmla="*/ 0 w 155"/>
                  <a:gd name="T25" fmla="*/ 0 h 194"/>
                  <a:gd name="T26" fmla="*/ 155 w 155"/>
                  <a:gd name="T27" fmla="*/ 194 h 19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5" h="194">
                    <a:moveTo>
                      <a:pt x="131" y="0"/>
                    </a:moveTo>
                    <a:cubicBezTo>
                      <a:pt x="44" y="0"/>
                      <a:pt x="44" y="0"/>
                      <a:pt x="44" y="0"/>
                    </a:cubicBezTo>
                    <a:cubicBezTo>
                      <a:pt x="44" y="0"/>
                      <a:pt x="80" y="19"/>
                      <a:pt x="83" y="64"/>
                    </a:cubicBezTo>
                    <a:cubicBezTo>
                      <a:pt x="87" y="108"/>
                      <a:pt x="57" y="178"/>
                      <a:pt x="0" y="194"/>
                    </a:cubicBezTo>
                    <a:cubicBezTo>
                      <a:pt x="131" y="194"/>
                      <a:pt x="131" y="194"/>
                      <a:pt x="131" y="194"/>
                    </a:cubicBezTo>
                    <a:cubicBezTo>
                      <a:pt x="144" y="194"/>
                      <a:pt x="155" y="183"/>
                      <a:pt x="155" y="171"/>
                    </a:cubicBezTo>
                    <a:cubicBezTo>
                      <a:pt x="155" y="22"/>
                      <a:pt x="155" y="22"/>
                      <a:pt x="155" y="22"/>
                    </a:cubicBezTo>
                    <a:cubicBezTo>
                      <a:pt x="155" y="10"/>
                      <a:pt x="144" y="0"/>
                      <a:pt x="131" y="0"/>
                    </a:cubicBezTo>
                    <a:close/>
                  </a:path>
                </a:pathLst>
              </a:custGeom>
              <a:solidFill>
                <a:srgbClr val="E7E6E5"/>
              </a:solidFill>
              <a:ln w="9525">
                <a:noFill/>
                <a:round/>
                <a:headEnd/>
                <a:tailEnd/>
              </a:ln>
            </p:spPr>
            <p:txBody>
              <a:bodyPr/>
              <a:lstStyle/>
              <a:p>
                <a:pPr>
                  <a:defRPr/>
                </a:pPr>
                <a:endParaRPr lang="de-DE" dirty="0">
                  <a:latin typeface="Myriad Pro" pitchFamily="34" charset="0"/>
                </a:endParaRPr>
              </a:p>
            </p:txBody>
          </p:sp>
          <p:sp>
            <p:nvSpPr>
              <p:cNvPr id="27" name="Freeform 78"/>
              <p:cNvSpPr>
                <a:spLocks/>
              </p:cNvSpPr>
              <p:nvPr/>
            </p:nvSpPr>
            <p:spPr bwMode="gray">
              <a:xfrm>
                <a:off x="7037157" y="789810"/>
                <a:ext cx="497037" cy="334274"/>
              </a:xfrm>
              <a:custGeom>
                <a:avLst/>
                <a:gdLst>
                  <a:gd name="T0" fmla="*/ 152488 w 245"/>
                  <a:gd name="T1" fmla="*/ 222 h 254"/>
                  <a:gd name="T2" fmla="*/ 152488 w 245"/>
                  <a:gd name="T3" fmla="*/ 222 h 254"/>
                  <a:gd name="T4" fmla="*/ 139603 w 245"/>
                  <a:gd name="T5" fmla="*/ 1188 h 254"/>
                  <a:gd name="T6" fmla="*/ 144014 w 245"/>
                  <a:gd name="T7" fmla="*/ 2717 h 254"/>
                  <a:gd name="T8" fmla="*/ 143481 w 245"/>
                  <a:gd name="T9" fmla="*/ 4046 h 254"/>
                  <a:gd name="T10" fmla="*/ 143481 w 245"/>
                  <a:gd name="T11" fmla="*/ 13443 h 254"/>
                  <a:gd name="T12" fmla="*/ 143481 w 245"/>
                  <a:gd name="T13" fmla="*/ 13828 h 254"/>
                  <a:gd name="T14" fmla="*/ 129387 w 245"/>
                  <a:gd name="T15" fmla="*/ 15161 h 254"/>
                  <a:gd name="T16" fmla="*/ 30172 w 245"/>
                  <a:gd name="T17" fmla="*/ 15161 h 254"/>
                  <a:gd name="T18" fmla="*/ 28962 w 245"/>
                  <a:gd name="T19" fmla="*/ 15066 h 254"/>
                  <a:gd name="T20" fmla="*/ 0 w 245"/>
                  <a:gd name="T21" fmla="*/ 17650 h 254"/>
                  <a:gd name="T22" fmla="*/ 13603 w 245"/>
                  <a:gd name="T23" fmla="*/ 18676 h 254"/>
                  <a:gd name="T24" fmla="*/ 143481 w 245"/>
                  <a:gd name="T25" fmla="*/ 18676 h 254"/>
                  <a:gd name="T26" fmla="*/ 157616 w 245"/>
                  <a:gd name="T27" fmla="*/ 17057 h 254"/>
                  <a:gd name="T28" fmla="*/ 157616 w 245"/>
                  <a:gd name="T29" fmla="*/ 1462 h 254"/>
                  <a:gd name="T30" fmla="*/ 152488 w 245"/>
                  <a:gd name="T31" fmla="*/ 222 h 25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5"/>
                  <a:gd name="T49" fmla="*/ 0 h 254"/>
                  <a:gd name="T50" fmla="*/ 245 w 245"/>
                  <a:gd name="T51" fmla="*/ 254 h 25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5" h="254">
                    <a:moveTo>
                      <a:pt x="237" y="3"/>
                    </a:moveTo>
                    <a:cubicBezTo>
                      <a:pt x="237" y="3"/>
                      <a:pt x="237" y="3"/>
                      <a:pt x="237" y="3"/>
                    </a:cubicBezTo>
                    <a:cubicBezTo>
                      <a:pt x="220" y="0"/>
                      <a:pt x="217" y="8"/>
                      <a:pt x="217" y="16"/>
                    </a:cubicBezTo>
                    <a:cubicBezTo>
                      <a:pt x="222" y="22"/>
                      <a:pt x="224" y="29"/>
                      <a:pt x="224" y="37"/>
                    </a:cubicBezTo>
                    <a:cubicBezTo>
                      <a:pt x="224" y="42"/>
                      <a:pt x="225" y="50"/>
                      <a:pt x="223" y="55"/>
                    </a:cubicBezTo>
                    <a:cubicBezTo>
                      <a:pt x="223" y="183"/>
                      <a:pt x="223" y="183"/>
                      <a:pt x="223" y="183"/>
                    </a:cubicBezTo>
                    <a:cubicBezTo>
                      <a:pt x="223" y="185"/>
                      <a:pt x="223" y="186"/>
                      <a:pt x="223" y="188"/>
                    </a:cubicBezTo>
                    <a:cubicBezTo>
                      <a:pt x="220" y="198"/>
                      <a:pt x="211" y="206"/>
                      <a:pt x="201" y="206"/>
                    </a:cubicBezTo>
                    <a:cubicBezTo>
                      <a:pt x="47" y="206"/>
                      <a:pt x="47" y="206"/>
                      <a:pt x="47" y="206"/>
                    </a:cubicBezTo>
                    <a:cubicBezTo>
                      <a:pt x="46" y="206"/>
                      <a:pt x="46" y="205"/>
                      <a:pt x="45" y="205"/>
                    </a:cubicBezTo>
                    <a:cubicBezTo>
                      <a:pt x="21" y="205"/>
                      <a:pt x="5" y="211"/>
                      <a:pt x="0" y="240"/>
                    </a:cubicBezTo>
                    <a:cubicBezTo>
                      <a:pt x="3" y="248"/>
                      <a:pt x="11" y="254"/>
                      <a:pt x="21" y="254"/>
                    </a:cubicBezTo>
                    <a:cubicBezTo>
                      <a:pt x="223" y="254"/>
                      <a:pt x="223" y="254"/>
                      <a:pt x="223" y="254"/>
                    </a:cubicBezTo>
                    <a:cubicBezTo>
                      <a:pt x="235" y="254"/>
                      <a:pt x="245" y="244"/>
                      <a:pt x="245" y="232"/>
                    </a:cubicBezTo>
                    <a:cubicBezTo>
                      <a:pt x="245" y="20"/>
                      <a:pt x="245" y="20"/>
                      <a:pt x="245" y="20"/>
                    </a:cubicBezTo>
                    <a:cubicBezTo>
                      <a:pt x="245" y="13"/>
                      <a:pt x="242" y="7"/>
                      <a:pt x="237" y="3"/>
                    </a:cubicBezTo>
                    <a:close/>
                  </a:path>
                </a:pathLst>
              </a:custGeom>
              <a:solidFill>
                <a:srgbClr val="CDCEC0"/>
              </a:solidFill>
              <a:ln w="9525">
                <a:noFill/>
                <a:round/>
                <a:headEnd/>
                <a:tailEnd/>
              </a:ln>
            </p:spPr>
            <p:txBody>
              <a:bodyPr/>
              <a:lstStyle/>
              <a:p>
                <a:pPr>
                  <a:defRPr/>
                </a:pPr>
                <a:endParaRPr lang="de-DE" dirty="0">
                  <a:latin typeface="Myriad Pro" pitchFamily="34" charset="0"/>
                </a:endParaRPr>
              </a:p>
            </p:txBody>
          </p:sp>
          <p:sp>
            <p:nvSpPr>
              <p:cNvPr id="28" name="Freeform 79"/>
              <p:cNvSpPr>
                <a:spLocks/>
              </p:cNvSpPr>
              <p:nvPr/>
            </p:nvSpPr>
            <p:spPr bwMode="gray">
              <a:xfrm>
                <a:off x="7083911" y="804295"/>
                <a:ext cx="401303" cy="256277"/>
              </a:xfrm>
              <a:custGeom>
                <a:avLst/>
                <a:gdLst>
                  <a:gd name="T0" fmla="*/ 126750 w 198"/>
                  <a:gd name="T1" fmla="*/ 12576 h 195"/>
                  <a:gd name="T2" fmla="*/ 112021 w 198"/>
                  <a:gd name="T3" fmla="*/ 14241 h 195"/>
                  <a:gd name="T4" fmla="*/ 14773 w 198"/>
                  <a:gd name="T5" fmla="*/ 14241 h 195"/>
                  <a:gd name="T6" fmla="*/ 0 w 198"/>
                  <a:gd name="T7" fmla="*/ 12576 h 195"/>
                  <a:gd name="T8" fmla="*/ 0 w 198"/>
                  <a:gd name="T9" fmla="*/ 1670 h 195"/>
                  <a:gd name="T10" fmla="*/ 14773 w 198"/>
                  <a:gd name="T11" fmla="*/ 0 h 195"/>
                  <a:gd name="T12" fmla="*/ 112021 w 198"/>
                  <a:gd name="T13" fmla="*/ 0 h 195"/>
                  <a:gd name="T14" fmla="*/ 126750 w 198"/>
                  <a:gd name="T15" fmla="*/ 1670 h 195"/>
                  <a:gd name="T16" fmla="*/ 126750 w 198"/>
                  <a:gd name="T17" fmla="*/ 12576 h 1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8"/>
                  <a:gd name="T28" fmla="*/ 0 h 195"/>
                  <a:gd name="T29" fmla="*/ 198 w 198"/>
                  <a:gd name="T30" fmla="*/ 195 h 1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8" h="195">
                    <a:moveTo>
                      <a:pt x="198" y="172"/>
                    </a:moveTo>
                    <a:cubicBezTo>
                      <a:pt x="198" y="184"/>
                      <a:pt x="188" y="195"/>
                      <a:pt x="175" y="195"/>
                    </a:cubicBezTo>
                    <a:cubicBezTo>
                      <a:pt x="23" y="195"/>
                      <a:pt x="23" y="195"/>
                      <a:pt x="23" y="195"/>
                    </a:cubicBezTo>
                    <a:cubicBezTo>
                      <a:pt x="10" y="195"/>
                      <a:pt x="0" y="184"/>
                      <a:pt x="0" y="172"/>
                    </a:cubicBezTo>
                    <a:cubicBezTo>
                      <a:pt x="0" y="23"/>
                      <a:pt x="0" y="23"/>
                      <a:pt x="0" y="23"/>
                    </a:cubicBezTo>
                    <a:cubicBezTo>
                      <a:pt x="0" y="11"/>
                      <a:pt x="10" y="0"/>
                      <a:pt x="23" y="0"/>
                    </a:cubicBezTo>
                    <a:cubicBezTo>
                      <a:pt x="175" y="0"/>
                      <a:pt x="175" y="0"/>
                      <a:pt x="175" y="0"/>
                    </a:cubicBezTo>
                    <a:cubicBezTo>
                      <a:pt x="188" y="0"/>
                      <a:pt x="198" y="11"/>
                      <a:pt x="198" y="23"/>
                    </a:cubicBezTo>
                    <a:lnTo>
                      <a:pt x="198" y="172"/>
                    </a:lnTo>
                    <a:close/>
                  </a:path>
                </a:pathLst>
              </a:custGeom>
              <a:noFill/>
              <a:ln w="14288">
                <a:solidFill>
                  <a:srgbClr val="FFFFFF"/>
                </a:solidFill>
                <a:miter lim="800000"/>
                <a:headEnd/>
                <a:tailEnd/>
              </a:ln>
            </p:spPr>
            <p:txBody>
              <a:bodyPr/>
              <a:lstStyle/>
              <a:p>
                <a:pPr>
                  <a:defRPr/>
                </a:pPr>
                <a:endParaRPr lang="de-DE" dirty="0">
                  <a:latin typeface="Myriad Pro" pitchFamily="34" charset="0"/>
                </a:endParaRPr>
              </a:p>
            </p:txBody>
          </p:sp>
          <p:sp>
            <p:nvSpPr>
              <p:cNvPr id="29" name="Freeform 80"/>
              <p:cNvSpPr>
                <a:spLocks/>
              </p:cNvSpPr>
              <p:nvPr/>
            </p:nvSpPr>
            <p:spPr bwMode="gray">
              <a:xfrm>
                <a:off x="7046063" y="788139"/>
                <a:ext cx="469208" cy="335946"/>
              </a:xfrm>
              <a:custGeom>
                <a:avLst/>
                <a:gdLst>
                  <a:gd name="T0" fmla="*/ 110744 w 249"/>
                  <a:gd name="T1" fmla="*/ 17161 h 255"/>
                  <a:gd name="T2" fmla="*/ 100510 w 249"/>
                  <a:gd name="T3" fmla="*/ 18856 h 255"/>
                  <a:gd name="T4" fmla="*/ 10248 w 249"/>
                  <a:gd name="T5" fmla="*/ 18856 h 255"/>
                  <a:gd name="T6" fmla="*/ 0 w 249"/>
                  <a:gd name="T7" fmla="*/ 17161 h 255"/>
                  <a:gd name="T8" fmla="*/ 0 w 249"/>
                  <a:gd name="T9" fmla="*/ 1695 h 255"/>
                  <a:gd name="T10" fmla="*/ 10248 w 249"/>
                  <a:gd name="T11" fmla="*/ 0 h 255"/>
                  <a:gd name="T12" fmla="*/ 100510 w 249"/>
                  <a:gd name="T13" fmla="*/ 0 h 255"/>
                  <a:gd name="T14" fmla="*/ 110744 w 249"/>
                  <a:gd name="T15" fmla="*/ 1695 h 255"/>
                  <a:gd name="T16" fmla="*/ 110744 w 249"/>
                  <a:gd name="T17" fmla="*/ 17161 h 2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9"/>
                  <a:gd name="T28" fmla="*/ 0 h 255"/>
                  <a:gd name="T29" fmla="*/ 249 w 249"/>
                  <a:gd name="T30" fmla="*/ 255 h 2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9" h="255">
                    <a:moveTo>
                      <a:pt x="249" y="232"/>
                    </a:moveTo>
                    <a:cubicBezTo>
                      <a:pt x="249" y="245"/>
                      <a:pt x="238" y="255"/>
                      <a:pt x="226" y="255"/>
                    </a:cubicBezTo>
                    <a:cubicBezTo>
                      <a:pt x="23" y="255"/>
                      <a:pt x="23" y="255"/>
                      <a:pt x="23" y="255"/>
                    </a:cubicBezTo>
                    <a:cubicBezTo>
                      <a:pt x="11" y="255"/>
                      <a:pt x="0" y="245"/>
                      <a:pt x="0" y="232"/>
                    </a:cubicBezTo>
                    <a:cubicBezTo>
                      <a:pt x="0" y="23"/>
                      <a:pt x="0" y="23"/>
                      <a:pt x="0" y="23"/>
                    </a:cubicBezTo>
                    <a:cubicBezTo>
                      <a:pt x="0" y="10"/>
                      <a:pt x="11" y="0"/>
                      <a:pt x="23" y="0"/>
                    </a:cubicBezTo>
                    <a:cubicBezTo>
                      <a:pt x="226" y="0"/>
                      <a:pt x="226" y="0"/>
                      <a:pt x="226" y="0"/>
                    </a:cubicBezTo>
                    <a:cubicBezTo>
                      <a:pt x="238" y="0"/>
                      <a:pt x="249" y="10"/>
                      <a:pt x="249" y="23"/>
                    </a:cubicBezTo>
                    <a:lnTo>
                      <a:pt x="249" y="232"/>
                    </a:lnTo>
                    <a:close/>
                  </a:path>
                </a:pathLst>
              </a:custGeom>
              <a:noFill/>
              <a:ln w="14288">
                <a:solidFill>
                  <a:srgbClr val="C6C7C8"/>
                </a:solidFill>
                <a:miter lim="800000"/>
                <a:headEnd/>
                <a:tailEnd/>
              </a:ln>
            </p:spPr>
            <p:txBody>
              <a:bodyPr/>
              <a:lstStyle/>
              <a:p>
                <a:pPr>
                  <a:defRPr/>
                </a:pPr>
                <a:endParaRPr lang="de-DE" dirty="0">
                  <a:latin typeface="Myriad Pro" pitchFamily="34" charset="0"/>
                </a:endParaRPr>
              </a:p>
            </p:txBody>
          </p:sp>
          <p:sp>
            <p:nvSpPr>
              <p:cNvPr id="30" name="Pfeil nach oben 29"/>
              <p:cNvSpPr/>
              <p:nvPr/>
            </p:nvSpPr>
            <p:spPr>
              <a:xfrm>
                <a:off x="7134483" y="875522"/>
                <a:ext cx="162000" cy="108000"/>
              </a:xfrm>
              <a:prstGeom prst="upArrow">
                <a:avLst>
                  <a:gd name="adj1" fmla="val 56614"/>
                  <a:gd name="adj2" fmla="val 56614"/>
                </a:avLst>
              </a:prstGeom>
              <a:noFill/>
              <a:ln w="9906">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latin typeface="Myriad Pro" pitchFamily="34" charset="0"/>
                </a:endParaRPr>
              </a:p>
            </p:txBody>
          </p:sp>
        </p:grpSp>
      </p:grpSp>
      <p:grpSp>
        <p:nvGrpSpPr>
          <p:cNvPr id="18" name="Gruppieren 77"/>
          <p:cNvGrpSpPr/>
          <p:nvPr/>
        </p:nvGrpSpPr>
        <p:grpSpPr>
          <a:xfrm>
            <a:off x="5101970" y="653616"/>
            <a:ext cx="347663" cy="338138"/>
            <a:chOff x="203518" y="4966018"/>
            <a:chExt cx="347663" cy="338138"/>
          </a:xfrm>
        </p:grpSpPr>
        <p:pic>
          <p:nvPicPr>
            <p:cNvPr id="119" name="Grafik 118"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120"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9" name="Gruppieren 73"/>
          <p:cNvGrpSpPr/>
          <p:nvPr/>
        </p:nvGrpSpPr>
        <p:grpSpPr>
          <a:xfrm>
            <a:off x="774004" y="1658386"/>
            <a:ext cx="347663" cy="338138"/>
            <a:chOff x="203518" y="4378643"/>
            <a:chExt cx="347663" cy="338138"/>
          </a:xfrm>
        </p:grpSpPr>
        <p:pic>
          <p:nvPicPr>
            <p:cNvPr id="122" name="Grafik 121"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123"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4"/>
          <a:srcRect/>
          <a:stretch>
            <a:fillRect/>
          </a:stretch>
        </p:blipFill>
        <p:spPr bwMode="auto">
          <a:xfrm>
            <a:off x="0" y="305122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eaLnBrk="0" hangingPunct="0">
              <a:defRPr/>
            </a:pPr>
            <a:r>
              <a:rPr lang="de-DE" sz="2800" kern="0" dirty="0" smtClean="0">
                <a:solidFill>
                  <a:schemeClr val="tx2"/>
                </a:solidFill>
                <a:latin typeface="Myriad Pro" pitchFamily="34" charset="0"/>
                <a:ea typeface="+mj-ea"/>
                <a:cs typeface="+mj-cs"/>
              </a:rPr>
              <a:t>Regionen einfärben</a:t>
            </a:r>
          </a:p>
        </p:txBody>
      </p:sp>
      <p:sp>
        <p:nvSpPr>
          <p:cNvPr id="4" name="Textfeld 3"/>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3</a:t>
            </a:r>
            <a:endParaRPr lang="de-DE" sz="900" dirty="0">
              <a:solidFill>
                <a:schemeClr val="bg1">
                  <a:lumMod val="50000"/>
                </a:schemeClr>
              </a:solidFill>
            </a:endParaRPr>
          </a:p>
        </p:txBody>
      </p:sp>
      <p:grpSp>
        <p:nvGrpSpPr>
          <p:cNvPr id="5" name="Group 19"/>
          <p:cNvGrpSpPr>
            <a:grpSpLocks/>
          </p:cNvGrpSpPr>
          <p:nvPr/>
        </p:nvGrpSpPr>
        <p:grpSpPr bwMode="auto">
          <a:xfrm>
            <a:off x="749033" y="998538"/>
            <a:ext cx="2379600" cy="3222000"/>
            <a:chOff x="670" y="640"/>
            <a:chExt cx="2195" cy="2972"/>
          </a:xfrm>
          <a:effectLst>
            <a:reflection blurRad="6350" stA="52000" endA="300" endPos="35000" dir="5400000" sy="-100000" algn="bl" rotWithShape="0"/>
          </a:effectLst>
        </p:grpSpPr>
        <p:sp>
          <p:nvSpPr>
            <p:cNvPr id="89" name="Freeform 20"/>
            <p:cNvSpPr>
              <a:spLocks/>
            </p:cNvSpPr>
            <p:nvPr>
              <p:custDataLst>
                <p:tags r:id="rId17"/>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0" name="Freeform 21"/>
            <p:cNvSpPr>
              <a:spLocks/>
            </p:cNvSpPr>
            <p:nvPr>
              <p:custDataLst>
                <p:tags r:id="rId18"/>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1" name="Freeform 22"/>
            <p:cNvSpPr>
              <a:spLocks/>
            </p:cNvSpPr>
            <p:nvPr>
              <p:custDataLst>
                <p:tags r:id="rId19"/>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2" name="Freeform 23"/>
            <p:cNvSpPr>
              <a:spLocks/>
            </p:cNvSpPr>
            <p:nvPr>
              <p:custDataLst>
                <p:tags r:id="rId20"/>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3" name="Freeform 24"/>
            <p:cNvSpPr>
              <a:spLocks noEditPoints="1"/>
            </p:cNvSpPr>
            <p:nvPr>
              <p:custDataLst>
                <p:tags r:id="rId21"/>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4" name="Freeform 25"/>
            <p:cNvSpPr>
              <a:spLocks/>
            </p:cNvSpPr>
            <p:nvPr>
              <p:custDataLst>
                <p:tags r:id="rId22"/>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5" name="Freeform 26"/>
            <p:cNvSpPr>
              <a:spLocks/>
            </p:cNvSpPr>
            <p:nvPr>
              <p:custDataLst>
                <p:tags r:id="rId23"/>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6" name="Freeform 27"/>
            <p:cNvSpPr>
              <a:spLocks/>
            </p:cNvSpPr>
            <p:nvPr>
              <p:custDataLst>
                <p:tags r:id="rId24"/>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7" name="Freeform 28"/>
            <p:cNvSpPr>
              <a:spLocks/>
            </p:cNvSpPr>
            <p:nvPr>
              <p:custDataLst>
                <p:tags r:id="rId25"/>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8" name="Freeform 29"/>
            <p:cNvSpPr>
              <a:spLocks/>
            </p:cNvSpPr>
            <p:nvPr>
              <p:custDataLst>
                <p:tags r:id="rId26"/>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99" name="Freeform 30"/>
            <p:cNvSpPr>
              <a:spLocks noEditPoints="1"/>
            </p:cNvSpPr>
            <p:nvPr>
              <p:custDataLst>
                <p:tags r:id="rId27"/>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0" name="Freeform 31"/>
            <p:cNvSpPr>
              <a:spLocks noEditPoints="1"/>
            </p:cNvSpPr>
            <p:nvPr>
              <p:custDataLst>
                <p:tags r:id="rId28"/>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1" name="Freeform 32"/>
            <p:cNvSpPr>
              <a:spLocks/>
            </p:cNvSpPr>
            <p:nvPr>
              <p:custDataLst>
                <p:tags r:id="rId29"/>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2" name="Freeform 33"/>
            <p:cNvSpPr>
              <a:spLocks noEditPoints="1"/>
            </p:cNvSpPr>
            <p:nvPr>
              <p:custDataLst>
                <p:tags r:id="rId30"/>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3" name="Freeform 34"/>
            <p:cNvSpPr>
              <a:spLocks noEditPoints="1"/>
            </p:cNvSpPr>
            <p:nvPr>
              <p:custDataLst>
                <p:tags r:id="rId31"/>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04" name="Freeform 35"/>
            <p:cNvSpPr>
              <a:spLocks noEditPoints="1"/>
            </p:cNvSpPr>
            <p:nvPr>
              <p:custDataLst>
                <p:tags r:id="rId32"/>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grpSp>
      <p:sp>
        <p:nvSpPr>
          <p:cNvPr id="82" name="Ellipse 81"/>
          <p:cNvSpPr/>
          <p:nvPr/>
        </p:nvSpPr>
        <p:spPr>
          <a:xfrm>
            <a:off x="6910151" y="2310783"/>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6" name="Group 19"/>
          <p:cNvGrpSpPr>
            <a:grpSpLocks/>
          </p:cNvGrpSpPr>
          <p:nvPr/>
        </p:nvGrpSpPr>
        <p:grpSpPr bwMode="auto">
          <a:xfrm>
            <a:off x="6400623" y="989829"/>
            <a:ext cx="2379600" cy="3222000"/>
            <a:chOff x="670" y="640"/>
            <a:chExt cx="2195" cy="2972"/>
          </a:xfrm>
          <a:effectLst>
            <a:reflection blurRad="6350" stA="52000" endA="300" endPos="35000" dir="5400000" sy="-100000" algn="bl" rotWithShape="0"/>
          </a:effectLst>
        </p:grpSpPr>
        <p:sp>
          <p:nvSpPr>
            <p:cNvPr id="123"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24"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25"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26"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27"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28"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29"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30"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902017"/>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31"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32"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37"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40"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43"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46"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47"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sp>
          <p:nvSpPr>
            <p:cNvPr id="148"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dirty="0"/>
            </a:p>
          </p:txBody>
        </p:sp>
      </p:grpSp>
      <p:sp>
        <p:nvSpPr>
          <p:cNvPr id="199" name="Rectangle 5"/>
          <p:cNvSpPr>
            <a:spLocks noChangeArrowheads="1"/>
          </p:cNvSpPr>
          <p:nvPr/>
        </p:nvSpPr>
        <p:spPr bwMode="gray">
          <a:xfrm>
            <a:off x="639763" y="4627750"/>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Damit Sie eine Region einfärben können, klicken Sie eine Region mit der linken Maustaste an.</a:t>
            </a:r>
            <a:endParaRPr lang="de-DE" sz="1200" dirty="0">
              <a:latin typeface="Myriad Pro" pitchFamily="34" charset="0"/>
              <a:ea typeface="Arial Unicode MS" pitchFamily="34" charset="-128"/>
              <a:cs typeface="Arial" charset="0"/>
            </a:endParaRPr>
          </a:p>
        </p:txBody>
      </p:sp>
      <p:sp>
        <p:nvSpPr>
          <p:cNvPr id="200" name="PPTShape_5"/>
          <p:cNvSpPr>
            <a:spLocks noChangeArrowheads="1"/>
          </p:cNvSpPr>
          <p:nvPr/>
        </p:nvSpPr>
        <p:spPr bwMode="gray">
          <a:xfrm>
            <a:off x="639763" y="5244706"/>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Im 2. Schritt wählen Sie die Option Fülleffekte aus. </a:t>
            </a:r>
            <a:endParaRPr lang="de-DE" dirty="0">
              <a:solidFill>
                <a:srgbClr val="000000"/>
              </a:solidFill>
              <a:ea typeface="Arial Unicode MS" pitchFamily="34" charset="-128"/>
              <a:cs typeface="Arial" charset="0"/>
            </a:endParaRPr>
          </a:p>
        </p:txBody>
      </p:sp>
      <p:sp>
        <p:nvSpPr>
          <p:cNvPr id="201" name="PPTShape_6"/>
          <p:cNvSpPr>
            <a:spLocks noChangeArrowheads="1"/>
          </p:cNvSpPr>
          <p:nvPr/>
        </p:nvSpPr>
        <p:spPr bwMode="gray">
          <a:xfrm>
            <a:off x="639763" y="5833668"/>
            <a:ext cx="8251825" cy="423862"/>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Hier können Sie die neue Farbe für Ihre Region definieren.</a:t>
            </a:r>
            <a:endParaRPr lang="de-DE" sz="1200" dirty="0">
              <a:solidFill>
                <a:srgbClr val="000000"/>
              </a:solidFill>
              <a:latin typeface="Myriad Pro" pitchFamily="34" charset="0"/>
              <a:ea typeface="Arial Unicode MS" pitchFamily="34" charset="-128"/>
              <a:cs typeface="Arial" charset="0"/>
            </a:endParaRPr>
          </a:p>
        </p:txBody>
      </p:sp>
      <p:grpSp>
        <p:nvGrpSpPr>
          <p:cNvPr id="7" name="Gruppieren 275"/>
          <p:cNvGrpSpPr/>
          <p:nvPr/>
        </p:nvGrpSpPr>
        <p:grpSpPr>
          <a:xfrm>
            <a:off x="203518" y="4627750"/>
            <a:ext cx="347663" cy="338138"/>
            <a:chOff x="203518" y="4378643"/>
            <a:chExt cx="347663" cy="338138"/>
          </a:xfrm>
        </p:grpSpPr>
        <p:pic>
          <p:nvPicPr>
            <p:cNvPr id="203" name="Grafik 202"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204"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8" name="Gruppieren 278"/>
          <p:cNvGrpSpPr/>
          <p:nvPr/>
        </p:nvGrpSpPr>
        <p:grpSpPr>
          <a:xfrm>
            <a:off x="203518" y="5244706"/>
            <a:ext cx="347663" cy="338138"/>
            <a:chOff x="203518" y="4966018"/>
            <a:chExt cx="347663" cy="338138"/>
          </a:xfrm>
        </p:grpSpPr>
        <p:pic>
          <p:nvPicPr>
            <p:cNvPr id="206" name="Grafik 205"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207"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9" name="Gruppieren 281"/>
          <p:cNvGrpSpPr/>
          <p:nvPr/>
        </p:nvGrpSpPr>
        <p:grpSpPr>
          <a:xfrm>
            <a:off x="203518" y="5833668"/>
            <a:ext cx="347663" cy="338138"/>
            <a:chOff x="203518" y="5554980"/>
            <a:chExt cx="347663" cy="338138"/>
          </a:xfrm>
        </p:grpSpPr>
        <p:pic>
          <p:nvPicPr>
            <p:cNvPr id="209" name="Grafik 208" descr="schatten.png"/>
            <p:cNvPicPr>
              <a:picLocks noChangeAspect="1"/>
            </p:cNvPicPr>
            <p:nvPr/>
          </p:nvPicPr>
          <p:blipFill>
            <a:blip r:embed="rId35" cstate="print">
              <a:lum bright="30000"/>
            </a:blip>
            <a:srcRect l="17603" t="9404" r="15359" b="14528"/>
            <a:stretch>
              <a:fillRect/>
            </a:stretch>
          </p:blipFill>
          <p:spPr>
            <a:xfrm>
              <a:off x="203518" y="5554980"/>
              <a:ext cx="347663" cy="338138"/>
            </a:xfrm>
            <a:prstGeom prst="rect">
              <a:avLst/>
            </a:prstGeom>
          </p:spPr>
        </p:pic>
        <p:sp>
          <p:nvSpPr>
            <p:cNvPr id="210"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10" name="Gruppieren 77"/>
          <p:cNvGrpSpPr/>
          <p:nvPr/>
        </p:nvGrpSpPr>
        <p:grpSpPr>
          <a:xfrm>
            <a:off x="3599308" y="2123157"/>
            <a:ext cx="347663" cy="338138"/>
            <a:chOff x="203518" y="4966018"/>
            <a:chExt cx="347663" cy="338138"/>
          </a:xfrm>
        </p:grpSpPr>
        <p:pic>
          <p:nvPicPr>
            <p:cNvPr id="136" name="Grafik 135" descr="schatten.png"/>
            <p:cNvPicPr>
              <a:picLocks noChangeAspect="1"/>
            </p:cNvPicPr>
            <p:nvPr/>
          </p:nvPicPr>
          <p:blipFill>
            <a:blip r:embed="rId35" cstate="print">
              <a:lum bright="30000"/>
            </a:blip>
            <a:srcRect l="17603" t="9404" r="15359" b="14528"/>
            <a:stretch>
              <a:fillRect/>
            </a:stretch>
          </p:blipFill>
          <p:spPr>
            <a:xfrm>
              <a:off x="203518" y="4966018"/>
              <a:ext cx="347663" cy="338138"/>
            </a:xfrm>
            <a:prstGeom prst="rect">
              <a:avLst/>
            </a:prstGeom>
          </p:spPr>
        </p:pic>
        <p:sp>
          <p:nvSpPr>
            <p:cNvPr id="138"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1" name="Group 120"/>
          <p:cNvGrpSpPr/>
          <p:nvPr/>
        </p:nvGrpSpPr>
        <p:grpSpPr>
          <a:xfrm>
            <a:off x="1200314" y="2048274"/>
            <a:ext cx="6398447" cy="2034072"/>
            <a:chOff x="1200314" y="2048274"/>
            <a:chExt cx="6398447" cy="2034072"/>
          </a:xfrm>
        </p:grpSpPr>
        <p:grpSp>
          <p:nvGrpSpPr>
            <p:cNvPr id="12" name="Gruppieren 120"/>
            <p:cNvGrpSpPr/>
            <p:nvPr/>
          </p:nvGrpSpPr>
          <p:grpSpPr>
            <a:xfrm>
              <a:off x="1200314" y="2170529"/>
              <a:ext cx="746857" cy="1239998"/>
              <a:chOff x="1200314" y="2170529"/>
              <a:chExt cx="746857" cy="1239998"/>
            </a:xfrm>
          </p:grpSpPr>
          <p:sp>
            <p:nvSpPr>
              <p:cNvPr id="76" name="Ellipse 75"/>
              <p:cNvSpPr/>
              <p:nvPr/>
            </p:nvSpPr>
            <p:spPr>
              <a:xfrm>
                <a:off x="1200314" y="2351504"/>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77" name="Ellipse 76"/>
              <p:cNvSpPr/>
              <p:nvPr/>
            </p:nvSpPr>
            <p:spPr>
              <a:xfrm>
                <a:off x="1885971" y="2351504"/>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3" name="Gruppieren 88"/>
              <p:cNvGrpSpPr/>
              <p:nvPr/>
            </p:nvGrpSpPr>
            <p:grpSpPr>
              <a:xfrm>
                <a:off x="1547905" y="2170529"/>
                <a:ext cx="61200" cy="242175"/>
                <a:chOff x="1662164" y="2113494"/>
                <a:chExt cx="61200" cy="242175"/>
              </a:xfrm>
            </p:grpSpPr>
            <p:sp>
              <p:nvSpPr>
                <p:cNvPr id="84" name="Ellipse 83"/>
                <p:cNvSpPr/>
                <p:nvPr/>
              </p:nvSpPr>
              <p:spPr>
                <a:xfrm>
                  <a:off x="1662164" y="2294469"/>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85" name="Ellipse 84"/>
                <p:cNvSpPr/>
                <p:nvPr/>
              </p:nvSpPr>
              <p:spPr>
                <a:xfrm>
                  <a:off x="1662164" y="2113494"/>
                  <a:ext cx="61200" cy="612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p>
              </p:txBody>
            </p:sp>
            <p:cxnSp>
              <p:nvCxnSpPr>
                <p:cNvPr id="86" name="Gerade Verbindung 85"/>
                <p:cNvCxnSpPr/>
                <p:nvPr/>
              </p:nvCxnSpPr>
              <p:spPr>
                <a:xfrm rot="5400000">
                  <a:off x="1632877" y="2234582"/>
                  <a:ext cx="119775" cy="0"/>
                </a:xfrm>
                <a:prstGeom prst="line">
                  <a:avLst/>
                </a:prstGeom>
                <a:noFill/>
                <a:ln w="9525">
                  <a:solidFill>
                    <a:schemeClr val="tx1"/>
                  </a:solidFill>
                  <a:round/>
                  <a:headEnd/>
                  <a:tailEnd/>
                </a:ln>
                <a:effectLst/>
              </p:spPr>
            </p:cxnSp>
          </p:grpSp>
          <p:sp>
            <p:nvSpPr>
              <p:cNvPr id="78" name="Ellipse 77"/>
              <p:cNvSpPr/>
              <p:nvPr/>
            </p:nvSpPr>
            <p:spPr>
              <a:xfrm>
                <a:off x="1885971" y="3349327"/>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79" name="Ellipse 78"/>
              <p:cNvSpPr/>
              <p:nvPr/>
            </p:nvSpPr>
            <p:spPr>
              <a:xfrm>
                <a:off x="1549910" y="3349327"/>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r>
                  <a:rPr lang="de-DE" dirty="0" smtClean="0">
                    <a:solidFill>
                      <a:schemeClr val="tx1"/>
                    </a:solidFill>
                    <a:latin typeface="Arial" charset="0"/>
                  </a:rPr>
                  <a:t> </a:t>
                </a:r>
                <a:endParaRPr lang="de-DE" dirty="0">
                  <a:solidFill>
                    <a:schemeClr val="tx1"/>
                  </a:solidFill>
                  <a:latin typeface="Arial" charset="0"/>
                </a:endParaRPr>
              </a:p>
            </p:txBody>
          </p:sp>
          <p:sp>
            <p:nvSpPr>
              <p:cNvPr id="114" name="Ellipse 113"/>
              <p:cNvSpPr/>
              <p:nvPr/>
            </p:nvSpPr>
            <p:spPr>
              <a:xfrm>
                <a:off x="1200314" y="3349327"/>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r>
                  <a:rPr lang="de-DE" dirty="0" smtClean="0">
                    <a:solidFill>
                      <a:schemeClr val="tx1"/>
                    </a:solidFill>
                    <a:latin typeface="Arial" charset="0"/>
                  </a:rPr>
                  <a:t> </a:t>
                </a:r>
                <a:endParaRPr lang="de-DE" dirty="0">
                  <a:solidFill>
                    <a:schemeClr val="tx1"/>
                  </a:solidFill>
                  <a:latin typeface="Arial" charset="0"/>
                </a:endParaRPr>
              </a:p>
            </p:txBody>
          </p:sp>
          <p:sp>
            <p:nvSpPr>
              <p:cNvPr id="118" name="Ellipse 117"/>
              <p:cNvSpPr/>
              <p:nvPr/>
            </p:nvSpPr>
            <p:spPr>
              <a:xfrm>
                <a:off x="1885971" y="2850416"/>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20" name="Ellipse 119"/>
              <p:cNvSpPr/>
              <p:nvPr/>
            </p:nvSpPr>
            <p:spPr>
              <a:xfrm>
                <a:off x="1200314" y="2850416"/>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r>
                  <a:rPr lang="de-DE" dirty="0" smtClean="0">
                    <a:solidFill>
                      <a:schemeClr val="tx1"/>
                    </a:solidFill>
                    <a:latin typeface="Arial" charset="0"/>
                  </a:rPr>
                  <a:t> </a:t>
                </a:r>
                <a:endParaRPr lang="de-DE" dirty="0">
                  <a:solidFill>
                    <a:schemeClr val="tx1"/>
                  </a:solidFill>
                  <a:latin typeface="Arial" charset="0"/>
                </a:endParaRPr>
              </a:p>
            </p:txBody>
          </p:sp>
        </p:grpSp>
        <p:grpSp>
          <p:nvGrpSpPr>
            <p:cNvPr id="14" name="Gruppieren 148"/>
            <p:cNvGrpSpPr/>
            <p:nvPr/>
          </p:nvGrpSpPr>
          <p:grpSpPr>
            <a:xfrm>
              <a:off x="6851904" y="2170529"/>
              <a:ext cx="746857" cy="1239998"/>
              <a:chOff x="1200314" y="2170529"/>
              <a:chExt cx="746857" cy="1239998"/>
            </a:xfrm>
          </p:grpSpPr>
          <p:sp>
            <p:nvSpPr>
              <p:cNvPr id="150" name="Ellipse 149"/>
              <p:cNvSpPr/>
              <p:nvPr/>
            </p:nvSpPr>
            <p:spPr>
              <a:xfrm>
                <a:off x="1200314" y="2351504"/>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51" name="Ellipse 150"/>
              <p:cNvSpPr/>
              <p:nvPr/>
            </p:nvSpPr>
            <p:spPr>
              <a:xfrm>
                <a:off x="1885971" y="2351504"/>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grpSp>
            <p:nvGrpSpPr>
              <p:cNvPr id="15" name="Gruppieren 88"/>
              <p:cNvGrpSpPr/>
              <p:nvPr/>
            </p:nvGrpSpPr>
            <p:grpSpPr>
              <a:xfrm>
                <a:off x="1547905" y="2170529"/>
                <a:ext cx="61200" cy="242175"/>
                <a:chOff x="1662164" y="2113494"/>
                <a:chExt cx="61200" cy="242175"/>
              </a:xfrm>
            </p:grpSpPr>
            <p:sp>
              <p:nvSpPr>
                <p:cNvPr id="158" name="Ellipse 157"/>
                <p:cNvSpPr/>
                <p:nvPr/>
              </p:nvSpPr>
              <p:spPr>
                <a:xfrm>
                  <a:off x="1662164" y="2294469"/>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59" name="Ellipse 158"/>
                <p:cNvSpPr/>
                <p:nvPr/>
              </p:nvSpPr>
              <p:spPr>
                <a:xfrm>
                  <a:off x="1662164" y="2113494"/>
                  <a:ext cx="61200" cy="612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p>
              </p:txBody>
            </p:sp>
            <p:cxnSp>
              <p:nvCxnSpPr>
                <p:cNvPr id="160" name="Gerade Verbindung 159"/>
                <p:cNvCxnSpPr/>
                <p:nvPr/>
              </p:nvCxnSpPr>
              <p:spPr>
                <a:xfrm rot="5400000">
                  <a:off x="1632877" y="2234582"/>
                  <a:ext cx="119775" cy="0"/>
                </a:xfrm>
                <a:prstGeom prst="line">
                  <a:avLst/>
                </a:prstGeom>
                <a:noFill/>
                <a:ln w="9525">
                  <a:solidFill>
                    <a:schemeClr val="tx1"/>
                  </a:solidFill>
                  <a:round/>
                  <a:headEnd/>
                  <a:tailEnd/>
                </a:ln>
                <a:effectLst/>
              </p:spPr>
            </p:cxnSp>
          </p:grpSp>
          <p:sp>
            <p:nvSpPr>
              <p:cNvPr id="153" name="Ellipse 152"/>
              <p:cNvSpPr/>
              <p:nvPr/>
            </p:nvSpPr>
            <p:spPr>
              <a:xfrm>
                <a:off x="1885971" y="3349327"/>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54" name="Ellipse 153"/>
              <p:cNvSpPr/>
              <p:nvPr/>
            </p:nvSpPr>
            <p:spPr>
              <a:xfrm>
                <a:off x="1549910" y="3349327"/>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r>
                  <a:rPr lang="de-DE" dirty="0" smtClean="0">
                    <a:solidFill>
                      <a:schemeClr val="tx1"/>
                    </a:solidFill>
                    <a:latin typeface="Arial" charset="0"/>
                  </a:rPr>
                  <a:t> </a:t>
                </a:r>
                <a:endParaRPr lang="de-DE" dirty="0">
                  <a:solidFill>
                    <a:schemeClr val="tx1"/>
                  </a:solidFill>
                  <a:latin typeface="Arial" charset="0"/>
                </a:endParaRPr>
              </a:p>
            </p:txBody>
          </p:sp>
          <p:sp>
            <p:nvSpPr>
              <p:cNvPr id="155" name="Ellipse 154"/>
              <p:cNvSpPr/>
              <p:nvPr/>
            </p:nvSpPr>
            <p:spPr>
              <a:xfrm>
                <a:off x="1200314" y="3349327"/>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r>
                  <a:rPr lang="de-DE" dirty="0" smtClean="0">
                    <a:solidFill>
                      <a:schemeClr val="tx1"/>
                    </a:solidFill>
                    <a:latin typeface="Arial" charset="0"/>
                  </a:rPr>
                  <a:t> </a:t>
                </a:r>
                <a:endParaRPr lang="de-DE" dirty="0">
                  <a:solidFill>
                    <a:schemeClr val="tx1"/>
                  </a:solidFill>
                  <a:latin typeface="Arial" charset="0"/>
                </a:endParaRPr>
              </a:p>
            </p:txBody>
          </p:sp>
          <p:sp>
            <p:nvSpPr>
              <p:cNvPr id="156" name="Ellipse 155"/>
              <p:cNvSpPr/>
              <p:nvPr/>
            </p:nvSpPr>
            <p:spPr>
              <a:xfrm>
                <a:off x="1885971" y="2850416"/>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dirty="0">
                  <a:solidFill>
                    <a:schemeClr val="tx1"/>
                  </a:solidFill>
                  <a:latin typeface="Arial" charset="0"/>
                </a:endParaRPr>
              </a:p>
            </p:txBody>
          </p:sp>
          <p:sp>
            <p:nvSpPr>
              <p:cNvPr id="157" name="Ellipse 156"/>
              <p:cNvSpPr/>
              <p:nvPr/>
            </p:nvSpPr>
            <p:spPr>
              <a:xfrm>
                <a:off x="1200314" y="2850416"/>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r>
                  <a:rPr lang="de-DE" dirty="0" smtClean="0">
                    <a:solidFill>
                      <a:schemeClr val="tx1"/>
                    </a:solidFill>
                    <a:latin typeface="Arial" charset="0"/>
                  </a:rPr>
                  <a:t> </a:t>
                </a:r>
                <a:endParaRPr lang="de-DE" dirty="0">
                  <a:solidFill>
                    <a:schemeClr val="tx1"/>
                  </a:solidFill>
                  <a:latin typeface="Arial" charset="0"/>
                </a:endParaRPr>
              </a:p>
            </p:txBody>
          </p:sp>
        </p:grpSp>
        <p:grpSp>
          <p:nvGrpSpPr>
            <p:cNvPr id="16" name="Group 45"/>
            <p:cNvGrpSpPr>
              <a:grpSpLocks/>
            </p:cNvGrpSpPr>
            <p:nvPr/>
          </p:nvGrpSpPr>
          <p:grpSpPr bwMode="auto">
            <a:xfrm rot="20287264">
              <a:off x="1753529" y="3198563"/>
              <a:ext cx="327150" cy="532312"/>
              <a:chOff x="1950" y="1045"/>
              <a:chExt cx="568" cy="928"/>
            </a:xfrm>
          </p:grpSpPr>
          <p:sp>
            <p:nvSpPr>
              <p:cNvPr id="33"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dirty="0">
                  <a:latin typeface="Myriad Pro" pitchFamily="34" charset="0"/>
                </a:endParaRPr>
              </a:p>
            </p:txBody>
          </p:sp>
          <p:sp>
            <p:nvSpPr>
              <p:cNvPr id="34"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dirty="0"/>
              </a:p>
            </p:txBody>
          </p:sp>
          <p:sp>
            <p:nvSpPr>
              <p:cNvPr id="35"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36"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dirty="0"/>
              </a:p>
            </p:txBody>
          </p:sp>
          <p:sp>
            <p:nvSpPr>
              <p:cNvPr id="37"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dirty="0"/>
              </a:p>
            </p:txBody>
          </p:sp>
          <p:sp>
            <p:nvSpPr>
              <p:cNvPr id="38"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dirty="0"/>
              </a:p>
            </p:txBody>
          </p:sp>
          <p:sp>
            <p:nvSpPr>
              <p:cNvPr id="39"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dirty="0"/>
              </a:p>
            </p:txBody>
          </p:sp>
          <p:sp>
            <p:nvSpPr>
              <p:cNvPr id="40"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dirty="0">
                  <a:latin typeface="Myriad Pro" pitchFamily="34" charset="0"/>
                </a:endParaRPr>
              </a:p>
            </p:txBody>
          </p:sp>
          <p:sp>
            <p:nvSpPr>
              <p:cNvPr id="41"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dirty="0"/>
              </a:p>
            </p:txBody>
          </p:sp>
          <p:sp>
            <p:nvSpPr>
              <p:cNvPr id="42"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dirty="0"/>
              </a:p>
            </p:txBody>
          </p:sp>
          <p:sp>
            <p:nvSpPr>
              <p:cNvPr id="43"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dirty="0"/>
              </a:p>
            </p:txBody>
          </p:sp>
          <p:sp>
            <p:nvSpPr>
              <p:cNvPr id="44"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dirty="0"/>
              </a:p>
            </p:txBody>
          </p:sp>
        </p:grpSp>
        <p:grpSp>
          <p:nvGrpSpPr>
            <p:cNvPr id="17" name="Gruppieren 216"/>
            <p:cNvGrpSpPr/>
            <p:nvPr/>
          </p:nvGrpSpPr>
          <p:grpSpPr>
            <a:xfrm>
              <a:off x="4017101" y="2048274"/>
              <a:ext cx="1342585" cy="1726379"/>
              <a:chOff x="4017101" y="2048274"/>
              <a:chExt cx="1342585" cy="1726379"/>
            </a:xfrm>
          </p:grpSpPr>
          <p:grpSp>
            <p:nvGrpSpPr>
              <p:cNvPr id="18" name="Gruppieren 215"/>
              <p:cNvGrpSpPr/>
              <p:nvPr/>
            </p:nvGrpSpPr>
            <p:grpSpPr>
              <a:xfrm>
                <a:off x="4017101" y="2048274"/>
                <a:ext cx="1342585" cy="1726379"/>
                <a:chOff x="4017101" y="2048274"/>
                <a:chExt cx="1342585" cy="1726379"/>
              </a:xfrm>
            </p:grpSpPr>
            <p:pic>
              <p:nvPicPr>
                <p:cNvPr id="134" name="Picture 3"/>
                <p:cNvPicPr>
                  <a:picLocks noChangeAspect="1" noChangeArrowheads="1"/>
                </p:cNvPicPr>
                <p:nvPr/>
              </p:nvPicPr>
              <p:blipFill>
                <a:blip r:embed="rId36"/>
                <a:srcRect/>
                <a:stretch>
                  <a:fillRect/>
                </a:stretch>
              </p:blipFill>
              <p:spPr bwMode="auto">
                <a:xfrm>
                  <a:off x="4024086" y="2048274"/>
                  <a:ext cx="1335600" cy="1476189"/>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pic>
              <p:nvPicPr>
                <p:cNvPr id="141" name="Picture 3"/>
                <p:cNvPicPr>
                  <a:picLocks noChangeAspect="1" noChangeArrowheads="1"/>
                </p:cNvPicPr>
                <p:nvPr/>
              </p:nvPicPr>
              <p:blipFill>
                <a:blip r:embed="rId37"/>
                <a:srcRect/>
                <a:stretch>
                  <a:fillRect/>
                </a:stretch>
              </p:blipFill>
              <p:spPr bwMode="auto">
                <a:xfrm>
                  <a:off x="4017101" y="3527003"/>
                  <a:ext cx="971550" cy="247650"/>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grpSp>
          <p:sp>
            <p:nvSpPr>
              <p:cNvPr id="144" name="Rechteck 143"/>
              <p:cNvSpPr/>
              <p:nvPr/>
            </p:nvSpPr>
            <p:spPr>
              <a:xfrm>
                <a:off x="4040778" y="2584650"/>
                <a:ext cx="1300480" cy="724607"/>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smtClean="0"/>
              </a:p>
              <a:p>
                <a:pPr algn="ctr"/>
                <a:endParaRPr lang="de-DE" dirty="0" smtClean="0"/>
              </a:p>
              <a:p>
                <a:pPr algn="ctr"/>
                <a:endParaRPr lang="de-DE" dirty="0" smtClean="0"/>
              </a:p>
              <a:p>
                <a:pPr algn="ctr"/>
                <a:endParaRPr lang="de-DE" dirty="0"/>
              </a:p>
            </p:txBody>
          </p:sp>
        </p:grpSp>
        <p:grpSp>
          <p:nvGrpSpPr>
            <p:cNvPr id="19" name="Gruppieren 278"/>
            <p:cNvGrpSpPr/>
            <p:nvPr/>
          </p:nvGrpSpPr>
          <p:grpSpPr>
            <a:xfrm>
              <a:off x="4295305" y="3700692"/>
              <a:ext cx="218637" cy="381654"/>
              <a:chOff x="2806936" y="1682676"/>
              <a:chExt cx="852584" cy="1488282"/>
            </a:xfrm>
            <a:effectLst>
              <a:outerShdw blurRad="50800" dist="38100" dir="2700000" algn="tl" rotWithShape="0">
                <a:prstClr val="black">
                  <a:alpha val="40000"/>
                </a:prstClr>
              </a:outerShdw>
            </a:effectLst>
          </p:grpSpPr>
          <p:sp>
            <p:nvSpPr>
              <p:cNvPr id="149" name="Freeform 209"/>
              <p:cNvSpPr>
                <a:spLocks/>
              </p:cNvSpPr>
              <p:nvPr/>
            </p:nvSpPr>
            <p:spPr bwMode="auto">
              <a:xfrm>
                <a:off x="2877569" y="1823942"/>
                <a:ext cx="639853" cy="1276382"/>
              </a:xfrm>
              <a:custGeom>
                <a:avLst/>
                <a:gdLst/>
                <a:ahLst/>
                <a:cxnLst>
                  <a:cxn ang="0">
                    <a:pos x="770" y="1366"/>
                  </a:cxn>
                  <a:cxn ang="0">
                    <a:pos x="770" y="1536"/>
                  </a:cxn>
                  <a:cxn ang="0">
                    <a:pos x="598" y="1536"/>
                  </a:cxn>
                  <a:cxn ang="0">
                    <a:pos x="598" y="1366"/>
                  </a:cxn>
                  <a:cxn ang="0">
                    <a:pos x="513" y="1366"/>
                  </a:cxn>
                  <a:cxn ang="0">
                    <a:pos x="513" y="1195"/>
                  </a:cxn>
                  <a:cxn ang="0">
                    <a:pos x="428" y="1195"/>
                  </a:cxn>
                  <a:cxn ang="0">
                    <a:pos x="428" y="1023"/>
                  </a:cxn>
                  <a:cxn ang="0">
                    <a:pos x="343" y="1023"/>
                  </a:cxn>
                  <a:cxn ang="0">
                    <a:pos x="343" y="853"/>
                  </a:cxn>
                  <a:cxn ang="0">
                    <a:pos x="258" y="853"/>
                  </a:cxn>
                  <a:cxn ang="0">
                    <a:pos x="258" y="938"/>
                  </a:cxn>
                  <a:cxn ang="0">
                    <a:pos x="173" y="938"/>
                  </a:cxn>
                  <a:cxn ang="0">
                    <a:pos x="173" y="1023"/>
                  </a:cxn>
                  <a:cxn ang="0">
                    <a:pos x="87" y="1023"/>
                  </a:cxn>
                  <a:cxn ang="0">
                    <a:pos x="87" y="1108"/>
                  </a:cxn>
                  <a:cxn ang="0">
                    <a:pos x="0" y="1108"/>
                  </a:cxn>
                  <a:cxn ang="0">
                    <a:pos x="0" y="0"/>
                  </a:cxn>
                  <a:cxn ang="0">
                    <a:pos x="87" y="0"/>
                  </a:cxn>
                  <a:cxn ang="0">
                    <a:pos x="87" y="85"/>
                  </a:cxn>
                  <a:cxn ang="0">
                    <a:pos x="173" y="85"/>
                  </a:cxn>
                  <a:cxn ang="0">
                    <a:pos x="173" y="170"/>
                  </a:cxn>
                  <a:cxn ang="0">
                    <a:pos x="258" y="170"/>
                  </a:cxn>
                  <a:cxn ang="0">
                    <a:pos x="258" y="255"/>
                  </a:cxn>
                  <a:cxn ang="0">
                    <a:pos x="343" y="255"/>
                  </a:cxn>
                  <a:cxn ang="0">
                    <a:pos x="343" y="340"/>
                  </a:cxn>
                  <a:cxn ang="0">
                    <a:pos x="428" y="340"/>
                  </a:cxn>
                  <a:cxn ang="0">
                    <a:pos x="428" y="425"/>
                  </a:cxn>
                  <a:cxn ang="0">
                    <a:pos x="513" y="425"/>
                  </a:cxn>
                  <a:cxn ang="0">
                    <a:pos x="513" y="513"/>
                  </a:cxn>
                  <a:cxn ang="0">
                    <a:pos x="598" y="513"/>
                  </a:cxn>
                  <a:cxn ang="0">
                    <a:pos x="598" y="598"/>
                  </a:cxn>
                  <a:cxn ang="0">
                    <a:pos x="683" y="598"/>
                  </a:cxn>
                  <a:cxn ang="0">
                    <a:pos x="683" y="683"/>
                  </a:cxn>
                  <a:cxn ang="0">
                    <a:pos x="770" y="683"/>
                  </a:cxn>
                  <a:cxn ang="0">
                    <a:pos x="770" y="768"/>
                  </a:cxn>
                  <a:cxn ang="0">
                    <a:pos x="513" y="768"/>
                  </a:cxn>
                  <a:cxn ang="0">
                    <a:pos x="513" y="1023"/>
                  </a:cxn>
                  <a:cxn ang="0">
                    <a:pos x="598" y="1023"/>
                  </a:cxn>
                  <a:cxn ang="0">
                    <a:pos x="598" y="1195"/>
                  </a:cxn>
                  <a:cxn ang="0">
                    <a:pos x="683" y="1195"/>
                  </a:cxn>
                  <a:cxn ang="0">
                    <a:pos x="683" y="1366"/>
                  </a:cxn>
                  <a:cxn ang="0">
                    <a:pos x="770" y="1366"/>
                  </a:cxn>
                </a:cxnLst>
                <a:rect l="0" t="0" r="r" b="b"/>
                <a:pathLst>
                  <a:path w="770" h="1536">
                    <a:moveTo>
                      <a:pt x="770" y="1366"/>
                    </a:moveTo>
                    <a:lnTo>
                      <a:pt x="770" y="1536"/>
                    </a:lnTo>
                    <a:lnTo>
                      <a:pt x="598" y="1536"/>
                    </a:lnTo>
                    <a:lnTo>
                      <a:pt x="598" y="1366"/>
                    </a:lnTo>
                    <a:lnTo>
                      <a:pt x="513" y="1366"/>
                    </a:lnTo>
                    <a:lnTo>
                      <a:pt x="513" y="1195"/>
                    </a:lnTo>
                    <a:lnTo>
                      <a:pt x="428" y="1195"/>
                    </a:lnTo>
                    <a:lnTo>
                      <a:pt x="428" y="1023"/>
                    </a:lnTo>
                    <a:lnTo>
                      <a:pt x="343" y="1023"/>
                    </a:lnTo>
                    <a:lnTo>
                      <a:pt x="343" y="853"/>
                    </a:lnTo>
                    <a:lnTo>
                      <a:pt x="258" y="853"/>
                    </a:lnTo>
                    <a:lnTo>
                      <a:pt x="258" y="938"/>
                    </a:lnTo>
                    <a:lnTo>
                      <a:pt x="173" y="938"/>
                    </a:lnTo>
                    <a:lnTo>
                      <a:pt x="173" y="1023"/>
                    </a:lnTo>
                    <a:lnTo>
                      <a:pt x="87" y="1023"/>
                    </a:lnTo>
                    <a:lnTo>
                      <a:pt x="87" y="1108"/>
                    </a:lnTo>
                    <a:lnTo>
                      <a:pt x="0" y="1108"/>
                    </a:lnTo>
                    <a:lnTo>
                      <a:pt x="0" y="0"/>
                    </a:lnTo>
                    <a:lnTo>
                      <a:pt x="87" y="0"/>
                    </a:lnTo>
                    <a:lnTo>
                      <a:pt x="87" y="85"/>
                    </a:lnTo>
                    <a:lnTo>
                      <a:pt x="173" y="85"/>
                    </a:lnTo>
                    <a:lnTo>
                      <a:pt x="173" y="170"/>
                    </a:lnTo>
                    <a:lnTo>
                      <a:pt x="258" y="170"/>
                    </a:lnTo>
                    <a:lnTo>
                      <a:pt x="258" y="255"/>
                    </a:lnTo>
                    <a:lnTo>
                      <a:pt x="343" y="255"/>
                    </a:lnTo>
                    <a:lnTo>
                      <a:pt x="343" y="340"/>
                    </a:lnTo>
                    <a:lnTo>
                      <a:pt x="428" y="340"/>
                    </a:lnTo>
                    <a:lnTo>
                      <a:pt x="428" y="425"/>
                    </a:lnTo>
                    <a:lnTo>
                      <a:pt x="513" y="425"/>
                    </a:lnTo>
                    <a:lnTo>
                      <a:pt x="513" y="513"/>
                    </a:lnTo>
                    <a:lnTo>
                      <a:pt x="598" y="513"/>
                    </a:lnTo>
                    <a:lnTo>
                      <a:pt x="598" y="598"/>
                    </a:lnTo>
                    <a:lnTo>
                      <a:pt x="683" y="598"/>
                    </a:lnTo>
                    <a:lnTo>
                      <a:pt x="683" y="683"/>
                    </a:lnTo>
                    <a:lnTo>
                      <a:pt x="770" y="683"/>
                    </a:lnTo>
                    <a:lnTo>
                      <a:pt x="770" y="768"/>
                    </a:lnTo>
                    <a:lnTo>
                      <a:pt x="513" y="768"/>
                    </a:lnTo>
                    <a:lnTo>
                      <a:pt x="513" y="1023"/>
                    </a:lnTo>
                    <a:lnTo>
                      <a:pt x="598" y="1023"/>
                    </a:lnTo>
                    <a:lnTo>
                      <a:pt x="598" y="1195"/>
                    </a:lnTo>
                    <a:lnTo>
                      <a:pt x="683" y="1195"/>
                    </a:lnTo>
                    <a:lnTo>
                      <a:pt x="683" y="1366"/>
                    </a:lnTo>
                    <a:lnTo>
                      <a:pt x="770" y="1366"/>
                    </a:lnTo>
                    <a:close/>
                  </a:path>
                </a:pathLst>
              </a:custGeom>
              <a:gradFill flip="none" rotWithShape="1">
                <a:gsLst>
                  <a:gs pos="0">
                    <a:schemeClr val="bg1">
                      <a:lumMod val="85000"/>
                    </a:schemeClr>
                  </a:gs>
                  <a:gs pos="50000">
                    <a:schemeClr val="bg1">
                      <a:lumMod val="95000"/>
                    </a:schemeClr>
                  </a:gs>
                  <a:gs pos="100000">
                    <a:schemeClr val="bg1">
                      <a:shade val="100000"/>
                      <a:satMod val="11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52" name="Freeform 210"/>
              <p:cNvSpPr>
                <a:spLocks/>
              </p:cNvSpPr>
              <p:nvPr/>
            </p:nvSpPr>
            <p:spPr bwMode="auto">
              <a:xfrm>
                <a:off x="3303861" y="2391501"/>
                <a:ext cx="355659" cy="282533"/>
              </a:xfrm>
              <a:custGeom>
                <a:avLst/>
                <a:gdLst/>
                <a:ahLst/>
                <a:cxnLst>
                  <a:cxn ang="0">
                    <a:pos x="428" y="85"/>
                  </a:cxn>
                  <a:cxn ang="0">
                    <a:pos x="428" y="170"/>
                  </a:cxn>
                  <a:cxn ang="0">
                    <a:pos x="85" y="170"/>
                  </a:cxn>
                  <a:cxn ang="0">
                    <a:pos x="85" y="340"/>
                  </a:cxn>
                  <a:cxn ang="0">
                    <a:pos x="0" y="340"/>
                  </a:cxn>
                  <a:cxn ang="0">
                    <a:pos x="0" y="85"/>
                  </a:cxn>
                  <a:cxn ang="0">
                    <a:pos x="257" y="85"/>
                  </a:cxn>
                  <a:cxn ang="0">
                    <a:pos x="257" y="0"/>
                  </a:cxn>
                  <a:cxn ang="0">
                    <a:pos x="343" y="0"/>
                  </a:cxn>
                  <a:cxn ang="0">
                    <a:pos x="343" y="85"/>
                  </a:cxn>
                  <a:cxn ang="0">
                    <a:pos x="428" y="85"/>
                  </a:cxn>
                </a:cxnLst>
                <a:rect l="0" t="0" r="r" b="b"/>
                <a:pathLst>
                  <a:path w="428" h="340">
                    <a:moveTo>
                      <a:pt x="428" y="85"/>
                    </a:moveTo>
                    <a:lnTo>
                      <a:pt x="428" y="170"/>
                    </a:lnTo>
                    <a:lnTo>
                      <a:pt x="85" y="170"/>
                    </a:lnTo>
                    <a:lnTo>
                      <a:pt x="85" y="340"/>
                    </a:lnTo>
                    <a:lnTo>
                      <a:pt x="0" y="340"/>
                    </a:lnTo>
                    <a:lnTo>
                      <a:pt x="0" y="85"/>
                    </a:lnTo>
                    <a:lnTo>
                      <a:pt x="257" y="85"/>
                    </a:lnTo>
                    <a:lnTo>
                      <a:pt x="257" y="0"/>
                    </a:lnTo>
                    <a:lnTo>
                      <a:pt x="343" y="0"/>
                    </a:lnTo>
                    <a:lnTo>
                      <a:pt x="343" y="85"/>
                    </a:lnTo>
                    <a:lnTo>
                      <a:pt x="428" y="85"/>
                    </a:lnTo>
                    <a:close/>
                  </a:path>
                </a:pathLst>
              </a:custGeom>
              <a:solidFill>
                <a:schemeClr val="bg1">
                  <a:lumMod val="50000"/>
                </a:schemeClr>
              </a:solidFill>
              <a:ln w="9525">
                <a:noFill/>
                <a:round/>
                <a:headEnd/>
                <a:tailEnd/>
              </a:ln>
            </p:spPr>
            <p:txBody>
              <a:bodyPr/>
              <a:lstStyle/>
              <a:p>
                <a:pPr>
                  <a:defRPr/>
                </a:pPr>
                <a:endParaRPr lang="de-DE" dirty="0"/>
              </a:p>
            </p:txBody>
          </p:sp>
          <p:sp>
            <p:nvSpPr>
              <p:cNvPr id="161" name="Rectangle 211"/>
              <p:cNvSpPr>
                <a:spLocks noChangeArrowheads="1"/>
              </p:cNvSpPr>
              <p:nvPr/>
            </p:nvSpPr>
            <p:spPr bwMode="auto">
              <a:xfrm>
                <a:off x="3517423" y="2959058"/>
                <a:ext cx="71464" cy="14126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64" name="Rectangle 212"/>
              <p:cNvSpPr>
                <a:spLocks noChangeArrowheads="1"/>
              </p:cNvSpPr>
              <p:nvPr/>
            </p:nvSpPr>
            <p:spPr bwMode="auto">
              <a:xfrm>
                <a:off x="3374495" y="3100325"/>
                <a:ext cx="142928"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67" name="Rectangle 213"/>
              <p:cNvSpPr>
                <a:spLocks noChangeArrowheads="1"/>
              </p:cNvSpPr>
              <p:nvPr/>
            </p:nvSpPr>
            <p:spPr bwMode="auto">
              <a:xfrm>
                <a:off x="3445128" y="2816961"/>
                <a:ext cx="72295" cy="14209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68" name="Rectangle 214"/>
              <p:cNvSpPr>
                <a:spLocks noChangeArrowheads="1"/>
              </p:cNvSpPr>
              <p:nvPr/>
            </p:nvSpPr>
            <p:spPr bwMode="auto">
              <a:xfrm>
                <a:off x="3445128" y="2320867"/>
                <a:ext cx="72295"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69" name="Rectangle 215"/>
              <p:cNvSpPr>
                <a:spLocks noChangeArrowheads="1"/>
              </p:cNvSpPr>
              <p:nvPr/>
            </p:nvSpPr>
            <p:spPr bwMode="auto">
              <a:xfrm>
                <a:off x="3374495" y="2674033"/>
                <a:ext cx="70633" cy="14292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70" name="Rectangle 216"/>
              <p:cNvSpPr>
                <a:spLocks noChangeArrowheads="1"/>
              </p:cNvSpPr>
              <p:nvPr/>
            </p:nvSpPr>
            <p:spPr bwMode="auto">
              <a:xfrm>
                <a:off x="3374495" y="2250234"/>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71" name="Rectangle 217"/>
              <p:cNvSpPr>
                <a:spLocks noChangeArrowheads="1"/>
              </p:cNvSpPr>
              <p:nvPr/>
            </p:nvSpPr>
            <p:spPr bwMode="auto">
              <a:xfrm>
                <a:off x="3303861" y="2959058"/>
                <a:ext cx="70633" cy="14126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75" name="Rectangle 218"/>
              <p:cNvSpPr>
                <a:spLocks noChangeArrowheads="1"/>
              </p:cNvSpPr>
              <p:nvPr/>
            </p:nvSpPr>
            <p:spPr bwMode="auto">
              <a:xfrm>
                <a:off x="3303861" y="2177108"/>
                <a:ext cx="70633" cy="73126"/>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96" name="Rectangle 219"/>
              <p:cNvSpPr>
                <a:spLocks noChangeArrowheads="1"/>
              </p:cNvSpPr>
              <p:nvPr/>
            </p:nvSpPr>
            <p:spPr bwMode="auto">
              <a:xfrm>
                <a:off x="3233228" y="2816961"/>
                <a:ext cx="70633" cy="14209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97" name="Rectangle 220"/>
              <p:cNvSpPr>
                <a:spLocks noChangeArrowheads="1"/>
              </p:cNvSpPr>
              <p:nvPr/>
            </p:nvSpPr>
            <p:spPr bwMode="auto">
              <a:xfrm>
                <a:off x="3233228" y="2106475"/>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198" name="Rectangle 221"/>
              <p:cNvSpPr>
                <a:spLocks noChangeArrowheads="1"/>
              </p:cNvSpPr>
              <p:nvPr/>
            </p:nvSpPr>
            <p:spPr bwMode="auto">
              <a:xfrm>
                <a:off x="3162595" y="2674033"/>
                <a:ext cx="70633" cy="142928"/>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02" name="Rectangle 222"/>
              <p:cNvSpPr>
                <a:spLocks noChangeArrowheads="1"/>
              </p:cNvSpPr>
              <p:nvPr/>
            </p:nvSpPr>
            <p:spPr bwMode="auto">
              <a:xfrm>
                <a:off x="3162595" y="2035842"/>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05" name="Freeform 223"/>
              <p:cNvSpPr>
                <a:spLocks/>
              </p:cNvSpPr>
              <p:nvPr/>
            </p:nvSpPr>
            <p:spPr bwMode="auto">
              <a:xfrm>
                <a:off x="3021328" y="2532767"/>
                <a:ext cx="141266" cy="141266"/>
              </a:xfrm>
              <a:custGeom>
                <a:avLst/>
                <a:gdLst/>
                <a:ahLst/>
                <a:cxnLst>
                  <a:cxn ang="0">
                    <a:pos x="170" y="0"/>
                  </a:cxn>
                  <a:cxn ang="0">
                    <a:pos x="170" y="170"/>
                  </a:cxn>
                  <a:cxn ang="0">
                    <a:pos x="0" y="170"/>
                  </a:cxn>
                  <a:cxn ang="0">
                    <a:pos x="0" y="85"/>
                  </a:cxn>
                  <a:cxn ang="0">
                    <a:pos x="85" y="85"/>
                  </a:cxn>
                  <a:cxn ang="0">
                    <a:pos x="85" y="0"/>
                  </a:cxn>
                  <a:cxn ang="0">
                    <a:pos x="170" y="0"/>
                  </a:cxn>
                </a:cxnLst>
                <a:rect l="0" t="0" r="r" b="b"/>
                <a:pathLst>
                  <a:path w="170" h="170">
                    <a:moveTo>
                      <a:pt x="170" y="0"/>
                    </a:moveTo>
                    <a:lnTo>
                      <a:pt x="170" y="170"/>
                    </a:lnTo>
                    <a:lnTo>
                      <a:pt x="0" y="170"/>
                    </a:lnTo>
                    <a:lnTo>
                      <a:pt x="0" y="85"/>
                    </a:lnTo>
                    <a:lnTo>
                      <a:pt x="85" y="85"/>
                    </a:lnTo>
                    <a:lnTo>
                      <a:pt x="85" y="0"/>
                    </a:lnTo>
                    <a:lnTo>
                      <a:pt x="170" y="0"/>
                    </a:lnTo>
                    <a:close/>
                  </a:path>
                </a:pathLst>
              </a:custGeom>
              <a:solidFill>
                <a:schemeClr val="bg1">
                  <a:lumMod val="50000"/>
                </a:schemeClr>
              </a:solidFill>
              <a:ln w="9525">
                <a:noFill/>
                <a:round/>
                <a:headEnd/>
                <a:tailEnd/>
              </a:ln>
            </p:spPr>
            <p:txBody>
              <a:bodyPr/>
              <a:lstStyle/>
              <a:p>
                <a:pPr>
                  <a:defRPr/>
                </a:pPr>
                <a:endParaRPr lang="de-DE" dirty="0"/>
              </a:p>
            </p:txBody>
          </p:sp>
          <p:sp>
            <p:nvSpPr>
              <p:cNvPr id="208" name="Rectangle 224"/>
              <p:cNvSpPr>
                <a:spLocks noChangeArrowheads="1"/>
              </p:cNvSpPr>
              <p:nvPr/>
            </p:nvSpPr>
            <p:spPr bwMode="auto">
              <a:xfrm>
                <a:off x="3091962" y="1965209"/>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11" name="Rectangle 225"/>
              <p:cNvSpPr>
                <a:spLocks noChangeArrowheads="1"/>
              </p:cNvSpPr>
              <p:nvPr/>
            </p:nvSpPr>
            <p:spPr bwMode="auto">
              <a:xfrm>
                <a:off x="3021328" y="1894576"/>
                <a:ext cx="70633"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12" name="Rectangle 226"/>
              <p:cNvSpPr>
                <a:spLocks noChangeArrowheads="1"/>
              </p:cNvSpPr>
              <p:nvPr/>
            </p:nvSpPr>
            <p:spPr bwMode="auto">
              <a:xfrm>
                <a:off x="2949864" y="2674033"/>
                <a:ext cx="71464"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13" name="Rectangle 227"/>
              <p:cNvSpPr>
                <a:spLocks noChangeArrowheads="1"/>
              </p:cNvSpPr>
              <p:nvPr/>
            </p:nvSpPr>
            <p:spPr bwMode="auto">
              <a:xfrm>
                <a:off x="2949864" y="1823942"/>
                <a:ext cx="71464" cy="70633"/>
              </a:xfrm>
              <a:prstGeom prst="rect">
                <a:avLst/>
              </a:prstGeom>
              <a:solidFill>
                <a:schemeClr val="bg1">
                  <a:lumMod val="50000"/>
                </a:schemeClr>
              </a:solidFill>
              <a:ln w="9525">
                <a:noFill/>
                <a:miter lim="800000"/>
                <a:headEnd/>
                <a:tailEnd/>
              </a:ln>
            </p:spPr>
            <p:txBody>
              <a:bodyPr/>
              <a:lstStyle/>
              <a:p>
                <a:pPr>
                  <a:defRPr/>
                </a:pPr>
                <a:endParaRPr lang="de-DE" dirty="0"/>
              </a:p>
            </p:txBody>
          </p:sp>
          <p:sp>
            <p:nvSpPr>
              <p:cNvPr id="214" name="Freeform 228"/>
              <p:cNvSpPr>
                <a:spLocks/>
              </p:cNvSpPr>
              <p:nvPr/>
            </p:nvSpPr>
            <p:spPr bwMode="auto">
              <a:xfrm>
                <a:off x="2806936" y="1682676"/>
                <a:ext cx="142928" cy="1205749"/>
              </a:xfrm>
              <a:custGeom>
                <a:avLst/>
                <a:gdLst/>
                <a:ahLst/>
                <a:cxnLst>
                  <a:cxn ang="0">
                    <a:pos x="172" y="1278"/>
                  </a:cxn>
                  <a:cxn ang="0">
                    <a:pos x="172" y="1365"/>
                  </a:cxn>
                  <a:cxn ang="0">
                    <a:pos x="85" y="1365"/>
                  </a:cxn>
                  <a:cxn ang="0">
                    <a:pos x="85" y="1451"/>
                  </a:cxn>
                  <a:cxn ang="0">
                    <a:pos x="0" y="1451"/>
                  </a:cxn>
                  <a:cxn ang="0">
                    <a:pos x="0" y="0"/>
                  </a:cxn>
                  <a:cxn ang="0">
                    <a:pos x="85" y="0"/>
                  </a:cxn>
                  <a:cxn ang="0">
                    <a:pos x="85" y="85"/>
                  </a:cxn>
                  <a:cxn ang="0">
                    <a:pos x="172" y="85"/>
                  </a:cxn>
                  <a:cxn ang="0">
                    <a:pos x="172" y="170"/>
                  </a:cxn>
                  <a:cxn ang="0">
                    <a:pos x="85" y="170"/>
                  </a:cxn>
                  <a:cxn ang="0">
                    <a:pos x="85" y="1278"/>
                  </a:cxn>
                  <a:cxn ang="0">
                    <a:pos x="172" y="1278"/>
                  </a:cxn>
                </a:cxnLst>
                <a:rect l="0" t="0" r="r" b="b"/>
                <a:pathLst>
                  <a:path w="172" h="1451">
                    <a:moveTo>
                      <a:pt x="172" y="1278"/>
                    </a:moveTo>
                    <a:lnTo>
                      <a:pt x="172" y="1365"/>
                    </a:lnTo>
                    <a:lnTo>
                      <a:pt x="85" y="1365"/>
                    </a:lnTo>
                    <a:lnTo>
                      <a:pt x="85" y="1451"/>
                    </a:lnTo>
                    <a:lnTo>
                      <a:pt x="0" y="1451"/>
                    </a:lnTo>
                    <a:lnTo>
                      <a:pt x="0" y="0"/>
                    </a:lnTo>
                    <a:lnTo>
                      <a:pt x="85" y="0"/>
                    </a:lnTo>
                    <a:lnTo>
                      <a:pt x="85" y="85"/>
                    </a:lnTo>
                    <a:lnTo>
                      <a:pt x="172" y="85"/>
                    </a:lnTo>
                    <a:lnTo>
                      <a:pt x="172" y="170"/>
                    </a:lnTo>
                    <a:lnTo>
                      <a:pt x="85" y="170"/>
                    </a:lnTo>
                    <a:lnTo>
                      <a:pt x="85" y="1278"/>
                    </a:lnTo>
                    <a:lnTo>
                      <a:pt x="172" y="1278"/>
                    </a:lnTo>
                    <a:close/>
                  </a:path>
                </a:pathLst>
              </a:custGeom>
              <a:solidFill>
                <a:schemeClr val="bg1">
                  <a:lumMod val="50000"/>
                </a:schemeClr>
              </a:solidFill>
              <a:ln w="9525">
                <a:noFill/>
                <a:round/>
                <a:headEnd/>
                <a:tailEnd/>
              </a:ln>
            </p:spPr>
            <p:txBody>
              <a:bodyPr/>
              <a:lstStyle/>
              <a:p>
                <a:pPr>
                  <a:defRPr/>
                </a:pPr>
                <a:endParaRPr lang="de-DE" dirty="0"/>
              </a:p>
            </p:txBody>
          </p:sp>
        </p:grpSp>
      </p:grpSp>
      <p:grpSp>
        <p:nvGrpSpPr>
          <p:cNvPr id="20" name="Gruppieren 73"/>
          <p:cNvGrpSpPr/>
          <p:nvPr/>
        </p:nvGrpSpPr>
        <p:grpSpPr>
          <a:xfrm>
            <a:off x="678043" y="1019142"/>
            <a:ext cx="347663" cy="338138"/>
            <a:chOff x="203518" y="4378643"/>
            <a:chExt cx="347663" cy="338138"/>
          </a:xfrm>
        </p:grpSpPr>
        <p:pic>
          <p:nvPicPr>
            <p:cNvPr id="133" name="Grafik 132" descr="schatten.png"/>
            <p:cNvPicPr>
              <a:picLocks noChangeAspect="1"/>
            </p:cNvPicPr>
            <p:nvPr/>
          </p:nvPicPr>
          <p:blipFill>
            <a:blip r:embed="rId35" cstate="print">
              <a:lum bright="30000"/>
            </a:blip>
            <a:srcRect l="17603" t="9404" r="15359" b="14528"/>
            <a:stretch>
              <a:fillRect/>
            </a:stretch>
          </p:blipFill>
          <p:spPr>
            <a:xfrm>
              <a:off x="203518" y="4378643"/>
              <a:ext cx="347663" cy="338138"/>
            </a:xfrm>
            <a:prstGeom prst="rect">
              <a:avLst/>
            </a:prstGeom>
          </p:spPr>
        </p:pic>
        <p:sp>
          <p:nvSpPr>
            <p:cNvPr id="135"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srcRect/>
          <a:stretch>
            <a:fillRect/>
          </a:stretch>
        </p:blipFill>
        <p:spPr bwMode="auto">
          <a:xfrm>
            <a:off x="-12700" y="305435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eaLnBrk="0" hangingPunct="0">
              <a:defRPr/>
            </a:pPr>
            <a:r>
              <a:rPr lang="de-DE" sz="2800" kern="0" dirty="0" smtClean="0">
                <a:solidFill>
                  <a:schemeClr val="tx2"/>
                </a:solidFill>
                <a:latin typeface="Myriad Pro" pitchFamily="34" charset="0"/>
                <a:ea typeface="+mj-ea"/>
                <a:cs typeface="+mj-cs"/>
              </a:rPr>
              <a:t>Schatten erstellen</a:t>
            </a:r>
          </a:p>
        </p:txBody>
      </p:sp>
      <p:sp>
        <p:nvSpPr>
          <p:cNvPr id="25" name="Freeform 273"/>
          <p:cNvSpPr>
            <a:spLocks noEditPoints="1"/>
          </p:cNvSpPr>
          <p:nvPr/>
        </p:nvSpPr>
        <p:spPr bwMode="auto">
          <a:xfrm>
            <a:off x="604212" y="1133474"/>
            <a:ext cx="2588888" cy="3083383"/>
          </a:xfrm>
          <a:custGeom>
            <a:avLst/>
            <a:gdLst>
              <a:gd name="T0" fmla="*/ 2147483647 w 1562"/>
              <a:gd name="T1" fmla="*/ 2147483647 h 1861"/>
              <a:gd name="T2" fmla="*/ 2147483647 w 1562"/>
              <a:gd name="T3" fmla="*/ 2147483647 h 1861"/>
              <a:gd name="T4" fmla="*/ 2147483647 w 1562"/>
              <a:gd name="T5" fmla="*/ 2147483647 h 1861"/>
              <a:gd name="T6" fmla="*/ 2147483647 w 1562"/>
              <a:gd name="T7" fmla="*/ 2147483647 h 1861"/>
              <a:gd name="T8" fmla="*/ 2147483647 w 1562"/>
              <a:gd name="T9" fmla="*/ 2147483647 h 1861"/>
              <a:gd name="T10" fmla="*/ 2147483647 w 1562"/>
              <a:gd name="T11" fmla="*/ 2147483647 h 1861"/>
              <a:gd name="T12" fmla="*/ 2147483647 w 1562"/>
              <a:gd name="T13" fmla="*/ 2147483647 h 1861"/>
              <a:gd name="T14" fmla="*/ 2147483647 w 1562"/>
              <a:gd name="T15" fmla="*/ 2147483647 h 1861"/>
              <a:gd name="T16" fmla="*/ 2147483647 w 1562"/>
              <a:gd name="T17" fmla="*/ 2147483647 h 1861"/>
              <a:gd name="T18" fmla="*/ 2147483647 w 1562"/>
              <a:gd name="T19" fmla="*/ 2147483647 h 1861"/>
              <a:gd name="T20" fmla="*/ 2147483647 w 1562"/>
              <a:gd name="T21" fmla="*/ 2147483647 h 1861"/>
              <a:gd name="T22" fmla="*/ 2147483647 w 1562"/>
              <a:gd name="T23" fmla="*/ 2147483647 h 1861"/>
              <a:gd name="T24" fmla="*/ 2147483647 w 1562"/>
              <a:gd name="T25" fmla="*/ 2147483647 h 1861"/>
              <a:gd name="T26" fmla="*/ 2147483647 w 1562"/>
              <a:gd name="T27" fmla="*/ 2147483647 h 1861"/>
              <a:gd name="T28" fmla="*/ 2147483647 w 1562"/>
              <a:gd name="T29" fmla="*/ 2147483647 h 1861"/>
              <a:gd name="T30" fmla="*/ 2147483647 w 1562"/>
              <a:gd name="T31" fmla="*/ 2147483647 h 1861"/>
              <a:gd name="T32" fmla="*/ 2147483647 w 1562"/>
              <a:gd name="T33" fmla="*/ 2147483647 h 1861"/>
              <a:gd name="T34" fmla="*/ 2147483647 w 1562"/>
              <a:gd name="T35" fmla="*/ 2147483647 h 1861"/>
              <a:gd name="T36" fmla="*/ 2147483647 w 1562"/>
              <a:gd name="T37" fmla="*/ 2147483647 h 1861"/>
              <a:gd name="T38" fmla="*/ 2147483647 w 1562"/>
              <a:gd name="T39" fmla="*/ 2147483647 h 1861"/>
              <a:gd name="T40" fmla="*/ 2147483647 w 1562"/>
              <a:gd name="T41" fmla="*/ 2147483647 h 1861"/>
              <a:gd name="T42" fmla="*/ 2147483647 w 1562"/>
              <a:gd name="T43" fmla="*/ 2147483647 h 1861"/>
              <a:gd name="T44" fmla="*/ 2147483647 w 1562"/>
              <a:gd name="T45" fmla="*/ 2147483647 h 1861"/>
              <a:gd name="T46" fmla="*/ 2147483647 w 1562"/>
              <a:gd name="T47" fmla="*/ 2147483647 h 1861"/>
              <a:gd name="T48" fmla="*/ 2147483647 w 1562"/>
              <a:gd name="T49" fmla="*/ 2147483647 h 1861"/>
              <a:gd name="T50" fmla="*/ 2147483647 w 1562"/>
              <a:gd name="T51" fmla="*/ 2147483647 h 1861"/>
              <a:gd name="T52" fmla="*/ 2147483647 w 1562"/>
              <a:gd name="T53" fmla="*/ 2147483647 h 1861"/>
              <a:gd name="T54" fmla="*/ 2147483647 w 1562"/>
              <a:gd name="T55" fmla="*/ 2147483647 h 1861"/>
              <a:gd name="T56" fmla="*/ 2147483647 w 1562"/>
              <a:gd name="T57" fmla="*/ 2147483647 h 1861"/>
              <a:gd name="T58" fmla="*/ 2147483647 w 1562"/>
              <a:gd name="T59" fmla="*/ 2147483647 h 1861"/>
              <a:gd name="T60" fmla="*/ 2147483647 w 1562"/>
              <a:gd name="T61" fmla="*/ 2147483647 h 1861"/>
              <a:gd name="T62" fmla="*/ 2147483647 w 1562"/>
              <a:gd name="T63" fmla="*/ 2147483647 h 1861"/>
              <a:gd name="T64" fmla="*/ 2147483647 w 1562"/>
              <a:gd name="T65" fmla="*/ 2147483647 h 1861"/>
              <a:gd name="T66" fmla="*/ 2147483647 w 1562"/>
              <a:gd name="T67" fmla="*/ 2147483647 h 1861"/>
              <a:gd name="T68" fmla="*/ 2147483647 w 1562"/>
              <a:gd name="T69" fmla="*/ 2147483647 h 1861"/>
              <a:gd name="T70" fmla="*/ 2147483647 w 1562"/>
              <a:gd name="T71" fmla="*/ 2147483647 h 1861"/>
              <a:gd name="T72" fmla="*/ 2147483647 w 1562"/>
              <a:gd name="T73" fmla="*/ 2147483647 h 1861"/>
              <a:gd name="T74" fmla="*/ 2147483647 w 1562"/>
              <a:gd name="T75" fmla="*/ 2147483647 h 1861"/>
              <a:gd name="T76" fmla="*/ 2147483647 w 1562"/>
              <a:gd name="T77" fmla="*/ 2147483647 h 1861"/>
              <a:gd name="T78" fmla="*/ 2147483647 w 1562"/>
              <a:gd name="T79" fmla="*/ 2147483647 h 1861"/>
              <a:gd name="T80" fmla="*/ 2147483647 w 1562"/>
              <a:gd name="T81" fmla="*/ 2147483647 h 1861"/>
              <a:gd name="T82" fmla="*/ 2147483647 w 1562"/>
              <a:gd name="T83" fmla="*/ 2147483647 h 1861"/>
              <a:gd name="T84" fmla="*/ 2147483647 w 1562"/>
              <a:gd name="T85" fmla="*/ 2147483647 h 1861"/>
              <a:gd name="T86" fmla="*/ 2147483647 w 1562"/>
              <a:gd name="T87" fmla="*/ 2147483647 h 1861"/>
              <a:gd name="T88" fmla="*/ 2147483647 w 1562"/>
              <a:gd name="T89" fmla="*/ 2147483647 h 1861"/>
              <a:gd name="T90" fmla="*/ 2147483647 w 1562"/>
              <a:gd name="T91" fmla="*/ 2147483647 h 1861"/>
              <a:gd name="T92" fmla="*/ 2147483647 w 1562"/>
              <a:gd name="T93" fmla="*/ 2147483647 h 1861"/>
              <a:gd name="T94" fmla="*/ 2147483647 w 1562"/>
              <a:gd name="T95" fmla="*/ 2147483647 h 1861"/>
              <a:gd name="T96" fmla="*/ 2147483647 w 1562"/>
              <a:gd name="T97" fmla="*/ 2147483647 h 1861"/>
              <a:gd name="T98" fmla="*/ 2147483647 w 1562"/>
              <a:gd name="T99" fmla="*/ 2147483647 h 1861"/>
              <a:gd name="T100" fmla="*/ 2147483647 w 1562"/>
              <a:gd name="T101" fmla="*/ 2147483647 h 1861"/>
              <a:gd name="T102" fmla="*/ 2147483647 w 1562"/>
              <a:gd name="T103" fmla="*/ 2147483647 h 1861"/>
              <a:gd name="T104" fmla="*/ 2147483647 w 1562"/>
              <a:gd name="T105" fmla="*/ 2147483647 h 1861"/>
              <a:gd name="T106" fmla="*/ 2147483647 w 1562"/>
              <a:gd name="T107" fmla="*/ 2147483647 h 1861"/>
              <a:gd name="T108" fmla="*/ 2147483647 w 1562"/>
              <a:gd name="T109" fmla="*/ 2147483647 h 1861"/>
              <a:gd name="T110" fmla="*/ 2147483647 w 1562"/>
              <a:gd name="T111" fmla="*/ 2147483647 h 1861"/>
              <a:gd name="T112" fmla="*/ 2147483647 w 1562"/>
              <a:gd name="T113" fmla="*/ 2147483647 h 1861"/>
              <a:gd name="T114" fmla="*/ 2147483647 w 1562"/>
              <a:gd name="T115" fmla="*/ 2147483647 h 1861"/>
              <a:gd name="T116" fmla="*/ 2147483647 w 1562"/>
              <a:gd name="T117" fmla="*/ 2147483647 h 1861"/>
              <a:gd name="T118" fmla="*/ 2147483647 w 1562"/>
              <a:gd name="T119" fmla="*/ 2147483647 h 1861"/>
              <a:gd name="T120" fmla="*/ 2147483647 w 1562"/>
              <a:gd name="T121" fmla="*/ 2147483647 h 1861"/>
              <a:gd name="T122" fmla="*/ 2147483647 w 1562"/>
              <a:gd name="T123" fmla="*/ 2147483647 h 18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62"/>
              <a:gd name="T187" fmla="*/ 0 h 1861"/>
              <a:gd name="T188" fmla="*/ 1562 w 1562"/>
              <a:gd name="T189" fmla="*/ 1861 h 18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62" h="1861">
                <a:moveTo>
                  <a:pt x="320" y="1025"/>
                </a:moveTo>
                <a:cubicBezTo>
                  <a:pt x="320" y="1025"/>
                  <a:pt x="318" y="1030"/>
                  <a:pt x="319" y="1030"/>
                </a:cubicBezTo>
                <a:cubicBezTo>
                  <a:pt x="321" y="1030"/>
                  <a:pt x="324" y="1025"/>
                  <a:pt x="320" y="1025"/>
                </a:cubicBezTo>
                <a:close/>
                <a:moveTo>
                  <a:pt x="331" y="1051"/>
                </a:moveTo>
                <a:cubicBezTo>
                  <a:pt x="333" y="1044"/>
                  <a:pt x="333" y="1044"/>
                  <a:pt x="333" y="1044"/>
                </a:cubicBezTo>
                <a:cubicBezTo>
                  <a:pt x="333" y="1038"/>
                  <a:pt x="333" y="1038"/>
                  <a:pt x="333" y="1038"/>
                </a:cubicBezTo>
                <a:cubicBezTo>
                  <a:pt x="322" y="1050"/>
                  <a:pt x="331" y="1051"/>
                  <a:pt x="331" y="1051"/>
                </a:cubicBezTo>
                <a:close/>
                <a:moveTo>
                  <a:pt x="317" y="1039"/>
                </a:moveTo>
                <a:cubicBezTo>
                  <a:pt x="319" y="1037"/>
                  <a:pt x="314" y="1034"/>
                  <a:pt x="314" y="1034"/>
                </a:cubicBezTo>
                <a:cubicBezTo>
                  <a:pt x="311" y="1039"/>
                  <a:pt x="314" y="1041"/>
                  <a:pt x="317" y="1039"/>
                </a:cubicBezTo>
                <a:close/>
                <a:moveTo>
                  <a:pt x="324" y="1044"/>
                </a:moveTo>
                <a:cubicBezTo>
                  <a:pt x="325" y="1045"/>
                  <a:pt x="328" y="1042"/>
                  <a:pt x="328" y="1039"/>
                </a:cubicBezTo>
                <a:cubicBezTo>
                  <a:pt x="328" y="1036"/>
                  <a:pt x="325" y="1033"/>
                  <a:pt x="325" y="1033"/>
                </a:cubicBezTo>
                <a:cubicBezTo>
                  <a:pt x="320" y="1033"/>
                  <a:pt x="322" y="1044"/>
                  <a:pt x="324" y="1044"/>
                </a:cubicBezTo>
                <a:close/>
                <a:moveTo>
                  <a:pt x="179" y="1053"/>
                </a:moveTo>
                <a:cubicBezTo>
                  <a:pt x="173" y="1050"/>
                  <a:pt x="169" y="1064"/>
                  <a:pt x="178" y="1065"/>
                </a:cubicBezTo>
                <a:cubicBezTo>
                  <a:pt x="178" y="1065"/>
                  <a:pt x="185" y="1055"/>
                  <a:pt x="179" y="1053"/>
                </a:cubicBezTo>
                <a:close/>
                <a:moveTo>
                  <a:pt x="146" y="1404"/>
                </a:moveTo>
                <a:cubicBezTo>
                  <a:pt x="146" y="1406"/>
                  <a:pt x="151" y="1409"/>
                  <a:pt x="151" y="1409"/>
                </a:cubicBezTo>
                <a:cubicBezTo>
                  <a:pt x="151" y="1409"/>
                  <a:pt x="147" y="1413"/>
                  <a:pt x="152" y="1413"/>
                </a:cubicBezTo>
                <a:cubicBezTo>
                  <a:pt x="157" y="1413"/>
                  <a:pt x="161" y="1406"/>
                  <a:pt x="159" y="1403"/>
                </a:cubicBezTo>
                <a:cubicBezTo>
                  <a:pt x="156" y="1400"/>
                  <a:pt x="147" y="1400"/>
                  <a:pt x="146" y="1404"/>
                </a:cubicBezTo>
                <a:close/>
                <a:moveTo>
                  <a:pt x="165" y="1414"/>
                </a:moveTo>
                <a:cubicBezTo>
                  <a:pt x="163" y="1420"/>
                  <a:pt x="168" y="1440"/>
                  <a:pt x="172" y="1440"/>
                </a:cubicBezTo>
                <a:cubicBezTo>
                  <a:pt x="175" y="1440"/>
                  <a:pt x="181" y="1423"/>
                  <a:pt x="181" y="1423"/>
                </a:cubicBezTo>
                <a:cubicBezTo>
                  <a:pt x="175" y="1416"/>
                  <a:pt x="175" y="1416"/>
                  <a:pt x="175" y="1416"/>
                </a:cubicBezTo>
                <a:lnTo>
                  <a:pt x="165" y="1414"/>
                </a:lnTo>
                <a:close/>
                <a:moveTo>
                  <a:pt x="169" y="1075"/>
                </a:moveTo>
                <a:cubicBezTo>
                  <a:pt x="165" y="1067"/>
                  <a:pt x="165" y="1067"/>
                  <a:pt x="165" y="1067"/>
                </a:cubicBezTo>
                <a:cubicBezTo>
                  <a:pt x="162" y="1085"/>
                  <a:pt x="169" y="1075"/>
                  <a:pt x="169" y="1075"/>
                </a:cubicBezTo>
                <a:close/>
                <a:moveTo>
                  <a:pt x="402" y="653"/>
                </a:moveTo>
                <a:cubicBezTo>
                  <a:pt x="407" y="652"/>
                  <a:pt x="402" y="646"/>
                  <a:pt x="402" y="646"/>
                </a:cubicBezTo>
                <a:cubicBezTo>
                  <a:pt x="402" y="646"/>
                  <a:pt x="397" y="653"/>
                  <a:pt x="402" y="653"/>
                </a:cubicBezTo>
                <a:close/>
                <a:moveTo>
                  <a:pt x="420" y="801"/>
                </a:moveTo>
                <a:cubicBezTo>
                  <a:pt x="416" y="801"/>
                  <a:pt x="416" y="801"/>
                  <a:pt x="416" y="801"/>
                </a:cubicBezTo>
                <a:cubicBezTo>
                  <a:pt x="416" y="801"/>
                  <a:pt x="419" y="803"/>
                  <a:pt x="422" y="803"/>
                </a:cubicBezTo>
                <a:cubicBezTo>
                  <a:pt x="425" y="803"/>
                  <a:pt x="422" y="797"/>
                  <a:pt x="422" y="797"/>
                </a:cubicBezTo>
                <a:lnTo>
                  <a:pt x="420" y="801"/>
                </a:lnTo>
                <a:close/>
                <a:moveTo>
                  <a:pt x="526" y="839"/>
                </a:moveTo>
                <a:cubicBezTo>
                  <a:pt x="523" y="844"/>
                  <a:pt x="523" y="844"/>
                  <a:pt x="523" y="844"/>
                </a:cubicBezTo>
                <a:cubicBezTo>
                  <a:pt x="531" y="852"/>
                  <a:pt x="531" y="852"/>
                  <a:pt x="531" y="852"/>
                </a:cubicBezTo>
                <a:cubicBezTo>
                  <a:pt x="531" y="847"/>
                  <a:pt x="531" y="847"/>
                  <a:pt x="531" y="847"/>
                </a:cubicBezTo>
                <a:cubicBezTo>
                  <a:pt x="531" y="847"/>
                  <a:pt x="536" y="842"/>
                  <a:pt x="526" y="839"/>
                </a:cubicBezTo>
                <a:close/>
                <a:moveTo>
                  <a:pt x="448" y="844"/>
                </a:moveTo>
                <a:cubicBezTo>
                  <a:pt x="448" y="849"/>
                  <a:pt x="448" y="849"/>
                  <a:pt x="448" y="849"/>
                </a:cubicBezTo>
                <a:cubicBezTo>
                  <a:pt x="453" y="849"/>
                  <a:pt x="453" y="849"/>
                  <a:pt x="453" y="849"/>
                </a:cubicBezTo>
                <a:cubicBezTo>
                  <a:pt x="451" y="843"/>
                  <a:pt x="451" y="843"/>
                  <a:pt x="451" y="843"/>
                </a:cubicBezTo>
                <a:lnTo>
                  <a:pt x="448" y="844"/>
                </a:lnTo>
                <a:close/>
                <a:moveTo>
                  <a:pt x="386" y="717"/>
                </a:moveTo>
                <a:cubicBezTo>
                  <a:pt x="386" y="725"/>
                  <a:pt x="386" y="725"/>
                  <a:pt x="386" y="725"/>
                </a:cubicBezTo>
                <a:cubicBezTo>
                  <a:pt x="395" y="721"/>
                  <a:pt x="395" y="721"/>
                  <a:pt x="395" y="721"/>
                </a:cubicBezTo>
                <a:cubicBezTo>
                  <a:pt x="392" y="713"/>
                  <a:pt x="392" y="713"/>
                  <a:pt x="392" y="713"/>
                </a:cubicBezTo>
                <a:cubicBezTo>
                  <a:pt x="393" y="719"/>
                  <a:pt x="386" y="717"/>
                  <a:pt x="386" y="717"/>
                </a:cubicBezTo>
                <a:close/>
                <a:moveTo>
                  <a:pt x="972" y="1165"/>
                </a:moveTo>
                <a:cubicBezTo>
                  <a:pt x="971" y="1169"/>
                  <a:pt x="971" y="1169"/>
                  <a:pt x="971" y="1169"/>
                </a:cubicBezTo>
                <a:cubicBezTo>
                  <a:pt x="971" y="1169"/>
                  <a:pt x="981" y="1168"/>
                  <a:pt x="981" y="1164"/>
                </a:cubicBezTo>
                <a:cubicBezTo>
                  <a:pt x="981" y="1159"/>
                  <a:pt x="972" y="1165"/>
                  <a:pt x="972" y="1165"/>
                </a:cubicBezTo>
                <a:close/>
                <a:moveTo>
                  <a:pt x="466" y="749"/>
                </a:moveTo>
                <a:cubicBezTo>
                  <a:pt x="458" y="760"/>
                  <a:pt x="458" y="760"/>
                  <a:pt x="458" y="760"/>
                </a:cubicBezTo>
                <a:cubicBezTo>
                  <a:pt x="458" y="760"/>
                  <a:pt x="454" y="759"/>
                  <a:pt x="450" y="759"/>
                </a:cubicBezTo>
                <a:cubicBezTo>
                  <a:pt x="445" y="759"/>
                  <a:pt x="443" y="764"/>
                  <a:pt x="443" y="764"/>
                </a:cubicBezTo>
                <a:cubicBezTo>
                  <a:pt x="443" y="764"/>
                  <a:pt x="440" y="761"/>
                  <a:pt x="430" y="760"/>
                </a:cubicBezTo>
                <a:cubicBezTo>
                  <a:pt x="426" y="765"/>
                  <a:pt x="426" y="765"/>
                  <a:pt x="426" y="765"/>
                </a:cubicBezTo>
                <a:cubicBezTo>
                  <a:pt x="426" y="765"/>
                  <a:pt x="427" y="771"/>
                  <a:pt x="429" y="775"/>
                </a:cubicBezTo>
                <a:cubicBezTo>
                  <a:pt x="431" y="778"/>
                  <a:pt x="443" y="776"/>
                  <a:pt x="443" y="776"/>
                </a:cubicBezTo>
                <a:cubicBezTo>
                  <a:pt x="444" y="773"/>
                  <a:pt x="444" y="773"/>
                  <a:pt x="444" y="773"/>
                </a:cubicBezTo>
                <a:cubicBezTo>
                  <a:pt x="453" y="774"/>
                  <a:pt x="453" y="774"/>
                  <a:pt x="453" y="774"/>
                </a:cubicBezTo>
                <a:cubicBezTo>
                  <a:pt x="454" y="770"/>
                  <a:pt x="454" y="770"/>
                  <a:pt x="454" y="770"/>
                </a:cubicBezTo>
                <a:cubicBezTo>
                  <a:pt x="454" y="770"/>
                  <a:pt x="459" y="776"/>
                  <a:pt x="462" y="779"/>
                </a:cubicBezTo>
                <a:cubicBezTo>
                  <a:pt x="464" y="781"/>
                  <a:pt x="469" y="779"/>
                  <a:pt x="469" y="779"/>
                </a:cubicBezTo>
                <a:cubicBezTo>
                  <a:pt x="469" y="774"/>
                  <a:pt x="469" y="774"/>
                  <a:pt x="469" y="774"/>
                </a:cubicBezTo>
                <a:cubicBezTo>
                  <a:pt x="463" y="768"/>
                  <a:pt x="463" y="768"/>
                  <a:pt x="463" y="768"/>
                </a:cubicBezTo>
                <a:cubicBezTo>
                  <a:pt x="469" y="768"/>
                  <a:pt x="469" y="768"/>
                  <a:pt x="469" y="768"/>
                </a:cubicBezTo>
                <a:cubicBezTo>
                  <a:pt x="472" y="756"/>
                  <a:pt x="472" y="756"/>
                  <a:pt x="472" y="756"/>
                </a:cubicBezTo>
                <a:cubicBezTo>
                  <a:pt x="470" y="754"/>
                  <a:pt x="470" y="754"/>
                  <a:pt x="470" y="754"/>
                </a:cubicBezTo>
                <a:lnTo>
                  <a:pt x="466" y="749"/>
                </a:lnTo>
                <a:close/>
                <a:moveTo>
                  <a:pt x="1562" y="1219"/>
                </a:moveTo>
                <a:cubicBezTo>
                  <a:pt x="1562" y="1213"/>
                  <a:pt x="1554" y="1204"/>
                  <a:pt x="1554" y="1204"/>
                </a:cubicBezTo>
                <a:cubicBezTo>
                  <a:pt x="1555" y="1192"/>
                  <a:pt x="1521" y="1163"/>
                  <a:pt x="1515" y="1160"/>
                </a:cubicBezTo>
                <a:cubicBezTo>
                  <a:pt x="1510" y="1156"/>
                  <a:pt x="1496" y="1150"/>
                  <a:pt x="1492" y="1141"/>
                </a:cubicBezTo>
                <a:cubicBezTo>
                  <a:pt x="1494" y="1126"/>
                  <a:pt x="1478" y="1129"/>
                  <a:pt x="1478" y="1129"/>
                </a:cubicBezTo>
                <a:cubicBezTo>
                  <a:pt x="1478" y="1123"/>
                  <a:pt x="1470" y="1122"/>
                  <a:pt x="1459" y="1121"/>
                </a:cubicBezTo>
                <a:cubicBezTo>
                  <a:pt x="1449" y="1112"/>
                  <a:pt x="1414" y="1103"/>
                  <a:pt x="1414" y="1103"/>
                </a:cubicBezTo>
                <a:cubicBezTo>
                  <a:pt x="1399" y="1088"/>
                  <a:pt x="1399" y="1088"/>
                  <a:pt x="1399" y="1088"/>
                </a:cubicBezTo>
                <a:cubicBezTo>
                  <a:pt x="1395" y="1089"/>
                  <a:pt x="1395" y="1089"/>
                  <a:pt x="1395" y="1089"/>
                </a:cubicBezTo>
                <a:cubicBezTo>
                  <a:pt x="1395" y="1089"/>
                  <a:pt x="1374" y="1072"/>
                  <a:pt x="1366" y="1066"/>
                </a:cubicBezTo>
                <a:cubicBezTo>
                  <a:pt x="1357" y="1060"/>
                  <a:pt x="1312" y="1048"/>
                  <a:pt x="1293" y="1041"/>
                </a:cubicBezTo>
                <a:cubicBezTo>
                  <a:pt x="1275" y="1033"/>
                  <a:pt x="1205" y="1000"/>
                  <a:pt x="1205" y="1000"/>
                </a:cubicBezTo>
                <a:cubicBezTo>
                  <a:pt x="1195" y="982"/>
                  <a:pt x="1195" y="982"/>
                  <a:pt x="1195" y="982"/>
                </a:cubicBezTo>
                <a:cubicBezTo>
                  <a:pt x="1195" y="982"/>
                  <a:pt x="1195" y="982"/>
                  <a:pt x="1195" y="982"/>
                </a:cubicBezTo>
                <a:cubicBezTo>
                  <a:pt x="1195" y="982"/>
                  <a:pt x="1195" y="982"/>
                  <a:pt x="1195" y="982"/>
                </a:cubicBezTo>
                <a:cubicBezTo>
                  <a:pt x="1195" y="982"/>
                  <a:pt x="1195" y="979"/>
                  <a:pt x="1196" y="969"/>
                </a:cubicBezTo>
                <a:cubicBezTo>
                  <a:pt x="1207" y="958"/>
                  <a:pt x="1231" y="940"/>
                  <a:pt x="1231" y="940"/>
                </a:cubicBezTo>
                <a:cubicBezTo>
                  <a:pt x="1228" y="921"/>
                  <a:pt x="1228" y="921"/>
                  <a:pt x="1228" y="921"/>
                </a:cubicBezTo>
                <a:cubicBezTo>
                  <a:pt x="1218" y="912"/>
                  <a:pt x="1218" y="912"/>
                  <a:pt x="1218" y="912"/>
                </a:cubicBezTo>
                <a:cubicBezTo>
                  <a:pt x="1218" y="912"/>
                  <a:pt x="1197" y="912"/>
                  <a:pt x="1180" y="916"/>
                </a:cubicBezTo>
                <a:cubicBezTo>
                  <a:pt x="1163" y="920"/>
                  <a:pt x="1155" y="916"/>
                  <a:pt x="1155" y="916"/>
                </a:cubicBezTo>
                <a:cubicBezTo>
                  <a:pt x="1123" y="922"/>
                  <a:pt x="1123" y="922"/>
                  <a:pt x="1123" y="922"/>
                </a:cubicBezTo>
                <a:cubicBezTo>
                  <a:pt x="1112" y="918"/>
                  <a:pt x="1112" y="918"/>
                  <a:pt x="1112" y="918"/>
                </a:cubicBezTo>
                <a:cubicBezTo>
                  <a:pt x="1093" y="917"/>
                  <a:pt x="1093" y="917"/>
                  <a:pt x="1093" y="917"/>
                </a:cubicBezTo>
                <a:cubicBezTo>
                  <a:pt x="1081" y="916"/>
                  <a:pt x="1081" y="916"/>
                  <a:pt x="1081" y="916"/>
                </a:cubicBezTo>
                <a:cubicBezTo>
                  <a:pt x="1081" y="916"/>
                  <a:pt x="1078" y="908"/>
                  <a:pt x="1072" y="905"/>
                </a:cubicBezTo>
                <a:cubicBezTo>
                  <a:pt x="1065" y="901"/>
                  <a:pt x="1059" y="901"/>
                  <a:pt x="1059" y="901"/>
                </a:cubicBezTo>
                <a:cubicBezTo>
                  <a:pt x="1042" y="894"/>
                  <a:pt x="1042" y="894"/>
                  <a:pt x="1042" y="894"/>
                </a:cubicBezTo>
                <a:cubicBezTo>
                  <a:pt x="1033" y="890"/>
                  <a:pt x="1033" y="890"/>
                  <a:pt x="1033" y="890"/>
                </a:cubicBezTo>
                <a:cubicBezTo>
                  <a:pt x="1033" y="876"/>
                  <a:pt x="1033" y="876"/>
                  <a:pt x="1033" y="876"/>
                </a:cubicBezTo>
                <a:cubicBezTo>
                  <a:pt x="1006" y="862"/>
                  <a:pt x="1006" y="862"/>
                  <a:pt x="1006" y="862"/>
                </a:cubicBezTo>
                <a:cubicBezTo>
                  <a:pt x="1006" y="862"/>
                  <a:pt x="997" y="845"/>
                  <a:pt x="987" y="839"/>
                </a:cubicBezTo>
                <a:cubicBezTo>
                  <a:pt x="977" y="833"/>
                  <a:pt x="958" y="813"/>
                  <a:pt x="946" y="799"/>
                </a:cubicBezTo>
                <a:cubicBezTo>
                  <a:pt x="934" y="785"/>
                  <a:pt x="926" y="747"/>
                  <a:pt x="926" y="747"/>
                </a:cubicBezTo>
                <a:cubicBezTo>
                  <a:pt x="926" y="747"/>
                  <a:pt x="925" y="747"/>
                  <a:pt x="925" y="746"/>
                </a:cubicBezTo>
                <a:cubicBezTo>
                  <a:pt x="922" y="738"/>
                  <a:pt x="887" y="647"/>
                  <a:pt x="885" y="641"/>
                </a:cubicBezTo>
                <a:cubicBezTo>
                  <a:pt x="883" y="635"/>
                  <a:pt x="887" y="634"/>
                  <a:pt x="887" y="634"/>
                </a:cubicBezTo>
                <a:cubicBezTo>
                  <a:pt x="879" y="626"/>
                  <a:pt x="879" y="626"/>
                  <a:pt x="879" y="626"/>
                </a:cubicBezTo>
                <a:cubicBezTo>
                  <a:pt x="872" y="618"/>
                  <a:pt x="872" y="618"/>
                  <a:pt x="872" y="618"/>
                </a:cubicBezTo>
                <a:cubicBezTo>
                  <a:pt x="872" y="618"/>
                  <a:pt x="872" y="618"/>
                  <a:pt x="861" y="621"/>
                </a:cubicBezTo>
                <a:cubicBezTo>
                  <a:pt x="837" y="613"/>
                  <a:pt x="799" y="569"/>
                  <a:pt x="796" y="567"/>
                </a:cubicBezTo>
                <a:cubicBezTo>
                  <a:pt x="792" y="564"/>
                  <a:pt x="773" y="558"/>
                  <a:pt x="773" y="558"/>
                </a:cubicBezTo>
                <a:cubicBezTo>
                  <a:pt x="773" y="558"/>
                  <a:pt x="772" y="558"/>
                  <a:pt x="772" y="558"/>
                </a:cubicBezTo>
                <a:cubicBezTo>
                  <a:pt x="766" y="553"/>
                  <a:pt x="735" y="528"/>
                  <a:pt x="725" y="513"/>
                </a:cubicBezTo>
                <a:cubicBezTo>
                  <a:pt x="714" y="496"/>
                  <a:pt x="712" y="445"/>
                  <a:pt x="709" y="434"/>
                </a:cubicBezTo>
                <a:cubicBezTo>
                  <a:pt x="706" y="423"/>
                  <a:pt x="712" y="405"/>
                  <a:pt x="712" y="406"/>
                </a:cubicBezTo>
                <a:cubicBezTo>
                  <a:pt x="712" y="408"/>
                  <a:pt x="716" y="409"/>
                  <a:pt x="722" y="410"/>
                </a:cubicBezTo>
                <a:cubicBezTo>
                  <a:pt x="724" y="410"/>
                  <a:pt x="726" y="410"/>
                  <a:pt x="728" y="410"/>
                </a:cubicBezTo>
                <a:cubicBezTo>
                  <a:pt x="736" y="409"/>
                  <a:pt x="747" y="381"/>
                  <a:pt x="747" y="381"/>
                </a:cubicBezTo>
                <a:cubicBezTo>
                  <a:pt x="740" y="373"/>
                  <a:pt x="740" y="373"/>
                  <a:pt x="740" y="373"/>
                </a:cubicBezTo>
                <a:cubicBezTo>
                  <a:pt x="736" y="374"/>
                  <a:pt x="736" y="374"/>
                  <a:pt x="736" y="374"/>
                </a:cubicBezTo>
                <a:cubicBezTo>
                  <a:pt x="719" y="358"/>
                  <a:pt x="719" y="358"/>
                  <a:pt x="719" y="358"/>
                </a:cubicBezTo>
                <a:cubicBezTo>
                  <a:pt x="718" y="342"/>
                  <a:pt x="718" y="342"/>
                  <a:pt x="718" y="342"/>
                </a:cubicBezTo>
                <a:cubicBezTo>
                  <a:pt x="718" y="342"/>
                  <a:pt x="715" y="334"/>
                  <a:pt x="716" y="322"/>
                </a:cubicBezTo>
                <a:cubicBezTo>
                  <a:pt x="717" y="310"/>
                  <a:pt x="728" y="295"/>
                  <a:pt x="728" y="295"/>
                </a:cubicBezTo>
                <a:cubicBezTo>
                  <a:pt x="731" y="297"/>
                  <a:pt x="731" y="297"/>
                  <a:pt x="731" y="297"/>
                </a:cubicBezTo>
                <a:cubicBezTo>
                  <a:pt x="731" y="297"/>
                  <a:pt x="756" y="281"/>
                  <a:pt x="770" y="277"/>
                </a:cubicBezTo>
                <a:cubicBezTo>
                  <a:pt x="785" y="274"/>
                  <a:pt x="790" y="265"/>
                  <a:pt x="790" y="265"/>
                </a:cubicBezTo>
                <a:cubicBezTo>
                  <a:pt x="790" y="265"/>
                  <a:pt x="808" y="260"/>
                  <a:pt x="813" y="260"/>
                </a:cubicBezTo>
                <a:cubicBezTo>
                  <a:pt x="813" y="260"/>
                  <a:pt x="813" y="260"/>
                  <a:pt x="814" y="260"/>
                </a:cubicBezTo>
                <a:cubicBezTo>
                  <a:pt x="817" y="260"/>
                  <a:pt x="820" y="253"/>
                  <a:pt x="822" y="249"/>
                </a:cubicBezTo>
                <a:cubicBezTo>
                  <a:pt x="824" y="244"/>
                  <a:pt x="838" y="245"/>
                  <a:pt x="838" y="245"/>
                </a:cubicBezTo>
                <a:cubicBezTo>
                  <a:pt x="838" y="245"/>
                  <a:pt x="846" y="252"/>
                  <a:pt x="853" y="252"/>
                </a:cubicBezTo>
                <a:cubicBezTo>
                  <a:pt x="861" y="253"/>
                  <a:pt x="872" y="242"/>
                  <a:pt x="872" y="242"/>
                </a:cubicBezTo>
                <a:cubicBezTo>
                  <a:pt x="866" y="239"/>
                  <a:pt x="866" y="239"/>
                  <a:pt x="866" y="239"/>
                </a:cubicBezTo>
                <a:cubicBezTo>
                  <a:pt x="866" y="239"/>
                  <a:pt x="871" y="235"/>
                  <a:pt x="872" y="234"/>
                </a:cubicBezTo>
                <a:cubicBezTo>
                  <a:pt x="873" y="234"/>
                  <a:pt x="872" y="234"/>
                  <a:pt x="877" y="234"/>
                </a:cubicBezTo>
                <a:cubicBezTo>
                  <a:pt x="882" y="234"/>
                  <a:pt x="892" y="245"/>
                  <a:pt x="897" y="251"/>
                </a:cubicBezTo>
                <a:cubicBezTo>
                  <a:pt x="902" y="258"/>
                  <a:pt x="897" y="257"/>
                  <a:pt x="897" y="257"/>
                </a:cubicBezTo>
                <a:cubicBezTo>
                  <a:pt x="903" y="263"/>
                  <a:pt x="903" y="263"/>
                  <a:pt x="903" y="263"/>
                </a:cubicBezTo>
                <a:cubicBezTo>
                  <a:pt x="894" y="262"/>
                  <a:pt x="894" y="262"/>
                  <a:pt x="894" y="262"/>
                </a:cubicBezTo>
                <a:cubicBezTo>
                  <a:pt x="894" y="262"/>
                  <a:pt x="895" y="265"/>
                  <a:pt x="899" y="267"/>
                </a:cubicBezTo>
                <a:cubicBezTo>
                  <a:pt x="903" y="268"/>
                  <a:pt x="907" y="267"/>
                  <a:pt x="907" y="267"/>
                </a:cubicBezTo>
                <a:cubicBezTo>
                  <a:pt x="907" y="267"/>
                  <a:pt x="908" y="268"/>
                  <a:pt x="910" y="267"/>
                </a:cubicBezTo>
                <a:cubicBezTo>
                  <a:pt x="909" y="257"/>
                  <a:pt x="909" y="257"/>
                  <a:pt x="909" y="257"/>
                </a:cubicBezTo>
                <a:cubicBezTo>
                  <a:pt x="902" y="245"/>
                  <a:pt x="902" y="245"/>
                  <a:pt x="902" y="245"/>
                </a:cubicBezTo>
                <a:cubicBezTo>
                  <a:pt x="887" y="235"/>
                  <a:pt x="887" y="235"/>
                  <a:pt x="887" y="235"/>
                </a:cubicBezTo>
                <a:cubicBezTo>
                  <a:pt x="880" y="229"/>
                  <a:pt x="880" y="229"/>
                  <a:pt x="880" y="229"/>
                </a:cubicBezTo>
                <a:cubicBezTo>
                  <a:pt x="879" y="227"/>
                  <a:pt x="878" y="227"/>
                  <a:pt x="878" y="226"/>
                </a:cubicBezTo>
                <a:cubicBezTo>
                  <a:pt x="877" y="226"/>
                  <a:pt x="877" y="225"/>
                  <a:pt x="875" y="223"/>
                </a:cubicBezTo>
                <a:cubicBezTo>
                  <a:pt x="874" y="223"/>
                  <a:pt x="877" y="213"/>
                  <a:pt x="879" y="210"/>
                </a:cubicBezTo>
                <a:cubicBezTo>
                  <a:pt x="883" y="205"/>
                  <a:pt x="882" y="197"/>
                  <a:pt x="882" y="197"/>
                </a:cubicBezTo>
                <a:cubicBezTo>
                  <a:pt x="876" y="197"/>
                  <a:pt x="876" y="197"/>
                  <a:pt x="876" y="197"/>
                </a:cubicBezTo>
                <a:cubicBezTo>
                  <a:pt x="873" y="200"/>
                  <a:pt x="873" y="200"/>
                  <a:pt x="873" y="200"/>
                </a:cubicBezTo>
                <a:cubicBezTo>
                  <a:pt x="873" y="200"/>
                  <a:pt x="870" y="200"/>
                  <a:pt x="864" y="197"/>
                </a:cubicBezTo>
                <a:cubicBezTo>
                  <a:pt x="859" y="193"/>
                  <a:pt x="864" y="193"/>
                  <a:pt x="865" y="189"/>
                </a:cubicBezTo>
                <a:cubicBezTo>
                  <a:pt x="865" y="186"/>
                  <a:pt x="864" y="184"/>
                  <a:pt x="864" y="184"/>
                </a:cubicBezTo>
                <a:cubicBezTo>
                  <a:pt x="864" y="184"/>
                  <a:pt x="885" y="164"/>
                  <a:pt x="885" y="162"/>
                </a:cubicBezTo>
                <a:cubicBezTo>
                  <a:pt x="885" y="161"/>
                  <a:pt x="873" y="162"/>
                  <a:pt x="873" y="162"/>
                </a:cubicBezTo>
                <a:cubicBezTo>
                  <a:pt x="873" y="162"/>
                  <a:pt x="877" y="157"/>
                  <a:pt x="868" y="153"/>
                </a:cubicBezTo>
                <a:cubicBezTo>
                  <a:pt x="858" y="149"/>
                  <a:pt x="855" y="156"/>
                  <a:pt x="855" y="156"/>
                </a:cubicBezTo>
                <a:cubicBezTo>
                  <a:pt x="850" y="142"/>
                  <a:pt x="850" y="142"/>
                  <a:pt x="850" y="142"/>
                </a:cubicBezTo>
                <a:cubicBezTo>
                  <a:pt x="854" y="138"/>
                  <a:pt x="854" y="138"/>
                  <a:pt x="854" y="138"/>
                </a:cubicBezTo>
                <a:cubicBezTo>
                  <a:pt x="856" y="130"/>
                  <a:pt x="856" y="130"/>
                  <a:pt x="856" y="130"/>
                </a:cubicBezTo>
                <a:cubicBezTo>
                  <a:pt x="872" y="122"/>
                  <a:pt x="872" y="122"/>
                  <a:pt x="872" y="122"/>
                </a:cubicBezTo>
                <a:cubicBezTo>
                  <a:pt x="874" y="116"/>
                  <a:pt x="874" y="116"/>
                  <a:pt x="874" y="116"/>
                </a:cubicBezTo>
                <a:cubicBezTo>
                  <a:pt x="888" y="116"/>
                  <a:pt x="888" y="116"/>
                  <a:pt x="888" y="116"/>
                </a:cubicBezTo>
                <a:cubicBezTo>
                  <a:pt x="890" y="101"/>
                  <a:pt x="890" y="101"/>
                  <a:pt x="890" y="101"/>
                </a:cubicBezTo>
                <a:cubicBezTo>
                  <a:pt x="890" y="101"/>
                  <a:pt x="889" y="101"/>
                  <a:pt x="888" y="100"/>
                </a:cubicBezTo>
                <a:cubicBezTo>
                  <a:pt x="884" y="99"/>
                  <a:pt x="876" y="95"/>
                  <a:pt x="875" y="95"/>
                </a:cubicBezTo>
                <a:cubicBezTo>
                  <a:pt x="874" y="95"/>
                  <a:pt x="866" y="96"/>
                  <a:pt x="866" y="96"/>
                </a:cubicBezTo>
                <a:cubicBezTo>
                  <a:pt x="854" y="93"/>
                  <a:pt x="854" y="93"/>
                  <a:pt x="854" y="93"/>
                </a:cubicBezTo>
                <a:cubicBezTo>
                  <a:pt x="849" y="91"/>
                  <a:pt x="849" y="91"/>
                  <a:pt x="849" y="91"/>
                </a:cubicBezTo>
                <a:cubicBezTo>
                  <a:pt x="849" y="91"/>
                  <a:pt x="843" y="96"/>
                  <a:pt x="836" y="96"/>
                </a:cubicBezTo>
                <a:cubicBezTo>
                  <a:pt x="834" y="96"/>
                  <a:pt x="832" y="96"/>
                  <a:pt x="830" y="95"/>
                </a:cubicBezTo>
                <a:cubicBezTo>
                  <a:pt x="826" y="93"/>
                  <a:pt x="824" y="90"/>
                  <a:pt x="824" y="90"/>
                </a:cubicBezTo>
                <a:cubicBezTo>
                  <a:pt x="783" y="86"/>
                  <a:pt x="783" y="86"/>
                  <a:pt x="783" y="86"/>
                </a:cubicBezTo>
                <a:cubicBezTo>
                  <a:pt x="783" y="86"/>
                  <a:pt x="783" y="86"/>
                  <a:pt x="782" y="81"/>
                </a:cubicBezTo>
                <a:cubicBezTo>
                  <a:pt x="781" y="76"/>
                  <a:pt x="773" y="81"/>
                  <a:pt x="769" y="81"/>
                </a:cubicBezTo>
                <a:cubicBezTo>
                  <a:pt x="769" y="81"/>
                  <a:pt x="769" y="81"/>
                  <a:pt x="769" y="81"/>
                </a:cubicBezTo>
                <a:cubicBezTo>
                  <a:pt x="765" y="81"/>
                  <a:pt x="763" y="78"/>
                  <a:pt x="763" y="78"/>
                </a:cubicBezTo>
                <a:cubicBezTo>
                  <a:pt x="747" y="76"/>
                  <a:pt x="747" y="76"/>
                  <a:pt x="747" y="76"/>
                </a:cubicBezTo>
                <a:cubicBezTo>
                  <a:pt x="742" y="73"/>
                  <a:pt x="742" y="73"/>
                  <a:pt x="742" y="73"/>
                </a:cubicBezTo>
                <a:cubicBezTo>
                  <a:pt x="742" y="73"/>
                  <a:pt x="741" y="73"/>
                  <a:pt x="739" y="73"/>
                </a:cubicBezTo>
                <a:cubicBezTo>
                  <a:pt x="733" y="73"/>
                  <a:pt x="733" y="73"/>
                  <a:pt x="733" y="73"/>
                </a:cubicBezTo>
                <a:cubicBezTo>
                  <a:pt x="728" y="73"/>
                  <a:pt x="724" y="63"/>
                  <a:pt x="724" y="57"/>
                </a:cubicBezTo>
                <a:cubicBezTo>
                  <a:pt x="724" y="52"/>
                  <a:pt x="713" y="56"/>
                  <a:pt x="713" y="56"/>
                </a:cubicBezTo>
                <a:cubicBezTo>
                  <a:pt x="716" y="41"/>
                  <a:pt x="716" y="41"/>
                  <a:pt x="716" y="41"/>
                </a:cubicBezTo>
                <a:cubicBezTo>
                  <a:pt x="713" y="37"/>
                  <a:pt x="713" y="37"/>
                  <a:pt x="713" y="37"/>
                </a:cubicBezTo>
                <a:cubicBezTo>
                  <a:pt x="713" y="37"/>
                  <a:pt x="704" y="40"/>
                  <a:pt x="704" y="37"/>
                </a:cubicBezTo>
                <a:cubicBezTo>
                  <a:pt x="703" y="35"/>
                  <a:pt x="698" y="31"/>
                  <a:pt x="698" y="31"/>
                </a:cubicBezTo>
                <a:cubicBezTo>
                  <a:pt x="698" y="31"/>
                  <a:pt x="704" y="26"/>
                  <a:pt x="698" y="23"/>
                </a:cubicBezTo>
                <a:cubicBezTo>
                  <a:pt x="691" y="19"/>
                  <a:pt x="697" y="17"/>
                  <a:pt x="697" y="12"/>
                </a:cubicBezTo>
                <a:cubicBezTo>
                  <a:pt x="698" y="8"/>
                  <a:pt x="704" y="11"/>
                  <a:pt x="704" y="11"/>
                </a:cubicBezTo>
                <a:cubicBezTo>
                  <a:pt x="708" y="4"/>
                  <a:pt x="708" y="4"/>
                  <a:pt x="708" y="4"/>
                </a:cubicBezTo>
                <a:cubicBezTo>
                  <a:pt x="702" y="0"/>
                  <a:pt x="702" y="0"/>
                  <a:pt x="702" y="0"/>
                </a:cubicBezTo>
                <a:cubicBezTo>
                  <a:pt x="668" y="9"/>
                  <a:pt x="668" y="9"/>
                  <a:pt x="668" y="9"/>
                </a:cubicBezTo>
                <a:cubicBezTo>
                  <a:pt x="647" y="22"/>
                  <a:pt x="647" y="22"/>
                  <a:pt x="647" y="22"/>
                </a:cubicBezTo>
                <a:cubicBezTo>
                  <a:pt x="649" y="14"/>
                  <a:pt x="637" y="17"/>
                  <a:pt x="637" y="17"/>
                </a:cubicBezTo>
                <a:cubicBezTo>
                  <a:pt x="634" y="14"/>
                  <a:pt x="634" y="14"/>
                  <a:pt x="634" y="14"/>
                </a:cubicBezTo>
                <a:cubicBezTo>
                  <a:pt x="622" y="17"/>
                  <a:pt x="622" y="17"/>
                  <a:pt x="622" y="17"/>
                </a:cubicBezTo>
                <a:cubicBezTo>
                  <a:pt x="622" y="17"/>
                  <a:pt x="618" y="13"/>
                  <a:pt x="615" y="13"/>
                </a:cubicBezTo>
                <a:cubicBezTo>
                  <a:pt x="612" y="13"/>
                  <a:pt x="605" y="22"/>
                  <a:pt x="605" y="22"/>
                </a:cubicBezTo>
                <a:cubicBezTo>
                  <a:pt x="601" y="16"/>
                  <a:pt x="601" y="16"/>
                  <a:pt x="601" y="16"/>
                </a:cubicBezTo>
                <a:cubicBezTo>
                  <a:pt x="576" y="20"/>
                  <a:pt x="576" y="20"/>
                  <a:pt x="576" y="20"/>
                </a:cubicBezTo>
                <a:cubicBezTo>
                  <a:pt x="576" y="25"/>
                  <a:pt x="576" y="25"/>
                  <a:pt x="576" y="25"/>
                </a:cubicBezTo>
                <a:cubicBezTo>
                  <a:pt x="576" y="25"/>
                  <a:pt x="572" y="29"/>
                  <a:pt x="569" y="33"/>
                </a:cubicBezTo>
                <a:cubicBezTo>
                  <a:pt x="566" y="37"/>
                  <a:pt x="568" y="46"/>
                  <a:pt x="568" y="46"/>
                </a:cubicBezTo>
                <a:cubicBezTo>
                  <a:pt x="555" y="57"/>
                  <a:pt x="555" y="57"/>
                  <a:pt x="555" y="57"/>
                </a:cubicBezTo>
                <a:cubicBezTo>
                  <a:pt x="547" y="54"/>
                  <a:pt x="547" y="54"/>
                  <a:pt x="547" y="54"/>
                </a:cubicBezTo>
                <a:cubicBezTo>
                  <a:pt x="541" y="56"/>
                  <a:pt x="541" y="56"/>
                  <a:pt x="541" y="56"/>
                </a:cubicBezTo>
                <a:cubicBezTo>
                  <a:pt x="536" y="52"/>
                  <a:pt x="536" y="52"/>
                  <a:pt x="536" y="52"/>
                </a:cubicBezTo>
                <a:cubicBezTo>
                  <a:pt x="534" y="55"/>
                  <a:pt x="534" y="55"/>
                  <a:pt x="534" y="55"/>
                </a:cubicBezTo>
                <a:cubicBezTo>
                  <a:pt x="530" y="50"/>
                  <a:pt x="530" y="50"/>
                  <a:pt x="530" y="50"/>
                </a:cubicBezTo>
                <a:cubicBezTo>
                  <a:pt x="523" y="50"/>
                  <a:pt x="523" y="50"/>
                  <a:pt x="523" y="50"/>
                </a:cubicBezTo>
                <a:cubicBezTo>
                  <a:pt x="527" y="45"/>
                  <a:pt x="527" y="45"/>
                  <a:pt x="527" y="45"/>
                </a:cubicBezTo>
                <a:cubicBezTo>
                  <a:pt x="516" y="35"/>
                  <a:pt x="516" y="35"/>
                  <a:pt x="516" y="35"/>
                </a:cubicBezTo>
                <a:cubicBezTo>
                  <a:pt x="504" y="43"/>
                  <a:pt x="504" y="43"/>
                  <a:pt x="504" y="43"/>
                </a:cubicBezTo>
                <a:cubicBezTo>
                  <a:pt x="497" y="41"/>
                  <a:pt x="497" y="41"/>
                  <a:pt x="497" y="41"/>
                </a:cubicBezTo>
                <a:cubicBezTo>
                  <a:pt x="492" y="40"/>
                  <a:pt x="492" y="40"/>
                  <a:pt x="492" y="40"/>
                </a:cubicBezTo>
                <a:cubicBezTo>
                  <a:pt x="487" y="51"/>
                  <a:pt x="487" y="51"/>
                  <a:pt x="487" y="51"/>
                </a:cubicBezTo>
                <a:cubicBezTo>
                  <a:pt x="487" y="57"/>
                  <a:pt x="487" y="57"/>
                  <a:pt x="487" y="57"/>
                </a:cubicBezTo>
                <a:cubicBezTo>
                  <a:pt x="484" y="62"/>
                  <a:pt x="484" y="62"/>
                  <a:pt x="484" y="62"/>
                </a:cubicBezTo>
                <a:cubicBezTo>
                  <a:pt x="485" y="67"/>
                  <a:pt x="485" y="67"/>
                  <a:pt x="485" y="67"/>
                </a:cubicBezTo>
                <a:cubicBezTo>
                  <a:pt x="482" y="68"/>
                  <a:pt x="482" y="68"/>
                  <a:pt x="482" y="68"/>
                </a:cubicBezTo>
                <a:cubicBezTo>
                  <a:pt x="482" y="72"/>
                  <a:pt x="482" y="72"/>
                  <a:pt x="482" y="72"/>
                </a:cubicBezTo>
                <a:cubicBezTo>
                  <a:pt x="483" y="73"/>
                  <a:pt x="483" y="75"/>
                  <a:pt x="484" y="76"/>
                </a:cubicBezTo>
                <a:cubicBezTo>
                  <a:pt x="488" y="77"/>
                  <a:pt x="488" y="77"/>
                  <a:pt x="488" y="77"/>
                </a:cubicBezTo>
                <a:cubicBezTo>
                  <a:pt x="493" y="82"/>
                  <a:pt x="493" y="82"/>
                  <a:pt x="493" y="82"/>
                </a:cubicBezTo>
                <a:cubicBezTo>
                  <a:pt x="489" y="93"/>
                  <a:pt x="489" y="93"/>
                  <a:pt x="489" y="93"/>
                </a:cubicBezTo>
                <a:cubicBezTo>
                  <a:pt x="487" y="97"/>
                  <a:pt x="487" y="97"/>
                  <a:pt x="487" y="97"/>
                </a:cubicBezTo>
                <a:cubicBezTo>
                  <a:pt x="487" y="97"/>
                  <a:pt x="487" y="97"/>
                  <a:pt x="487" y="97"/>
                </a:cubicBezTo>
                <a:cubicBezTo>
                  <a:pt x="485" y="92"/>
                  <a:pt x="469" y="96"/>
                  <a:pt x="469" y="92"/>
                </a:cubicBezTo>
                <a:cubicBezTo>
                  <a:pt x="469" y="89"/>
                  <a:pt x="462" y="89"/>
                  <a:pt x="462" y="89"/>
                </a:cubicBezTo>
                <a:cubicBezTo>
                  <a:pt x="465" y="83"/>
                  <a:pt x="465" y="83"/>
                  <a:pt x="465" y="83"/>
                </a:cubicBezTo>
                <a:cubicBezTo>
                  <a:pt x="463" y="78"/>
                  <a:pt x="463" y="78"/>
                  <a:pt x="463" y="78"/>
                </a:cubicBezTo>
                <a:cubicBezTo>
                  <a:pt x="459" y="82"/>
                  <a:pt x="459" y="82"/>
                  <a:pt x="459" y="82"/>
                </a:cubicBezTo>
                <a:cubicBezTo>
                  <a:pt x="444" y="81"/>
                  <a:pt x="444" y="81"/>
                  <a:pt x="444" y="81"/>
                </a:cubicBezTo>
                <a:cubicBezTo>
                  <a:pt x="443" y="87"/>
                  <a:pt x="443" y="87"/>
                  <a:pt x="443" y="87"/>
                </a:cubicBezTo>
                <a:cubicBezTo>
                  <a:pt x="436" y="94"/>
                  <a:pt x="436" y="94"/>
                  <a:pt x="436" y="94"/>
                </a:cubicBezTo>
                <a:cubicBezTo>
                  <a:pt x="436" y="94"/>
                  <a:pt x="437" y="112"/>
                  <a:pt x="440" y="113"/>
                </a:cubicBezTo>
                <a:cubicBezTo>
                  <a:pt x="442" y="114"/>
                  <a:pt x="448" y="113"/>
                  <a:pt x="448" y="113"/>
                </a:cubicBezTo>
                <a:cubicBezTo>
                  <a:pt x="451" y="119"/>
                  <a:pt x="451" y="119"/>
                  <a:pt x="451" y="119"/>
                </a:cubicBezTo>
                <a:cubicBezTo>
                  <a:pt x="446" y="130"/>
                  <a:pt x="446" y="130"/>
                  <a:pt x="446" y="130"/>
                </a:cubicBezTo>
                <a:cubicBezTo>
                  <a:pt x="454" y="144"/>
                  <a:pt x="454" y="144"/>
                  <a:pt x="454" y="144"/>
                </a:cubicBezTo>
                <a:cubicBezTo>
                  <a:pt x="454" y="144"/>
                  <a:pt x="453" y="147"/>
                  <a:pt x="450" y="149"/>
                </a:cubicBezTo>
                <a:cubicBezTo>
                  <a:pt x="447" y="151"/>
                  <a:pt x="440" y="152"/>
                  <a:pt x="437" y="150"/>
                </a:cubicBezTo>
                <a:cubicBezTo>
                  <a:pt x="433" y="148"/>
                  <a:pt x="438" y="145"/>
                  <a:pt x="438" y="142"/>
                </a:cubicBezTo>
                <a:cubicBezTo>
                  <a:pt x="438" y="140"/>
                  <a:pt x="431" y="139"/>
                  <a:pt x="431" y="139"/>
                </a:cubicBezTo>
                <a:cubicBezTo>
                  <a:pt x="429" y="131"/>
                  <a:pt x="429" y="131"/>
                  <a:pt x="429" y="131"/>
                </a:cubicBezTo>
                <a:cubicBezTo>
                  <a:pt x="431" y="127"/>
                  <a:pt x="431" y="127"/>
                  <a:pt x="431" y="127"/>
                </a:cubicBezTo>
                <a:cubicBezTo>
                  <a:pt x="426" y="121"/>
                  <a:pt x="426" y="121"/>
                  <a:pt x="426" y="121"/>
                </a:cubicBezTo>
                <a:cubicBezTo>
                  <a:pt x="423" y="125"/>
                  <a:pt x="423" y="125"/>
                  <a:pt x="423" y="125"/>
                </a:cubicBezTo>
                <a:cubicBezTo>
                  <a:pt x="420" y="121"/>
                  <a:pt x="420" y="121"/>
                  <a:pt x="420" y="121"/>
                </a:cubicBezTo>
                <a:cubicBezTo>
                  <a:pt x="405" y="129"/>
                  <a:pt x="405" y="129"/>
                  <a:pt x="405" y="129"/>
                </a:cubicBezTo>
                <a:cubicBezTo>
                  <a:pt x="400" y="127"/>
                  <a:pt x="400" y="127"/>
                  <a:pt x="400" y="127"/>
                </a:cubicBezTo>
                <a:cubicBezTo>
                  <a:pt x="400" y="127"/>
                  <a:pt x="400" y="127"/>
                  <a:pt x="394" y="136"/>
                </a:cubicBezTo>
                <a:cubicBezTo>
                  <a:pt x="376" y="137"/>
                  <a:pt x="372" y="131"/>
                  <a:pt x="372" y="128"/>
                </a:cubicBezTo>
                <a:cubicBezTo>
                  <a:pt x="372" y="126"/>
                  <a:pt x="366" y="120"/>
                  <a:pt x="366" y="120"/>
                </a:cubicBezTo>
                <a:cubicBezTo>
                  <a:pt x="367" y="97"/>
                  <a:pt x="367" y="97"/>
                  <a:pt x="367" y="97"/>
                </a:cubicBezTo>
                <a:cubicBezTo>
                  <a:pt x="360" y="104"/>
                  <a:pt x="360" y="104"/>
                  <a:pt x="360" y="104"/>
                </a:cubicBezTo>
                <a:cubicBezTo>
                  <a:pt x="354" y="96"/>
                  <a:pt x="354" y="96"/>
                  <a:pt x="354" y="96"/>
                </a:cubicBezTo>
                <a:cubicBezTo>
                  <a:pt x="343" y="98"/>
                  <a:pt x="343" y="98"/>
                  <a:pt x="343" y="98"/>
                </a:cubicBezTo>
                <a:cubicBezTo>
                  <a:pt x="343" y="106"/>
                  <a:pt x="343" y="106"/>
                  <a:pt x="343" y="106"/>
                </a:cubicBezTo>
                <a:cubicBezTo>
                  <a:pt x="341" y="108"/>
                  <a:pt x="341" y="108"/>
                  <a:pt x="341" y="108"/>
                </a:cubicBezTo>
                <a:cubicBezTo>
                  <a:pt x="343" y="114"/>
                  <a:pt x="343" y="114"/>
                  <a:pt x="343" y="114"/>
                </a:cubicBezTo>
                <a:cubicBezTo>
                  <a:pt x="345" y="126"/>
                  <a:pt x="345" y="126"/>
                  <a:pt x="345" y="126"/>
                </a:cubicBezTo>
                <a:cubicBezTo>
                  <a:pt x="339" y="145"/>
                  <a:pt x="339" y="145"/>
                  <a:pt x="339" y="145"/>
                </a:cubicBezTo>
                <a:cubicBezTo>
                  <a:pt x="333" y="146"/>
                  <a:pt x="333" y="146"/>
                  <a:pt x="333" y="146"/>
                </a:cubicBezTo>
                <a:cubicBezTo>
                  <a:pt x="329" y="155"/>
                  <a:pt x="329" y="155"/>
                  <a:pt x="329" y="155"/>
                </a:cubicBezTo>
                <a:cubicBezTo>
                  <a:pt x="316" y="162"/>
                  <a:pt x="316" y="162"/>
                  <a:pt x="316" y="162"/>
                </a:cubicBezTo>
                <a:cubicBezTo>
                  <a:pt x="316" y="162"/>
                  <a:pt x="316" y="169"/>
                  <a:pt x="316" y="173"/>
                </a:cubicBezTo>
                <a:cubicBezTo>
                  <a:pt x="316" y="176"/>
                  <a:pt x="308" y="176"/>
                  <a:pt x="308" y="176"/>
                </a:cubicBezTo>
                <a:cubicBezTo>
                  <a:pt x="308" y="176"/>
                  <a:pt x="308" y="182"/>
                  <a:pt x="307" y="187"/>
                </a:cubicBezTo>
                <a:cubicBezTo>
                  <a:pt x="307" y="191"/>
                  <a:pt x="303" y="189"/>
                  <a:pt x="303" y="189"/>
                </a:cubicBezTo>
                <a:cubicBezTo>
                  <a:pt x="308" y="192"/>
                  <a:pt x="308" y="192"/>
                  <a:pt x="308" y="192"/>
                </a:cubicBezTo>
                <a:cubicBezTo>
                  <a:pt x="308" y="199"/>
                  <a:pt x="308" y="199"/>
                  <a:pt x="308" y="199"/>
                </a:cubicBezTo>
                <a:cubicBezTo>
                  <a:pt x="317" y="206"/>
                  <a:pt x="317" y="206"/>
                  <a:pt x="317" y="206"/>
                </a:cubicBezTo>
                <a:cubicBezTo>
                  <a:pt x="306" y="218"/>
                  <a:pt x="306" y="218"/>
                  <a:pt x="306" y="218"/>
                </a:cubicBezTo>
                <a:cubicBezTo>
                  <a:pt x="299" y="214"/>
                  <a:pt x="299" y="214"/>
                  <a:pt x="299" y="214"/>
                </a:cubicBezTo>
                <a:cubicBezTo>
                  <a:pt x="294" y="213"/>
                  <a:pt x="294" y="213"/>
                  <a:pt x="294" y="213"/>
                </a:cubicBezTo>
                <a:cubicBezTo>
                  <a:pt x="294" y="213"/>
                  <a:pt x="295" y="203"/>
                  <a:pt x="295" y="201"/>
                </a:cubicBezTo>
                <a:cubicBezTo>
                  <a:pt x="295" y="200"/>
                  <a:pt x="288" y="191"/>
                  <a:pt x="288" y="191"/>
                </a:cubicBezTo>
                <a:cubicBezTo>
                  <a:pt x="285" y="186"/>
                  <a:pt x="285" y="186"/>
                  <a:pt x="285" y="186"/>
                </a:cubicBezTo>
                <a:cubicBezTo>
                  <a:pt x="278" y="186"/>
                  <a:pt x="278" y="186"/>
                  <a:pt x="278" y="186"/>
                </a:cubicBezTo>
                <a:cubicBezTo>
                  <a:pt x="287" y="172"/>
                  <a:pt x="287" y="172"/>
                  <a:pt x="287" y="172"/>
                </a:cubicBezTo>
                <a:cubicBezTo>
                  <a:pt x="284" y="166"/>
                  <a:pt x="284" y="166"/>
                  <a:pt x="284" y="166"/>
                </a:cubicBezTo>
                <a:cubicBezTo>
                  <a:pt x="277" y="165"/>
                  <a:pt x="277" y="165"/>
                  <a:pt x="277" y="165"/>
                </a:cubicBezTo>
                <a:cubicBezTo>
                  <a:pt x="257" y="162"/>
                  <a:pt x="257" y="162"/>
                  <a:pt x="257" y="162"/>
                </a:cubicBezTo>
                <a:cubicBezTo>
                  <a:pt x="248" y="143"/>
                  <a:pt x="248" y="143"/>
                  <a:pt x="248" y="143"/>
                </a:cubicBezTo>
                <a:cubicBezTo>
                  <a:pt x="238" y="139"/>
                  <a:pt x="238" y="139"/>
                  <a:pt x="238" y="139"/>
                </a:cubicBezTo>
                <a:cubicBezTo>
                  <a:pt x="238" y="139"/>
                  <a:pt x="238" y="131"/>
                  <a:pt x="238" y="128"/>
                </a:cubicBezTo>
                <a:cubicBezTo>
                  <a:pt x="238" y="125"/>
                  <a:pt x="242" y="122"/>
                  <a:pt x="242" y="122"/>
                </a:cubicBezTo>
                <a:cubicBezTo>
                  <a:pt x="242" y="122"/>
                  <a:pt x="243" y="108"/>
                  <a:pt x="241" y="100"/>
                </a:cubicBezTo>
                <a:cubicBezTo>
                  <a:pt x="239" y="92"/>
                  <a:pt x="222" y="110"/>
                  <a:pt x="222" y="110"/>
                </a:cubicBezTo>
                <a:cubicBezTo>
                  <a:pt x="222" y="110"/>
                  <a:pt x="222" y="110"/>
                  <a:pt x="223" y="115"/>
                </a:cubicBezTo>
                <a:cubicBezTo>
                  <a:pt x="214" y="116"/>
                  <a:pt x="211" y="126"/>
                  <a:pt x="211" y="126"/>
                </a:cubicBezTo>
                <a:cubicBezTo>
                  <a:pt x="199" y="127"/>
                  <a:pt x="199" y="127"/>
                  <a:pt x="199" y="127"/>
                </a:cubicBezTo>
                <a:cubicBezTo>
                  <a:pt x="194" y="132"/>
                  <a:pt x="194" y="132"/>
                  <a:pt x="194" y="132"/>
                </a:cubicBezTo>
                <a:cubicBezTo>
                  <a:pt x="202" y="142"/>
                  <a:pt x="202" y="142"/>
                  <a:pt x="202" y="142"/>
                </a:cubicBezTo>
                <a:cubicBezTo>
                  <a:pt x="202" y="142"/>
                  <a:pt x="202" y="156"/>
                  <a:pt x="197" y="159"/>
                </a:cubicBezTo>
                <a:cubicBezTo>
                  <a:pt x="193" y="161"/>
                  <a:pt x="187" y="161"/>
                  <a:pt x="187" y="161"/>
                </a:cubicBezTo>
                <a:cubicBezTo>
                  <a:pt x="187" y="161"/>
                  <a:pt x="187" y="168"/>
                  <a:pt x="185" y="174"/>
                </a:cubicBezTo>
                <a:cubicBezTo>
                  <a:pt x="183" y="181"/>
                  <a:pt x="171" y="179"/>
                  <a:pt x="168" y="180"/>
                </a:cubicBezTo>
                <a:cubicBezTo>
                  <a:pt x="165" y="181"/>
                  <a:pt x="163" y="191"/>
                  <a:pt x="163" y="191"/>
                </a:cubicBezTo>
                <a:cubicBezTo>
                  <a:pt x="154" y="193"/>
                  <a:pt x="154" y="193"/>
                  <a:pt x="154" y="193"/>
                </a:cubicBezTo>
                <a:cubicBezTo>
                  <a:pt x="154" y="193"/>
                  <a:pt x="151" y="189"/>
                  <a:pt x="150" y="189"/>
                </a:cubicBezTo>
                <a:cubicBezTo>
                  <a:pt x="148" y="189"/>
                  <a:pt x="147" y="192"/>
                  <a:pt x="147" y="192"/>
                </a:cubicBezTo>
                <a:cubicBezTo>
                  <a:pt x="139" y="182"/>
                  <a:pt x="139" y="182"/>
                  <a:pt x="139" y="182"/>
                </a:cubicBezTo>
                <a:cubicBezTo>
                  <a:pt x="127" y="182"/>
                  <a:pt x="127" y="182"/>
                  <a:pt x="127" y="182"/>
                </a:cubicBezTo>
                <a:cubicBezTo>
                  <a:pt x="129" y="177"/>
                  <a:pt x="129" y="177"/>
                  <a:pt x="129" y="177"/>
                </a:cubicBezTo>
                <a:cubicBezTo>
                  <a:pt x="124" y="176"/>
                  <a:pt x="124" y="176"/>
                  <a:pt x="124" y="176"/>
                </a:cubicBezTo>
                <a:cubicBezTo>
                  <a:pt x="123" y="184"/>
                  <a:pt x="123" y="184"/>
                  <a:pt x="123" y="184"/>
                </a:cubicBezTo>
                <a:cubicBezTo>
                  <a:pt x="118" y="184"/>
                  <a:pt x="118" y="184"/>
                  <a:pt x="118" y="184"/>
                </a:cubicBezTo>
                <a:cubicBezTo>
                  <a:pt x="104" y="192"/>
                  <a:pt x="104" y="192"/>
                  <a:pt x="104" y="192"/>
                </a:cubicBezTo>
                <a:cubicBezTo>
                  <a:pt x="93" y="189"/>
                  <a:pt x="93" y="189"/>
                  <a:pt x="93" y="189"/>
                </a:cubicBezTo>
                <a:cubicBezTo>
                  <a:pt x="93" y="189"/>
                  <a:pt x="91" y="192"/>
                  <a:pt x="89" y="195"/>
                </a:cubicBezTo>
                <a:cubicBezTo>
                  <a:pt x="86" y="197"/>
                  <a:pt x="82" y="191"/>
                  <a:pt x="82" y="191"/>
                </a:cubicBezTo>
                <a:cubicBezTo>
                  <a:pt x="79" y="198"/>
                  <a:pt x="79" y="198"/>
                  <a:pt x="79" y="198"/>
                </a:cubicBezTo>
                <a:cubicBezTo>
                  <a:pt x="74" y="193"/>
                  <a:pt x="74" y="193"/>
                  <a:pt x="74" y="193"/>
                </a:cubicBezTo>
                <a:cubicBezTo>
                  <a:pt x="69" y="198"/>
                  <a:pt x="69" y="198"/>
                  <a:pt x="69" y="198"/>
                </a:cubicBezTo>
                <a:cubicBezTo>
                  <a:pt x="61" y="188"/>
                  <a:pt x="61" y="188"/>
                  <a:pt x="61" y="188"/>
                </a:cubicBezTo>
                <a:cubicBezTo>
                  <a:pt x="57" y="184"/>
                  <a:pt x="58" y="190"/>
                  <a:pt x="53" y="195"/>
                </a:cubicBezTo>
                <a:cubicBezTo>
                  <a:pt x="48" y="198"/>
                  <a:pt x="43" y="199"/>
                  <a:pt x="41" y="199"/>
                </a:cubicBezTo>
                <a:cubicBezTo>
                  <a:pt x="40" y="199"/>
                  <a:pt x="40" y="199"/>
                  <a:pt x="40" y="199"/>
                </a:cubicBezTo>
                <a:cubicBezTo>
                  <a:pt x="37" y="200"/>
                  <a:pt x="37" y="200"/>
                  <a:pt x="37" y="200"/>
                </a:cubicBezTo>
                <a:cubicBezTo>
                  <a:pt x="34" y="200"/>
                  <a:pt x="34" y="200"/>
                  <a:pt x="34" y="200"/>
                </a:cubicBezTo>
                <a:cubicBezTo>
                  <a:pt x="34" y="200"/>
                  <a:pt x="29" y="209"/>
                  <a:pt x="30" y="216"/>
                </a:cubicBezTo>
                <a:cubicBezTo>
                  <a:pt x="30" y="223"/>
                  <a:pt x="33" y="227"/>
                  <a:pt x="40" y="228"/>
                </a:cubicBezTo>
                <a:cubicBezTo>
                  <a:pt x="46" y="229"/>
                  <a:pt x="44" y="234"/>
                  <a:pt x="44" y="234"/>
                </a:cubicBezTo>
                <a:cubicBezTo>
                  <a:pt x="53" y="236"/>
                  <a:pt x="53" y="236"/>
                  <a:pt x="53" y="236"/>
                </a:cubicBezTo>
                <a:cubicBezTo>
                  <a:pt x="48" y="246"/>
                  <a:pt x="48" y="246"/>
                  <a:pt x="48" y="246"/>
                </a:cubicBezTo>
                <a:cubicBezTo>
                  <a:pt x="51" y="247"/>
                  <a:pt x="51" y="247"/>
                  <a:pt x="51" y="247"/>
                </a:cubicBezTo>
                <a:cubicBezTo>
                  <a:pt x="50" y="260"/>
                  <a:pt x="50" y="260"/>
                  <a:pt x="50" y="260"/>
                </a:cubicBezTo>
                <a:cubicBezTo>
                  <a:pt x="50" y="260"/>
                  <a:pt x="53" y="262"/>
                  <a:pt x="57" y="262"/>
                </a:cubicBezTo>
                <a:cubicBezTo>
                  <a:pt x="61" y="262"/>
                  <a:pt x="57" y="268"/>
                  <a:pt x="57" y="268"/>
                </a:cubicBezTo>
                <a:cubicBezTo>
                  <a:pt x="57" y="268"/>
                  <a:pt x="58" y="268"/>
                  <a:pt x="62" y="268"/>
                </a:cubicBezTo>
                <a:cubicBezTo>
                  <a:pt x="62" y="268"/>
                  <a:pt x="63" y="268"/>
                  <a:pt x="64" y="268"/>
                </a:cubicBezTo>
                <a:cubicBezTo>
                  <a:pt x="68" y="268"/>
                  <a:pt x="64" y="274"/>
                  <a:pt x="64" y="274"/>
                </a:cubicBezTo>
                <a:cubicBezTo>
                  <a:pt x="71" y="279"/>
                  <a:pt x="71" y="279"/>
                  <a:pt x="71" y="279"/>
                </a:cubicBezTo>
                <a:cubicBezTo>
                  <a:pt x="67" y="292"/>
                  <a:pt x="67" y="292"/>
                  <a:pt x="67" y="292"/>
                </a:cubicBezTo>
                <a:cubicBezTo>
                  <a:pt x="63" y="293"/>
                  <a:pt x="63" y="293"/>
                  <a:pt x="63" y="293"/>
                </a:cubicBezTo>
                <a:cubicBezTo>
                  <a:pt x="63" y="293"/>
                  <a:pt x="65" y="299"/>
                  <a:pt x="66" y="304"/>
                </a:cubicBezTo>
                <a:cubicBezTo>
                  <a:pt x="66" y="310"/>
                  <a:pt x="60" y="311"/>
                  <a:pt x="58" y="312"/>
                </a:cubicBezTo>
                <a:cubicBezTo>
                  <a:pt x="57" y="313"/>
                  <a:pt x="57" y="313"/>
                  <a:pt x="56" y="313"/>
                </a:cubicBezTo>
                <a:cubicBezTo>
                  <a:pt x="54" y="313"/>
                  <a:pt x="51" y="312"/>
                  <a:pt x="46" y="312"/>
                </a:cubicBezTo>
                <a:cubicBezTo>
                  <a:pt x="39" y="313"/>
                  <a:pt x="43" y="320"/>
                  <a:pt x="43" y="320"/>
                </a:cubicBezTo>
                <a:cubicBezTo>
                  <a:pt x="33" y="320"/>
                  <a:pt x="33" y="320"/>
                  <a:pt x="33" y="320"/>
                </a:cubicBezTo>
                <a:cubicBezTo>
                  <a:pt x="33" y="320"/>
                  <a:pt x="33" y="326"/>
                  <a:pt x="29" y="326"/>
                </a:cubicBezTo>
                <a:cubicBezTo>
                  <a:pt x="25" y="326"/>
                  <a:pt x="17" y="320"/>
                  <a:pt x="17" y="320"/>
                </a:cubicBezTo>
                <a:cubicBezTo>
                  <a:pt x="17" y="320"/>
                  <a:pt x="15" y="321"/>
                  <a:pt x="12" y="323"/>
                </a:cubicBezTo>
                <a:cubicBezTo>
                  <a:pt x="8" y="325"/>
                  <a:pt x="6" y="323"/>
                  <a:pt x="6" y="323"/>
                </a:cubicBezTo>
                <a:cubicBezTo>
                  <a:pt x="0" y="328"/>
                  <a:pt x="0" y="328"/>
                  <a:pt x="0" y="328"/>
                </a:cubicBezTo>
                <a:cubicBezTo>
                  <a:pt x="2" y="344"/>
                  <a:pt x="2" y="344"/>
                  <a:pt x="2" y="344"/>
                </a:cubicBezTo>
                <a:cubicBezTo>
                  <a:pt x="2" y="344"/>
                  <a:pt x="7" y="345"/>
                  <a:pt x="12" y="347"/>
                </a:cubicBezTo>
                <a:cubicBezTo>
                  <a:pt x="18" y="349"/>
                  <a:pt x="12" y="362"/>
                  <a:pt x="12" y="362"/>
                </a:cubicBezTo>
                <a:cubicBezTo>
                  <a:pt x="12" y="362"/>
                  <a:pt x="28" y="377"/>
                  <a:pt x="32" y="377"/>
                </a:cubicBezTo>
                <a:cubicBezTo>
                  <a:pt x="37" y="377"/>
                  <a:pt x="36" y="375"/>
                  <a:pt x="36" y="375"/>
                </a:cubicBezTo>
                <a:cubicBezTo>
                  <a:pt x="46" y="383"/>
                  <a:pt x="46" y="383"/>
                  <a:pt x="46" y="383"/>
                </a:cubicBezTo>
                <a:cubicBezTo>
                  <a:pt x="46" y="383"/>
                  <a:pt x="43" y="386"/>
                  <a:pt x="42" y="388"/>
                </a:cubicBezTo>
                <a:cubicBezTo>
                  <a:pt x="41" y="391"/>
                  <a:pt x="46" y="392"/>
                  <a:pt x="46" y="392"/>
                </a:cubicBezTo>
                <a:cubicBezTo>
                  <a:pt x="46" y="398"/>
                  <a:pt x="46" y="398"/>
                  <a:pt x="46" y="398"/>
                </a:cubicBezTo>
                <a:cubicBezTo>
                  <a:pt x="52" y="408"/>
                  <a:pt x="52" y="408"/>
                  <a:pt x="52" y="408"/>
                </a:cubicBezTo>
                <a:cubicBezTo>
                  <a:pt x="52" y="408"/>
                  <a:pt x="52" y="408"/>
                  <a:pt x="40" y="405"/>
                </a:cubicBezTo>
                <a:cubicBezTo>
                  <a:pt x="29" y="403"/>
                  <a:pt x="36" y="424"/>
                  <a:pt x="28" y="428"/>
                </a:cubicBezTo>
                <a:cubicBezTo>
                  <a:pt x="20" y="433"/>
                  <a:pt x="21" y="438"/>
                  <a:pt x="21" y="438"/>
                </a:cubicBezTo>
                <a:cubicBezTo>
                  <a:pt x="31" y="452"/>
                  <a:pt x="31" y="452"/>
                  <a:pt x="31" y="452"/>
                </a:cubicBezTo>
                <a:cubicBezTo>
                  <a:pt x="23" y="453"/>
                  <a:pt x="23" y="453"/>
                  <a:pt x="23" y="453"/>
                </a:cubicBezTo>
                <a:cubicBezTo>
                  <a:pt x="23" y="453"/>
                  <a:pt x="23" y="465"/>
                  <a:pt x="26" y="466"/>
                </a:cubicBezTo>
                <a:cubicBezTo>
                  <a:pt x="28" y="467"/>
                  <a:pt x="28" y="471"/>
                  <a:pt x="31" y="477"/>
                </a:cubicBezTo>
                <a:cubicBezTo>
                  <a:pt x="33" y="482"/>
                  <a:pt x="36" y="478"/>
                  <a:pt x="36" y="484"/>
                </a:cubicBezTo>
                <a:cubicBezTo>
                  <a:pt x="36" y="490"/>
                  <a:pt x="40" y="488"/>
                  <a:pt x="43" y="488"/>
                </a:cubicBezTo>
                <a:cubicBezTo>
                  <a:pt x="47" y="488"/>
                  <a:pt x="52" y="496"/>
                  <a:pt x="56" y="496"/>
                </a:cubicBezTo>
                <a:cubicBezTo>
                  <a:pt x="61" y="496"/>
                  <a:pt x="69" y="506"/>
                  <a:pt x="69" y="506"/>
                </a:cubicBezTo>
                <a:cubicBezTo>
                  <a:pt x="79" y="506"/>
                  <a:pt x="79" y="506"/>
                  <a:pt x="79" y="506"/>
                </a:cubicBezTo>
                <a:cubicBezTo>
                  <a:pt x="78" y="511"/>
                  <a:pt x="78" y="511"/>
                  <a:pt x="78" y="511"/>
                </a:cubicBezTo>
                <a:cubicBezTo>
                  <a:pt x="85" y="511"/>
                  <a:pt x="85" y="511"/>
                  <a:pt x="85" y="511"/>
                </a:cubicBezTo>
                <a:cubicBezTo>
                  <a:pt x="88" y="513"/>
                  <a:pt x="88" y="513"/>
                  <a:pt x="88" y="513"/>
                </a:cubicBezTo>
                <a:cubicBezTo>
                  <a:pt x="88" y="513"/>
                  <a:pt x="88" y="511"/>
                  <a:pt x="91" y="509"/>
                </a:cubicBezTo>
                <a:cubicBezTo>
                  <a:pt x="93" y="508"/>
                  <a:pt x="113" y="507"/>
                  <a:pt x="113" y="507"/>
                </a:cubicBezTo>
                <a:cubicBezTo>
                  <a:pt x="117" y="502"/>
                  <a:pt x="117" y="502"/>
                  <a:pt x="117" y="502"/>
                </a:cubicBezTo>
                <a:cubicBezTo>
                  <a:pt x="124" y="505"/>
                  <a:pt x="124" y="505"/>
                  <a:pt x="124" y="505"/>
                </a:cubicBezTo>
                <a:cubicBezTo>
                  <a:pt x="118" y="510"/>
                  <a:pt x="118" y="510"/>
                  <a:pt x="118" y="510"/>
                </a:cubicBezTo>
                <a:cubicBezTo>
                  <a:pt x="118" y="510"/>
                  <a:pt x="123" y="517"/>
                  <a:pt x="126" y="521"/>
                </a:cubicBezTo>
                <a:cubicBezTo>
                  <a:pt x="127" y="522"/>
                  <a:pt x="127" y="523"/>
                  <a:pt x="126" y="524"/>
                </a:cubicBezTo>
                <a:cubicBezTo>
                  <a:pt x="124" y="526"/>
                  <a:pt x="119" y="528"/>
                  <a:pt x="119" y="530"/>
                </a:cubicBezTo>
                <a:cubicBezTo>
                  <a:pt x="118" y="533"/>
                  <a:pt x="120" y="534"/>
                  <a:pt x="116" y="539"/>
                </a:cubicBezTo>
                <a:cubicBezTo>
                  <a:pt x="113" y="544"/>
                  <a:pt x="106" y="542"/>
                  <a:pt x="106" y="542"/>
                </a:cubicBezTo>
                <a:cubicBezTo>
                  <a:pt x="103" y="552"/>
                  <a:pt x="103" y="552"/>
                  <a:pt x="103" y="552"/>
                </a:cubicBezTo>
                <a:cubicBezTo>
                  <a:pt x="95" y="557"/>
                  <a:pt x="95" y="557"/>
                  <a:pt x="95" y="557"/>
                </a:cubicBezTo>
                <a:cubicBezTo>
                  <a:pt x="98" y="571"/>
                  <a:pt x="98" y="571"/>
                  <a:pt x="98" y="571"/>
                </a:cubicBezTo>
                <a:cubicBezTo>
                  <a:pt x="108" y="574"/>
                  <a:pt x="108" y="574"/>
                  <a:pt x="108" y="574"/>
                </a:cubicBezTo>
                <a:cubicBezTo>
                  <a:pt x="115" y="575"/>
                  <a:pt x="115" y="575"/>
                  <a:pt x="115" y="575"/>
                </a:cubicBezTo>
                <a:cubicBezTo>
                  <a:pt x="118" y="570"/>
                  <a:pt x="118" y="570"/>
                  <a:pt x="118" y="570"/>
                </a:cubicBezTo>
                <a:cubicBezTo>
                  <a:pt x="125" y="571"/>
                  <a:pt x="125" y="571"/>
                  <a:pt x="125" y="571"/>
                </a:cubicBezTo>
                <a:cubicBezTo>
                  <a:pt x="132" y="567"/>
                  <a:pt x="132" y="567"/>
                  <a:pt x="132" y="567"/>
                </a:cubicBezTo>
                <a:cubicBezTo>
                  <a:pt x="138" y="569"/>
                  <a:pt x="138" y="569"/>
                  <a:pt x="138" y="569"/>
                </a:cubicBezTo>
                <a:cubicBezTo>
                  <a:pt x="168" y="557"/>
                  <a:pt x="168" y="557"/>
                  <a:pt x="168" y="557"/>
                </a:cubicBezTo>
                <a:cubicBezTo>
                  <a:pt x="181" y="545"/>
                  <a:pt x="181" y="545"/>
                  <a:pt x="181" y="545"/>
                </a:cubicBezTo>
                <a:cubicBezTo>
                  <a:pt x="182" y="537"/>
                  <a:pt x="182" y="537"/>
                  <a:pt x="182" y="537"/>
                </a:cubicBezTo>
                <a:cubicBezTo>
                  <a:pt x="193" y="531"/>
                  <a:pt x="193" y="531"/>
                  <a:pt x="193" y="531"/>
                </a:cubicBezTo>
                <a:cubicBezTo>
                  <a:pt x="193" y="531"/>
                  <a:pt x="191" y="519"/>
                  <a:pt x="195" y="515"/>
                </a:cubicBezTo>
                <a:cubicBezTo>
                  <a:pt x="200" y="510"/>
                  <a:pt x="214" y="506"/>
                  <a:pt x="218" y="504"/>
                </a:cubicBezTo>
                <a:cubicBezTo>
                  <a:pt x="221" y="503"/>
                  <a:pt x="216" y="501"/>
                  <a:pt x="216" y="501"/>
                </a:cubicBezTo>
                <a:cubicBezTo>
                  <a:pt x="222" y="495"/>
                  <a:pt x="222" y="495"/>
                  <a:pt x="222" y="495"/>
                </a:cubicBezTo>
                <a:cubicBezTo>
                  <a:pt x="221" y="486"/>
                  <a:pt x="221" y="486"/>
                  <a:pt x="221" y="486"/>
                </a:cubicBezTo>
                <a:cubicBezTo>
                  <a:pt x="260" y="466"/>
                  <a:pt x="260" y="466"/>
                  <a:pt x="260" y="466"/>
                </a:cubicBezTo>
                <a:cubicBezTo>
                  <a:pt x="271" y="467"/>
                  <a:pt x="271" y="467"/>
                  <a:pt x="271" y="467"/>
                </a:cubicBezTo>
                <a:cubicBezTo>
                  <a:pt x="277" y="471"/>
                  <a:pt x="277" y="471"/>
                  <a:pt x="277" y="471"/>
                </a:cubicBezTo>
                <a:cubicBezTo>
                  <a:pt x="284" y="469"/>
                  <a:pt x="284" y="469"/>
                  <a:pt x="284" y="469"/>
                </a:cubicBezTo>
                <a:cubicBezTo>
                  <a:pt x="287" y="475"/>
                  <a:pt x="287" y="475"/>
                  <a:pt x="287" y="475"/>
                </a:cubicBezTo>
                <a:cubicBezTo>
                  <a:pt x="313" y="479"/>
                  <a:pt x="313" y="479"/>
                  <a:pt x="313" y="479"/>
                </a:cubicBezTo>
                <a:cubicBezTo>
                  <a:pt x="313" y="488"/>
                  <a:pt x="313" y="488"/>
                  <a:pt x="313" y="488"/>
                </a:cubicBezTo>
                <a:cubicBezTo>
                  <a:pt x="318" y="491"/>
                  <a:pt x="318" y="491"/>
                  <a:pt x="318" y="491"/>
                </a:cubicBezTo>
                <a:cubicBezTo>
                  <a:pt x="323" y="481"/>
                  <a:pt x="323" y="481"/>
                  <a:pt x="323" y="481"/>
                </a:cubicBezTo>
                <a:cubicBezTo>
                  <a:pt x="323" y="481"/>
                  <a:pt x="336" y="490"/>
                  <a:pt x="340" y="492"/>
                </a:cubicBezTo>
                <a:cubicBezTo>
                  <a:pt x="343" y="494"/>
                  <a:pt x="343" y="499"/>
                  <a:pt x="343" y="499"/>
                </a:cubicBezTo>
                <a:cubicBezTo>
                  <a:pt x="343" y="499"/>
                  <a:pt x="347" y="501"/>
                  <a:pt x="353" y="501"/>
                </a:cubicBezTo>
                <a:cubicBezTo>
                  <a:pt x="359" y="501"/>
                  <a:pt x="356" y="505"/>
                  <a:pt x="356" y="505"/>
                </a:cubicBezTo>
                <a:cubicBezTo>
                  <a:pt x="356" y="505"/>
                  <a:pt x="362" y="510"/>
                  <a:pt x="366" y="512"/>
                </a:cubicBezTo>
                <a:cubicBezTo>
                  <a:pt x="371" y="515"/>
                  <a:pt x="372" y="521"/>
                  <a:pt x="372" y="521"/>
                </a:cubicBezTo>
                <a:cubicBezTo>
                  <a:pt x="372" y="518"/>
                  <a:pt x="381" y="522"/>
                  <a:pt x="382" y="526"/>
                </a:cubicBezTo>
                <a:cubicBezTo>
                  <a:pt x="384" y="529"/>
                  <a:pt x="396" y="538"/>
                  <a:pt x="396" y="538"/>
                </a:cubicBezTo>
                <a:cubicBezTo>
                  <a:pt x="400" y="537"/>
                  <a:pt x="400" y="537"/>
                  <a:pt x="400" y="537"/>
                </a:cubicBezTo>
                <a:cubicBezTo>
                  <a:pt x="400" y="537"/>
                  <a:pt x="396" y="528"/>
                  <a:pt x="400" y="527"/>
                </a:cubicBezTo>
                <a:cubicBezTo>
                  <a:pt x="404" y="526"/>
                  <a:pt x="416" y="541"/>
                  <a:pt x="416" y="541"/>
                </a:cubicBezTo>
                <a:cubicBezTo>
                  <a:pt x="419" y="540"/>
                  <a:pt x="419" y="540"/>
                  <a:pt x="419" y="540"/>
                </a:cubicBezTo>
                <a:cubicBezTo>
                  <a:pt x="419" y="540"/>
                  <a:pt x="420" y="541"/>
                  <a:pt x="421" y="541"/>
                </a:cubicBezTo>
                <a:cubicBezTo>
                  <a:pt x="423" y="541"/>
                  <a:pt x="426" y="542"/>
                  <a:pt x="429" y="543"/>
                </a:cubicBezTo>
                <a:cubicBezTo>
                  <a:pt x="433" y="545"/>
                  <a:pt x="444" y="564"/>
                  <a:pt x="446" y="567"/>
                </a:cubicBezTo>
                <a:cubicBezTo>
                  <a:pt x="449" y="571"/>
                  <a:pt x="451" y="591"/>
                  <a:pt x="451" y="598"/>
                </a:cubicBezTo>
                <a:cubicBezTo>
                  <a:pt x="451" y="606"/>
                  <a:pt x="451" y="615"/>
                  <a:pt x="455" y="623"/>
                </a:cubicBezTo>
                <a:cubicBezTo>
                  <a:pt x="459" y="630"/>
                  <a:pt x="457" y="641"/>
                  <a:pt x="457" y="641"/>
                </a:cubicBezTo>
                <a:cubicBezTo>
                  <a:pt x="457" y="641"/>
                  <a:pt x="462" y="648"/>
                  <a:pt x="467" y="654"/>
                </a:cubicBezTo>
                <a:cubicBezTo>
                  <a:pt x="471" y="659"/>
                  <a:pt x="471" y="659"/>
                  <a:pt x="473" y="665"/>
                </a:cubicBezTo>
                <a:cubicBezTo>
                  <a:pt x="475" y="670"/>
                  <a:pt x="481" y="679"/>
                  <a:pt x="484" y="686"/>
                </a:cubicBezTo>
                <a:cubicBezTo>
                  <a:pt x="487" y="694"/>
                  <a:pt x="484" y="711"/>
                  <a:pt x="483" y="722"/>
                </a:cubicBezTo>
                <a:cubicBezTo>
                  <a:pt x="482" y="733"/>
                  <a:pt x="476" y="729"/>
                  <a:pt x="476" y="731"/>
                </a:cubicBezTo>
                <a:cubicBezTo>
                  <a:pt x="476" y="732"/>
                  <a:pt x="482" y="743"/>
                  <a:pt x="482" y="743"/>
                </a:cubicBezTo>
                <a:cubicBezTo>
                  <a:pt x="487" y="736"/>
                  <a:pt x="487" y="736"/>
                  <a:pt x="487" y="736"/>
                </a:cubicBezTo>
                <a:cubicBezTo>
                  <a:pt x="487" y="736"/>
                  <a:pt x="495" y="736"/>
                  <a:pt x="502" y="736"/>
                </a:cubicBezTo>
                <a:cubicBezTo>
                  <a:pt x="510" y="736"/>
                  <a:pt x="514" y="748"/>
                  <a:pt x="514" y="751"/>
                </a:cubicBezTo>
                <a:cubicBezTo>
                  <a:pt x="514" y="754"/>
                  <a:pt x="507" y="765"/>
                  <a:pt x="507" y="765"/>
                </a:cubicBezTo>
                <a:cubicBezTo>
                  <a:pt x="507" y="765"/>
                  <a:pt x="514" y="767"/>
                  <a:pt x="516" y="768"/>
                </a:cubicBezTo>
                <a:cubicBezTo>
                  <a:pt x="518" y="768"/>
                  <a:pt x="528" y="774"/>
                  <a:pt x="538" y="778"/>
                </a:cubicBezTo>
                <a:cubicBezTo>
                  <a:pt x="548" y="782"/>
                  <a:pt x="542" y="786"/>
                  <a:pt x="543" y="792"/>
                </a:cubicBezTo>
                <a:cubicBezTo>
                  <a:pt x="544" y="799"/>
                  <a:pt x="547" y="793"/>
                  <a:pt x="554" y="798"/>
                </a:cubicBezTo>
                <a:cubicBezTo>
                  <a:pt x="560" y="802"/>
                  <a:pt x="560" y="810"/>
                  <a:pt x="560" y="810"/>
                </a:cubicBezTo>
                <a:cubicBezTo>
                  <a:pt x="562" y="808"/>
                  <a:pt x="562" y="808"/>
                  <a:pt x="562" y="808"/>
                </a:cubicBezTo>
                <a:cubicBezTo>
                  <a:pt x="562" y="808"/>
                  <a:pt x="564" y="809"/>
                  <a:pt x="568" y="813"/>
                </a:cubicBezTo>
                <a:cubicBezTo>
                  <a:pt x="571" y="816"/>
                  <a:pt x="563" y="826"/>
                  <a:pt x="563" y="828"/>
                </a:cubicBezTo>
                <a:cubicBezTo>
                  <a:pt x="562" y="831"/>
                  <a:pt x="556" y="828"/>
                  <a:pt x="556" y="828"/>
                </a:cubicBezTo>
                <a:cubicBezTo>
                  <a:pt x="556" y="828"/>
                  <a:pt x="553" y="834"/>
                  <a:pt x="553" y="837"/>
                </a:cubicBezTo>
                <a:cubicBezTo>
                  <a:pt x="553" y="840"/>
                  <a:pt x="562" y="842"/>
                  <a:pt x="566" y="842"/>
                </a:cubicBezTo>
                <a:cubicBezTo>
                  <a:pt x="569" y="842"/>
                  <a:pt x="568" y="836"/>
                  <a:pt x="571" y="834"/>
                </a:cubicBezTo>
                <a:cubicBezTo>
                  <a:pt x="572" y="832"/>
                  <a:pt x="587" y="838"/>
                  <a:pt x="598" y="842"/>
                </a:cubicBezTo>
                <a:cubicBezTo>
                  <a:pt x="602" y="843"/>
                  <a:pt x="605" y="844"/>
                  <a:pt x="607" y="845"/>
                </a:cubicBezTo>
                <a:cubicBezTo>
                  <a:pt x="618" y="847"/>
                  <a:pt x="633" y="867"/>
                  <a:pt x="635" y="874"/>
                </a:cubicBezTo>
                <a:cubicBezTo>
                  <a:pt x="638" y="881"/>
                  <a:pt x="653" y="904"/>
                  <a:pt x="653" y="904"/>
                </a:cubicBezTo>
                <a:cubicBezTo>
                  <a:pt x="660" y="901"/>
                  <a:pt x="660" y="901"/>
                  <a:pt x="660" y="901"/>
                </a:cubicBezTo>
                <a:cubicBezTo>
                  <a:pt x="660" y="901"/>
                  <a:pt x="688" y="922"/>
                  <a:pt x="695" y="928"/>
                </a:cubicBezTo>
                <a:cubicBezTo>
                  <a:pt x="701" y="935"/>
                  <a:pt x="702" y="955"/>
                  <a:pt x="702" y="955"/>
                </a:cubicBezTo>
                <a:cubicBezTo>
                  <a:pt x="702" y="955"/>
                  <a:pt x="717" y="964"/>
                  <a:pt x="731" y="976"/>
                </a:cubicBezTo>
                <a:cubicBezTo>
                  <a:pt x="745" y="989"/>
                  <a:pt x="754" y="1008"/>
                  <a:pt x="754" y="1008"/>
                </a:cubicBezTo>
                <a:cubicBezTo>
                  <a:pt x="754" y="1008"/>
                  <a:pt x="757" y="1007"/>
                  <a:pt x="762" y="1007"/>
                </a:cubicBezTo>
                <a:cubicBezTo>
                  <a:pt x="768" y="1008"/>
                  <a:pt x="777" y="1015"/>
                  <a:pt x="777" y="1015"/>
                </a:cubicBezTo>
                <a:cubicBezTo>
                  <a:pt x="777" y="1015"/>
                  <a:pt x="787" y="1016"/>
                  <a:pt x="792" y="1017"/>
                </a:cubicBezTo>
                <a:cubicBezTo>
                  <a:pt x="797" y="1019"/>
                  <a:pt x="804" y="1032"/>
                  <a:pt x="808" y="1040"/>
                </a:cubicBezTo>
                <a:cubicBezTo>
                  <a:pt x="812" y="1048"/>
                  <a:pt x="816" y="1049"/>
                  <a:pt x="816" y="1049"/>
                </a:cubicBezTo>
                <a:cubicBezTo>
                  <a:pt x="821" y="1039"/>
                  <a:pt x="847" y="1034"/>
                  <a:pt x="852" y="1035"/>
                </a:cubicBezTo>
                <a:cubicBezTo>
                  <a:pt x="857" y="1035"/>
                  <a:pt x="877" y="1048"/>
                  <a:pt x="877" y="1048"/>
                </a:cubicBezTo>
                <a:cubicBezTo>
                  <a:pt x="886" y="1048"/>
                  <a:pt x="886" y="1048"/>
                  <a:pt x="886" y="1048"/>
                </a:cubicBezTo>
                <a:cubicBezTo>
                  <a:pt x="881" y="1042"/>
                  <a:pt x="899" y="1043"/>
                  <a:pt x="906" y="1045"/>
                </a:cubicBezTo>
                <a:cubicBezTo>
                  <a:pt x="907" y="1045"/>
                  <a:pt x="908" y="1046"/>
                  <a:pt x="909" y="1047"/>
                </a:cubicBezTo>
                <a:cubicBezTo>
                  <a:pt x="916" y="1053"/>
                  <a:pt x="927" y="1069"/>
                  <a:pt x="927" y="1069"/>
                </a:cubicBezTo>
                <a:cubicBezTo>
                  <a:pt x="927" y="1069"/>
                  <a:pt x="928" y="1082"/>
                  <a:pt x="935" y="1087"/>
                </a:cubicBezTo>
                <a:cubicBezTo>
                  <a:pt x="942" y="1092"/>
                  <a:pt x="944" y="1101"/>
                  <a:pt x="946" y="1107"/>
                </a:cubicBezTo>
                <a:cubicBezTo>
                  <a:pt x="948" y="1112"/>
                  <a:pt x="948" y="1123"/>
                  <a:pt x="948" y="1123"/>
                </a:cubicBezTo>
                <a:cubicBezTo>
                  <a:pt x="956" y="1125"/>
                  <a:pt x="956" y="1125"/>
                  <a:pt x="956" y="1125"/>
                </a:cubicBezTo>
                <a:cubicBezTo>
                  <a:pt x="956" y="1125"/>
                  <a:pt x="956" y="1120"/>
                  <a:pt x="957" y="1117"/>
                </a:cubicBezTo>
                <a:cubicBezTo>
                  <a:pt x="957" y="1115"/>
                  <a:pt x="966" y="1124"/>
                  <a:pt x="966" y="1124"/>
                </a:cubicBezTo>
                <a:cubicBezTo>
                  <a:pt x="966" y="1124"/>
                  <a:pt x="974" y="1115"/>
                  <a:pt x="978" y="1114"/>
                </a:cubicBezTo>
                <a:cubicBezTo>
                  <a:pt x="983" y="1112"/>
                  <a:pt x="996" y="1129"/>
                  <a:pt x="996" y="1129"/>
                </a:cubicBezTo>
                <a:cubicBezTo>
                  <a:pt x="996" y="1129"/>
                  <a:pt x="1003" y="1130"/>
                  <a:pt x="1005" y="1130"/>
                </a:cubicBezTo>
                <a:cubicBezTo>
                  <a:pt x="1007" y="1130"/>
                  <a:pt x="1009" y="1139"/>
                  <a:pt x="1009" y="1139"/>
                </a:cubicBezTo>
                <a:cubicBezTo>
                  <a:pt x="1009" y="1139"/>
                  <a:pt x="1005" y="1141"/>
                  <a:pt x="1003" y="1141"/>
                </a:cubicBezTo>
                <a:cubicBezTo>
                  <a:pt x="1000" y="1141"/>
                  <a:pt x="1001" y="1149"/>
                  <a:pt x="1000" y="1151"/>
                </a:cubicBezTo>
                <a:cubicBezTo>
                  <a:pt x="1000" y="1152"/>
                  <a:pt x="994" y="1151"/>
                  <a:pt x="991" y="1151"/>
                </a:cubicBezTo>
                <a:cubicBezTo>
                  <a:pt x="988" y="1151"/>
                  <a:pt x="987" y="1164"/>
                  <a:pt x="987" y="1164"/>
                </a:cubicBezTo>
                <a:cubicBezTo>
                  <a:pt x="1007" y="1155"/>
                  <a:pt x="1007" y="1155"/>
                  <a:pt x="1007" y="1155"/>
                </a:cubicBezTo>
                <a:cubicBezTo>
                  <a:pt x="1019" y="1155"/>
                  <a:pt x="1019" y="1155"/>
                  <a:pt x="1019" y="1155"/>
                </a:cubicBezTo>
                <a:cubicBezTo>
                  <a:pt x="1029" y="1148"/>
                  <a:pt x="1029" y="1148"/>
                  <a:pt x="1029" y="1148"/>
                </a:cubicBezTo>
                <a:cubicBezTo>
                  <a:pt x="1037" y="1151"/>
                  <a:pt x="1037" y="1151"/>
                  <a:pt x="1037" y="1151"/>
                </a:cubicBezTo>
                <a:cubicBezTo>
                  <a:pt x="1037" y="1151"/>
                  <a:pt x="1042" y="1143"/>
                  <a:pt x="1047" y="1143"/>
                </a:cubicBezTo>
                <a:cubicBezTo>
                  <a:pt x="1051" y="1143"/>
                  <a:pt x="1059" y="1158"/>
                  <a:pt x="1065" y="1162"/>
                </a:cubicBezTo>
                <a:cubicBezTo>
                  <a:pt x="1071" y="1166"/>
                  <a:pt x="1079" y="1190"/>
                  <a:pt x="1080" y="1195"/>
                </a:cubicBezTo>
                <a:cubicBezTo>
                  <a:pt x="1081" y="1200"/>
                  <a:pt x="1073" y="1203"/>
                  <a:pt x="1073" y="1203"/>
                </a:cubicBezTo>
                <a:cubicBezTo>
                  <a:pt x="1075" y="1213"/>
                  <a:pt x="1075" y="1213"/>
                  <a:pt x="1075" y="1213"/>
                </a:cubicBezTo>
                <a:cubicBezTo>
                  <a:pt x="1075" y="1213"/>
                  <a:pt x="1070" y="1217"/>
                  <a:pt x="1068" y="1220"/>
                </a:cubicBezTo>
                <a:cubicBezTo>
                  <a:pt x="1067" y="1222"/>
                  <a:pt x="1072" y="1221"/>
                  <a:pt x="1078" y="1223"/>
                </a:cubicBezTo>
                <a:cubicBezTo>
                  <a:pt x="1083" y="1226"/>
                  <a:pt x="1088" y="1235"/>
                  <a:pt x="1088" y="1235"/>
                </a:cubicBezTo>
                <a:cubicBezTo>
                  <a:pt x="1099" y="1231"/>
                  <a:pt x="1099" y="1231"/>
                  <a:pt x="1099" y="1231"/>
                </a:cubicBezTo>
                <a:cubicBezTo>
                  <a:pt x="1099" y="1231"/>
                  <a:pt x="1114" y="1245"/>
                  <a:pt x="1119" y="1248"/>
                </a:cubicBezTo>
                <a:cubicBezTo>
                  <a:pt x="1123" y="1251"/>
                  <a:pt x="1119" y="1257"/>
                  <a:pt x="1119" y="1257"/>
                </a:cubicBezTo>
                <a:cubicBezTo>
                  <a:pt x="1119" y="1257"/>
                  <a:pt x="1121" y="1255"/>
                  <a:pt x="1127" y="1255"/>
                </a:cubicBezTo>
                <a:cubicBezTo>
                  <a:pt x="1132" y="1255"/>
                  <a:pt x="1133" y="1263"/>
                  <a:pt x="1136" y="1263"/>
                </a:cubicBezTo>
                <a:cubicBezTo>
                  <a:pt x="1139" y="1264"/>
                  <a:pt x="1144" y="1255"/>
                  <a:pt x="1148" y="1249"/>
                </a:cubicBezTo>
                <a:cubicBezTo>
                  <a:pt x="1152" y="1244"/>
                  <a:pt x="1167" y="1247"/>
                  <a:pt x="1167" y="1247"/>
                </a:cubicBezTo>
                <a:cubicBezTo>
                  <a:pt x="1168" y="1254"/>
                  <a:pt x="1168" y="1254"/>
                  <a:pt x="1168" y="1254"/>
                </a:cubicBezTo>
                <a:cubicBezTo>
                  <a:pt x="1168" y="1254"/>
                  <a:pt x="1169" y="1254"/>
                  <a:pt x="1170" y="1254"/>
                </a:cubicBezTo>
                <a:cubicBezTo>
                  <a:pt x="1172" y="1254"/>
                  <a:pt x="1174" y="1255"/>
                  <a:pt x="1175" y="1255"/>
                </a:cubicBezTo>
                <a:cubicBezTo>
                  <a:pt x="1176" y="1255"/>
                  <a:pt x="1181" y="1265"/>
                  <a:pt x="1184" y="1273"/>
                </a:cubicBezTo>
                <a:cubicBezTo>
                  <a:pt x="1187" y="1279"/>
                  <a:pt x="1190" y="1284"/>
                  <a:pt x="1190" y="1284"/>
                </a:cubicBezTo>
                <a:cubicBezTo>
                  <a:pt x="1188" y="1290"/>
                  <a:pt x="1188" y="1290"/>
                  <a:pt x="1188" y="1290"/>
                </a:cubicBezTo>
                <a:cubicBezTo>
                  <a:pt x="1204" y="1337"/>
                  <a:pt x="1204" y="1337"/>
                  <a:pt x="1204" y="1337"/>
                </a:cubicBezTo>
                <a:cubicBezTo>
                  <a:pt x="1204" y="1337"/>
                  <a:pt x="1217" y="1352"/>
                  <a:pt x="1223" y="1363"/>
                </a:cubicBezTo>
                <a:cubicBezTo>
                  <a:pt x="1229" y="1374"/>
                  <a:pt x="1236" y="1427"/>
                  <a:pt x="1236" y="1427"/>
                </a:cubicBezTo>
                <a:cubicBezTo>
                  <a:pt x="1246" y="1444"/>
                  <a:pt x="1246" y="1444"/>
                  <a:pt x="1246" y="1444"/>
                </a:cubicBezTo>
                <a:cubicBezTo>
                  <a:pt x="1256" y="1451"/>
                  <a:pt x="1256" y="1451"/>
                  <a:pt x="1256" y="1451"/>
                </a:cubicBezTo>
                <a:cubicBezTo>
                  <a:pt x="1256" y="1451"/>
                  <a:pt x="1256" y="1466"/>
                  <a:pt x="1256" y="1473"/>
                </a:cubicBezTo>
                <a:cubicBezTo>
                  <a:pt x="1256" y="1480"/>
                  <a:pt x="1246" y="1487"/>
                  <a:pt x="1246" y="1487"/>
                </a:cubicBezTo>
                <a:cubicBezTo>
                  <a:pt x="1225" y="1487"/>
                  <a:pt x="1225" y="1487"/>
                  <a:pt x="1225" y="1487"/>
                </a:cubicBezTo>
                <a:cubicBezTo>
                  <a:pt x="1221" y="1493"/>
                  <a:pt x="1221" y="1493"/>
                  <a:pt x="1221" y="1493"/>
                </a:cubicBezTo>
                <a:cubicBezTo>
                  <a:pt x="1221" y="1493"/>
                  <a:pt x="1210" y="1496"/>
                  <a:pt x="1207" y="1498"/>
                </a:cubicBezTo>
                <a:cubicBezTo>
                  <a:pt x="1203" y="1499"/>
                  <a:pt x="1204" y="1505"/>
                  <a:pt x="1204" y="1505"/>
                </a:cubicBezTo>
                <a:cubicBezTo>
                  <a:pt x="1218" y="1517"/>
                  <a:pt x="1218" y="1517"/>
                  <a:pt x="1218" y="1517"/>
                </a:cubicBezTo>
                <a:cubicBezTo>
                  <a:pt x="1218" y="1517"/>
                  <a:pt x="1207" y="1555"/>
                  <a:pt x="1204" y="1563"/>
                </a:cubicBezTo>
                <a:cubicBezTo>
                  <a:pt x="1200" y="1571"/>
                  <a:pt x="1179" y="1577"/>
                  <a:pt x="1179" y="1577"/>
                </a:cubicBezTo>
                <a:cubicBezTo>
                  <a:pt x="1182" y="1593"/>
                  <a:pt x="1182" y="1593"/>
                  <a:pt x="1182" y="1593"/>
                </a:cubicBezTo>
                <a:cubicBezTo>
                  <a:pt x="1178" y="1599"/>
                  <a:pt x="1178" y="1599"/>
                  <a:pt x="1178" y="1599"/>
                </a:cubicBezTo>
                <a:cubicBezTo>
                  <a:pt x="1184" y="1608"/>
                  <a:pt x="1184" y="1608"/>
                  <a:pt x="1184" y="1608"/>
                </a:cubicBezTo>
                <a:cubicBezTo>
                  <a:pt x="1181" y="1618"/>
                  <a:pt x="1181" y="1618"/>
                  <a:pt x="1181" y="1618"/>
                </a:cubicBezTo>
                <a:cubicBezTo>
                  <a:pt x="1181" y="1618"/>
                  <a:pt x="1188" y="1624"/>
                  <a:pt x="1189" y="1626"/>
                </a:cubicBezTo>
                <a:cubicBezTo>
                  <a:pt x="1190" y="1627"/>
                  <a:pt x="1200" y="1632"/>
                  <a:pt x="1200" y="1632"/>
                </a:cubicBezTo>
                <a:cubicBezTo>
                  <a:pt x="1242" y="1630"/>
                  <a:pt x="1242" y="1630"/>
                  <a:pt x="1242" y="1630"/>
                </a:cubicBezTo>
                <a:cubicBezTo>
                  <a:pt x="1254" y="1610"/>
                  <a:pt x="1254" y="1610"/>
                  <a:pt x="1254" y="1610"/>
                </a:cubicBezTo>
                <a:cubicBezTo>
                  <a:pt x="1255" y="1589"/>
                  <a:pt x="1255" y="1589"/>
                  <a:pt x="1255" y="1589"/>
                </a:cubicBezTo>
                <a:cubicBezTo>
                  <a:pt x="1278" y="1561"/>
                  <a:pt x="1278" y="1561"/>
                  <a:pt x="1278" y="1561"/>
                </a:cubicBezTo>
                <a:cubicBezTo>
                  <a:pt x="1302" y="1549"/>
                  <a:pt x="1305" y="1541"/>
                  <a:pt x="1309" y="1534"/>
                </a:cubicBezTo>
                <a:cubicBezTo>
                  <a:pt x="1313" y="1526"/>
                  <a:pt x="1307" y="1490"/>
                  <a:pt x="1307" y="1490"/>
                </a:cubicBezTo>
                <a:cubicBezTo>
                  <a:pt x="1301" y="1485"/>
                  <a:pt x="1301" y="1485"/>
                  <a:pt x="1301" y="1485"/>
                </a:cubicBezTo>
                <a:cubicBezTo>
                  <a:pt x="1301" y="1485"/>
                  <a:pt x="1317" y="1462"/>
                  <a:pt x="1329" y="1455"/>
                </a:cubicBezTo>
                <a:cubicBezTo>
                  <a:pt x="1341" y="1447"/>
                  <a:pt x="1363" y="1442"/>
                  <a:pt x="1363" y="1442"/>
                </a:cubicBezTo>
                <a:cubicBezTo>
                  <a:pt x="1367" y="1448"/>
                  <a:pt x="1367" y="1448"/>
                  <a:pt x="1367" y="1448"/>
                </a:cubicBezTo>
                <a:cubicBezTo>
                  <a:pt x="1376" y="1445"/>
                  <a:pt x="1376" y="1445"/>
                  <a:pt x="1376" y="1445"/>
                </a:cubicBezTo>
                <a:cubicBezTo>
                  <a:pt x="1378" y="1446"/>
                  <a:pt x="1378" y="1446"/>
                  <a:pt x="1378" y="1446"/>
                </a:cubicBezTo>
                <a:cubicBezTo>
                  <a:pt x="1389" y="1440"/>
                  <a:pt x="1389" y="1440"/>
                  <a:pt x="1389" y="1440"/>
                </a:cubicBezTo>
                <a:cubicBezTo>
                  <a:pt x="1388" y="1433"/>
                  <a:pt x="1388" y="1433"/>
                  <a:pt x="1388" y="1433"/>
                </a:cubicBezTo>
                <a:cubicBezTo>
                  <a:pt x="1392" y="1427"/>
                  <a:pt x="1392" y="1427"/>
                  <a:pt x="1392" y="1427"/>
                </a:cubicBezTo>
                <a:cubicBezTo>
                  <a:pt x="1392" y="1427"/>
                  <a:pt x="1383" y="1422"/>
                  <a:pt x="1380" y="1416"/>
                </a:cubicBezTo>
                <a:cubicBezTo>
                  <a:pt x="1377" y="1410"/>
                  <a:pt x="1383" y="1394"/>
                  <a:pt x="1383" y="1394"/>
                </a:cubicBezTo>
                <a:cubicBezTo>
                  <a:pt x="1383" y="1394"/>
                  <a:pt x="1381" y="1389"/>
                  <a:pt x="1376" y="1386"/>
                </a:cubicBezTo>
                <a:cubicBezTo>
                  <a:pt x="1371" y="1383"/>
                  <a:pt x="1381" y="1359"/>
                  <a:pt x="1381" y="1359"/>
                </a:cubicBezTo>
                <a:cubicBezTo>
                  <a:pt x="1369" y="1352"/>
                  <a:pt x="1369" y="1352"/>
                  <a:pt x="1369" y="1352"/>
                </a:cubicBezTo>
                <a:cubicBezTo>
                  <a:pt x="1369" y="1352"/>
                  <a:pt x="1365" y="1344"/>
                  <a:pt x="1361" y="1344"/>
                </a:cubicBezTo>
                <a:cubicBezTo>
                  <a:pt x="1356" y="1344"/>
                  <a:pt x="1341" y="1336"/>
                  <a:pt x="1341" y="1336"/>
                </a:cubicBezTo>
                <a:cubicBezTo>
                  <a:pt x="1327" y="1323"/>
                  <a:pt x="1327" y="1323"/>
                  <a:pt x="1327" y="1323"/>
                </a:cubicBezTo>
                <a:cubicBezTo>
                  <a:pt x="1308" y="1322"/>
                  <a:pt x="1308" y="1322"/>
                  <a:pt x="1308" y="1322"/>
                </a:cubicBezTo>
                <a:cubicBezTo>
                  <a:pt x="1293" y="1314"/>
                  <a:pt x="1293" y="1314"/>
                  <a:pt x="1293" y="1314"/>
                </a:cubicBezTo>
                <a:cubicBezTo>
                  <a:pt x="1293" y="1305"/>
                  <a:pt x="1293" y="1305"/>
                  <a:pt x="1293" y="1305"/>
                </a:cubicBezTo>
                <a:cubicBezTo>
                  <a:pt x="1287" y="1301"/>
                  <a:pt x="1287" y="1301"/>
                  <a:pt x="1287" y="1301"/>
                </a:cubicBezTo>
                <a:cubicBezTo>
                  <a:pt x="1287" y="1292"/>
                  <a:pt x="1287" y="1292"/>
                  <a:pt x="1287" y="1292"/>
                </a:cubicBezTo>
                <a:cubicBezTo>
                  <a:pt x="1304" y="1263"/>
                  <a:pt x="1304" y="1263"/>
                  <a:pt x="1304" y="1263"/>
                </a:cubicBezTo>
                <a:cubicBezTo>
                  <a:pt x="1300" y="1240"/>
                  <a:pt x="1300" y="1240"/>
                  <a:pt x="1300" y="1240"/>
                </a:cubicBezTo>
                <a:cubicBezTo>
                  <a:pt x="1306" y="1233"/>
                  <a:pt x="1306" y="1233"/>
                  <a:pt x="1306" y="1233"/>
                </a:cubicBezTo>
                <a:cubicBezTo>
                  <a:pt x="1310" y="1228"/>
                  <a:pt x="1310" y="1228"/>
                  <a:pt x="1310" y="1228"/>
                </a:cubicBezTo>
                <a:cubicBezTo>
                  <a:pt x="1333" y="1184"/>
                  <a:pt x="1333" y="1184"/>
                  <a:pt x="1333" y="1184"/>
                </a:cubicBezTo>
                <a:cubicBezTo>
                  <a:pt x="1334" y="1183"/>
                  <a:pt x="1334" y="1183"/>
                  <a:pt x="1334" y="1183"/>
                </a:cubicBezTo>
                <a:cubicBezTo>
                  <a:pt x="1334" y="1183"/>
                  <a:pt x="1355" y="1160"/>
                  <a:pt x="1364" y="1158"/>
                </a:cubicBezTo>
                <a:cubicBezTo>
                  <a:pt x="1373" y="1157"/>
                  <a:pt x="1380" y="1166"/>
                  <a:pt x="1386" y="1171"/>
                </a:cubicBezTo>
                <a:cubicBezTo>
                  <a:pt x="1392" y="1176"/>
                  <a:pt x="1379" y="1177"/>
                  <a:pt x="1379" y="1177"/>
                </a:cubicBezTo>
                <a:cubicBezTo>
                  <a:pt x="1406" y="1190"/>
                  <a:pt x="1406" y="1190"/>
                  <a:pt x="1406" y="1190"/>
                </a:cubicBezTo>
                <a:cubicBezTo>
                  <a:pt x="1411" y="1189"/>
                  <a:pt x="1411" y="1189"/>
                  <a:pt x="1411" y="1189"/>
                </a:cubicBezTo>
                <a:cubicBezTo>
                  <a:pt x="1420" y="1194"/>
                  <a:pt x="1420" y="1194"/>
                  <a:pt x="1420" y="1194"/>
                </a:cubicBezTo>
                <a:cubicBezTo>
                  <a:pt x="1420" y="1194"/>
                  <a:pt x="1469" y="1194"/>
                  <a:pt x="1474" y="1198"/>
                </a:cubicBezTo>
                <a:cubicBezTo>
                  <a:pt x="1479" y="1201"/>
                  <a:pt x="1478" y="1211"/>
                  <a:pt x="1478" y="1211"/>
                </a:cubicBezTo>
                <a:cubicBezTo>
                  <a:pt x="1491" y="1224"/>
                  <a:pt x="1491" y="1224"/>
                  <a:pt x="1491" y="1224"/>
                </a:cubicBezTo>
                <a:cubicBezTo>
                  <a:pt x="1489" y="1234"/>
                  <a:pt x="1489" y="1234"/>
                  <a:pt x="1489" y="1234"/>
                </a:cubicBezTo>
                <a:cubicBezTo>
                  <a:pt x="1494" y="1244"/>
                  <a:pt x="1494" y="1244"/>
                  <a:pt x="1494" y="1244"/>
                </a:cubicBezTo>
                <a:cubicBezTo>
                  <a:pt x="1494" y="1244"/>
                  <a:pt x="1487" y="1244"/>
                  <a:pt x="1499" y="1258"/>
                </a:cubicBezTo>
                <a:cubicBezTo>
                  <a:pt x="1510" y="1272"/>
                  <a:pt x="1532" y="1271"/>
                  <a:pt x="1532" y="1271"/>
                </a:cubicBezTo>
                <a:cubicBezTo>
                  <a:pt x="1532" y="1271"/>
                  <a:pt x="1540" y="1278"/>
                  <a:pt x="1544" y="1279"/>
                </a:cubicBezTo>
                <a:cubicBezTo>
                  <a:pt x="1549" y="1281"/>
                  <a:pt x="1548" y="1244"/>
                  <a:pt x="1548" y="1244"/>
                </a:cubicBezTo>
                <a:cubicBezTo>
                  <a:pt x="1548" y="1244"/>
                  <a:pt x="1562" y="1225"/>
                  <a:pt x="1562" y="1219"/>
                </a:cubicBezTo>
                <a:close/>
                <a:moveTo>
                  <a:pt x="937" y="1140"/>
                </a:moveTo>
                <a:cubicBezTo>
                  <a:pt x="938" y="1138"/>
                  <a:pt x="937" y="1134"/>
                  <a:pt x="937" y="1134"/>
                </a:cubicBezTo>
                <a:cubicBezTo>
                  <a:pt x="923" y="1132"/>
                  <a:pt x="923" y="1132"/>
                  <a:pt x="923" y="1132"/>
                </a:cubicBezTo>
                <a:cubicBezTo>
                  <a:pt x="924" y="1140"/>
                  <a:pt x="924" y="1140"/>
                  <a:pt x="924" y="1140"/>
                </a:cubicBezTo>
                <a:cubicBezTo>
                  <a:pt x="924" y="1140"/>
                  <a:pt x="937" y="1143"/>
                  <a:pt x="937" y="1140"/>
                </a:cubicBezTo>
                <a:close/>
                <a:moveTo>
                  <a:pt x="367" y="1140"/>
                </a:moveTo>
                <a:cubicBezTo>
                  <a:pt x="362" y="1132"/>
                  <a:pt x="362" y="1132"/>
                  <a:pt x="362" y="1132"/>
                </a:cubicBezTo>
                <a:cubicBezTo>
                  <a:pt x="363" y="1126"/>
                  <a:pt x="363" y="1126"/>
                  <a:pt x="363" y="1126"/>
                </a:cubicBezTo>
                <a:cubicBezTo>
                  <a:pt x="354" y="1119"/>
                  <a:pt x="354" y="1119"/>
                  <a:pt x="354" y="1119"/>
                </a:cubicBezTo>
                <a:cubicBezTo>
                  <a:pt x="359" y="1118"/>
                  <a:pt x="359" y="1118"/>
                  <a:pt x="359" y="1118"/>
                </a:cubicBezTo>
                <a:cubicBezTo>
                  <a:pt x="359" y="1112"/>
                  <a:pt x="359" y="1112"/>
                  <a:pt x="359" y="1112"/>
                </a:cubicBezTo>
                <a:cubicBezTo>
                  <a:pt x="365" y="1110"/>
                  <a:pt x="365" y="1110"/>
                  <a:pt x="365" y="1110"/>
                </a:cubicBezTo>
                <a:cubicBezTo>
                  <a:pt x="364" y="1106"/>
                  <a:pt x="364" y="1106"/>
                  <a:pt x="364" y="1106"/>
                </a:cubicBezTo>
                <a:cubicBezTo>
                  <a:pt x="357" y="1110"/>
                  <a:pt x="357" y="1110"/>
                  <a:pt x="357" y="1110"/>
                </a:cubicBezTo>
                <a:cubicBezTo>
                  <a:pt x="356" y="1104"/>
                  <a:pt x="356" y="1104"/>
                  <a:pt x="356" y="1104"/>
                </a:cubicBezTo>
                <a:cubicBezTo>
                  <a:pt x="365" y="1097"/>
                  <a:pt x="365" y="1097"/>
                  <a:pt x="365" y="1097"/>
                </a:cubicBezTo>
                <a:cubicBezTo>
                  <a:pt x="352" y="1102"/>
                  <a:pt x="352" y="1102"/>
                  <a:pt x="352" y="1102"/>
                </a:cubicBezTo>
                <a:cubicBezTo>
                  <a:pt x="353" y="1095"/>
                  <a:pt x="353" y="1095"/>
                  <a:pt x="353" y="1095"/>
                </a:cubicBezTo>
                <a:cubicBezTo>
                  <a:pt x="347" y="1099"/>
                  <a:pt x="347" y="1099"/>
                  <a:pt x="347" y="1099"/>
                </a:cubicBezTo>
                <a:cubicBezTo>
                  <a:pt x="333" y="1097"/>
                  <a:pt x="333" y="1097"/>
                  <a:pt x="333" y="1097"/>
                </a:cubicBezTo>
                <a:cubicBezTo>
                  <a:pt x="337" y="1093"/>
                  <a:pt x="337" y="1093"/>
                  <a:pt x="337" y="1093"/>
                </a:cubicBezTo>
                <a:cubicBezTo>
                  <a:pt x="344" y="1094"/>
                  <a:pt x="344" y="1094"/>
                  <a:pt x="344" y="1094"/>
                </a:cubicBezTo>
                <a:cubicBezTo>
                  <a:pt x="345" y="1085"/>
                  <a:pt x="345" y="1085"/>
                  <a:pt x="345" y="1085"/>
                </a:cubicBezTo>
                <a:cubicBezTo>
                  <a:pt x="351" y="1082"/>
                  <a:pt x="351" y="1082"/>
                  <a:pt x="351" y="1082"/>
                </a:cubicBezTo>
                <a:cubicBezTo>
                  <a:pt x="354" y="1086"/>
                  <a:pt x="354" y="1086"/>
                  <a:pt x="354" y="1086"/>
                </a:cubicBezTo>
                <a:cubicBezTo>
                  <a:pt x="359" y="1083"/>
                  <a:pt x="359" y="1083"/>
                  <a:pt x="359" y="1083"/>
                </a:cubicBezTo>
                <a:cubicBezTo>
                  <a:pt x="359" y="1083"/>
                  <a:pt x="353" y="1079"/>
                  <a:pt x="350" y="1079"/>
                </a:cubicBezTo>
                <a:cubicBezTo>
                  <a:pt x="347" y="1079"/>
                  <a:pt x="341" y="1080"/>
                  <a:pt x="341" y="1080"/>
                </a:cubicBezTo>
                <a:cubicBezTo>
                  <a:pt x="341" y="1075"/>
                  <a:pt x="341" y="1075"/>
                  <a:pt x="341" y="1075"/>
                </a:cubicBezTo>
                <a:cubicBezTo>
                  <a:pt x="336" y="1079"/>
                  <a:pt x="336" y="1079"/>
                  <a:pt x="336" y="1079"/>
                </a:cubicBezTo>
                <a:cubicBezTo>
                  <a:pt x="339" y="1067"/>
                  <a:pt x="339" y="1067"/>
                  <a:pt x="339" y="1067"/>
                </a:cubicBezTo>
                <a:cubicBezTo>
                  <a:pt x="345" y="1064"/>
                  <a:pt x="345" y="1064"/>
                  <a:pt x="345" y="1064"/>
                </a:cubicBezTo>
                <a:cubicBezTo>
                  <a:pt x="345" y="1064"/>
                  <a:pt x="341" y="1055"/>
                  <a:pt x="340" y="1053"/>
                </a:cubicBezTo>
                <a:cubicBezTo>
                  <a:pt x="339" y="1051"/>
                  <a:pt x="332" y="1057"/>
                  <a:pt x="332" y="1057"/>
                </a:cubicBezTo>
                <a:cubicBezTo>
                  <a:pt x="326" y="1061"/>
                  <a:pt x="326" y="1061"/>
                  <a:pt x="326" y="1061"/>
                </a:cubicBezTo>
                <a:cubicBezTo>
                  <a:pt x="326" y="1055"/>
                  <a:pt x="326" y="1055"/>
                  <a:pt x="326" y="1055"/>
                </a:cubicBezTo>
                <a:cubicBezTo>
                  <a:pt x="326" y="1055"/>
                  <a:pt x="323" y="1053"/>
                  <a:pt x="322" y="1049"/>
                </a:cubicBezTo>
                <a:cubicBezTo>
                  <a:pt x="320" y="1045"/>
                  <a:pt x="316" y="1044"/>
                  <a:pt x="316" y="1044"/>
                </a:cubicBezTo>
                <a:cubicBezTo>
                  <a:pt x="316" y="1044"/>
                  <a:pt x="311" y="1049"/>
                  <a:pt x="306" y="1049"/>
                </a:cubicBezTo>
                <a:cubicBezTo>
                  <a:pt x="302" y="1049"/>
                  <a:pt x="305" y="1042"/>
                  <a:pt x="305" y="1040"/>
                </a:cubicBezTo>
                <a:cubicBezTo>
                  <a:pt x="305" y="1037"/>
                  <a:pt x="301" y="1036"/>
                  <a:pt x="301" y="1036"/>
                </a:cubicBezTo>
                <a:cubicBezTo>
                  <a:pt x="301" y="1036"/>
                  <a:pt x="287" y="1036"/>
                  <a:pt x="290" y="1038"/>
                </a:cubicBezTo>
                <a:cubicBezTo>
                  <a:pt x="293" y="1039"/>
                  <a:pt x="290" y="1050"/>
                  <a:pt x="290" y="1050"/>
                </a:cubicBezTo>
                <a:cubicBezTo>
                  <a:pt x="286" y="1056"/>
                  <a:pt x="286" y="1056"/>
                  <a:pt x="286" y="1056"/>
                </a:cubicBezTo>
                <a:cubicBezTo>
                  <a:pt x="286" y="1056"/>
                  <a:pt x="280" y="1055"/>
                  <a:pt x="275" y="1055"/>
                </a:cubicBezTo>
                <a:cubicBezTo>
                  <a:pt x="269" y="1055"/>
                  <a:pt x="264" y="1064"/>
                  <a:pt x="261" y="1069"/>
                </a:cubicBezTo>
                <a:cubicBezTo>
                  <a:pt x="258" y="1074"/>
                  <a:pt x="256" y="1072"/>
                  <a:pt x="251" y="1073"/>
                </a:cubicBezTo>
                <a:cubicBezTo>
                  <a:pt x="246" y="1074"/>
                  <a:pt x="251" y="1080"/>
                  <a:pt x="241" y="1088"/>
                </a:cubicBezTo>
                <a:cubicBezTo>
                  <a:pt x="232" y="1095"/>
                  <a:pt x="219" y="1096"/>
                  <a:pt x="219" y="1096"/>
                </a:cubicBezTo>
                <a:cubicBezTo>
                  <a:pt x="219" y="1096"/>
                  <a:pt x="214" y="1105"/>
                  <a:pt x="206" y="1108"/>
                </a:cubicBezTo>
                <a:cubicBezTo>
                  <a:pt x="199" y="1110"/>
                  <a:pt x="192" y="1108"/>
                  <a:pt x="192" y="1108"/>
                </a:cubicBezTo>
                <a:cubicBezTo>
                  <a:pt x="186" y="1103"/>
                  <a:pt x="186" y="1103"/>
                  <a:pt x="186" y="1103"/>
                </a:cubicBezTo>
                <a:cubicBezTo>
                  <a:pt x="174" y="1102"/>
                  <a:pt x="174" y="1102"/>
                  <a:pt x="174" y="1102"/>
                </a:cubicBezTo>
                <a:cubicBezTo>
                  <a:pt x="174" y="1102"/>
                  <a:pt x="166" y="1096"/>
                  <a:pt x="164" y="1091"/>
                </a:cubicBezTo>
                <a:cubicBezTo>
                  <a:pt x="161" y="1087"/>
                  <a:pt x="164" y="1083"/>
                  <a:pt x="164" y="1083"/>
                </a:cubicBezTo>
                <a:cubicBezTo>
                  <a:pt x="162" y="1077"/>
                  <a:pt x="162" y="1077"/>
                  <a:pt x="162" y="1077"/>
                </a:cubicBezTo>
                <a:cubicBezTo>
                  <a:pt x="162" y="1077"/>
                  <a:pt x="156" y="1085"/>
                  <a:pt x="156" y="1086"/>
                </a:cubicBezTo>
                <a:cubicBezTo>
                  <a:pt x="156" y="1088"/>
                  <a:pt x="159" y="1095"/>
                  <a:pt x="162" y="1097"/>
                </a:cubicBezTo>
                <a:cubicBezTo>
                  <a:pt x="165" y="1100"/>
                  <a:pt x="148" y="1120"/>
                  <a:pt x="148" y="1120"/>
                </a:cubicBezTo>
                <a:cubicBezTo>
                  <a:pt x="156" y="1130"/>
                  <a:pt x="156" y="1130"/>
                  <a:pt x="156" y="1130"/>
                </a:cubicBezTo>
                <a:cubicBezTo>
                  <a:pt x="155" y="1140"/>
                  <a:pt x="155" y="1140"/>
                  <a:pt x="155" y="1140"/>
                </a:cubicBezTo>
                <a:cubicBezTo>
                  <a:pt x="149" y="1141"/>
                  <a:pt x="149" y="1141"/>
                  <a:pt x="149" y="1141"/>
                </a:cubicBezTo>
                <a:cubicBezTo>
                  <a:pt x="151" y="1153"/>
                  <a:pt x="151" y="1153"/>
                  <a:pt x="151" y="1153"/>
                </a:cubicBezTo>
                <a:cubicBezTo>
                  <a:pt x="151" y="1153"/>
                  <a:pt x="151" y="1153"/>
                  <a:pt x="157" y="1143"/>
                </a:cubicBezTo>
                <a:cubicBezTo>
                  <a:pt x="164" y="1133"/>
                  <a:pt x="151" y="1153"/>
                  <a:pt x="158" y="1151"/>
                </a:cubicBezTo>
                <a:cubicBezTo>
                  <a:pt x="165" y="1149"/>
                  <a:pt x="169" y="1148"/>
                  <a:pt x="169" y="1148"/>
                </a:cubicBezTo>
                <a:cubicBezTo>
                  <a:pt x="169" y="1148"/>
                  <a:pt x="174" y="1162"/>
                  <a:pt x="174" y="1164"/>
                </a:cubicBezTo>
                <a:cubicBezTo>
                  <a:pt x="174" y="1165"/>
                  <a:pt x="180" y="1168"/>
                  <a:pt x="182" y="1175"/>
                </a:cubicBezTo>
                <a:cubicBezTo>
                  <a:pt x="184" y="1182"/>
                  <a:pt x="178" y="1193"/>
                  <a:pt x="178" y="1193"/>
                </a:cubicBezTo>
                <a:cubicBezTo>
                  <a:pt x="178" y="1193"/>
                  <a:pt x="184" y="1193"/>
                  <a:pt x="189" y="1198"/>
                </a:cubicBezTo>
                <a:cubicBezTo>
                  <a:pt x="193" y="1204"/>
                  <a:pt x="188" y="1216"/>
                  <a:pt x="187" y="1220"/>
                </a:cubicBezTo>
                <a:cubicBezTo>
                  <a:pt x="187" y="1225"/>
                  <a:pt x="193" y="1237"/>
                  <a:pt x="193" y="1237"/>
                </a:cubicBezTo>
                <a:cubicBezTo>
                  <a:pt x="187" y="1243"/>
                  <a:pt x="187" y="1243"/>
                  <a:pt x="187" y="1243"/>
                </a:cubicBezTo>
                <a:cubicBezTo>
                  <a:pt x="178" y="1243"/>
                  <a:pt x="178" y="1243"/>
                  <a:pt x="178" y="1243"/>
                </a:cubicBezTo>
                <a:cubicBezTo>
                  <a:pt x="177" y="1246"/>
                  <a:pt x="177" y="1246"/>
                  <a:pt x="177" y="1246"/>
                </a:cubicBezTo>
                <a:cubicBezTo>
                  <a:pt x="180" y="1252"/>
                  <a:pt x="180" y="1252"/>
                  <a:pt x="180" y="1252"/>
                </a:cubicBezTo>
                <a:cubicBezTo>
                  <a:pt x="180" y="1252"/>
                  <a:pt x="177" y="1257"/>
                  <a:pt x="177" y="1262"/>
                </a:cubicBezTo>
                <a:cubicBezTo>
                  <a:pt x="177" y="1268"/>
                  <a:pt x="181" y="1272"/>
                  <a:pt x="181" y="1272"/>
                </a:cubicBezTo>
                <a:cubicBezTo>
                  <a:pt x="187" y="1268"/>
                  <a:pt x="187" y="1268"/>
                  <a:pt x="187" y="1268"/>
                </a:cubicBezTo>
                <a:cubicBezTo>
                  <a:pt x="187" y="1268"/>
                  <a:pt x="196" y="1275"/>
                  <a:pt x="198" y="1275"/>
                </a:cubicBezTo>
                <a:cubicBezTo>
                  <a:pt x="199" y="1276"/>
                  <a:pt x="202" y="1285"/>
                  <a:pt x="197" y="1285"/>
                </a:cubicBezTo>
                <a:cubicBezTo>
                  <a:pt x="192" y="1285"/>
                  <a:pt x="193" y="1300"/>
                  <a:pt x="193" y="1300"/>
                </a:cubicBezTo>
                <a:cubicBezTo>
                  <a:pt x="197" y="1309"/>
                  <a:pt x="197" y="1309"/>
                  <a:pt x="197" y="1309"/>
                </a:cubicBezTo>
                <a:cubicBezTo>
                  <a:pt x="192" y="1309"/>
                  <a:pt x="192" y="1309"/>
                  <a:pt x="192" y="1309"/>
                </a:cubicBezTo>
                <a:cubicBezTo>
                  <a:pt x="182" y="1296"/>
                  <a:pt x="182" y="1296"/>
                  <a:pt x="182" y="1296"/>
                </a:cubicBezTo>
                <a:cubicBezTo>
                  <a:pt x="182" y="1296"/>
                  <a:pt x="182" y="1329"/>
                  <a:pt x="182" y="1333"/>
                </a:cubicBezTo>
                <a:cubicBezTo>
                  <a:pt x="182" y="1337"/>
                  <a:pt x="173" y="1349"/>
                  <a:pt x="170" y="1352"/>
                </a:cubicBezTo>
                <a:cubicBezTo>
                  <a:pt x="166" y="1355"/>
                  <a:pt x="175" y="1357"/>
                  <a:pt x="175" y="1357"/>
                </a:cubicBezTo>
                <a:cubicBezTo>
                  <a:pt x="175" y="1357"/>
                  <a:pt x="173" y="1362"/>
                  <a:pt x="168" y="1364"/>
                </a:cubicBezTo>
                <a:cubicBezTo>
                  <a:pt x="164" y="1366"/>
                  <a:pt x="172" y="1370"/>
                  <a:pt x="172" y="1370"/>
                </a:cubicBezTo>
                <a:cubicBezTo>
                  <a:pt x="176" y="1372"/>
                  <a:pt x="176" y="1372"/>
                  <a:pt x="176" y="1372"/>
                </a:cubicBezTo>
                <a:cubicBezTo>
                  <a:pt x="178" y="1381"/>
                  <a:pt x="178" y="1381"/>
                  <a:pt x="178" y="1381"/>
                </a:cubicBezTo>
                <a:cubicBezTo>
                  <a:pt x="168" y="1393"/>
                  <a:pt x="168" y="1393"/>
                  <a:pt x="168" y="1393"/>
                </a:cubicBezTo>
                <a:cubicBezTo>
                  <a:pt x="172" y="1398"/>
                  <a:pt x="172" y="1398"/>
                  <a:pt x="172" y="1398"/>
                </a:cubicBezTo>
                <a:cubicBezTo>
                  <a:pt x="172" y="1398"/>
                  <a:pt x="173" y="1402"/>
                  <a:pt x="176" y="1402"/>
                </a:cubicBezTo>
                <a:cubicBezTo>
                  <a:pt x="179" y="1403"/>
                  <a:pt x="175" y="1412"/>
                  <a:pt x="175" y="1412"/>
                </a:cubicBezTo>
                <a:cubicBezTo>
                  <a:pt x="181" y="1412"/>
                  <a:pt x="181" y="1412"/>
                  <a:pt x="181" y="1412"/>
                </a:cubicBezTo>
                <a:cubicBezTo>
                  <a:pt x="187" y="1420"/>
                  <a:pt x="187" y="1420"/>
                  <a:pt x="187" y="1420"/>
                </a:cubicBezTo>
                <a:cubicBezTo>
                  <a:pt x="194" y="1430"/>
                  <a:pt x="194" y="1430"/>
                  <a:pt x="194" y="1430"/>
                </a:cubicBezTo>
                <a:cubicBezTo>
                  <a:pt x="195" y="1442"/>
                  <a:pt x="195" y="1442"/>
                  <a:pt x="195" y="1442"/>
                </a:cubicBezTo>
                <a:cubicBezTo>
                  <a:pt x="195" y="1442"/>
                  <a:pt x="195" y="1442"/>
                  <a:pt x="200" y="1443"/>
                </a:cubicBezTo>
                <a:cubicBezTo>
                  <a:pt x="204" y="1444"/>
                  <a:pt x="198" y="1450"/>
                  <a:pt x="199" y="1451"/>
                </a:cubicBezTo>
                <a:cubicBezTo>
                  <a:pt x="201" y="1451"/>
                  <a:pt x="200" y="1457"/>
                  <a:pt x="200" y="1457"/>
                </a:cubicBezTo>
                <a:cubicBezTo>
                  <a:pt x="206" y="1450"/>
                  <a:pt x="206" y="1450"/>
                  <a:pt x="206" y="1450"/>
                </a:cubicBezTo>
                <a:cubicBezTo>
                  <a:pt x="211" y="1451"/>
                  <a:pt x="211" y="1451"/>
                  <a:pt x="211" y="1451"/>
                </a:cubicBezTo>
                <a:cubicBezTo>
                  <a:pt x="211" y="1451"/>
                  <a:pt x="213" y="1446"/>
                  <a:pt x="219" y="1449"/>
                </a:cubicBezTo>
                <a:cubicBezTo>
                  <a:pt x="224" y="1452"/>
                  <a:pt x="234" y="1458"/>
                  <a:pt x="234" y="1458"/>
                </a:cubicBezTo>
                <a:cubicBezTo>
                  <a:pt x="266" y="1435"/>
                  <a:pt x="259" y="1426"/>
                  <a:pt x="259" y="1426"/>
                </a:cubicBezTo>
                <a:cubicBezTo>
                  <a:pt x="257" y="1420"/>
                  <a:pt x="257" y="1420"/>
                  <a:pt x="257" y="1420"/>
                </a:cubicBezTo>
                <a:cubicBezTo>
                  <a:pt x="256" y="1408"/>
                  <a:pt x="256" y="1408"/>
                  <a:pt x="256" y="1408"/>
                </a:cubicBezTo>
                <a:cubicBezTo>
                  <a:pt x="269" y="1400"/>
                  <a:pt x="269" y="1400"/>
                  <a:pt x="269" y="1400"/>
                </a:cubicBezTo>
                <a:cubicBezTo>
                  <a:pt x="276" y="1404"/>
                  <a:pt x="276" y="1404"/>
                  <a:pt x="276" y="1404"/>
                </a:cubicBezTo>
                <a:cubicBezTo>
                  <a:pt x="276" y="1404"/>
                  <a:pt x="282" y="1398"/>
                  <a:pt x="290" y="1398"/>
                </a:cubicBezTo>
                <a:cubicBezTo>
                  <a:pt x="298" y="1398"/>
                  <a:pt x="313" y="1415"/>
                  <a:pt x="313" y="1415"/>
                </a:cubicBezTo>
                <a:cubicBezTo>
                  <a:pt x="324" y="1415"/>
                  <a:pt x="324" y="1415"/>
                  <a:pt x="324" y="1415"/>
                </a:cubicBezTo>
                <a:cubicBezTo>
                  <a:pt x="325" y="1419"/>
                  <a:pt x="325" y="1419"/>
                  <a:pt x="325" y="1419"/>
                </a:cubicBezTo>
                <a:cubicBezTo>
                  <a:pt x="335" y="1407"/>
                  <a:pt x="335" y="1407"/>
                  <a:pt x="335" y="1407"/>
                </a:cubicBezTo>
                <a:cubicBezTo>
                  <a:pt x="335" y="1407"/>
                  <a:pt x="334" y="1396"/>
                  <a:pt x="334" y="1393"/>
                </a:cubicBezTo>
                <a:cubicBezTo>
                  <a:pt x="335" y="1390"/>
                  <a:pt x="343" y="1386"/>
                  <a:pt x="343" y="1386"/>
                </a:cubicBezTo>
                <a:cubicBezTo>
                  <a:pt x="343" y="1386"/>
                  <a:pt x="339" y="1384"/>
                  <a:pt x="338" y="1376"/>
                </a:cubicBezTo>
                <a:cubicBezTo>
                  <a:pt x="338" y="1369"/>
                  <a:pt x="343" y="1362"/>
                  <a:pt x="345" y="1357"/>
                </a:cubicBezTo>
                <a:cubicBezTo>
                  <a:pt x="347" y="1351"/>
                  <a:pt x="345" y="1353"/>
                  <a:pt x="343" y="1348"/>
                </a:cubicBezTo>
                <a:cubicBezTo>
                  <a:pt x="342" y="1343"/>
                  <a:pt x="346" y="1341"/>
                  <a:pt x="346" y="1341"/>
                </a:cubicBezTo>
                <a:cubicBezTo>
                  <a:pt x="346" y="1341"/>
                  <a:pt x="349" y="1318"/>
                  <a:pt x="352" y="1313"/>
                </a:cubicBezTo>
                <a:cubicBezTo>
                  <a:pt x="355" y="1308"/>
                  <a:pt x="350" y="1307"/>
                  <a:pt x="349" y="1304"/>
                </a:cubicBezTo>
                <a:cubicBezTo>
                  <a:pt x="349" y="1300"/>
                  <a:pt x="353" y="1296"/>
                  <a:pt x="355" y="1290"/>
                </a:cubicBezTo>
                <a:cubicBezTo>
                  <a:pt x="358" y="1284"/>
                  <a:pt x="352" y="1281"/>
                  <a:pt x="352" y="1281"/>
                </a:cubicBezTo>
                <a:cubicBezTo>
                  <a:pt x="358" y="1273"/>
                  <a:pt x="358" y="1273"/>
                  <a:pt x="358" y="1273"/>
                </a:cubicBezTo>
                <a:cubicBezTo>
                  <a:pt x="352" y="1270"/>
                  <a:pt x="352" y="1270"/>
                  <a:pt x="352" y="1270"/>
                </a:cubicBezTo>
                <a:cubicBezTo>
                  <a:pt x="359" y="1246"/>
                  <a:pt x="359" y="1246"/>
                  <a:pt x="359" y="1246"/>
                </a:cubicBezTo>
                <a:cubicBezTo>
                  <a:pt x="351" y="1235"/>
                  <a:pt x="351" y="1235"/>
                  <a:pt x="351" y="1235"/>
                </a:cubicBezTo>
                <a:cubicBezTo>
                  <a:pt x="347" y="1216"/>
                  <a:pt x="347" y="1216"/>
                  <a:pt x="347" y="1216"/>
                </a:cubicBezTo>
                <a:cubicBezTo>
                  <a:pt x="358" y="1199"/>
                  <a:pt x="358" y="1199"/>
                  <a:pt x="358" y="1199"/>
                </a:cubicBezTo>
                <a:cubicBezTo>
                  <a:pt x="367" y="1192"/>
                  <a:pt x="367" y="1192"/>
                  <a:pt x="367" y="1192"/>
                </a:cubicBezTo>
                <a:cubicBezTo>
                  <a:pt x="376" y="1169"/>
                  <a:pt x="376" y="1169"/>
                  <a:pt x="376" y="1169"/>
                </a:cubicBezTo>
                <a:cubicBezTo>
                  <a:pt x="366" y="1154"/>
                  <a:pt x="366" y="1154"/>
                  <a:pt x="366" y="1154"/>
                </a:cubicBezTo>
                <a:lnTo>
                  <a:pt x="367" y="1140"/>
                </a:lnTo>
                <a:close/>
                <a:moveTo>
                  <a:pt x="1030" y="1523"/>
                </a:moveTo>
                <a:cubicBezTo>
                  <a:pt x="1034" y="1520"/>
                  <a:pt x="1031" y="1518"/>
                  <a:pt x="1024" y="1517"/>
                </a:cubicBezTo>
                <a:cubicBezTo>
                  <a:pt x="1024" y="1517"/>
                  <a:pt x="1026" y="1525"/>
                  <a:pt x="1030" y="1523"/>
                </a:cubicBezTo>
                <a:close/>
                <a:moveTo>
                  <a:pt x="1070" y="1517"/>
                </a:moveTo>
                <a:cubicBezTo>
                  <a:pt x="1062" y="1515"/>
                  <a:pt x="1062" y="1515"/>
                  <a:pt x="1062" y="1515"/>
                </a:cubicBezTo>
                <a:cubicBezTo>
                  <a:pt x="1058" y="1517"/>
                  <a:pt x="1058" y="1517"/>
                  <a:pt x="1058" y="1517"/>
                </a:cubicBezTo>
                <a:cubicBezTo>
                  <a:pt x="1070" y="1526"/>
                  <a:pt x="1070" y="1526"/>
                  <a:pt x="1070" y="1526"/>
                </a:cubicBezTo>
                <a:lnTo>
                  <a:pt x="1070" y="1517"/>
                </a:lnTo>
                <a:close/>
                <a:moveTo>
                  <a:pt x="1081" y="1528"/>
                </a:moveTo>
                <a:cubicBezTo>
                  <a:pt x="1075" y="1527"/>
                  <a:pt x="1075" y="1527"/>
                  <a:pt x="1075" y="1527"/>
                </a:cubicBezTo>
                <a:cubicBezTo>
                  <a:pt x="1073" y="1535"/>
                  <a:pt x="1073" y="1535"/>
                  <a:pt x="1073" y="1535"/>
                </a:cubicBezTo>
                <a:cubicBezTo>
                  <a:pt x="1082" y="1540"/>
                  <a:pt x="1082" y="1540"/>
                  <a:pt x="1082" y="1540"/>
                </a:cubicBezTo>
                <a:cubicBezTo>
                  <a:pt x="1081" y="1547"/>
                  <a:pt x="1081" y="1547"/>
                  <a:pt x="1081" y="1547"/>
                </a:cubicBezTo>
                <a:cubicBezTo>
                  <a:pt x="1092" y="1556"/>
                  <a:pt x="1092" y="1556"/>
                  <a:pt x="1092" y="1556"/>
                </a:cubicBezTo>
                <a:cubicBezTo>
                  <a:pt x="1092" y="1556"/>
                  <a:pt x="1091" y="1552"/>
                  <a:pt x="1087" y="1547"/>
                </a:cubicBezTo>
                <a:cubicBezTo>
                  <a:pt x="1084" y="1541"/>
                  <a:pt x="1090" y="1535"/>
                  <a:pt x="1090" y="1535"/>
                </a:cubicBezTo>
                <a:lnTo>
                  <a:pt x="1081" y="1528"/>
                </a:lnTo>
                <a:close/>
                <a:moveTo>
                  <a:pt x="1097" y="1506"/>
                </a:moveTo>
                <a:cubicBezTo>
                  <a:pt x="1088" y="1505"/>
                  <a:pt x="1090" y="1505"/>
                  <a:pt x="1095" y="1509"/>
                </a:cubicBezTo>
                <a:cubicBezTo>
                  <a:pt x="1100" y="1512"/>
                  <a:pt x="1097" y="1506"/>
                  <a:pt x="1097" y="1506"/>
                </a:cubicBezTo>
                <a:close/>
                <a:moveTo>
                  <a:pt x="1118" y="1472"/>
                </a:moveTo>
                <a:cubicBezTo>
                  <a:pt x="1112" y="1477"/>
                  <a:pt x="1112" y="1477"/>
                  <a:pt x="1112" y="1477"/>
                </a:cubicBezTo>
                <a:cubicBezTo>
                  <a:pt x="1114" y="1480"/>
                  <a:pt x="1115" y="1483"/>
                  <a:pt x="1115" y="1483"/>
                </a:cubicBezTo>
                <a:cubicBezTo>
                  <a:pt x="1121" y="1476"/>
                  <a:pt x="1121" y="1476"/>
                  <a:pt x="1121" y="1476"/>
                </a:cubicBezTo>
                <a:lnTo>
                  <a:pt x="1118" y="1472"/>
                </a:lnTo>
                <a:close/>
                <a:moveTo>
                  <a:pt x="1180" y="1570"/>
                </a:moveTo>
                <a:cubicBezTo>
                  <a:pt x="1176" y="1570"/>
                  <a:pt x="1166" y="1564"/>
                  <a:pt x="1166" y="1564"/>
                </a:cubicBezTo>
                <a:cubicBezTo>
                  <a:pt x="1166" y="1564"/>
                  <a:pt x="1152" y="1575"/>
                  <a:pt x="1139" y="1579"/>
                </a:cubicBezTo>
                <a:cubicBezTo>
                  <a:pt x="1127" y="1583"/>
                  <a:pt x="1126" y="1583"/>
                  <a:pt x="1126" y="1583"/>
                </a:cubicBezTo>
                <a:cubicBezTo>
                  <a:pt x="1126" y="1583"/>
                  <a:pt x="1127" y="1575"/>
                  <a:pt x="1126" y="1573"/>
                </a:cubicBezTo>
                <a:cubicBezTo>
                  <a:pt x="1125" y="1571"/>
                  <a:pt x="1121" y="1571"/>
                  <a:pt x="1123" y="1574"/>
                </a:cubicBezTo>
                <a:cubicBezTo>
                  <a:pt x="1126" y="1577"/>
                  <a:pt x="1121" y="1584"/>
                  <a:pt x="1120" y="1586"/>
                </a:cubicBezTo>
                <a:cubicBezTo>
                  <a:pt x="1120" y="1588"/>
                  <a:pt x="1103" y="1599"/>
                  <a:pt x="1103" y="1599"/>
                </a:cubicBezTo>
                <a:cubicBezTo>
                  <a:pt x="1098" y="1593"/>
                  <a:pt x="1098" y="1593"/>
                  <a:pt x="1098" y="1593"/>
                </a:cubicBezTo>
                <a:cubicBezTo>
                  <a:pt x="1085" y="1592"/>
                  <a:pt x="1085" y="1592"/>
                  <a:pt x="1085" y="1592"/>
                </a:cubicBezTo>
                <a:cubicBezTo>
                  <a:pt x="1080" y="1587"/>
                  <a:pt x="1080" y="1587"/>
                  <a:pt x="1080" y="1587"/>
                </a:cubicBezTo>
                <a:cubicBezTo>
                  <a:pt x="1080" y="1587"/>
                  <a:pt x="1072" y="1590"/>
                  <a:pt x="1065" y="1593"/>
                </a:cubicBezTo>
                <a:cubicBezTo>
                  <a:pt x="1059" y="1595"/>
                  <a:pt x="1055" y="1592"/>
                  <a:pt x="1055" y="1592"/>
                </a:cubicBezTo>
                <a:cubicBezTo>
                  <a:pt x="1055" y="1592"/>
                  <a:pt x="1040" y="1608"/>
                  <a:pt x="1031" y="1612"/>
                </a:cubicBezTo>
                <a:cubicBezTo>
                  <a:pt x="1023" y="1616"/>
                  <a:pt x="1012" y="1615"/>
                  <a:pt x="1012" y="1615"/>
                </a:cubicBezTo>
                <a:cubicBezTo>
                  <a:pt x="992" y="1622"/>
                  <a:pt x="992" y="1622"/>
                  <a:pt x="992" y="1622"/>
                </a:cubicBezTo>
                <a:cubicBezTo>
                  <a:pt x="960" y="1620"/>
                  <a:pt x="960" y="1620"/>
                  <a:pt x="960" y="1620"/>
                </a:cubicBezTo>
                <a:cubicBezTo>
                  <a:pt x="960" y="1620"/>
                  <a:pt x="953" y="1616"/>
                  <a:pt x="949" y="1616"/>
                </a:cubicBezTo>
                <a:cubicBezTo>
                  <a:pt x="945" y="1616"/>
                  <a:pt x="928" y="1627"/>
                  <a:pt x="926" y="1628"/>
                </a:cubicBezTo>
                <a:cubicBezTo>
                  <a:pt x="925" y="1629"/>
                  <a:pt x="907" y="1627"/>
                  <a:pt x="907" y="1627"/>
                </a:cubicBezTo>
                <a:cubicBezTo>
                  <a:pt x="886" y="1614"/>
                  <a:pt x="886" y="1614"/>
                  <a:pt x="886" y="1614"/>
                </a:cubicBezTo>
                <a:cubicBezTo>
                  <a:pt x="883" y="1603"/>
                  <a:pt x="883" y="1603"/>
                  <a:pt x="883" y="1603"/>
                </a:cubicBezTo>
                <a:cubicBezTo>
                  <a:pt x="883" y="1603"/>
                  <a:pt x="870" y="1608"/>
                  <a:pt x="864" y="1606"/>
                </a:cubicBezTo>
                <a:cubicBezTo>
                  <a:pt x="857" y="1605"/>
                  <a:pt x="862" y="1592"/>
                  <a:pt x="862" y="1592"/>
                </a:cubicBezTo>
                <a:cubicBezTo>
                  <a:pt x="855" y="1584"/>
                  <a:pt x="855" y="1584"/>
                  <a:pt x="855" y="1584"/>
                </a:cubicBezTo>
                <a:cubicBezTo>
                  <a:pt x="837" y="1596"/>
                  <a:pt x="837" y="1596"/>
                  <a:pt x="837" y="1596"/>
                </a:cubicBezTo>
                <a:cubicBezTo>
                  <a:pt x="824" y="1592"/>
                  <a:pt x="824" y="1592"/>
                  <a:pt x="824" y="1592"/>
                </a:cubicBezTo>
                <a:cubicBezTo>
                  <a:pt x="817" y="1601"/>
                  <a:pt x="817" y="1601"/>
                  <a:pt x="817" y="1601"/>
                </a:cubicBezTo>
                <a:cubicBezTo>
                  <a:pt x="817" y="1601"/>
                  <a:pt x="820" y="1610"/>
                  <a:pt x="817" y="1612"/>
                </a:cubicBezTo>
                <a:cubicBezTo>
                  <a:pt x="812" y="1616"/>
                  <a:pt x="791" y="1619"/>
                  <a:pt x="791" y="1619"/>
                </a:cubicBezTo>
                <a:cubicBezTo>
                  <a:pt x="781" y="1608"/>
                  <a:pt x="781" y="1608"/>
                  <a:pt x="781" y="1608"/>
                </a:cubicBezTo>
                <a:cubicBezTo>
                  <a:pt x="781" y="1608"/>
                  <a:pt x="779" y="1598"/>
                  <a:pt x="777" y="1594"/>
                </a:cubicBezTo>
                <a:cubicBezTo>
                  <a:pt x="774" y="1589"/>
                  <a:pt x="771" y="1591"/>
                  <a:pt x="771" y="1591"/>
                </a:cubicBezTo>
                <a:cubicBezTo>
                  <a:pt x="766" y="1594"/>
                  <a:pt x="772" y="1601"/>
                  <a:pt x="772" y="1601"/>
                </a:cubicBezTo>
                <a:cubicBezTo>
                  <a:pt x="769" y="1606"/>
                  <a:pt x="769" y="1606"/>
                  <a:pt x="769" y="1606"/>
                </a:cubicBezTo>
                <a:cubicBezTo>
                  <a:pt x="763" y="1606"/>
                  <a:pt x="763" y="1606"/>
                  <a:pt x="763" y="1606"/>
                </a:cubicBezTo>
                <a:cubicBezTo>
                  <a:pt x="756" y="1613"/>
                  <a:pt x="756" y="1613"/>
                  <a:pt x="756" y="1613"/>
                </a:cubicBezTo>
                <a:cubicBezTo>
                  <a:pt x="747" y="1613"/>
                  <a:pt x="747" y="1613"/>
                  <a:pt x="747" y="1613"/>
                </a:cubicBezTo>
                <a:cubicBezTo>
                  <a:pt x="747" y="1613"/>
                  <a:pt x="748" y="1615"/>
                  <a:pt x="742" y="1620"/>
                </a:cubicBezTo>
                <a:cubicBezTo>
                  <a:pt x="737" y="1626"/>
                  <a:pt x="739" y="1636"/>
                  <a:pt x="739" y="1636"/>
                </a:cubicBezTo>
                <a:cubicBezTo>
                  <a:pt x="733" y="1641"/>
                  <a:pt x="733" y="1641"/>
                  <a:pt x="733" y="1641"/>
                </a:cubicBezTo>
                <a:cubicBezTo>
                  <a:pt x="733" y="1641"/>
                  <a:pt x="736" y="1647"/>
                  <a:pt x="736" y="1649"/>
                </a:cubicBezTo>
                <a:cubicBezTo>
                  <a:pt x="736" y="1650"/>
                  <a:pt x="735" y="1655"/>
                  <a:pt x="735" y="1655"/>
                </a:cubicBezTo>
                <a:cubicBezTo>
                  <a:pt x="735" y="1655"/>
                  <a:pt x="730" y="1644"/>
                  <a:pt x="727" y="1646"/>
                </a:cubicBezTo>
                <a:cubicBezTo>
                  <a:pt x="725" y="1647"/>
                  <a:pt x="729" y="1653"/>
                  <a:pt x="733" y="1655"/>
                </a:cubicBezTo>
                <a:cubicBezTo>
                  <a:pt x="737" y="1658"/>
                  <a:pt x="729" y="1660"/>
                  <a:pt x="729" y="1660"/>
                </a:cubicBezTo>
                <a:cubicBezTo>
                  <a:pt x="735" y="1671"/>
                  <a:pt x="735" y="1671"/>
                  <a:pt x="735" y="1671"/>
                </a:cubicBezTo>
                <a:cubicBezTo>
                  <a:pt x="735" y="1681"/>
                  <a:pt x="735" y="1681"/>
                  <a:pt x="735" y="1681"/>
                </a:cubicBezTo>
                <a:cubicBezTo>
                  <a:pt x="740" y="1687"/>
                  <a:pt x="740" y="1687"/>
                  <a:pt x="740" y="1687"/>
                </a:cubicBezTo>
                <a:cubicBezTo>
                  <a:pt x="740" y="1687"/>
                  <a:pt x="749" y="1688"/>
                  <a:pt x="753" y="1690"/>
                </a:cubicBezTo>
                <a:cubicBezTo>
                  <a:pt x="756" y="1692"/>
                  <a:pt x="764" y="1704"/>
                  <a:pt x="764" y="1704"/>
                </a:cubicBezTo>
                <a:cubicBezTo>
                  <a:pt x="764" y="1704"/>
                  <a:pt x="771" y="1701"/>
                  <a:pt x="777" y="1700"/>
                </a:cubicBezTo>
                <a:cubicBezTo>
                  <a:pt x="783" y="1699"/>
                  <a:pt x="803" y="1703"/>
                  <a:pt x="803" y="1703"/>
                </a:cubicBezTo>
                <a:cubicBezTo>
                  <a:pt x="812" y="1714"/>
                  <a:pt x="812" y="1714"/>
                  <a:pt x="812" y="1714"/>
                </a:cubicBezTo>
                <a:cubicBezTo>
                  <a:pt x="812" y="1714"/>
                  <a:pt x="829" y="1716"/>
                  <a:pt x="834" y="1716"/>
                </a:cubicBezTo>
                <a:cubicBezTo>
                  <a:pt x="839" y="1716"/>
                  <a:pt x="845" y="1728"/>
                  <a:pt x="845" y="1728"/>
                </a:cubicBezTo>
                <a:cubicBezTo>
                  <a:pt x="845" y="1728"/>
                  <a:pt x="847" y="1729"/>
                  <a:pt x="849" y="1734"/>
                </a:cubicBezTo>
                <a:cubicBezTo>
                  <a:pt x="851" y="1739"/>
                  <a:pt x="864" y="1743"/>
                  <a:pt x="865" y="1743"/>
                </a:cubicBezTo>
                <a:cubicBezTo>
                  <a:pt x="866" y="1743"/>
                  <a:pt x="873" y="1752"/>
                  <a:pt x="873" y="1752"/>
                </a:cubicBezTo>
                <a:cubicBezTo>
                  <a:pt x="888" y="1752"/>
                  <a:pt x="888" y="1752"/>
                  <a:pt x="888" y="1752"/>
                </a:cubicBezTo>
                <a:cubicBezTo>
                  <a:pt x="888" y="1752"/>
                  <a:pt x="896" y="1760"/>
                  <a:pt x="901" y="1764"/>
                </a:cubicBezTo>
                <a:cubicBezTo>
                  <a:pt x="906" y="1768"/>
                  <a:pt x="916" y="1776"/>
                  <a:pt x="917" y="1777"/>
                </a:cubicBezTo>
                <a:cubicBezTo>
                  <a:pt x="918" y="1777"/>
                  <a:pt x="926" y="1776"/>
                  <a:pt x="926" y="1776"/>
                </a:cubicBezTo>
                <a:cubicBezTo>
                  <a:pt x="936" y="1784"/>
                  <a:pt x="936" y="1784"/>
                  <a:pt x="936" y="1784"/>
                </a:cubicBezTo>
                <a:cubicBezTo>
                  <a:pt x="942" y="1783"/>
                  <a:pt x="942" y="1783"/>
                  <a:pt x="942" y="1783"/>
                </a:cubicBezTo>
                <a:cubicBezTo>
                  <a:pt x="987" y="1784"/>
                  <a:pt x="992" y="1792"/>
                  <a:pt x="1000" y="1798"/>
                </a:cubicBezTo>
                <a:cubicBezTo>
                  <a:pt x="1008" y="1804"/>
                  <a:pt x="1022" y="1839"/>
                  <a:pt x="1022" y="1839"/>
                </a:cubicBezTo>
                <a:cubicBezTo>
                  <a:pt x="1041" y="1841"/>
                  <a:pt x="1041" y="1841"/>
                  <a:pt x="1041" y="1841"/>
                </a:cubicBezTo>
                <a:cubicBezTo>
                  <a:pt x="1051" y="1849"/>
                  <a:pt x="1051" y="1849"/>
                  <a:pt x="1051" y="1849"/>
                </a:cubicBezTo>
                <a:cubicBezTo>
                  <a:pt x="1061" y="1849"/>
                  <a:pt x="1061" y="1849"/>
                  <a:pt x="1061" y="1849"/>
                </a:cubicBezTo>
                <a:cubicBezTo>
                  <a:pt x="1065" y="1853"/>
                  <a:pt x="1065" y="1853"/>
                  <a:pt x="1065" y="1853"/>
                </a:cubicBezTo>
                <a:cubicBezTo>
                  <a:pt x="1065" y="1853"/>
                  <a:pt x="1078" y="1848"/>
                  <a:pt x="1080" y="1849"/>
                </a:cubicBezTo>
                <a:cubicBezTo>
                  <a:pt x="1082" y="1849"/>
                  <a:pt x="1090" y="1855"/>
                  <a:pt x="1090" y="1855"/>
                </a:cubicBezTo>
                <a:cubicBezTo>
                  <a:pt x="1090" y="1855"/>
                  <a:pt x="1091" y="1854"/>
                  <a:pt x="1101" y="1854"/>
                </a:cubicBezTo>
                <a:cubicBezTo>
                  <a:pt x="1111" y="1854"/>
                  <a:pt x="1109" y="1861"/>
                  <a:pt x="1109" y="1861"/>
                </a:cubicBezTo>
                <a:cubicBezTo>
                  <a:pt x="1117" y="1855"/>
                  <a:pt x="1117" y="1855"/>
                  <a:pt x="1117" y="1855"/>
                </a:cubicBezTo>
                <a:cubicBezTo>
                  <a:pt x="1117" y="1855"/>
                  <a:pt x="1113" y="1844"/>
                  <a:pt x="1111" y="1838"/>
                </a:cubicBezTo>
                <a:cubicBezTo>
                  <a:pt x="1109" y="1832"/>
                  <a:pt x="1118" y="1817"/>
                  <a:pt x="1119" y="1813"/>
                </a:cubicBezTo>
                <a:cubicBezTo>
                  <a:pt x="1121" y="1809"/>
                  <a:pt x="1134" y="1805"/>
                  <a:pt x="1134" y="1805"/>
                </a:cubicBezTo>
                <a:cubicBezTo>
                  <a:pt x="1136" y="1797"/>
                  <a:pt x="1136" y="1797"/>
                  <a:pt x="1136" y="1797"/>
                </a:cubicBezTo>
                <a:cubicBezTo>
                  <a:pt x="1146" y="1797"/>
                  <a:pt x="1146" y="1797"/>
                  <a:pt x="1146" y="1797"/>
                </a:cubicBezTo>
                <a:cubicBezTo>
                  <a:pt x="1146" y="1797"/>
                  <a:pt x="1145" y="1796"/>
                  <a:pt x="1142" y="1792"/>
                </a:cubicBezTo>
                <a:cubicBezTo>
                  <a:pt x="1140" y="1788"/>
                  <a:pt x="1135" y="1791"/>
                  <a:pt x="1135" y="1789"/>
                </a:cubicBezTo>
                <a:cubicBezTo>
                  <a:pt x="1135" y="1786"/>
                  <a:pt x="1139" y="1783"/>
                  <a:pt x="1137" y="1780"/>
                </a:cubicBezTo>
                <a:cubicBezTo>
                  <a:pt x="1136" y="1778"/>
                  <a:pt x="1130" y="1777"/>
                  <a:pt x="1130" y="1777"/>
                </a:cubicBezTo>
                <a:cubicBezTo>
                  <a:pt x="1129" y="1771"/>
                  <a:pt x="1129" y="1771"/>
                  <a:pt x="1129" y="1771"/>
                </a:cubicBezTo>
                <a:cubicBezTo>
                  <a:pt x="1125" y="1772"/>
                  <a:pt x="1125" y="1772"/>
                  <a:pt x="1125" y="1772"/>
                </a:cubicBezTo>
                <a:cubicBezTo>
                  <a:pt x="1122" y="1760"/>
                  <a:pt x="1122" y="1760"/>
                  <a:pt x="1122" y="1760"/>
                </a:cubicBezTo>
                <a:cubicBezTo>
                  <a:pt x="1122" y="1760"/>
                  <a:pt x="1123" y="1755"/>
                  <a:pt x="1127" y="1755"/>
                </a:cubicBezTo>
                <a:cubicBezTo>
                  <a:pt x="1130" y="1755"/>
                  <a:pt x="1128" y="1759"/>
                  <a:pt x="1128" y="1759"/>
                </a:cubicBezTo>
                <a:cubicBezTo>
                  <a:pt x="1131" y="1755"/>
                  <a:pt x="1131" y="1755"/>
                  <a:pt x="1131" y="1755"/>
                </a:cubicBezTo>
                <a:cubicBezTo>
                  <a:pt x="1131" y="1755"/>
                  <a:pt x="1129" y="1752"/>
                  <a:pt x="1124" y="1749"/>
                </a:cubicBezTo>
                <a:cubicBezTo>
                  <a:pt x="1120" y="1746"/>
                  <a:pt x="1115" y="1746"/>
                  <a:pt x="1110" y="1744"/>
                </a:cubicBezTo>
                <a:cubicBezTo>
                  <a:pt x="1106" y="1741"/>
                  <a:pt x="1105" y="1715"/>
                  <a:pt x="1105" y="1715"/>
                </a:cubicBezTo>
                <a:cubicBezTo>
                  <a:pt x="1118" y="1696"/>
                  <a:pt x="1118" y="1696"/>
                  <a:pt x="1118" y="1696"/>
                </a:cubicBezTo>
                <a:cubicBezTo>
                  <a:pt x="1117" y="1686"/>
                  <a:pt x="1117" y="1686"/>
                  <a:pt x="1117" y="1686"/>
                </a:cubicBezTo>
                <a:cubicBezTo>
                  <a:pt x="1124" y="1671"/>
                  <a:pt x="1124" y="1671"/>
                  <a:pt x="1124" y="1671"/>
                </a:cubicBezTo>
                <a:cubicBezTo>
                  <a:pt x="1124" y="1671"/>
                  <a:pt x="1121" y="1667"/>
                  <a:pt x="1122" y="1664"/>
                </a:cubicBezTo>
                <a:cubicBezTo>
                  <a:pt x="1123" y="1662"/>
                  <a:pt x="1134" y="1640"/>
                  <a:pt x="1134" y="1640"/>
                </a:cubicBezTo>
                <a:cubicBezTo>
                  <a:pt x="1134" y="1640"/>
                  <a:pt x="1157" y="1610"/>
                  <a:pt x="1162" y="1605"/>
                </a:cubicBezTo>
                <a:cubicBezTo>
                  <a:pt x="1166" y="1601"/>
                  <a:pt x="1170" y="1582"/>
                  <a:pt x="1170" y="1577"/>
                </a:cubicBezTo>
                <a:cubicBezTo>
                  <a:pt x="1170" y="1572"/>
                  <a:pt x="1185" y="1570"/>
                  <a:pt x="1180" y="1570"/>
                </a:cubicBezTo>
                <a:close/>
                <a:moveTo>
                  <a:pt x="714" y="1621"/>
                </a:moveTo>
                <a:cubicBezTo>
                  <a:pt x="714" y="1621"/>
                  <a:pt x="707" y="1629"/>
                  <a:pt x="714" y="1629"/>
                </a:cubicBezTo>
                <a:cubicBezTo>
                  <a:pt x="722" y="1629"/>
                  <a:pt x="714" y="1621"/>
                  <a:pt x="714" y="1621"/>
                </a:cubicBezTo>
                <a:close/>
                <a:moveTo>
                  <a:pt x="834" y="1495"/>
                </a:moveTo>
                <a:cubicBezTo>
                  <a:pt x="828" y="1492"/>
                  <a:pt x="828" y="1500"/>
                  <a:pt x="828" y="1500"/>
                </a:cubicBezTo>
                <a:cubicBezTo>
                  <a:pt x="828" y="1500"/>
                  <a:pt x="841" y="1499"/>
                  <a:pt x="834" y="1495"/>
                </a:cubicBezTo>
                <a:close/>
                <a:moveTo>
                  <a:pt x="996" y="1526"/>
                </a:moveTo>
                <a:cubicBezTo>
                  <a:pt x="1001" y="1525"/>
                  <a:pt x="1001" y="1525"/>
                  <a:pt x="1001" y="1525"/>
                </a:cubicBezTo>
                <a:cubicBezTo>
                  <a:pt x="1001" y="1525"/>
                  <a:pt x="992" y="1516"/>
                  <a:pt x="996" y="1526"/>
                </a:cubicBezTo>
                <a:close/>
                <a:moveTo>
                  <a:pt x="656" y="1836"/>
                </a:moveTo>
                <a:cubicBezTo>
                  <a:pt x="655" y="1841"/>
                  <a:pt x="655" y="1841"/>
                  <a:pt x="655" y="1841"/>
                </a:cubicBezTo>
                <a:cubicBezTo>
                  <a:pt x="666" y="1851"/>
                  <a:pt x="666" y="1851"/>
                  <a:pt x="666" y="1851"/>
                </a:cubicBezTo>
                <a:cubicBezTo>
                  <a:pt x="673" y="1848"/>
                  <a:pt x="673" y="1848"/>
                  <a:pt x="673" y="1848"/>
                </a:cubicBezTo>
                <a:cubicBezTo>
                  <a:pt x="673" y="1841"/>
                  <a:pt x="673" y="1841"/>
                  <a:pt x="673" y="1841"/>
                </a:cubicBezTo>
                <a:cubicBezTo>
                  <a:pt x="673" y="1841"/>
                  <a:pt x="666" y="1830"/>
                  <a:pt x="656" y="1836"/>
                </a:cubicBezTo>
                <a:close/>
                <a:moveTo>
                  <a:pt x="673" y="1627"/>
                </a:moveTo>
                <a:cubicBezTo>
                  <a:pt x="673" y="1627"/>
                  <a:pt x="673" y="1633"/>
                  <a:pt x="677" y="1632"/>
                </a:cubicBezTo>
                <a:cubicBezTo>
                  <a:pt x="681" y="1631"/>
                  <a:pt x="678" y="1627"/>
                  <a:pt x="673" y="1627"/>
                </a:cubicBezTo>
                <a:close/>
                <a:moveTo>
                  <a:pt x="707" y="1636"/>
                </a:moveTo>
                <a:cubicBezTo>
                  <a:pt x="707" y="1640"/>
                  <a:pt x="707" y="1640"/>
                  <a:pt x="707" y="1640"/>
                </a:cubicBezTo>
                <a:cubicBezTo>
                  <a:pt x="718" y="1644"/>
                  <a:pt x="718" y="1644"/>
                  <a:pt x="718" y="1644"/>
                </a:cubicBezTo>
                <a:cubicBezTo>
                  <a:pt x="718" y="1644"/>
                  <a:pt x="723" y="1638"/>
                  <a:pt x="707" y="1636"/>
                </a:cubicBezTo>
                <a:close/>
              </a:path>
            </a:pathLst>
          </a:custGeom>
          <a:solidFill>
            <a:schemeClr val="bg1">
              <a:lumMod val="65000"/>
            </a:schemeClr>
          </a:solidFill>
          <a:ln w="12700" cap="flat" cmpd="sng">
            <a:solidFill>
              <a:schemeClr val="bg1"/>
            </a:solidFill>
            <a:prstDash val="solid"/>
            <a:miter lim="800000"/>
            <a:headEnd type="none" w="med" len="med"/>
            <a:tailEnd type="none" w="med" len="med"/>
          </a:ln>
          <a:effectLst>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dirty="0"/>
          </a:p>
        </p:txBody>
      </p:sp>
      <p:grpSp>
        <p:nvGrpSpPr>
          <p:cNvPr id="4" name="Gruppieren 115"/>
          <p:cNvGrpSpPr/>
          <p:nvPr/>
        </p:nvGrpSpPr>
        <p:grpSpPr>
          <a:xfrm>
            <a:off x="203518" y="5530850"/>
            <a:ext cx="347663" cy="338138"/>
            <a:chOff x="203518" y="5554980"/>
            <a:chExt cx="347663" cy="338138"/>
          </a:xfrm>
        </p:grpSpPr>
        <p:pic>
          <p:nvPicPr>
            <p:cNvPr id="53" name="Grafik 52" descr="schatten.png"/>
            <p:cNvPicPr>
              <a:picLocks noChangeAspect="1"/>
            </p:cNvPicPr>
            <p:nvPr/>
          </p:nvPicPr>
          <p:blipFill>
            <a:blip r:embed="rId3" cstate="print">
              <a:lum bright="30000"/>
            </a:blip>
            <a:srcRect l="17603" t="9404" r="15359" b="14528"/>
            <a:stretch>
              <a:fillRect/>
            </a:stretch>
          </p:blipFill>
          <p:spPr>
            <a:xfrm>
              <a:off x="203518" y="5554980"/>
              <a:ext cx="347663" cy="338138"/>
            </a:xfrm>
            <a:prstGeom prst="rect">
              <a:avLst/>
            </a:prstGeom>
          </p:spPr>
        </p:pic>
        <p:sp>
          <p:nvSpPr>
            <p:cNvPr id="54"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sp>
        <p:nvSpPr>
          <p:cNvPr id="55" name="Rectangle 5"/>
          <p:cNvSpPr>
            <a:spLocks noChangeArrowheads="1"/>
          </p:cNvSpPr>
          <p:nvPr/>
        </p:nvSpPr>
        <p:spPr bwMode="gray">
          <a:xfrm>
            <a:off x="639763" y="4966018"/>
            <a:ext cx="8251825" cy="422275"/>
          </a:xfrm>
          <a:prstGeom prst="rect">
            <a:avLst/>
          </a:prstGeom>
          <a:noFill/>
          <a:ln w="12700">
            <a:noFill/>
            <a:miter lim="800000"/>
            <a:headEnd/>
            <a:tailEnd/>
          </a:ln>
        </p:spPr>
        <p:txBody>
          <a:bodyPr lIns="0" tIns="0" rIns="0" bIns="0"/>
          <a:lstStyle/>
          <a:p>
            <a:r>
              <a:rPr lang="en-US" sz="1200" dirty="0" smtClean="0">
                <a:solidFill>
                  <a:srgbClr val="000000"/>
                </a:solidFill>
                <a:latin typeface="Myriad Pro" pitchFamily="34" charset="0"/>
                <a:ea typeface="Arial Unicode MS" pitchFamily="34" charset="-128"/>
                <a:cs typeface="Arial" charset="0"/>
              </a:rPr>
              <a:t>Um </a:t>
            </a:r>
            <a:r>
              <a:rPr lang="en-US" sz="1200" dirty="0" err="1" smtClean="0">
                <a:solidFill>
                  <a:srgbClr val="000000"/>
                </a:solidFill>
                <a:latin typeface="Myriad Pro" pitchFamily="34" charset="0"/>
                <a:ea typeface="Arial Unicode MS" pitchFamily="34" charset="-128"/>
                <a:cs typeface="Arial" charset="0"/>
              </a:rPr>
              <a:t>ein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chatt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zu</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erzeug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klick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zunächst</a:t>
            </a:r>
            <a:r>
              <a:rPr lang="en-US" sz="1200" dirty="0" smtClean="0">
                <a:solidFill>
                  <a:srgbClr val="000000"/>
                </a:solidFill>
                <a:latin typeface="Myriad Pro" pitchFamily="34" charset="0"/>
                <a:ea typeface="Arial Unicode MS" pitchFamily="34" charset="-128"/>
                <a:cs typeface="Arial" charset="0"/>
              </a:rPr>
              <a:t> die </a:t>
            </a:r>
            <a:r>
              <a:rPr lang="en-US" sz="1200" dirty="0" err="1" smtClean="0">
                <a:solidFill>
                  <a:srgbClr val="000000"/>
                </a:solidFill>
                <a:latin typeface="Myriad Pro" pitchFamily="34" charset="0"/>
                <a:ea typeface="Arial Unicode MS" pitchFamily="34" charset="-128"/>
                <a:cs typeface="Arial" charset="0"/>
              </a:rPr>
              <a:t>Karte</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mit</a:t>
            </a:r>
            <a:r>
              <a:rPr lang="en-US" sz="1200" dirty="0" smtClean="0">
                <a:solidFill>
                  <a:srgbClr val="000000"/>
                </a:solidFill>
                <a:latin typeface="Myriad Pro" pitchFamily="34" charset="0"/>
                <a:ea typeface="Arial Unicode MS" pitchFamily="34" charset="-128"/>
                <a:cs typeface="Arial" charset="0"/>
              </a:rPr>
              <a:t> der </a:t>
            </a:r>
            <a:r>
              <a:rPr lang="en-US" sz="1200" dirty="0" err="1" smtClean="0">
                <a:solidFill>
                  <a:srgbClr val="000000"/>
                </a:solidFill>
                <a:latin typeface="Myriad Pro" pitchFamily="34" charset="0"/>
                <a:ea typeface="Arial Unicode MS" pitchFamily="34" charset="-128"/>
                <a:cs typeface="Arial" charset="0"/>
              </a:rPr>
              <a:t>Link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Maustaste</a:t>
            </a:r>
            <a:r>
              <a:rPr lang="en-US" sz="1200" dirty="0" smtClean="0">
                <a:solidFill>
                  <a:srgbClr val="000000"/>
                </a:solidFill>
                <a:latin typeface="Myriad Pro" pitchFamily="34" charset="0"/>
                <a:ea typeface="Arial Unicode MS" pitchFamily="34" charset="-128"/>
                <a:cs typeface="Arial" charset="0"/>
              </a:rPr>
              <a:t> an und </a:t>
            </a:r>
            <a:r>
              <a:rPr lang="en-US" sz="1200" dirty="0" err="1" smtClean="0">
                <a:solidFill>
                  <a:srgbClr val="000000"/>
                </a:solidFill>
                <a:latin typeface="Myriad Pro" pitchFamily="34" charset="0"/>
                <a:ea typeface="Arial Unicode MS" pitchFamily="34" charset="-128"/>
                <a:cs typeface="Arial" charset="0"/>
              </a:rPr>
              <a:t>klicken</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ie</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anschließend</a:t>
            </a:r>
            <a:r>
              <a:rPr lang="en-US" sz="1200" dirty="0" smtClean="0">
                <a:solidFill>
                  <a:srgbClr val="000000"/>
                </a:solidFill>
                <a:latin typeface="Myriad Pro" pitchFamily="34" charset="0"/>
                <a:ea typeface="Arial Unicode MS" pitchFamily="34" charset="-128"/>
                <a:cs typeface="Arial" charset="0"/>
              </a:rPr>
              <a:t> auf den </a:t>
            </a:r>
            <a:r>
              <a:rPr lang="en-US" sz="1200" dirty="0" err="1" smtClean="0">
                <a:solidFill>
                  <a:srgbClr val="000000"/>
                </a:solidFill>
                <a:latin typeface="Myriad Pro" pitchFamily="34" charset="0"/>
                <a:ea typeface="Arial Unicode MS" pitchFamily="34" charset="-128"/>
                <a:cs typeface="Arial" charset="0"/>
              </a:rPr>
              <a:t>Punkt</a:t>
            </a:r>
            <a:r>
              <a:rPr lang="en-US" sz="1200" dirty="0" smtClean="0">
                <a:solidFill>
                  <a:srgbClr val="000000"/>
                </a:solidFill>
                <a:latin typeface="Myriad Pro" pitchFamily="34" charset="0"/>
                <a:ea typeface="Arial Unicode MS" pitchFamily="34" charset="-128"/>
                <a:cs typeface="Arial" charset="0"/>
              </a:rPr>
              <a:t> “</a:t>
            </a:r>
            <a:r>
              <a:rPr lang="en-US" sz="1200" dirty="0" err="1" smtClean="0">
                <a:solidFill>
                  <a:srgbClr val="000000"/>
                </a:solidFill>
                <a:latin typeface="Myriad Pro" pitchFamily="34" charset="0"/>
                <a:ea typeface="Arial Unicode MS" pitchFamily="34" charset="-128"/>
                <a:cs typeface="Arial" charset="0"/>
              </a:rPr>
              <a:t>Schattenart</a:t>
            </a:r>
            <a:r>
              <a:rPr lang="en-US" sz="1200" dirty="0" smtClean="0">
                <a:solidFill>
                  <a:srgbClr val="000000"/>
                </a:solidFill>
                <a:latin typeface="Myriad Pro" pitchFamily="34" charset="0"/>
                <a:ea typeface="Arial Unicode MS" pitchFamily="34" charset="-128"/>
                <a:cs typeface="Arial" charset="0"/>
              </a:rPr>
              <a:t>”.</a:t>
            </a:r>
            <a:endParaRPr lang="en-US" dirty="0">
              <a:solidFill>
                <a:srgbClr val="000000"/>
              </a:solidFill>
              <a:ea typeface="Arial Unicode MS" pitchFamily="34" charset="-128"/>
              <a:cs typeface="Arial" charset="0"/>
            </a:endParaRPr>
          </a:p>
        </p:txBody>
      </p:sp>
      <p:sp>
        <p:nvSpPr>
          <p:cNvPr id="56" name="Rectangle 5"/>
          <p:cNvSpPr>
            <a:spLocks noChangeArrowheads="1"/>
          </p:cNvSpPr>
          <p:nvPr/>
        </p:nvSpPr>
        <p:spPr bwMode="gray">
          <a:xfrm>
            <a:off x="639763" y="5530850"/>
            <a:ext cx="8251825" cy="423863"/>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Hier habe sie verschiedene Varianten den Schatten auszuwählen.</a:t>
            </a:r>
          </a:p>
          <a:p>
            <a:endParaRPr lang="en-US" sz="1200" dirty="0">
              <a:solidFill>
                <a:srgbClr val="000000"/>
              </a:solidFill>
              <a:latin typeface="Myriad Pro" pitchFamily="34" charset="0"/>
              <a:ea typeface="Arial Unicode MS" pitchFamily="34" charset="-128"/>
              <a:cs typeface="Arial" charset="0"/>
            </a:endParaRPr>
          </a:p>
        </p:txBody>
      </p:sp>
      <p:sp>
        <p:nvSpPr>
          <p:cNvPr id="61" name="Freeform 273"/>
          <p:cNvSpPr>
            <a:spLocks noEditPoints="1"/>
          </p:cNvSpPr>
          <p:nvPr/>
        </p:nvSpPr>
        <p:spPr bwMode="auto">
          <a:xfrm>
            <a:off x="6302700" y="1133474"/>
            <a:ext cx="2588888" cy="3083383"/>
          </a:xfrm>
          <a:custGeom>
            <a:avLst/>
            <a:gdLst>
              <a:gd name="T0" fmla="*/ 2147483647 w 1562"/>
              <a:gd name="T1" fmla="*/ 2147483647 h 1861"/>
              <a:gd name="T2" fmla="*/ 2147483647 w 1562"/>
              <a:gd name="T3" fmla="*/ 2147483647 h 1861"/>
              <a:gd name="T4" fmla="*/ 2147483647 w 1562"/>
              <a:gd name="T5" fmla="*/ 2147483647 h 1861"/>
              <a:gd name="T6" fmla="*/ 2147483647 w 1562"/>
              <a:gd name="T7" fmla="*/ 2147483647 h 1861"/>
              <a:gd name="T8" fmla="*/ 2147483647 w 1562"/>
              <a:gd name="T9" fmla="*/ 2147483647 h 1861"/>
              <a:gd name="T10" fmla="*/ 2147483647 w 1562"/>
              <a:gd name="T11" fmla="*/ 2147483647 h 1861"/>
              <a:gd name="T12" fmla="*/ 2147483647 w 1562"/>
              <a:gd name="T13" fmla="*/ 2147483647 h 1861"/>
              <a:gd name="T14" fmla="*/ 2147483647 w 1562"/>
              <a:gd name="T15" fmla="*/ 2147483647 h 1861"/>
              <a:gd name="T16" fmla="*/ 2147483647 w 1562"/>
              <a:gd name="T17" fmla="*/ 2147483647 h 1861"/>
              <a:gd name="T18" fmla="*/ 2147483647 w 1562"/>
              <a:gd name="T19" fmla="*/ 2147483647 h 1861"/>
              <a:gd name="T20" fmla="*/ 2147483647 w 1562"/>
              <a:gd name="T21" fmla="*/ 2147483647 h 1861"/>
              <a:gd name="T22" fmla="*/ 2147483647 w 1562"/>
              <a:gd name="T23" fmla="*/ 2147483647 h 1861"/>
              <a:gd name="T24" fmla="*/ 2147483647 w 1562"/>
              <a:gd name="T25" fmla="*/ 2147483647 h 1861"/>
              <a:gd name="T26" fmla="*/ 2147483647 w 1562"/>
              <a:gd name="T27" fmla="*/ 2147483647 h 1861"/>
              <a:gd name="T28" fmla="*/ 2147483647 w 1562"/>
              <a:gd name="T29" fmla="*/ 2147483647 h 1861"/>
              <a:gd name="T30" fmla="*/ 2147483647 w 1562"/>
              <a:gd name="T31" fmla="*/ 2147483647 h 1861"/>
              <a:gd name="T32" fmla="*/ 2147483647 w 1562"/>
              <a:gd name="T33" fmla="*/ 2147483647 h 1861"/>
              <a:gd name="T34" fmla="*/ 2147483647 w 1562"/>
              <a:gd name="T35" fmla="*/ 2147483647 h 1861"/>
              <a:gd name="T36" fmla="*/ 2147483647 w 1562"/>
              <a:gd name="T37" fmla="*/ 2147483647 h 1861"/>
              <a:gd name="T38" fmla="*/ 2147483647 w 1562"/>
              <a:gd name="T39" fmla="*/ 2147483647 h 1861"/>
              <a:gd name="T40" fmla="*/ 2147483647 w 1562"/>
              <a:gd name="T41" fmla="*/ 2147483647 h 1861"/>
              <a:gd name="T42" fmla="*/ 2147483647 w 1562"/>
              <a:gd name="T43" fmla="*/ 2147483647 h 1861"/>
              <a:gd name="T44" fmla="*/ 2147483647 w 1562"/>
              <a:gd name="T45" fmla="*/ 2147483647 h 1861"/>
              <a:gd name="T46" fmla="*/ 2147483647 w 1562"/>
              <a:gd name="T47" fmla="*/ 2147483647 h 1861"/>
              <a:gd name="T48" fmla="*/ 2147483647 w 1562"/>
              <a:gd name="T49" fmla="*/ 2147483647 h 1861"/>
              <a:gd name="T50" fmla="*/ 2147483647 w 1562"/>
              <a:gd name="T51" fmla="*/ 2147483647 h 1861"/>
              <a:gd name="T52" fmla="*/ 2147483647 w 1562"/>
              <a:gd name="T53" fmla="*/ 2147483647 h 1861"/>
              <a:gd name="T54" fmla="*/ 2147483647 w 1562"/>
              <a:gd name="T55" fmla="*/ 2147483647 h 1861"/>
              <a:gd name="T56" fmla="*/ 2147483647 w 1562"/>
              <a:gd name="T57" fmla="*/ 2147483647 h 1861"/>
              <a:gd name="T58" fmla="*/ 2147483647 w 1562"/>
              <a:gd name="T59" fmla="*/ 2147483647 h 1861"/>
              <a:gd name="T60" fmla="*/ 2147483647 w 1562"/>
              <a:gd name="T61" fmla="*/ 2147483647 h 1861"/>
              <a:gd name="T62" fmla="*/ 2147483647 w 1562"/>
              <a:gd name="T63" fmla="*/ 2147483647 h 1861"/>
              <a:gd name="T64" fmla="*/ 2147483647 w 1562"/>
              <a:gd name="T65" fmla="*/ 2147483647 h 1861"/>
              <a:gd name="T66" fmla="*/ 2147483647 w 1562"/>
              <a:gd name="T67" fmla="*/ 2147483647 h 1861"/>
              <a:gd name="T68" fmla="*/ 2147483647 w 1562"/>
              <a:gd name="T69" fmla="*/ 2147483647 h 1861"/>
              <a:gd name="T70" fmla="*/ 2147483647 w 1562"/>
              <a:gd name="T71" fmla="*/ 2147483647 h 1861"/>
              <a:gd name="T72" fmla="*/ 2147483647 w 1562"/>
              <a:gd name="T73" fmla="*/ 2147483647 h 1861"/>
              <a:gd name="T74" fmla="*/ 2147483647 w 1562"/>
              <a:gd name="T75" fmla="*/ 2147483647 h 1861"/>
              <a:gd name="T76" fmla="*/ 2147483647 w 1562"/>
              <a:gd name="T77" fmla="*/ 2147483647 h 1861"/>
              <a:gd name="T78" fmla="*/ 2147483647 w 1562"/>
              <a:gd name="T79" fmla="*/ 2147483647 h 1861"/>
              <a:gd name="T80" fmla="*/ 2147483647 w 1562"/>
              <a:gd name="T81" fmla="*/ 2147483647 h 1861"/>
              <a:gd name="T82" fmla="*/ 2147483647 w 1562"/>
              <a:gd name="T83" fmla="*/ 2147483647 h 1861"/>
              <a:gd name="T84" fmla="*/ 2147483647 w 1562"/>
              <a:gd name="T85" fmla="*/ 2147483647 h 1861"/>
              <a:gd name="T86" fmla="*/ 2147483647 w 1562"/>
              <a:gd name="T87" fmla="*/ 2147483647 h 1861"/>
              <a:gd name="T88" fmla="*/ 2147483647 w 1562"/>
              <a:gd name="T89" fmla="*/ 2147483647 h 1861"/>
              <a:gd name="T90" fmla="*/ 2147483647 w 1562"/>
              <a:gd name="T91" fmla="*/ 2147483647 h 1861"/>
              <a:gd name="T92" fmla="*/ 2147483647 w 1562"/>
              <a:gd name="T93" fmla="*/ 2147483647 h 1861"/>
              <a:gd name="T94" fmla="*/ 2147483647 w 1562"/>
              <a:gd name="T95" fmla="*/ 2147483647 h 1861"/>
              <a:gd name="T96" fmla="*/ 2147483647 w 1562"/>
              <a:gd name="T97" fmla="*/ 2147483647 h 1861"/>
              <a:gd name="T98" fmla="*/ 2147483647 w 1562"/>
              <a:gd name="T99" fmla="*/ 2147483647 h 1861"/>
              <a:gd name="T100" fmla="*/ 2147483647 w 1562"/>
              <a:gd name="T101" fmla="*/ 2147483647 h 1861"/>
              <a:gd name="T102" fmla="*/ 2147483647 w 1562"/>
              <a:gd name="T103" fmla="*/ 2147483647 h 1861"/>
              <a:gd name="T104" fmla="*/ 2147483647 w 1562"/>
              <a:gd name="T105" fmla="*/ 2147483647 h 1861"/>
              <a:gd name="T106" fmla="*/ 2147483647 w 1562"/>
              <a:gd name="T107" fmla="*/ 2147483647 h 1861"/>
              <a:gd name="T108" fmla="*/ 2147483647 w 1562"/>
              <a:gd name="T109" fmla="*/ 2147483647 h 1861"/>
              <a:gd name="T110" fmla="*/ 2147483647 w 1562"/>
              <a:gd name="T111" fmla="*/ 2147483647 h 1861"/>
              <a:gd name="T112" fmla="*/ 2147483647 w 1562"/>
              <a:gd name="T113" fmla="*/ 2147483647 h 1861"/>
              <a:gd name="T114" fmla="*/ 2147483647 w 1562"/>
              <a:gd name="T115" fmla="*/ 2147483647 h 1861"/>
              <a:gd name="T116" fmla="*/ 2147483647 w 1562"/>
              <a:gd name="T117" fmla="*/ 2147483647 h 1861"/>
              <a:gd name="T118" fmla="*/ 2147483647 w 1562"/>
              <a:gd name="T119" fmla="*/ 2147483647 h 1861"/>
              <a:gd name="T120" fmla="*/ 2147483647 w 1562"/>
              <a:gd name="T121" fmla="*/ 2147483647 h 1861"/>
              <a:gd name="T122" fmla="*/ 2147483647 w 1562"/>
              <a:gd name="T123" fmla="*/ 2147483647 h 18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62"/>
              <a:gd name="T187" fmla="*/ 0 h 1861"/>
              <a:gd name="T188" fmla="*/ 1562 w 1562"/>
              <a:gd name="T189" fmla="*/ 1861 h 18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62" h="1861">
                <a:moveTo>
                  <a:pt x="320" y="1025"/>
                </a:moveTo>
                <a:cubicBezTo>
                  <a:pt x="320" y="1025"/>
                  <a:pt x="318" y="1030"/>
                  <a:pt x="319" y="1030"/>
                </a:cubicBezTo>
                <a:cubicBezTo>
                  <a:pt x="321" y="1030"/>
                  <a:pt x="324" y="1025"/>
                  <a:pt x="320" y="1025"/>
                </a:cubicBezTo>
                <a:close/>
                <a:moveTo>
                  <a:pt x="331" y="1051"/>
                </a:moveTo>
                <a:cubicBezTo>
                  <a:pt x="333" y="1044"/>
                  <a:pt x="333" y="1044"/>
                  <a:pt x="333" y="1044"/>
                </a:cubicBezTo>
                <a:cubicBezTo>
                  <a:pt x="333" y="1038"/>
                  <a:pt x="333" y="1038"/>
                  <a:pt x="333" y="1038"/>
                </a:cubicBezTo>
                <a:cubicBezTo>
                  <a:pt x="322" y="1050"/>
                  <a:pt x="331" y="1051"/>
                  <a:pt x="331" y="1051"/>
                </a:cubicBezTo>
                <a:close/>
                <a:moveTo>
                  <a:pt x="317" y="1039"/>
                </a:moveTo>
                <a:cubicBezTo>
                  <a:pt x="319" y="1037"/>
                  <a:pt x="314" y="1034"/>
                  <a:pt x="314" y="1034"/>
                </a:cubicBezTo>
                <a:cubicBezTo>
                  <a:pt x="311" y="1039"/>
                  <a:pt x="314" y="1041"/>
                  <a:pt x="317" y="1039"/>
                </a:cubicBezTo>
                <a:close/>
                <a:moveTo>
                  <a:pt x="324" y="1044"/>
                </a:moveTo>
                <a:cubicBezTo>
                  <a:pt x="325" y="1045"/>
                  <a:pt x="328" y="1042"/>
                  <a:pt x="328" y="1039"/>
                </a:cubicBezTo>
                <a:cubicBezTo>
                  <a:pt x="328" y="1036"/>
                  <a:pt x="325" y="1033"/>
                  <a:pt x="325" y="1033"/>
                </a:cubicBezTo>
                <a:cubicBezTo>
                  <a:pt x="320" y="1033"/>
                  <a:pt x="322" y="1044"/>
                  <a:pt x="324" y="1044"/>
                </a:cubicBezTo>
                <a:close/>
                <a:moveTo>
                  <a:pt x="179" y="1053"/>
                </a:moveTo>
                <a:cubicBezTo>
                  <a:pt x="173" y="1050"/>
                  <a:pt x="169" y="1064"/>
                  <a:pt x="178" y="1065"/>
                </a:cubicBezTo>
                <a:cubicBezTo>
                  <a:pt x="178" y="1065"/>
                  <a:pt x="185" y="1055"/>
                  <a:pt x="179" y="1053"/>
                </a:cubicBezTo>
                <a:close/>
                <a:moveTo>
                  <a:pt x="146" y="1404"/>
                </a:moveTo>
                <a:cubicBezTo>
                  <a:pt x="146" y="1406"/>
                  <a:pt x="151" y="1409"/>
                  <a:pt x="151" y="1409"/>
                </a:cubicBezTo>
                <a:cubicBezTo>
                  <a:pt x="151" y="1409"/>
                  <a:pt x="147" y="1413"/>
                  <a:pt x="152" y="1413"/>
                </a:cubicBezTo>
                <a:cubicBezTo>
                  <a:pt x="157" y="1413"/>
                  <a:pt x="161" y="1406"/>
                  <a:pt x="159" y="1403"/>
                </a:cubicBezTo>
                <a:cubicBezTo>
                  <a:pt x="156" y="1400"/>
                  <a:pt x="147" y="1400"/>
                  <a:pt x="146" y="1404"/>
                </a:cubicBezTo>
                <a:close/>
                <a:moveTo>
                  <a:pt x="165" y="1414"/>
                </a:moveTo>
                <a:cubicBezTo>
                  <a:pt x="163" y="1420"/>
                  <a:pt x="168" y="1440"/>
                  <a:pt x="172" y="1440"/>
                </a:cubicBezTo>
                <a:cubicBezTo>
                  <a:pt x="175" y="1440"/>
                  <a:pt x="181" y="1423"/>
                  <a:pt x="181" y="1423"/>
                </a:cubicBezTo>
                <a:cubicBezTo>
                  <a:pt x="175" y="1416"/>
                  <a:pt x="175" y="1416"/>
                  <a:pt x="175" y="1416"/>
                </a:cubicBezTo>
                <a:lnTo>
                  <a:pt x="165" y="1414"/>
                </a:lnTo>
                <a:close/>
                <a:moveTo>
                  <a:pt x="169" y="1075"/>
                </a:moveTo>
                <a:cubicBezTo>
                  <a:pt x="165" y="1067"/>
                  <a:pt x="165" y="1067"/>
                  <a:pt x="165" y="1067"/>
                </a:cubicBezTo>
                <a:cubicBezTo>
                  <a:pt x="162" y="1085"/>
                  <a:pt x="169" y="1075"/>
                  <a:pt x="169" y="1075"/>
                </a:cubicBezTo>
                <a:close/>
                <a:moveTo>
                  <a:pt x="402" y="653"/>
                </a:moveTo>
                <a:cubicBezTo>
                  <a:pt x="407" y="652"/>
                  <a:pt x="402" y="646"/>
                  <a:pt x="402" y="646"/>
                </a:cubicBezTo>
                <a:cubicBezTo>
                  <a:pt x="402" y="646"/>
                  <a:pt x="397" y="653"/>
                  <a:pt x="402" y="653"/>
                </a:cubicBezTo>
                <a:close/>
                <a:moveTo>
                  <a:pt x="420" y="801"/>
                </a:moveTo>
                <a:cubicBezTo>
                  <a:pt x="416" y="801"/>
                  <a:pt x="416" y="801"/>
                  <a:pt x="416" y="801"/>
                </a:cubicBezTo>
                <a:cubicBezTo>
                  <a:pt x="416" y="801"/>
                  <a:pt x="419" y="803"/>
                  <a:pt x="422" y="803"/>
                </a:cubicBezTo>
                <a:cubicBezTo>
                  <a:pt x="425" y="803"/>
                  <a:pt x="422" y="797"/>
                  <a:pt x="422" y="797"/>
                </a:cubicBezTo>
                <a:lnTo>
                  <a:pt x="420" y="801"/>
                </a:lnTo>
                <a:close/>
                <a:moveTo>
                  <a:pt x="526" y="839"/>
                </a:moveTo>
                <a:cubicBezTo>
                  <a:pt x="523" y="844"/>
                  <a:pt x="523" y="844"/>
                  <a:pt x="523" y="844"/>
                </a:cubicBezTo>
                <a:cubicBezTo>
                  <a:pt x="531" y="852"/>
                  <a:pt x="531" y="852"/>
                  <a:pt x="531" y="852"/>
                </a:cubicBezTo>
                <a:cubicBezTo>
                  <a:pt x="531" y="847"/>
                  <a:pt x="531" y="847"/>
                  <a:pt x="531" y="847"/>
                </a:cubicBezTo>
                <a:cubicBezTo>
                  <a:pt x="531" y="847"/>
                  <a:pt x="536" y="842"/>
                  <a:pt x="526" y="839"/>
                </a:cubicBezTo>
                <a:close/>
                <a:moveTo>
                  <a:pt x="448" y="844"/>
                </a:moveTo>
                <a:cubicBezTo>
                  <a:pt x="448" y="849"/>
                  <a:pt x="448" y="849"/>
                  <a:pt x="448" y="849"/>
                </a:cubicBezTo>
                <a:cubicBezTo>
                  <a:pt x="453" y="849"/>
                  <a:pt x="453" y="849"/>
                  <a:pt x="453" y="849"/>
                </a:cubicBezTo>
                <a:cubicBezTo>
                  <a:pt x="451" y="843"/>
                  <a:pt x="451" y="843"/>
                  <a:pt x="451" y="843"/>
                </a:cubicBezTo>
                <a:lnTo>
                  <a:pt x="448" y="844"/>
                </a:lnTo>
                <a:close/>
                <a:moveTo>
                  <a:pt x="386" y="717"/>
                </a:moveTo>
                <a:cubicBezTo>
                  <a:pt x="386" y="725"/>
                  <a:pt x="386" y="725"/>
                  <a:pt x="386" y="725"/>
                </a:cubicBezTo>
                <a:cubicBezTo>
                  <a:pt x="395" y="721"/>
                  <a:pt x="395" y="721"/>
                  <a:pt x="395" y="721"/>
                </a:cubicBezTo>
                <a:cubicBezTo>
                  <a:pt x="392" y="713"/>
                  <a:pt x="392" y="713"/>
                  <a:pt x="392" y="713"/>
                </a:cubicBezTo>
                <a:cubicBezTo>
                  <a:pt x="393" y="719"/>
                  <a:pt x="386" y="717"/>
                  <a:pt x="386" y="717"/>
                </a:cubicBezTo>
                <a:close/>
                <a:moveTo>
                  <a:pt x="972" y="1165"/>
                </a:moveTo>
                <a:cubicBezTo>
                  <a:pt x="971" y="1169"/>
                  <a:pt x="971" y="1169"/>
                  <a:pt x="971" y="1169"/>
                </a:cubicBezTo>
                <a:cubicBezTo>
                  <a:pt x="971" y="1169"/>
                  <a:pt x="981" y="1168"/>
                  <a:pt x="981" y="1164"/>
                </a:cubicBezTo>
                <a:cubicBezTo>
                  <a:pt x="981" y="1159"/>
                  <a:pt x="972" y="1165"/>
                  <a:pt x="972" y="1165"/>
                </a:cubicBezTo>
                <a:close/>
                <a:moveTo>
                  <a:pt x="466" y="749"/>
                </a:moveTo>
                <a:cubicBezTo>
                  <a:pt x="458" y="760"/>
                  <a:pt x="458" y="760"/>
                  <a:pt x="458" y="760"/>
                </a:cubicBezTo>
                <a:cubicBezTo>
                  <a:pt x="458" y="760"/>
                  <a:pt x="454" y="759"/>
                  <a:pt x="450" y="759"/>
                </a:cubicBezTo>
                <a:cubicBezTo>
                  <a:pt x="445" y="759"/>
                  <a:pt x="443" y="764"/>
                  <a:pt x="443" y="764"/>
                </a:cubicBezTo>
                <a:cubicBezTo>
                  <a:pt x="443" y="764"/>
                  <a:pt x="440" y="761"/>
                  <a:pt x="430" y="760"/>
                </a:cubicBezTo>
                <a:cubicBezTo>
                  <a:pt x="426" y="765"/>
                  <a:pt x="426" y="765"/>
                  <a:pt x="426" y="765"/>
                </a:cubicBezTo>
                <a:cubicBezTo>
                  <a:pt x="426" y="765"/>
                  <a:pt x="427" y="771"/>
                  <a:pt x="429" y="775"/>
                </a:cubicBezTo>
                <a:cubicBezTo>
                  <a:pt x="431" y="778"/>
                  <a:pt x="443" y="776"/>
                  <a:pt x="443" y="776"/>
                </a:cubicBezTo>
                <a:cubicBezTo>
                  <a:pt x="444" y="773"/>
                  <a:pt x="444" y="773"/>
                  <a:pt x="444" y="773"/>
                </a:cubicBezTo>
                <a:cubicBezTo>
                  <a:pt x="453" y="774"/>
                  <a:pt x="453" y="774"/>
                  <a:pt x="453" y="774"/>
                </a:cubicBezTo>
                <a:cubicBezTo>
                  <a:pt x="454" y="770"/>
                  <a:pt x="454" y="770"/>
                  <a:pt x="454" y="770"/>
                </a:cubicBezTo>
                <a:cubicBezTo>
                  <a:pt x="454" y="770"/>
                  <a:pt x="459" y="776"/>
                  <a:pt x="462" y="779"/>
                </a:cubicBezTo>
                <a:cubicBezTo>
                  <a:pt x="464" y="781"/>
                  <a:pt x="469" y="779"/>
                  <a:pt x="469" y="779"/>
                </a:cubicBezTo>
                <a:cubicBezTo>
                  <a:pt x="469" y="774"/>
                  <a:pt x="469" y="774"/>
                  <a:pt x="469" y="774"/>
                </a:cubicBezTo>
                <a:cubicBezTo>
                  <a:pt x="463" y="768"/>
                  <a:pt x="463" y="768"/>
                  <a:pt x="463" y="768"/>
                </a:cubicBezTo>
                <a:cubicBezTo>
                  <a:pt x="469" y="768"/>
                  <a:pt x="469" y="768"/>
                  <a:pt x="469" y="768"/>
                </a:cubicBezTo>
                <a:cubicBezTo>
                  <a:pt x="472" y="756"/>
                  <a:pt x="472" y="756"/>
                  <a:pt x="472" y="756"/>
                </a:cubicBezTo>
                <a:cubicBezTo>
                  <a:pt x="470" y="754"/>
                  <a:pt x="470" y="754"/>
                  <a:pt x="470" y="754"/>
                </a:cubicBezTo>
                <a:lnTo>
                  <a:pt x="466" y="749"/>
                </a:lnTo>
                <a:close/>
                <a:moveTo>
                  <a:pt x="1562" y="1219"/>
                </a:moveTo>
                <a:cubicBezTo>
                  <a:pt x="1562" y="1213"/>
                  <a:pt x="1554" y="1204"/>
                  <a:pt x="1554" y="1204"/>
                </a:cubicBezTo>
                <a:cubicBezTo>
                  <a:pt x="1555" y="1192"/>
                  <a:pt x="1521" y="1163"/>
                  <a:pt x="1515" y="1160"/>
                </a:cubicBezTo>
                <a:cubicBezTo>
                  <a:pt x="1510" y="1156"/>
                  <a:pt x="1496" y="1150"/>
                  <a:pt x="1492" y="1141"/>
                </a:cubicBezTo>
                <a:cubicBezTo>
                  <a:pt x="1494" y="1126"/>
                  <a:pt x="1478" y="1129"/>
                  <a:pt x="1478" y="1129"/>
                </a:cubicBezTo>
                <a:cubicBezTo>
                  <a:pt x="1478" y="1123"/>
                  <a:pt x="1470" y="1122"/>
                  <a:pt x="1459" y="1121"/>
                </a:cubicBezTo>
                <a:cubicBezTo>
                  <a:pt x="1449" y="1112"/>
                  <a:pt x="1414" y="1103"/>
                  <a:pt x="1414" y="1103"/>
                </a:cubicBezTo>
                <a:cubicBezTo>
                  <a:pt x="1399" y="1088"/>
                  <a:pt x="1399" y="1088"/>
                  <a:pt x="1399" y="1088"/>
                </a:cubicBezTo>
                <a:cubicBezTo>
                  <a:pt x="1395" y="1089"/>
                  <a:pt x="1395" y="1089"/>
                  <a:pt x="1395" y="1089"/>
                </a:cubicBezTo>
                <a:cubicBezTo>
                  <a:pt x="1395" y="1089"/>
                  <a:pt x="1374" y="1072"/>
                  <a:pt x="1366" y="1066"/>
                </a:cubicBezTo>
                <a:cubicBezTo>
                  <a:pt x="1357" y="1060"/>
                  <a:pt x="1312" y="1048"/>
                  <a:pt x="1293" y="1041"/>
                </a:cubicBezTo>
                <a:cubicBezTo>
                  <a:pt x="1275" y="1033"/>
                  <a:pt x="1205" y="1000"/>
                  <a:pt x="1205" y="1000"/>
                </a:cubicBezTo>
                <a:cubicBezTo>
                  <a:pt x="1195" y="982"/>
                  <a:pt x="1195" y="982"/>
                  <a:pt x="1195" y="982"/>
                </a:cubicBezTo>
                <a:cubicBezTo>
                  <a:pt x="1195" y="982"/>
                  <a:pt x="1195" y="982"/>
                  <a:pt x="1195" y="982"/>
                </a:cubicBezTo>
                <a:cubicBezTo>
                  <a:pt x="1195" y="982"/>
                  <a:pt x="1195" y="982"/>
                  <a:pt x="1195" y="982"/>
                </a:cubicBezTo>
                <a:cubicBezTo>
                  <a:pt x="1195" y="982"/>
                  <a:pt x="1195" y="979"/>
                  <a:pt x="1196" y="969"/>
                </a:cubicBezTo>
                <a:cubicBezTo>
                  <a:pt x="1207" y="958"/>
                  <a:pt x="1231" y="940"/>
                  <a:pt x="1231" y="940"/>
                </a:cubicBezTo>
                <a:cubicBezTo>
                  <a:pt x="1228" y="921"/>
                  <a:pt x="1228" y="921"/>
                  <a:pt x="1228" y="921"/>
                </a:cubicBezTo>
                <a:cubicBezTo>
                  <a:pt x="1218" y="912"/>
                  <a:pt x="1218" y="912"/>
                  <a:pt x="1218" y="912"/>
                </a:cubicBezTo>
                <a:cubicBezTo>
                  <a:pt x="1218" y="912"/>
                  <a:pt x="1197" y="912"/>
                  <a:pt x="1180" y="916"/>
                </a:cubicBezTo>
                <a:cubicBezTo>
                  <a:pt x="1163" y="920"/>
                  <a:pt x="1155" y="916"/>
                  <a:pt x="1155" y="916"/>
                </a:cubicBezTo>
                <a:cubicBezTo>
                  <a:pt x="1123" y="922"/>
                  <a:pt x="1123" y="922"/>
                  <a:pt x="1123" y="922"/>
                </a:cubicBezTo>
                <a:cubicBezTo>
                  <a:pt x="1112" y="918"/>
                  <a:pt x="1112" y="918"/>
                  <a:pt x="1112" y="918"/>
                </a:cubicBezTo>
                <a:cubicBezTo>
                  <a:pt x="1093" y="917"/>
                  <a:pt x="1093" y="917"/>
                  <a:pt x="1093" y="917"/>
                </a:cubicBezTo>
                <a:cubicBezTo>
                  <a:pt x="1081" y="916"/>
                  <a:pt x="1081" y="916"/>
                  <a:pt x="1081" y="916"/>
                </a:cubicBezTo>
                <a:cubicBezTo>
                  <a:pt x="1081" y="916"/>
                  <a:pt x="1078" y="908"/>
                  <a:pt x="1072" y="905"/>
                </a:cubicBezTo>
                <a:cubicBezTo>
                  <a:pt x="1065" y="901"/>
                  <a:pt x="1059" y="901"/>
                  <a:pt x="1059" y="901"/>
                </a:cubicBezTo>
                <a:cubicBezTo>
                  <a:pt x="1042" y="894"/>
                  <a:pt x="1042" y="894"/>
                  <a:pt x="1042" y="894"/>
                </a:cubicBezTo>
                <a:cubicBezTo>
                  <a:pt x="1033" y="890"/>
                  <a:pt x="1033" y="890"/>
                  <a:pt x="1033" y="890"/>
                </a:cubicBezTo>
                <a:cubicBezTo>
                  <a:pt x="1033" y="876"/>
                  <a:pt x="1033" y="876"/>
                  <a:pt x="1033" y="876"/>
                </a:cubicBezTo>
                <a:cubicBezTo>
                  <a:pt x="1006" y="862"/>
                  <a:pt x="1006" y="862"/>
                  <a:pt x="1006" y="862"/>
                </a:cubicBezTo>
                <a:cubicBezTo>
                  <a:pt x="1006" y="862"/>
                  <a:pt x="997" y="845"/>
                  <a:pt x="987" y="839"/>
                </a:cubicBezTo>
                <a:cubicBezTo>
                  <a:pt x="977" y="833"/>
                  <a:pt x="958" y="813"/>
                  <a:pt x="946" y="799"/>
                </a:cubicBezTo>
                <a:cubicBezTo>
                  <a:pt x="934" y="785"/>
                  <a:pt x="926" y="747"/>
                  <a:pt x="926" y="747"/>
                </a:cubicBezTo>
                <a:cubicBezTo>
                  <a:pt x="926" y="747"/>
                  <a:pt x="925" y="747"/>
                  <a:pt x="925" y="746"/>
                </a:cubicBezTo>
                <a:cubicBezTo>
                  <a:pt x="922" y="738"/>
                  <a:pt x="887" y="647"/>
                  <a:pt x="885" y="641"/>
                </a:cubicBezTo>
                <a:cubicBezTo>
                  <a:pt x="883" y="635"/>
                  <a:pt x="887" y="634"/>
                  <a:pt x="887" y="634"/>
                </a:cubicBezTo>
                <a:cubicBezTo>
                  <a:pt x="879" y="626"/>
                  <a:pt x="879" y="626"/>
                  <a:pt x="879" y="626"/>
                </a:cubicBezTo>
                <a:cubicBezTo>
                  <a:pt x="872" y="618"/>
                  <a:pt x="872" y="618"/>
                  <a:pt x="872" y="618"/>
                </a:cubicBezTo>
                <a:cubicBezTo>
                  <a:pt x="872" y="618"/>
                  <a:pt x="872" y="618"/>
                  <a:pt x="861" y="621"/>
                </a:cubicBezTo>
                <a:cubicBezTo>
                  <a:pt x="837" y="613"/>
                  <a:pt x="799" y="569"/>
                  <a:pt x="796" y="567"/>
                </a:cubicBezTo>
                <a:cubicBezTo>
                  <a:pt x="792" y="564"/>
                  <a:pt x="773" y="558"/>
                  <a:pt x="773" y="558"/>
                </a:cubicBezTo>
                <a:cubicBezTo>
                  <a:pt x="773" y="558"/>
                  <a:pt x="772" y="558"/>
                  <a:pt x="772" y="558"/>
                </a:cubicBezTo>
                <a:cubicBezTo>
                  <a:pt x="766" y="553"/>
                  <a:pt x="735" y="528"/>
                  <a:pt x="725" y="513"/>
                </a:cubicBezTo>
                <a:cubicBezTo>
                  <a:pt x="714" y="496"/>
                  <a:pt x="712" y="445"/>
                  <a:pt x="709" y="434"/>
                </a:cubicBezTo>
                <a:cubicBezTo>
                  <a:pt x="706" y="423"/>
                  <a:pt x="712" y="405"/>
                  <a:pt x="712" y="406"/>
                </a:cubicBezTo>
                <a:cubicBezTo>
                  <a:pt x="712" y="408"/>
                  <a:pt x="716" y="409"/>
                  <a:pt x="722" y="410"/>
                </a:cubicBezTo>
                <a:cubicBezTo>
                  <a:pt x="724" y="410"/>
                  <a:pt x="726" y="410"/>
                  <a:pt x="728" y="410"/>
                </a:cubicBezTo>
                <a:cubicBezTo>
                  <a:pt x="736" y="409"/>
                  <a:pt x="747" y="381"/>
                  <a:pt x="747" y="381"/>
                </a:cubicBezTo>
                <a:cubicBezTo>
                  <a:pt x="740" y="373"/>
                  <a:pt x="740" y="373"/>
                  <a:pt x="740" y="373"/>
                </a:cubicBezTo>
                <a:cubicBezTo>
                  <a:pt x="736" y="374"/>
                  <a:pt x="736" y="374"/>
                  <a:pt x="736" y="374"/>
                </a:cubicBezTo>
                <a:cubicBezTo>
                  <a:pt x="719" y="358"/>
                  <a:pt x="719" y="358"/>
                  <a:pt x="719" y="358"/>
                </a:cubicBezTo>
                <a:cubicBezTo>
                  <a:pt x="718" y="342"/>
                  <a:pt x="718" y="342"/>
                  <a:pt x="718" y="342"/>
                </a:cubicBezTo>
                <a:cubicBezTo>
                  <a:pt x="718" y="342"/>
                  <a:pt x="715" y="334"/>
                  <a:pt x="716" y="322"/>
                </a:cubicBezTo>
                <a:cubicBezTo>
                  <a:pt x="717" y="310"/>
                  <a:pt x="728" y="295"/>
                  <a:pt x="728" y="295"/>
                </a:cubicBezTo>
                <a:cubicBezTo>
                  <a:pt x="731" y="297"/>
                  <a:pt x="731" y="297"/>
                  <a:pt x="731" y="297"/>
                </a:cubicBezTo>
                <a:cubicBezTo>
                  <a:pt x="731" y="297"/>
                  <a:pt x="756" y="281"/>
                  <a:pt x="770" y="277"/>
                </a:cubicBezTo>
                <a:cubicBezTo>
                  <a:pt x="785" y="274"/>
                  <a:pt x="790" y="265"/>
                  <a:pt x="790" y="265"/>
                </a:cubicBezTo>
                <a:cubicBezTo>
                  <a:pt x="790" y="265"/>
                  <a:pt x="808" y="260"/>
                  <a:pt x="813" y="260"/>
                </a:cubicBezTo>
                <a:cubicBezTo>
                  <a:pt x="813" y="260"/>
                  <a:pt x="813" y="260"/>
                  <a:pt x="814" y="260"/>
                </a:cubicBezTo>
                <a:cubicBezTo>
                  <a:pt x="817" y="260"/>
                  <a:pt x="820" y="253"/>
                  <a:pt x="822" y="249"/>
                </a:cubicBezTo>
                <a:cubicBezTo>
                  <a:pt x="824" y="244"/>
                  <a:pt x="838" y="245"/>
                  <a:pt x="838" y="245"/>
                </a:cubicBezTo>
                <a:cubicBezTo>
                  <a:pt x="838" y="245"/>
                  <a:pt x="846" y="252"/>
                  <a:pt x="853" y="252"/>
                </a:cubicBezTo>
                <a:cubicBezTo>
                  <a:pt x="861" y="253"/>
                  <a:pt x="872" y="242"/>
                  <a:pt x="872" y="242"/>
                </a:cubicBezTo>
                <a:cubicBezTo>
                  <a:pt x="866" y="239"/>
                  <a:pt x="866" y="239"/>
                  <a:pt x="866" y="239"/>
                </a:cubicBezTo>
                <a:cubicBezTo>
                  <a:pt x="866" y="239"/>
                  <a:pt x="871" y="235"/>
                  <a:pt x="872" y="234"/>
                </a:cubicBezTo>
                <a:cubicBezTo>
                  <a:pt x="873" y="234"/>
                  <a:pt x="872" y="234"/>
                  <a:pt x="877" y="234"/>
                </a:cubicBezTo>
                <a:cubicBezTo>
                  <a:pt x="882" y="234"/>
                  <a:pt x="892" y="245"/>
                  <a:pt x="897" y="251"/>
                </a:cubicBezTo>
                <a:cubicBezTo>
                  <a:pt x="902" y="258"/>
                  <a:pt x="897" y="257"/>
                  <a:pt x="897" y="257"/>
                </a:cubicBezTo>
                <a:cubicBezTo>
                  <a:pt x="903" y="263"/>
                  <a:pt x="903" y="263"/>
                  <a:pt x="903" y="263"/>
                </a:cubicBezTo>
                <a:cubicBezTo>
                  <a:pt x="894" y="262"/>
                  <a:pt x="894" y="262"/>
                  <a:pt x="894" y="262"/>
                </a:cubicBezTo>
                <a:cubicBezTo>
                  <a:pt x="894" y="262"/>
                  <a:pt x="895" y="265"/>
                  <a:pt x="899" y="267"/>
                </a:cubicBezTo>
                <a:cubicBezTo>
                  <a:pt x="903" y="268"/>
                  <a:pt x="907" y="267"/>
                  <a:pt x="907" y="267"/>
                </a:cubicBezTo>
                <a:cubicBezTo>
                  <a:pt x="907" y="267"/>
                  <a:pt x="908" y="268"/>
                  <a:pt x="910" y="267"/>
                </a:cubicBezTo>
                <a:cubicBezTo>
                  <a:pt x="909" y="257"/>
                  <a:pt x="909" y="257"/>
                  <a:pt x="909" y="257"/>
                </a:cubicBezTo>
                <a:cubicBezTo>
                  <a:pt x="902" y="245"/>
                  <a:pt x="902" y="245"/>
                  <a:pt x="902" y="245"/>
                </a:cubicBezTo>
                <a:cubicBezTo>
                  <a:pt x="887" y="235"/>
                  <a:pt x="887" y="235"/>
                  <a:pt x="887" y="235"/>
                </a:cubicBezTo>
                <a:cubicBezTo>
                  <a:pt x="880" y="229"/>
                  <a:pt x="880" y="229"/>
                  <a:pt x="880" y="229"/>
                </a:cubicBezTo>
                <a:cubicBezTo>
                  <a:pt x="879" y="227"/>
                  <a:pt x="878" y="227"/>
                  <a:pt x="878" y="226"/>
                </a:cubicBezTo>
                <a:cubicBezTo>
                  <a:pt x="877" y="226"/>
                  <a:pt x="877" y="225"/>
                  <a:pt x="875" y="223"/>
                </a:cubicBezTo>
                <a:cubicBezTo>
                  <a:pt x="874" y="223"/>
                  <a:pt x="877" y="213"/>
                  <a:pt x="879" y="210"/>
                </a:cubicBezTo>
                <a:cubicBezTo>
                  <a:pt x="883" y="205"/>
                  <a:pt x="882" y="197"/>
                  <a:pt x="882" y="197"/>
                </a:cubicBezTo>
                <a:cubicBezTo>
                  <a:pt x="876" y="197"/>
                  <a:pt x="876" y="197"/>
                  <a:pt x="876" y="197"/>
                </a:cubicBezTo>
                <a:cubicBezTo>
                  <a:pt x="873" y="200"/>
                  <a:pt x="873" y="200"/>
                  <a:pt x="873" y="200"/>
                </a:cubicBezTo>
                <a:cubicBezTo>
                  <a:pt x="873" y="200"/>
                  <a:pt x="870" y="200"/>
                  <a:pt x="864" y="197"/>
                </a:cubicBezTo>
                <a:cubicBezTo>
                  <a:pt x="859" y="193"/>
                  <a:pt x="864" y="193"/>
                  <a:pt x="865" y="189"/>
                </a:cubicBezTo>
                <a:cubicBezTo>
                  <a:pt x="865" y="186"/>
                  <a:pt x="864" y="184"/>
                  <a:pt x="864" y="184"/>
                </a:cubicBezTo>
                <a:cubicBezTo>
                  <a:pt x="864" y="184"/>
                  <a:pt x="885" y="164"/>
                  <a:pt x="885" y="162"/>
                </a:cubicBezTo>
                <a:cubicBezTo>
                  <a:pt x="885" y="161"/>
                  <a:pt x="873" y="162"/>
                  <a:pt x="873" y="162"/>
                </a:cubicBezTo>
                <a:cubicBezTo>
                  <a:pt x="873" y="162"/>
                  <a:pt x="877" y="157"/>
                  <a:pt x="868" y="153"/>
                </a:cubicBezTo>
                <a:cubicBezTo>
                  <a:pt x="858" y="149"/>
                  <a:pt x="855" y="156"/>
                  <a:pt x="855" y="156"/>
                </a:cubicBezTo>
                <a:cubicBezTo>
                  <a:pt x="850" y="142"/>
                  <a:pt x="850" y="142"/>
                  <a:pt x="850" y="142"/>
                </a:cubicBezTo>
                <a:cubicBezTo>
                  <a:pt x="854" y="138"/>
                  <a:pt x="854" y="138"/>
                  <a:pt x="854" y="138"/>
                </a:cubicBezTo>
                <a:cubicBezTo>
                  <a:pt x="856" y="130"/>
                  <a:pt x="856" y="130"/>
                  <a:pt x="856" y="130"/>
                </a:cubicBezTo>
                <a:cubicBezTo>
                  <a:pt x="872" y="122"/>
                  <a:pt x="872" y="122"/>
                  <a:pt x="872" y="122"/>
                </a:cubicBezTo>
                <a:cubicBezTo>
                  <a:pt x="874" y="116"/>
                  <a:pt x="874" y="116"/>
                  <a:pt x="874" y="116"/>
                </a:cubicBezTo>
                <a:cubicBezTo>
                  <a:pt x="888" y="116"/>
                  <a:pt x="888" y="116"/>
                  <a:pt x="888" y="116"/>
                </a:cubicBezTo>
                <a:cubicBezTo>
                  <a:pt x="890" y="101"/>
                  <a:pt x="890" y="101"/>
                  <a:pt x="890" y="101"/>
                </a:cubicBezTo>
                <a:cubicBezTo>
                  <a:pt x="890" y="101"/>
                  <a:pt x="889" y="101"/>
                  <a:pt x="888" y="100"/>
                </a:cubicBezTo>
                <a:cubicBezTo>
                  <a:pt x="884" y="99"/>
                  <a:pt x="876" y="95"/>
                  <a:pt x="875" y="95"/>
                </a:cubicBezTo>
                <a:cubicBezTo>
                  <a:pt x="874" y="95"/>
                  <a:pt x="866" y="96"/>
                  <a:pt x="866" y="96"/>
                </a:cubicBezTo>
                <a:cubicBezTo>
                  <a:pt x="854" y="93"/>
                  <a:pt x="854" y="93"/>
                  <a:pt x="854" y="93"/>
                </a:cubicBezTo>
                <a:cubicBezTo>
                  <a:pt x="849" y="91"/>
                  <a:pt x="849" y="91"/>
                  <a:pt x="849" y="91"/>
                </a:cubicBezTo>
                <a:cubicBezTo>
                  <a:pt x="849" y="91"/>
                  <a:pt x="843" y="96"/>
                  <a:pt x="836" y="96"/>
                </a:cubicBezTo>
                <a:cubicBezTo>
                  <a:pt x="834" y="96"/>
                  <a:pt x="832" y="96"/>
                  <a:pt x="830" y="95"/>
                </a:cubicBezTo>
                <a:cubicBezTo>
                  <a:pt x="826" y="93"/>
                  <a:pt x="824" y="90"/>
                  <a:pt x="824" y="90"/>
                </a:cubicBezTo>
                <a:cubicBezTo>
                  <a:pt x="783" y="86"/>
                  <a:pt x="783" y="86"/>
                  <a:pt x="783" y="86"/>
                </a:cubicBezTo>
                <a:cubicBezTo>
                  <a:pt x="783" y="86"/>
                  <a:pt x="783" y="86"/>
                  <a:pt x="782" y="81"/>
                </a:cubicBezTo>
                <a:cubicBezTo>
                  <a:pt x="781" y="76"/>
                  <a:pt x="773" y="81"/>
                  <a:pt x="769" y="81"/>
                </a:cubicBezTo>
                <a:cubicBezTo>
                  <a:pt x="769" y="81"/>
                  <a:pt x="769" y="81"/>
                  <a:pt x="769" y="81"/>
                </a:cubicBezTo>
                <a:cubicBezTo>
                  <a:pt x="765" y="81"/>
                  <a:pt x="763" y="78"/>
                  <a:pt x="763" y="78"/>
                </a:cubicBezTo>
                <a:cubicBezTo>
                  <a:pt x="747" y="76"/>
                  <a:pt x="747" y="76"/>
                  <a:pt x="747" y="76"/>
                </a:cubicBezTo>
                <a:cubicBezTo>
                  <a:pt x="742" y="73"/>
                  <a:pt x="742" y="73"/>
                  <a:pt x="742" y="73"/>
                </a:cubicBezTo>
                <a:cubicBezTo>
                  <a:pt x="742" y="73"/>
                  <a:pt x="741" y="73"/>
                  <a:pt x="739" y="73"/>
                </a:cubicBezTo>
                <a:cubicBezTo>
                  <a:pt x="733" y="73"/>
                  <a:pt x="733" y="73"/>
                  <a:pt x="733" y="73"/>
                </a:cubicBezTo>
                <a:cubicBezTo>
                  <a:pt x="728" y="73"/>
                  <a:pt x="724" y="63"/>
                  <a:pt x="724" y="57"/>
                </a:cubicBezTo>
                <a:cubicBezTo>
                  <a:pt x="724" y="52"/>
                  <a:pt x="713" y="56"/>
                  <a:pt x="713" y="56"/>
                </a:cubicBezTo>
                <a:cubicBezTo>
                  <a:pt x="716" y="41"/>
                  <a:pt x="716" y="41"/>
                  <a:pt x="716" y="41"/>
                </a:cubicBezTo>
                <a:cubicBezTo>
                  <a:pt x="713" y="37"/>
                  <a:pt x="713" y="37"/>
                  <a:pt x="713" y="37"/>
                </a:cubicBezTo>
                <a:cubicBezTo>
                  <a:pt x="713" y="37"/>
                  <a:pt x="704" y="40"/>
                  <a:pt x="704" y="37"/>
                </a:cubicBezTo>
                <a:cubicBezTo>
                  <a:pt x="703" y="35"/>
                  <a:pt x="698" y="31"/>
                  <a:pt x="698" y="31"/>
                </a:cubicBezTo>
                <a:cubicBezTo>
                  <a:pt x="698" y="31"/>
                  <a:pt x="704" y="26"/>
                  <a:pt x="698" y="23"/>
                </a:cubicBezTo>
                <a:cubicBezTo>
                  <a:pt x="691" y="19"/>
                  <a:pt x="697" y="17"/>
                  <a:pt x="697" y="12"/>
                </a:cubicBezTo>
                <a:cubicBezTo>
                  <a:pt x="698" y="8"/>
                  <a:pt x="704" y="11"/>
                  <a:pt x="704" y="11"/>
                </a:cubicBezTo>
                <a:cubicBezTo>
                  <a:pt x="708" y="4"/>
                  <a:pt x="708" y="4"/>
                  <a:pt x="708" y="4"/>
                </a:cubicBezTo>
                <a:cubicBezTo>
                  <a:pt x="702" y="0"/>
                  <a:pt x="702" y="0"/>
                  <a:pt x="702" y="0"/>
                </a:cubicBezTo>
                <a:cubicBezTo>
                  <a:pt x="668" y="9"/>
                  <a:pt x="668" y="9"/>
                  <a:pt x="668" y="9"/>
                </a:cubicBezTo>
                <a:cubicBezTo>
                  <a:pt x="647" y="22"/>
                  <a:pt x="647" y="22"/>
                  <a:pt x="647" y="22"/>
                </a:cubicBezTo>
                <a:cubicBezTo>
                  <a:pt x="649" y="14"/>
                  <a:pt x="637" y="17"/>
                  <a:pt x="637" y="17"/>
                </a:cubicBezTo>
                <a:cubicBezTo>
                  <a:pt x="634" y="14"/>
                  <a:pt x="634" y="14"/>
                  <a:pt x="634" y="14"/>
                </a:cubicBezTo>
                <a:cubicBezTo>
                  <a:pt x="622" y="17"/>
                  <a:pt x="622" y="17"/>
                  <a:pt x="622" y="17"/>
                </a:cubicBezTo>
                <a:cubicBezTo>
                  <a:pt x="622" y="17"/>
                  <a:pt x="618" y="13"/>
                  <a:pt x="615" y="13"/>
                </a:cubicBezTo>
                <a:cubicBezTo>
                  <a:pt x="612" y="13"/>
                  <a:pt x="605" y="22"/>
                  <a:pt x="605" y="22"/>
                </a:cubicBezTo>
                <a:cubicBezTo>
                  <a:pt x="601" y="16"/>
                  <a:pt x="601" y="16"/>
                  <a:pt x="601" y="16"/>
                </a:cubicBezTo>
                <a:cubicBezTo>
                  <a:pt x="576" y="20"/>
                  <a:pt x="576" y="20"/>
                  <a:pt x="576" y="20"/>
                </a:cubicBezTo>
                <a:cubicBezTo>
                  <a:pt x="576" y="25"/>
                  <a:pt x="576" y="25"/>
                  <a:pt x="576" y="25"/>
                </a:cubicBezTo>
                <a:cubicBezTo>
                  <a:pt x="576" y="25"/>
                  <a:pt x="572" y="29"/>
                  <a:pt x="569" y="33"/>
                </a:cubicBezTo>
                <a:cubicBezTo>
                  <a:pt x="566" y="37"/>
                  <a:pt x="568" y="46"/>
                  <a:pt x="568" y="46"/>
                </a:cubicBezTo>
                <a:cubicBezTo>
                  <a:pt x="555" y="57"/>
                  <a:pt x="555" y="57"/>
                  <a:pt x="555" y="57"/>
                </a:cubicBezTo>
                <a:cubicBezTo>
                  <a:pt x="547" y="54"/>
                  <a:pt x="547" y="54"/>
                  <a:pt x="547" y="54"/>
                </a:cubicBezTo>
                <a:cubicBezTo>
                  <a:pt x="541" y="56"/>
                  <a:pt x="541" y="56"/>
                  <a:pt x="541" y="56"/>
                </a:cubicBezTo>
                <a:cubicBezTo>
                  <a:pt x="536" y="52"/>
                  <a:pt x="536" y="52"/>
                  <a:pt x="536" y="52"/>
                </a:cubicBezTo>
                <a:cubicBezTo>
                  <a:pt x="534" y="55"/>
                  <a:pt x="534" y="55"/>
                  <a:pt x="534" y="55"/>
                </a:cubicBezTo>
                <a:cubicBezTo>
                  <a:pt x="530" y="50"/>
                  <a:pt x="530" y="50"/>
                  <a:pt x="530" y="50"/>
                </a:cubicBezTo>
                <a:cubicBezTo>
                  <a:pt x="523" y="50"/>
                  <a:pt x="523" y="50"/>
                  <a:pt x="523" y="50"/>
                </a:cubicBezTo>
                <a:cubicBezTo>
                  <a:pt x="527" y="45"/>
                  <a:pt x="527" y="45"/>
                  <a:pt x="527" y="45"/>
                </a:cubicBezTo>
                <a:cubicBezTo>
                  <a:pt x="516" y="35"/>
                  <a:pt x="516" y="35"/>
                  <a:pt x="516" y="35"/>
                </a:cubicBezTo>
                <a:cubicBezTo>
                  <a:pt x="504" y="43"/>
                  <a:pt x="504" y="43"/>
                  <a:pt x="504" y="43"/>
                </a:cubicBezTo>
                <a:cubicBezTo>
                  <a:pt x="497" y="41"/>
                  <a:pt x="497" y="41"/>
                  <a:pt x="497" y="41"/>
                </a:cubicBezTo>
                <a:cubicBezTo>
                  <a:pt x="492" y="40"/>
                  <a:pt x="492" y="40"/>
                  <a:pt x="492" y="40"/>
                </a:cubicBezTo>
                <a:cubicBezTo>
                  <a:pt x="487" y="51"/>
                  <a:pt x="487" y="51"/>
                  <a:pt x="487" y="51"/>
                </a:cubicBezTo>
                <a:cubicBezTo>
                  <a:pt x="487" y="57"/>
                  <a:pt x="487" y="57"/>
                  <a:pt x="487" y="57"/>
                </a:cubicBezTo>
                <a:cubicBezTo>
                  <a:pt x="484" y="62"/>
                  <a:pt x="484" y="62"/>
                  <a:pt x="484" y="62"/>
                </a:cubicBezTo>
                <a:cubicBezTo>
                  <a:pt x="485" y="67"/>
                  <a:pt x="485" y="67"/>
                  <a:pt x="485" y="67"/>
                </a:cubicBezTo>
                <a:cubicBezTo>
                  <a:pt x="482" y="68"/>
                  <a:pt x="482" y="68"/>
                  <a:pt x="482" y="68"/>
                </a:cubicBezTo>
                <a:cubicBezTo>
                  <a:pt x="482" y="72"/>
                  <a:pt x="482" y="72"/>
                  <a:pt x="482" y="72"/>
                </a:cubicBezTo>
                <a:cubicBezTo>
                  <a:pt x="483" y="73"/>
                  <a:pt x="483" y="75"/>
                  <a:pt x="484" y="76"/>
                </a:cubicBezTo>
                <a:cubicBezTo>
                  <a:pt x="488" y="77"/>
                  <a:pt x="488" y="77"/>
                  <a:pt x="488" y="77"/>
                </a:cubicBezTo>
                <a:cubicBezTo>
                  <a:pt x="493" y="82"/>
                  <a:pt x="493" y="82"/>
                  <a:pt x="493" y="82"/>
                </a:cubicBezTo>
                <a:cubicBezTo>
                  <a:pt x="489" y="93"/>
                  <a:pt x="489" y="93"/>
                  <a:pt x="489" y="93"/>
                </a:cubicBezTo>
                <a:cubicBezTo>
                  <a:pt x="487" y="97"/>
                  <a:pt x="487" y="97"/>
                  <a:pt x="487" y="97"/>
                </a:cubicBezTo>
                <a:cubicBezTo>
                  <a:pt x="487" y="97"/>
                  <a:pt x="487" y="97"/>
                  <a:pt x="487" y="97"/>
                </a:cubicBezTo>
                <a:cubicBezTo>
                  <a:pt x="485" y="92"/>
                  <a:pt x="469" y="96"/>
                  <a:pt x="469" y="92"/>
                </a:cubicBezTo>
                <a:cubicBezTo>
                  <a:pt x="469" y="89"/>
                  <a:pt x="462" y="89"/>
                  <a:pt x="462" y="89"/>
                </a:cubicBezTo>
                <a:cubicBezTo>
                  <a:pt x="465" y="83"/>
                  <a:pt x="465" y="83"/>
                  <a:pt x="465" y="83"/>
                </a:cubicBezTo>
                <a:cubicBezTo>
                  <a:pt x="463" y="78"/>
                  <a:pt x="463" y="78"/>
                  <a:pt x="463" y="78"/>
                </a:cubicBezTo>
                <a:cubicBezTo>
                  <a:pt x="459" y="82"/>
                  <a:pt x="459" y="82"/>
                  <a:pt x="459" y="82"/>
                </a:cubicBezTo>
                <a:cubicBezTo>
                  <a:pt x="444" y="81"/>
                  <a:pt x="444" y="81"/>
                  <a:pt x="444" y="81"/>
                </a:cubicBezTo>
                <a:cubicBezTo>
                  <a:pt x="443" y="87"/>
                  <a:pt x="443" y="87"/>
                  <a:pt x="443" y="87"/>
                </a:cubicBezTo>
                <a:cubicBezTo>
                  <a:pt x="436" y="94"/>
                  <a:pt x="436" y="94"/>
                  <a:pt x="436" y="94"/>
                </a:cubicBezTo>
                <a:cubicBezTo>
                  <a:pt x="436" y="94"/>
                  <a:pt x="437" y="112"/>
                  <a:pt x="440" y="113"/>
                </a:cubicBezTo>
                <a:cubicBezTo>
                  <a:pt x="442" y="114"/>
                  <a:pt x="448" y="113"/>
                  <a:pt x="448" y="113"/>
                </a:cubicBezTo>
                <a:cubicBezTo>
                  <a:pt x="451" y="119"/>
                  <a:pt x="451" y="119"/>
                  <a:pt x="451" y="119"/>
                </a:cubicBezTo>
                <a:cubicBezTo>
                  <a:pt x="446" y="130"/>
                  <a:pt x="446" y="130"/>
                  <a:pt x="446" y="130"/>
                </a:cubicBezTo>
                <a:cubicBezTo>
                  <a:pt x="454" y="144"/>
                  <a:pt x="454" y="144"/>
                  <a:pt x="454" y="144"/>
                </a:cubicBezTo>
                <a:cubicBezTo>
                  <a:pt x="454" y="144"/>
                  <a:pt x="453" y="147"/>
                  <a:pt x="450" y="149"/>
                </a:cubicBezTo>
                <a:cubicBezTo>
                  <a:pt x="447" y="151"/>
                  <a:pt x="440" y="152"/>
                  <a:pt x="437" y="150"/>
                </a:cubicBezTo>
                <a:cubicBezTo>
                  <a:pt x="433" y="148"/>
                  <a:pt x="438" y="145"/>
                  <a:pt x="438" y="142"/>
                </a:cubicBezTo>
                <a:cubicBezTo>
                  <a:pt x="438" y="140"/>
                  <a:pt x="431" y="139"/>
                  <a:pt x="431" y="139"/>
                </a:cubicBezTo>
                <a:cubicBezTo>
                  <a:pt x="429" y="131"/>
                  <a:pt x="429" y="131"/>
                  <a:pt x="429" y="131"/>
                </a:cubicBezTo>
                <a:cubicBezTo>
                  <a:pt x="431" y="127"/>
                  <a:pt x="431" y="127"/>
                  <a:pt x="431" y="127"/>
                </a:cubicBezTo>
                <a:cubicBezTo>
                  <a:pt x="426" y="121"/>
                  <a:pt x="426" y="121"/>
                  <a:pt x="426" y="121"/>
                </a:cubicBezTo>
                <a:cubicBezTo>
                  <a:pt x="423" y="125"/>
                  <a:pt x="423" y="125"/>
                  <a:pt x="423" y="125"/>
                </a:cubicBezTo>
                <a:cubicBezTo>
                  <a:pt x="420" y="121"/>
                  <a:pt x="420" y="121"/>
                  <a:pt x="420" y="121"/>
                </a:cubicBezTo>
                <a:cubicBezTo>
                  <a:pt x="405" y="129"/>
                  <a:pt x="405" y="129"/>
                  <a:pt x="405" y="129"/>
                </a:cubicBezTo>
                <a:cubicBezTo>
                  <a:pt x="400" y="127"/>
                  <a:pt x="400" y="127"/>
                  <a:pt x="400" y="127"/>
                </a:cubicBezTo>
                <a:cubicBezTo>
                  <a:pt x="400" y="127"/>
                  <a:pt x="400" y="127"/>
                  <a:pt x="394" y="136"/>
                </a:cubicBezTo>
                <a:cubicBezTo>
                  <a:pt x="376" y="137"/>
                  <a:pt x="372" y="131"/>
                  <a:pt x="372" y="128"/>
                </a:cubicBezTo>
                <a:cubicBezTo>
                  <a:pt x="372" y="126"/>
                  <a:pt x="366" y="120"/>
                  <a:pt x="366" y="120"/>
                </a:cubicBezTo>
                <a:cubicBezTo>
                  <a:pt x="367" y="97"/>
                  <a:pt x="367" y="97"/>
                  <a:pt x="367" y="97"/>
                </a:cubicBezTo>
                <a:cubicBezTo>
                  <a:pt x="360" y="104"/>
                  <a:pt x="360" y="104"/>
                  <a:pt x="360" y="104"/>
                </a:cubicBezTo>
                <a:cubicBezTo>
                  <a:pt x="354" y="96"/>
                  <a:pt x="354" y="96"/>
                  <a:pt x="354" y="96"/>
                </a:cubicBezTo>
                <a:cubicBezTo>
                  <a:pt x="343" y="98"/>
                  <a:pt x="343" y="98"/>
                  <a:pt x="343" y="98"/>
                </a:cubicBezTo>
                <a:cubicBezTo>
                  <a:pt x="343" y="106"/>
                  <a:pt x="343" y="106"/>
                  <a:pt x="343" y="106"/>
                </a:cubicBezTo>
                <a:cubicBezTo>
                  <a:pt x="341" y="108"/>
                  <a:pt x="341" y="108"/>
                  <a:pt x="341" y="108"/>
                </a:cubicBezTo>
                <a:cubicBezTo>
                  <a:pt x="343" y="114"/>
                  <a:pt x="343" y="114"/>
                  <a:pt x="343" y="114"/>
                </a:cubicBezTo>
                <a:cubicBezTo>
                  <a:pt x="345" y="126"/>
                  <a:pt x="345" y="126"/>
                  <a:pt x="345" y="126"/>
                </a:cubicBezTo>
                <a:cubicBezTo>
                  <a:pt x="339" y="145"/>
                  <a:pt x="339" y="145"/>
                  <a:pt x="339" y="145"/>
                </a:cubicBezTo>
                <a:cubicBezTo>
                  <a:pt x="333" y="146"/>
                  <a:pt x="333" y="146"/>
                  <a:pt x="333" y="146"/>
                </a:cubicBezTo>
                <a:cubicBezTo>
                  <a:pt x="329" y="155"/>
                  <a:pt x="329" y="155"/>
                  <a:pt x="329" y="155"/>
                </a:cubicBezTo>
                <a:cubicBezTo>
                  <a:pt x="316" y="162"/>
                  <a:pt x="316" y="162"/>
                  <a:pt x="316" y="162"/>
                </a:cubicBezTo>
                <a:cubicBezTo>
                  <a:pt x="316" y="162"/>
                  <a:pt x="316" y="169"/>
                  <a:pt x="316" y="173"/>
                </a:cubicBezTo>
                <a:cubicBezTo>
                  <a:pt x="316" y="176"/>
                  <a:pt x="308" y="176"/>
                  <a:pt x="308" y="176"/>
                </a:cubicBezTo>
                <a:cubicBezTo>
                  <a:pt x="308" y="176"/>
                  <a:pt x="308" y="182"/>
                  <a:pt x="307" y="187"/>
                </a:cubicBezTo>
                <a:cubicBezTo>
                  <a:pt x="307" y="191"/>
                  <a:pt x="303" y="189"/>
                  <a:pt x="303" y="189"/>
                </a:cubicBezTo>
                <a:cubicBezTo>
                  <a:pt x="308" y="192"/>
                  <a:pt x="308" y="192"/>
                  <a:pt x="308" y="192"/>
                </a:cubicBezTo>
                <a:cubicBezTo>
                  <a:pt x="308" y="199"/>
                  <a:pt x="308" y="199"/>
                  <a:pt x="308" y="199"/>
                </a:cubicBezTo>
                <a:cubicBezTo>
                  <a:pt x="317" y="206"/>
                  <a:pt x="317" y="206"/>
                  <a:pt x="317" y="206"/>
                </a:cubicBezTo>
                <a:cubicBezTo>
                  <a:pt x="306" y="218"/>
                  <a:pt x="306" y="218"/>
                  <a:pt x="306" y="218"/>
                </a:cubicBezTo>
                <a:cubicBezTo>
                  <a:pt x="299" y="214"/>
                  <a:pt x="299" y="214"/>
                  <a:pt x="299" y="214"/>
                </a:cubicBezTo>
                <a:cubicBezTo>
                  <a:pt x="294" y="213"/>
                  <a:pt x="294" y="213"/>
                  <a:pt x="294" y="213"/>
                </a:cubicBezTo>
                <a:cubicBezTo>
                  <a:pt x="294" y="213"/>
                  <a:pt x="295" y="203"/>
                  <a:pt x="295" y="201"/>
                </a:cubicBezTo>
                <a:cubicBezTo>
                  <a:pt x="295" y="200"/>
                  <a:pt x="288" y="191"/>
                  <a:pt x="288" y="191"/>
                </a:cubicBezTo>
                <a:cubicBezTo>
                  <a:pt x="285" y="186"/>
                  <a:pt x="285" y="186"/>
                  <a:pt x="285" y="186"/>
                </a:cubicBezTo>
                <a:cubicBezTo>
                  <a:pt x="278" y="186"/>
                  <a:pt x="278" y="186"/>
                  <a:pt x="278" y="186"/>
                </a:cubicBezTo>
                <a:cubicBezTo>
                  <a:pt x="287" y="172"/>
                  <a:pt x="287" y="172"/>
                  <a:pt x="287" y="172"/>
                </a:cubicBezTo>
                <a:cubicBezTo>
                  <a:pt x="284" y="166"/>
                  <a:pt x="284" y="166"/>
                  <a:pt x="284" y="166"/>
                </a:cubicBezTo>
                <a:cubicBezTo>
                  <a:pt x="277" y="165"/>
                  <a:pt x="277" y="165"/>
                  <a:pt x="277" y="165"/>
                </a:cubicBezTo>
                <a:cubicBezTo>
                  <a:pt x="257" y="162"/>
                  <a:pt x="257" y="162"/>
                  <a:pt x="257" y="162"/>
                </a:cubicBezTo>
                <a:cubicBezTo>
                  <a:pt x="248" y="143"/>
                  <a:pt x="248" y="143"/>
                  <a:pt x="248" y="143"/>
                </a:cubicBezTo>
                <a:cubicBezTo>
                  <a:pt x="238" y="139"/>
                  <a:pt x="238" y="139"/>
                  <a:pt x="238" y="139"/>
                </a:cubicBezTo>
                <a:cubicBezTo>
                  <a:pt x="238" y="139"/>
                  <a:pt x="238" y="131"/>
                  <a:pt x="238" y="128"/>
                </a:cubicBezTo>
                <a:cubicBezTo>
                  <a:pt x="238" y="125"/>
                  <a:pt x="242" y="122"/>
                  <a:pt x="242" y="122"/>
                </a:cubicBezTo>
                <a:cubicBezTo>
                  <a:pt x="242" y="122"/>
                  <a:pt x="243" y="108"/>
                  <a:pt x="241" y="100"/>
                </a:cubicBezTo>
                <a:cubicBezTo>
                  <a:pt x="239" y="92"/>
                  <a:pt x="222" y="110"/>
                  <a:pt x="222" y="110"/>
                </a:cubicBezTo>
                <a:cubicBezTo>
                  <a:pt x="222" y="110"/>
                  <a:pt x="222" y="110"/>
                  <a:pt x="223" y="115"/>
                </a:cubicBezTo>
                <a:cubicBezTo>
                  <a:pt x="214" y="116"/>
                  <a:pt x="211" y="126"/>
                  <a:pt x="211" y="126"/>
                </a:cubicBezTo>
                <a:cubicBezTo>
                  <a:pt x="199" y="127"/>
                  <a:pt x="199" y="127"/>
                  <a:pt x="199" y="127"/>
                </a:cubicBezTo>
                <a:cubicBezTo>
                  <a:pt x="194" y="132"/>
                  <a:pt x="194" y="132"/>
                  <a:pt x="194" y="132"/>
                </a:cubicBezTo>
                <a:cubicBezTo>
                  <a:pt x="202" y="142"/>
                  <a:pt x="202" y="142"/>
                  <a:pt x="202" y="142"/>
                </a:cubicBezTo>
                <a:cubicBezTo>
                  <a:pt x="202" y="142"/>
                  <a:pt x="202" y="156"/>
                  <a:pt x="197" y="159"/>
                </a:cubicBezTo>
                <a:cubicBezTo>
                  <a:pt x="193" y="161"/>
                  <a:pt x="187" y="161"/>
                  <a:pt x="187" y="161"/>
                </a:cubicBezTo>
                <a:cubicBezTo>
                  <a:pt x="187" y="161"/>
                  <a:pt x="187" y="168"/>
                  <a:pt x="185" y="174"/>
                </a:cubicBezTo>
                <a:cubicBezTo>
                  <a:pt x="183" y="181"/>
                  <a:pt x="171" y="179"/>
                  <a:pt x="168" y="180"/>
                </a:cubicBezTo>
                <a:cubicBezTo>
                  <a:pt x="165" y="181"/>
                  <a:pt x="163" y="191"/>
                  <a:pt x="163" y="191"/>
                </a:cubicBezTo>
                <a:cubicBezTo>
                  <a:pt x="154" y="193"/>
                  <a:pt x="154" y="193"/>
                  <a:pt x="154" y="193"/>
                </a:cubicBezTo>
                <a:cubicBezTo>
                  <a:pt x="154" y="193"/>
                  <a:pt x="151" y="189"/>
                  <a:pt x="150" y="189"/>
                </a:cubicBezTo>
                <a:cubicBezTo>
                  <a:pt x="148" y="189"/>
                  <a:pt x="147" y="192"/>
                  <a:pt x="147" y="192"/>
                </a:cubicBezTo>
                <a:cubicBezTo>
                  <a:pt x="139" y="182"/>
                  <a:pt x="139" y="182"/>
                  <a:pt x="139" y="182"/>
                </a:cubicBezTo>
                <a:cubicBezTo>
                  <a:pt x="127" y="182"/>
                  <a:pt x="127" y="182"/>
                  <a:pt x="127" y="182"/>
                </a:cubicBezTo>
                <a:cubicBezTo>
                  <a:pt x="129" y="177"/>
                  <a:pt x="129" y="177"/>
                  <a:pt x="129" y="177"/>
                </a:cubicBezTo>
                <a:cubicBezTo>
                  <a:pt x="124" y="176"/>
                  <a:pt x="124" y="176"/>
                  <a:pt x="124" y="176"/>
                </a:cubicBezTo>
                <a:cubicBezTo>
                  <a:pt x="123" y="184"/>
                  <a:pt x="123" y="184"/>
                  <a:pt x="123" y="184"/>
                </a:cubicBezTo>
                <a:cubicBezTo>
                  <a:pt x="118" y="184"/>
                  <a:pt x="118" y="184"/>
                  <a:pt x="118" y="184"/>
                </a:cubicBezTo>
                <a:cubicBezTo>
                  <a:pt x="104" y="192"/>
                  <a:pt x="104" y="192"/>
                  <a:pt x="104" y="192"/>
                </a:cubicBezTo>
                <a:cubicBezTo>
                  <a:pt x="93" y="189"/>
                  <a:pt x="93" y="189"/>
                  <a:pt x="93" y="189"/>
                </a:cubicBezTo>
                <a:cubicBezTo>
                  <a:pt x="93" y="189"/>
                  <a:pt x="91" y="192"/>
                  <a:pt x="89" y="195"/>
                </a:cubicBezTo>
                <a:cubicBezTo>
                  <a:pt x="86" y="197"/>
                  <a:pt x="82" y="191"/>
                  <a:pt x="82" y="191"/>
                </a:cubicBezTo>
                <a:cubicBezTo>
                  <a:pt x="79" y="198"/>
                  <a:pt x="79" y="198"/>
                  <a:pt x="79" y="198"/>
                </a:cubicBezTo>
                <a:cubicBezTo>
                  <a:pt x="74" y="193"/>
                  <a:pt x="74" y="193"/>
                  <a:pt x="74" y="193"/>
                </a:cubicBezTo>
                <a:cubicBezTo>
                  <a:pt x="69" y="198"/>
                  <a:pt x="69" y="198"/>
                  <a:pt x="69" y="198"/>
                </a:cubicBezTo>
                <a:cubicBezTo>
                  <a:pt x="61" y="188"/>
                  <a:pt x="61" y="188"/>
                  <a:pt x="61" y="188"/>
                </a:cubicBezTo>
                <a:cubicBezTo>
                  <a:pt x="57" y="184"/>
                  <a:pt x="58" y="190"/>
                  <a:pt x="53" y="195"/>
                </a:cubicBezTo>
                <a:cubicBezTo>
                  <a:pt x="48" y="198"/>
                  <a:pt x="43" y="199"/>
                  <a:pt x="41" y="199"/>
                </a:cubicBezTo>
                <a:cubicBezTo>
                  <a:pt x="40" y="199"/>
                  <a:pt x="40" y="199"/>
                  <a:pt x="40" y="199"/>
                </a:cubicBezTo>
                <a:cubicBezTo>
                  <a:pt x="37" y="200"/>
                  <a:pt x="37" y="200"/>
                  <a:pt x="37" y="200"/>
                </a:cubicBezTo>
                <a:cubicBezTo>
                  <a:pt x="34" y="200"/>
                  <a:pt x="34" y="200"/>
                  <a:pt x="34" y="200"/>
                </a:cubicBezTo>
                <a:cubicBezTo>
                  <a:pt x="34" y="200"/>
                  <a:pt x="29" y="209"/>
                  <a:pt x="30" y="216"/>
                </a:cubicBezTo>
                <a:cubicBezTo>
                  <a:pt x="30" y="223"/>
                  <a:pt x="33" y="227"/>
                  <a:pt x="40" y="228"/>
                </a:cubicBezTo>
                <a:cubicBezTo>
                  <a:pt x="46" y="229"/>
                  <a:pt x="44" y="234"/>
                  <a:pt x="44" y="234"/>
                </a:cubicBezTo>
                <a:cubicBezTo>
                  <a:pt x="53" y="236"/>
                  <a:pt x="53" y="236"/>
                  <a:pt x="53" y="236"/>
                </a:cubicBezTo>
                <a:cubicBezTo>
                  <a:pt x="48" y="246"/>
                  <a:pt x="48" y="246"/>
                  <a:pt x="48" y="246"/>
                </a:cubicBezTo>
                <a:cubicBezTo>
                  <a:pt x="51" y="247"/>
                  <a:pt x="51" y="247"/>
                  <a:pt x="51" y="247"/>
                </a:cubicBezTo>
                <a:cubicBezTo>
                  <a:pt x="50" y="260"/>
                  <a:pt x="50" y="260"/>
                  <a:pt x="50" y="260"/>
                </a:cubicBezTo>
                <a:cubicBezTo>
                  <a:pt x="50" y="260"/>
                  <a:pt x="53" y="262"/>
                  <a:pt x="57" y="262"/>
                </a:cubicBezTo>
                <a:cubicBezTo>
                  <a:pt x="61" y="262"/>
                  <a:pt x="57" y="268"/>
                  <a:pt x="57" y="268"/>
                </a:cubicBezTo>
                <a:cubicBezTo>
                  <a:pt x="57" y="268"/>
                  <a:pt x="58" y="268"/>
                  <a:pt x="62" y="268"/>
                </a:cubicBezTo>
                <a:cubicBezTo>
                  <a:pt x="62" y="268"/>
                  <a:pt x="63" y="268"/>
                  <a:pt x="64" y="268"/>
                </a:cubicBezTo>
                <a:cubicBezTo>
                  <a:pt x="68" y="268"/>
                  <a:pt x="64" y="274"/>
                  <a:pt x="64" y="274"/>
                </a:cubicBezTo>
                <a:cubicBezTo>
                  <a:pt x="71" y="279"/>
                  <a:pt x="71" y="279"/>
                  <a:pt x="71" y="279"/>
                </a:cubicBezTo>
                <a:cubicBezTo>
                  <a:pt x="67" y="292"/>
                  <a:pt x="67" y="292"/>
                  <a:pt x="67" y="292"/>
                </a:cubicBezTo>
                <a:cubicBezTo>
                  <a:pt x="63" y="293"/>
                  <a:pt x="63" y="293"/>
                  <a:pt x="63" y="293"/>
                </a:cubicBezTo>
                <a:cubicBezTo>
                  <a:pt x="63" y="293"/>
                  <a:pt x="65" y="299"/>
                  <a:pt x="66" y="304"/>
                </a:cubicBezTo>
                <a:cubicBezTo>
                  <a:pt x="66" y="310"/>
                  <a:pt x="60" y="311"/>
                  <a:pt x="58" y="312"/>
                </a:cubicBezTo>
                <a:cubicBezTo>
                  <a:pt x="57" y="313"/>
                  <a:pt x="57" y="313"/>
                  <a:pt x="56" y="313"/>
                </a:cubicBezTo>
                <a:cubicBezTo>
                  <a:pt x="54" y="313"/>
                  <a:pt x="51" y="312"/>
                  <a:pt x="46" y="312"/>
                </a:cubicBezTo>
                <a:cubicBezTo>
                  <a:pt x="39" y="313"/>
                  <a:pt x="43" y="320"/>
                  <a:pt x="43" y="320"/>
                </a:cubicBezTo>
                <a:cubicBezTo>
                  <a:pt x="33" y="320"/>
                  <a:pt x="33" y="320"/>
                  <a:pt x="33" y="320"/>
                </a:cubicBezTo>
                <a:cubicBezTo>
                  <a:pt x="33" y="320"/>
                  <a:pt x="33" y="326"/>
                  <a:pt x="29" y="326"/>
                </a:cubicBezTo>
                <a:cubicBezTo>
                  <a:pt x="25" y="326"/>
                  <a:pt x="17" y="320"/>
                  <a:pt x="17" y="320"/>
                </a:cubicBezTo>
                <a:cubicBezTo>
                  <a:pt x="17" y="320"/>
                  <a:pt x="15" y="321"/>
                  <a:pt x="12" y="323"/>
                </a:cubicBezTo>
                <a:cubicBezTo>
                  <a:pt x="8" y="325"/>
                  <a:pt x="6" y="323"/>
                  <a:pt x="6" y="323"/>
                </a:cubicBezTo>
                <a:cubicBezTo>
                  <a:pt x="0" y="328"/>
                  <a:pt x="0" y="328"/>
                  <a:pt x="0" y="328"/>
                </a:cubicBezTo>
                <a:cubicBezTo>
                  <a:pt x="2" y="344"/>
                  <a:pt x="2" y="344"/>
                  <a:pt x="2" y="344"/>
                </a:cubicBezTo>
                <a:cubicBezTo>
                  <a:pt x="2" y="344"/>
                  <a:pt x="7" y="345"/>
                  <a:pt x="12" y="347"/>
                </a:cubicBezTo>
                <a:cubicBezTo>
                  <a:pt x="18" y="349"/>
                  <a:pt x="12" y="362"/>
                  <a:pt x="12" y="362"/>
                </a:cubicBezTo>
                <a:cubicBezTo>
                  <a:pt x="12" y="362"/>
                  <a:pt x="28" y="377"/>
                  <a:pt x="32" y="377"/>
                </a:cubicBezTo>
                <a:cubicBezTo>
                  <a:pt x="37" y="377"/>
                  <a:pt x="36" y="375"/>
                  <a:pt x="36" y="375"/>
                </a:cubicBezTo>
                <a:cubicBezTo>
                  <a:pt x="46" y="383"/>
                  <a:pt x="46" y="383"/>
                  <a:pt x="46" y="383"/>
                </a:cubicBezTo>
                <a:cubicBezTo>
                  <a:pt x="46" y="383"/>
                  <a:pt x="43" y="386"/>
                  <a:pt x="42" y="388"/>
                </a:cubicBezTo>
                <a:cubicBezTo>
                  <a:pt x="41" y="391"/>
                  <a:pt x="46" y="392"/>
                  <a:pt x="46" y="392"/>
                </a:cubicBezTo>
                <a:cubicBezTo>
                  <a:pt x="46" y="398"/>
                  <a:pt x="46" y="398"/>
                  <a:pt x="46" y="398"/>
                </a:cubicBezTo>
                <a:cubicBezTo>
                  <a:pt x="52" y="408"/>
                  <a:pt x="52" y="408"/>
                  <a:pt x="52" y="408"/>
                </a:cubicBezTo>
                <a:cubicBezTo>
                  <a:pt x="52" y="408"/>
                  <a:pt x="52" y="408"/>
                  <a:pt x="40" y="405"/>
                </a:cubicBezTo>
                <a:cubicBezTo>
                  <a:pt x="29" y="403"/>
                  <a:pt x="36" y="424"/>
                  <a:pt x="28" y="428"/>
                </a:cubicBezTo>
                <a:cubicBezTo>
                  <a:pt x="20" y="433"/>
                  <a:pt x="21" y="438"/>
                  <a:pt x="21" y="438"/>
                </a:cubicBezTo>
                <a:cubicBezTo>
                  <a:pt x="31" y="452"/>
                  <a:pt x="31" y="452"/>
                  <a:pt x="31" y="452"/>
                </a:cubicBezTo>
                <a:cubicBezTo>
                  <a:pt x="23" y="453"/>
                  <a:pt x="23" y="453"/>
                  <a:pt x="23" y="453"/>
                </a:cubicBezTo>
                <a:cubicBezTo>
                  <a:pt x="23" y="453"/>
                  <a:pt x="23" y="465"/>
                  <a:pt x="26" y="466"/>
                </a:cubicBezTo>
                <a:cubicBezTo>
                  <a:pt x="28" y="467"/>
                  <a:pt x="28" y="471"/>
                  <a:pt x="31" y="477"/>
                </a:cubicBezTo>
                <a:cubicBezTo>
                  <a:pt x="33" y="482"/>
                  <a:pt x="36" y="478"/>
                  <a:pt x="36" y="484"/>
                </a:cubicBezTo>
                <a:cubicBezTo>
                  <a:pt x="36" y="490"/>
                  <a:pt x="40" y="488"/>
                  <a:pt x="43" y="488"/>
                </a:cubicBezTo>
                <a:cubicBezTo>
                  <a:pt x="47" y="488"/>
                  <a:pt x="52" y="496"/>
                  <a:pt x="56" y="496"/>
                </a:cubicBezTo>
                <a:cubicBezTo>
                  <a:pt x="61" y="496"/>
                  <a:pt x="69" y="506"/>
                  <a:pt x="69" y="506"/>
                </a:cubicBezTo>
                <a:cubicBezTo>
                  <a:pt x="79" y="506"/>
                  <a:pt x="79" y="506"/>
                  <a:pt x="79" y="506"/>
                </a:cubicBezTo>
                <a:cubicBezTo>
                  <a:pt x="78" y="511"/>
                  <a:pt x="78" y="511"/>
                  <a:pt x="78" y="511"/>
                </a:cubicBezTo>
                <a:cubicBezTo>
                  <a:pt x="85" y="511"/>
                  <a:pt x="85" y="511"/>
                  <a:pt x="85" y="511"/>
                </a:cubicBezTo>
                <a:cubicBezTo>
                  <a:pt x="88" y="513"/>
                  <a:pt x="88" y="513"/>
                  <a:pt x="88" y="513"/>
                </a:cubicBezTo>
                <a:cubicBezTo>
                  <a:pt x="88" y="513"/>
                  <a:pt x="88" y="511"/>
                  <a:pt x="91" y="509"/>
                </a:cubicBezTo>
                <a:cubicBezTo>
                  <a:pt x="93" y="508"/>
                  <a:pt x="113" y="507"/>
                  <a:pt x="113" y="507"/>
                </a:cubicBezTo>
                <a:cubicBezTo>
                  <a:pt x="117" y="502"/>
                  <a:pt x="117" y="502"/>
                  <a:pt x="117" y="502"/>
                </a:cubicBezTo>
                <a:cubicBezTo>
                  <a:pt x="124" y="505"/>
                  <a:pt x="124" y="505"/>
                  <a:pt x="124" y="505"/>
                </a:cubicBezTo>
                <a:cubicBezTo>
                  <a:pt x="118" y="510"/>
                  <a:pt x="118" y="510"/>
                  <a:pt x="118" y="510"/>
                </a:cubicBezTo>
                <a:cubicBezTo>
                  <a:pt x="118" y="510"/>
                  <a:pt x="123" y="517"/>
                  <a:pt x="126" y="521"/>
                </a:cubicBezTo>
                <a:cubicBezTo>
                  <a:pt x="127" y="522"/>
                  <a:pt x="127" y="523"/>
                  <a:pt x="126" y="524"/>
                </a:cubicBezTo>
                <a:cubicBezTo>
                  <a:pt x="124" y="526"/>
                  <a:pt x="119" y="528"/>
                  <a:pt x="119" y="530"/>
                </a:cubicBezTo>
                <a:cubicBezTo>
                  <a:pt x="118" y="533"/>
                  <a:pt x="120" y="534"/>
                  <a:pt x="116" y="539"/>
                </a:cubicBezTo>
                <a:cubicBezTo>
                  <a:pt x="113" y="544"/>
                  <a:pt x="106" y="542"/>
                  <a:pt x="106" y="542"/>
                </a:cubicBezTo>
                <a:cubicBezTo>
                  <a:pt x="103" y="552"/>
                  <a:pt x="103" y="552"/>
                  <a:pt x="103" y="552"/>
                </a:cubicBezTo>
                <a:cubicBezTo>
                  <a:pt x="95" y="557"/>
                  <a:pt x="95" y="557"/>
                  <a:pt x="95" y="557"/>
                </a:cubicBezTo>
                <a:cubicBezTo>
                  <a:pt x="98" y="571"/>
                  <a:pt x="98" y="571"/>
                  <a:pt x="98" y="571"/>
                </a:cubicBezTo>
                <a:cubicBezTo>
                  <a:pt x="108" y="574"/>
                  <a:pt x="108" y="574"/>
                  <a:pt x="108" y="574"/>
                </a:cubicBezTo>
                <a:cubicBezTo>
                  <a:pt x="115" y="575"/>
                  <a:pt x="115" y="575"/>
                  <a:pt x="115" y="575"/>
                </a:cubicBezTo>
                <a:cubicBezTo>
                  <a:pt x="118" y="570"/>
                  <a:pt x="118" y="570"/>
                  <a:pt x="118" y="570"/>
                </a:cubicBezTo>
                <a:cubicBezTo>
                  <a:pt x="125" y="571"/>
                  <a:pt x="125" y="571"/>
                  <a:pt x="125" y="571"/>
                </a:cubicBezTo>
                <a:cubicBezTo>
                  <a:pt x="132" y="567"/>
                  <a:pt x="132" y="567"/>
                  <a:pt x="132" y="567"/>
                </a:cubicBezTo>
                <a:cubicBezTo>
                  <a:pt x="138" y="569"/>
                  <a:pt x="138" y="569"/>
                  <a:pt x="138" y="569"/>
                </a:cubicBezTo>
                <a:cubicBezTo>
                  <a:pt x="168" y="557"/>
                  <a:pt x="168" y="557"/>
                  <a:pt x="168" y="557"/>
                </a:cubicBezTo>
                <a:cubicBezTo>
                  <a:pt x="181" y="545"/>
                  <a:pt x="181" y="545"/>
                  <a:pt x="181" y="545"/>
                </a:cubicBezTo>
                <a:cubicBezTo>
                  <a:pt x="182" y="537"/>
                  <a:pt x="182" y="537"/>
                  <a:pt x="182" y="537"/>
                </a:cubicBezTo>
                <a:cubicBezTo>
                  <a:pt x="193" y="531"/>
                  <a:pt x="193" y="531"/>
                  <a:pt x="193" y="531"/>
                </a:cubicBezTo>
                <a:cubicBezTo>
                  <a:pt x="193" y="531"/>
                  <a:pt x="191" y="519"/>
                  <a:pt x="195" y="515"/>
                </a:cubicBezTo>
                <a:cubicBezTo>
                  <a:pt x="200" y="510"/>
                  <a:pt x="214" y="506"/>
                  <a:pt x="218" y="504"/>
                </a:cubicBezTo>
                <a:cubicBezTo>
                  <a:pt x="221" y="503"/>
                  <a:pt x="216" y="501"/>
                  <a:pt x="216" y="501"/>
                </a:cubicBezTo>
                <a:cubicBezTo>
                  <a:pt x="222" y="495"/>
                  <a:pt x="222" y="495"/>
                  <a:pt x="222" y="495"/>
                </a:cubicBezTo>
                <a:cubicBezTo>
                  <a:pt x="221" y="486"/>
                  <a:pt x="221" y="486"/>
                  <a:pt x="221" y="486"/>
                </a:cubicBezTo>
                <a:cubicBezTo>
                  <a:pt x="260" y="466"/>
                  <a:pt x="260" y="466"/>
                  <a:pt x="260" y="466"/>
                </a:cubicBezTo>
                <a:cubicBezTo>
                  <a:pt x="271" y="467"/>
                  <a:pt x="271" y="467"/>
                  <a:pt x="271" y="467"/>
                </a:cubicBezTo>
                <a:cubicBezTo>
                  <a:pt x="277" y="471"/>
                  <a:pt x="277" y="471"/>
                  <a:pt x="277" y="471"/>
                </a:cubicBezTo>
                <a:cubicBezTo>
                  <a:pt x="284" y="469"/>
                  <a:pt x="284" y="469"/>
                  <a:pt x="284" y="469"/>
                </a:cubicBezTo>
                <a:cubicBezTo>
                  <a:pt x="287" y="475"/>
                  <a:pt x="287" y="475"/>
                  <a:pt x="287" y="475"/>
                </a:cubicBezTo>
                <a:cubicBezTo>
                  <a:pt x="313" y="479"/>
                  <a:pt x="313" y="479"/>
                  <a:pt x="313" y="479"/>
                </a:cubicBezTo>
                <a:cubicBezTo>
                  <a:pt x="313" y="488"/>
                  <a:pt x="313" y="488"/>
                  <a:pt x="313" y="488"/>
                </a:cubicBezTo>
                <a:cubicBezTo>
                  <a:pt x="318" y="491"/>
                  <a:pt x="318" y="491"/>
                  <a:pt x="318" y="491"/>
                </a:cubicBezTo>
                <a:cubicBezTo>
                  <a:pt x="323" y="481"/>
                  <a:pt x="323" y="481"/>
                  <a:pt x="323" y="481"/>
                </a:cubicBezTo>
                <a:cubicBezTo>
                  <a:pt x="323" y="481"/>
                  <a:pt x="336" y="490"/>
                  <a:pt x="340" y="492"/>
                </a:cubicBezTo>
                <a:cubicBezTo>
                  <a:pt x="343" y="494"/>
                  <a:pt x="343" y="499"/>
                  <a:pt x="343" y="499"/>
                </a:cubicBezTo>
                <a:cubicBezTo>
                  <a:pt x="343" y="499"/>
                  <a:pt x="347" y="501"/>
                  <a:pt x="353" y="501"/>
                </a:cubicBezTo>
                <a:cubicBezTo>
                  <a:pt x="359" y="501"/>
                  <a:pt x="356" y="505"/>
                  <a:pt x="356" y="505"/>
                </a:cubicBezTo>
                <a:cubicBezTo>
                  <a:pt x="356" y="505"/>
                  <a:pt x="362" y="510"/>
                  <a:pt x="366" y="512"/>
                </a:cubicBezTo>
                <a:cubicBezTo>
                  <a:pt x="371" y="515"/>
                  <a:pt x="372" y="521"/>
                  <a:pt x="372" y="521"/>
                </a:cubicBezTo>
                <a:cubicBezTo>
                  <a:pt x="372" y="518"/>
                  <a:pt x="381" y="522"/>
                  <a:pt x="382" y="526"/>
                </a:cubicBezTo>
                <a:cubicBezTo>
                  <a:pt x="384" y="529"/>
                  <a:pt x="396" y="538"/>
                  <a:pt x="396" y="538"/>
                </a:cubicBezTo>
                <a:cubicBezTo>
                  <a:pt x="400" y="537"/>
                  <a:pt x="400" y="537"/>
                  <a:pt x="400" y="537"/>
                </a:cubicBezTo>
                <a:cubicBezTo>
                  <a:pt x="400" y="537"/>
                  <a:pt x="396" y="528"/>
                  <a:pt x="400" y="527"/>
                </a:cubicBezTo>
                <a:cubicBezTo>
                  <a:pt x="404" y="526"/>
                  <a:pt x="416" y="541"/>
                  <a:pt x="416" y="541"/>
                </a:cubicBezTo>
                <a:cubicBezTo>
                  <a:pt x="419" y="540"/>
                  <a:pt x="419" y="540"/>
                  <a:pt x="419" y="540"/>
                </a:cubicBezTo>
                <a:cubicBezTo>
                  <a:pt x="419" y="540"/>
                  <a:pt x="420" y="541"/>
                  <a:pt x="421" y="541"/>
                </a:cubicBezTo>
                <a:cubicBezTo>
                  <a:pt x="423" y="541"/>
                  <a:pt x="426" y="542"/>
                  <a:pt x="429" y="543"/>
                </a:cubicBezTo>
                <a:cubicBezTo>
                  <a:pt x="433" y="545"/>
                  <a:pt x="444" y="564"/>
                  <a:pt x="446" y="567"/>
                </a:cubicBezTo>
                <a:cubicBezTo>
                  <a:pt x="449" y="571"/>
                  <a:pt x="451" y="591"/>
                  <a:pt x="451" y="598"/>
                </a:cubicBezTo>
                <a:cubicBezTo>
                  <a:pt x="451" y="606"/>
                  <a:pt x="451" y="615"/>
                  <a:pt x="455" y="623"/>
                </a:cubicBezTo>
                <a:cubicBezTo>
                  <a:pt x="459" y="630"/>
                  <a:pt x="457" y="641"/>
                  <a:pt x="457" y="641"/>
                </a:cubicBezTo>
                <a:cubicBezTo>
                  <a:pt x="457" y="641"/>
                  <a:pt x="462" y="648"/>
                  <a:pt x="467" y="654"/>
                </a:cubicBezTo>
                <a:cubicBezTo>
                  <a:pt x="471" y="659"/>
                  <a:pt x="471" y="659"/>
                  <a:pt x="473" y="665"/>
                </a:cubicBezTo>
                <a:cubicBezTo>
                  <a:pt x="475" y="670"/>
                  <a:pt x="481" y="679"/>
                  <a:pt x="484" y="686"/>
                </a:cubicBezTo>
                <a:cubicBezTo>
                  <a:pt x="487" y="694"/>
                  <a:pt x="484" y="711"/>
                  <a:pt x="483" y="722"/>
                </a:cubicBezTo>
                <a:cubicBezTo>
                  <a:pt x="482" y="733"/>
                  <a:pt x="476" y="729"/>
                  <a:pt x="476" y="731"/>
                </a:cubicBezTo>
                <a:cubicBezTo>
                  <a:pt x="476" y="732"/>
                  <a:pt x="482" y="743"/>
                  <a:pt x="482" y="743"/>
                </a:cubicBezTo>
                <a:cubicBezTo>
                  <a:pt x="487" y="736"/>
                  <a:pt x="487" y="736"/>
                  <a:pt x="487" y="736"/>
                </a:cubicBezTo>
                <a:cubicBezTo>
                  <a:pt x="487" y="736"/>
                  <a:pt x="495" y="736"/>
                  <a:pt x="502" y="736"/>
                </a:cubicBezTo>
                <a:cubicBezTo>
                  <a:pt x="510" y="736"/>
                  <a:pt x="514" y="748"/>
                  <a:pt x="514" y="751"/>
                </a:cubicBezTo>
                <a:cubicBezTo>
                  <a:pt x="514" y="754"/>
                  <a:pt x="507" y="765"/>
                  <a:pt x="507" y="765"/>
                </a:cubicBezTo>
                <a:cubicBezTo>
                  <a:pt x="507" y="765"/>
                  <a:pt x="514" y="767"/>
                  <a:pt x="516" y="768"/>
                </a:cubicBezTo>
                <a:cubicBezTo>
                  <a:pt x="518" y="768"/>
                  <a:pt x="528" y="774"/>
                  <a:pt x="538" y="778"/>
                </a:cubicBezTo>
                <a:cubicBezTo>
                  <a:pt x="548" y="782"/>
                  <a:pt x="542" y="786"/>
                  <a:pt x="543" y="792"/>
                </a:cubicBezTo>
                <a:cubicBezTo>
                  <a:pt x="544" y="799"/>
                  <a:pt x="547" y="793"/>
                  <a:pt x="554" y="798"/>
                </a:cubicBezTo>
                <a:cubicBezTo>
                  <a:pt x="560" y="802"/>
                  <a:pt x="560" y="810"/>
                  <a:pt x="560" y="810"/>
                </a:cubicBezTo>
                <a:cubicBezTo>
                  <a:pt x="562" y="808"/>
                  <a:pt x="562" y="808"/>
                  <a:pt x="562" y="808"/>
                </a:cubicBezTo>
                <a:cubicBezTo>
                  <a:pt x="562" y="808"/>
                  <a:pt x="564" y="809"/>
                  <a:pt x="568" y="813"/>
                </a:cubicBezTo>
                <a:cubicBezTo>
                  <a:pt x="571" y="816"/>
                  <a:pt x="563" y="826"/>
                  <a:pt x="563" y="828"/>
                </a:cubicBezTo>
                <a:cubicBezTo>
                  <a:pt x="562" y="831"/>
                  <a:pt x="556" y="828"/>
                  <a:pt x="556" y="828"/>
                </a:cubicBezTo>
                <a:cubicBezTo>
                  <a:pt x="556" y="828"/>
                  <a:pt x="553" y="834"/>
                  <a:pt x="553" y="837"/>
                </a:cubicBezTo>
                <a:cubicBezTo>
                  <a:pt x="553" y="840"/>
                  <a:pt x="562" y="842"/>
                  <a:pt x="566" y="842"/>
                </a:cubicBezTo>
                <a:cubicBezTo>
                  <a:pt x="569" y="842"/>
                  <a:pt x="568" y="836"/>
                  <a:pt x="571" y="834"/>
                </a:cubicBezTo>
                <a:cubicBezTo>
                  <a:pt x="572" y="832"/>
                  <a:pt x="587" y="838"/>
                  <a:pt x="598" y="842"/>
                </a:cubicBezTo>
                <a:cubicBezTo>
                  <a:pt x="602" y="843"/>
                  <a:pt x="605" y="844"/>
                  <a:pt x="607" y="845"/>
                </a:cubicBezTo>
                <a:cubicBezTo>
                  <a:pt x="618" y="847"/>
                  <a:pt x="633" y="867"/>
                  <a:pt x="635" y="874"/>
                </a:cubicBezTo>
                <a:cubicBezTo>
                  <a:pt x="638" y="881"/>
                  <a:pt x="653" y="904"/>
                  <a:pt x="653" y="904"/>
                </a:cubicBezTo>
                <a:cubicBezTo>
                  <a:pt x="660" y="901"/>
                  <a:pt x="660" y="901"/>
                  <a:pt x="660" y="901"/>
                </a:cubicBezTo>
                <a:cubicBezTo>
                  <a:pt x="660" y="901"/>
                  <a:pt x="688" y="922"/>
                  <a:pt x="695" y="928"/>
                </a:cubicBezTo>
                <a:cubicBezTo>
                  <a:pt x="701" y="935"/>
                  <a:pt x="702" y="955"/>
                  <a:pt x="702" y="955"/>
                </a:cubicBezTo>
                <a:cubicBezTo>
                  <a:pt x="702" y="955"/>
                  <a:pt x="717" y="964"/>
                  <a:pt x="731" y="976"/>
                </a:cubicBezTo>
                <a:cubicBezTo>
                  <a:pt x="745" y="989"/>
                  <a:pt x="754" y="1008"/>
                  <a:pt x="754" y="1008"/>
                </a:cubicBezTo>
                <a:cubicBezTo>
                  <a:pt x="754" y="1008"/>
                  <a:pt x="757" y="1007"/>
                  <a:pt x="762" y="1007"/>
                </a:cubicBezTo>
                <a:cubicBezTo>
                  <a:pt x="768" y="1008"/>
                  <a:pt x="777" y="1015"/>
                  <a:pt x="777" y="1015"/>
                </a:cubicBezTo>
                <a:cubicBezTo>
                  <a:pt x="777" y="1015"/>
                  <a:pt x="787" y="1016"/>
                  <a:pt x="792" y="1017"/>
                </a:cubicBezTo>
                <a:cubicBezTo>
                  <a:pt x="797" y="1019"/>
                  <a:pt x="804" y="1032"/>
                  <a:pt x="808" y="1040"/>
                </a:cubicBezTo>
                <a:cubicBezTo>
                  <a:pt x="812" y="1048"/>
                  <a:pt x="816" y="1049"/>
                  <a:pt x="816" y="1049"/>
                </a:cubicBezTo>
                <a:cubicBezTo>
                  <a:pt x="821" y="1039"/>
                  <a:pt x="847" y="1034"/>
                  <a:pt x="852" y="1035"/>
                </a:cubicBezTo>
                <a:cubicBezTo>
                  <a:pt x="857" y="1035"/>
                  <a:pt x="877" y="1048"/>
                  <a:pt x="877" y="1048"/>
                </a:cubicBezTo>
                <a:cubicBezTo>
                  <a:pt x="886" y="1048"/>
                  <a:pt x="886" y="1048"/>
                  <a:pt x="886" y="1048"/>
                </a:cubicBezTo>
                <a:cubicBezTo>
                  <a:pt x="881" y="1042"/>
                  <a:pt x="899" y="1043"/>
                  <a:pt x="906" y="1045"/>
                </a:cubicBezTo>
                <a:cubicBezTo>
                  <a:pt x="907" y="1045"/>
                  <a:pt x="908" y="1046"/>
                  <a:pt x="909" y="1047"/>
                </a:cubicBezTo>
                <a:cubicBezTo>
                  <a:pt x="916" y="1053"/>
                  <a:pt x="927" y="1069"/>
                  <a:pt x="927" y="1069"/>
                </a:cubicBezTo>
                <a:cubicBezTo>
                  <a:pt x="927" y="1069"/>
                  <a:pt x="928" y="1082"/>
                  <a:pt x="935" y="1087"/>
                </a:cubicBezTo>
                <a:cubicBezTo>
                  <a:pt x="942" y="1092"/>
                  <a:pt x="944" y="1101"/>
                  <a:pt x="946" y="1107"/>
                </a:cubicBezTo>
                <a:cubicBezTo>
                  <a:pt x="948" y="1112"/>
                  <a:pt x="948" y="1123"/>
                  <a:pt x="948" y="1123"/>
                </a:cubicBezTo>
                <a:cubicBezTo>
                  <a:pt x="956" y="1125"/>
                  <a:pt x="956" y="1125"/>
                  <a:pt x="956" y="1125"/>
                </a:cubicBezTo>
                <a:cubicBezTo>
                  <a:pt x="956" y="1125"/>
                  <a:pt x="956" y="1120"/>
                  <a:pt x="957" y="1117"/>
                </a:cubicBezTo>
                <a:cubicBezTo>
                  <a:pt x="957" y="1115"/>
                  <a:pt x="966" y="1124"/>
                  <a:pt x="966" y="1124"/>
                </a:cubicBezTo>
                <a:cubicBezTo>
                  <a:pt x="966" y="1124"/>
                  <a:pt x="974" y="1115"/>
                  <a:pt x="978" y="1114"/>
                </a:cubicBezTo>
                <a:cubicBezTo>
                  <a:pt x="983" y="1112"/>
                  <a:pt x="996" y="1129"/>
                  <a:pt x="996" y="1129"/>
                </a:cubicBezTo>
                <a:cubicBezTo>
                  <a:pt x="996" y="1129"/>
                  <a:pt x="1003" y="1130"/>
                  <a:pt x="1005" y="1130"/>
                </a:cubicBezTo>
                <a:cubicBezTo>
                  <a:pt x="1007" y="1130"/>
                  <a:pt x="1009" y="1139"/>
                  <a:pt x="1009" y="1139"/>
                </a:cubicBezTo>
                <a:cubicBezTo>
                  <a:pt x="1009" y="1139"/>
                  <a:pt x="1005" y="1141"/>
                  <a:pt x="1003" y="1141"/>
                </a:cubicBezTo>
                <a:cubicBezTo>
                  <a:pt x="1000" y="1141"/>
                  <a:pt x="1001" y="1149"/>
                  <a:pt x="1000" y="1151"/>
                </a:cubicBezTo>
                <a:cubicBezTo>
                  <a:pt x="1000" y="1152"/>
                  <a:pt x="994" y="1151"/>
                  <a:pt x="991" y="1151"/>
                </a:cubicBezTo>
                <a:cubicBezTo>
                  <a:pt x="988" y="1151"/>
                  <a:pt x="987" y="1164"/>
                  <a:pt x="987" y="1164"/>
                </a:cubicBezTo>
                <a:cubicBezTo>
                  <a:pt x="1007" y="1155"/>
                  <a:pt x="1007" y="1155"/>
                  <a:pt x="1007" y="1155"/>
                </a:cubicBezTo>
                <a:cubicBezTo>
                  <a:pt x="1019" y="1155"/>
                  <a:pt x="1019" y="1155"/>
                  <a:pt x="1019" y="1155"/>
                </a:cubicBezTo>
                <a:cubicBezTo>
                  <a:pt x="1029" y="1148"/>
                  <a:pt x="1029" y="1148"/>
                  <a:pt x="1029" y="1148"/>
                </a:cubicBezTo>
                <a:cubicBezTo>
                  <a:pt x="1037" y="1151"/>
                  <a:pt x="1037" y="1151"/>
                  <a:pt x="1037" y="1151"/>
                </a:cubicBezTo>
                <a:cubicBezTo>
                  <a:pt x="1037" y="1151"/>
                  <a:pt x="1042" y="1143"/>
                  <a:pt x="1047" y="1143"/>
                </a:cubicBezTo>
                <a:cubicBezTo>
                  <a:pt x="1051" y="1143"/>
                  <a:pt x="1059" y="1158"/>
                  <a:pt x="1065" y="1162"/>
                </a:cubicBezTo>
                <a:cubicBezTo>
                  <a:pt x="1071" y="1166"/>
                  <a:pt x="1079" y="1190"/>
                  <a:pt x="1080" y="1195"/>
                </a:cubicBezTo>
                <a:cubicBezTo>
                  <a:pt x="1081" y="1200"/>
                  <a:pt x="1073" y="1203"/>
                  <a:pt x="1073" y="1203"/>
                </a:cubicBezTo>
                <a:cubicBezTo>
                  <a:pt x="1075" y="1213"/>
                  <a:pt x="1075" y="1213"/>
                  <a:pt x="1075" y="1213"/>
                </a:cubicBezTo>
                <a:cubicBezTo>
                  <a:pt x="1075" y="1213"/>
                  <a:pt x="1070" y="1217"/>
                  <a:pt x="1068" y="1220"/>
                </a:cubicBezTo>
                <a:cubicBezTo>
                  <a:pt x="1067" y="1222"/>
                  <a:pt x="1072" y="1221"/>
                  <a:pt x="1078" y="1223"/>
                </a:cubicBezTo>
                <a:cubicBezTo>
                  <a:pt x="1083" y="1226"/>
                  <a:pt x="1088" y="1235"/>
                  <a:pt x="1088" y="1235"/>
                </a:cubicBezTo>
                <a:cubicBezTo>
                  <a:pt x="1099" y="1231"/>
                  <a:pt x="1099" y="1231"/>
                  <a:pt x="1099" y="1231"/>
                </a:cubicBezTo>
                <a:cubicBezTo>
                  <a:pt x="1099" y="1231"/>
                  <a:pt x="1114" y="1245"/>
                  <a:pt x="1119" y="1248"/>
                </a:cubicBezTo>
                <a:cubicBezTo>
                  <a:pt x="1123" y="1251"/>
                  <a:pt x="1119" y="1257"/>
                  <a:pt x="1119" y="1257"/>
                </a:cubicBezTo>
                <a:cubicBezTo>
                  <a:pt x="1119" y="1257"/>
                  <a:pt x="1121" y="1255"/>
                  <a:pt x="1127" y="1255"/>
                </a:cubicBezTo>
                <a:cubicBezTo>
                  <a:pt x="1132" y="1255"/>
                  <a:pt x="1133" y="1263"/>
                  <a:pt x="1136" y="1263"/>
                </a:cubicBezTo>
                <a:cubicBezTo>
                  <a:pt x="1139" y="1264"/>
                  <a:pt x="1144" y="1255"/>
                  <a:pt x="1148" y="1249"/>
                </a:cubicBezTo>
                <a:cubicBezTo>
                  <a:pt x="1152" y="1244"/>
                  <a:pt x="1167" y="1247"/>
                  <a:pt x="1167" y="1247"/>
                </a:cubicBezTo>
                <a:cubicBezTo>
                  <a:pt x="1168" y="1254"/>
                  <a:pt x="1168" y="1254"/>
                  <a:pt x="1168" y="1254"/>
                </a:cubicBezTo>
                <a:cubicBezTo>
                  <a:pt x="1168" y="1254"/>
                  <a:pt x="1169" y="1254"/>
                  <a:pt x="1170" y="1254"/>
                </a:cubicBezTo>
                <a:cubicBezTo>
                  <a:pt x="1172" y="1254"/>
                  <a:pt x="1174" y="1255"/>
                  <a:pt x="1175" y="1255"/>
                </a:cubicBezTo>
                <a:cubicBezTo>
                  <a:pt x="1176" y="1255"/>
                  <a:pt x="1181" y="1265"/>
                  <a:pt x="1184" y="1273"/>
                </a:cubicBezTo>
                <a:cubicBezTo>
                  <a:pt x="1187" y="1279"/>
                  <a:pt x="1190" y="1284"/>
                  <a:pt x="1190" y="1284"/>
                </a:cubicBezTo>
                <a:cubicBezTo>
                  <a:pt x="1188" y="1290"/>
                  <a:pt x="1188" y="1290"/>
                  <a:pt x="1188" y="1290"/>
                </a:cubicBezTo>
                <a:cubicBezTo>
                  <a:pt x="1204" y="1337"/>
                  <a:pt x="1204" y="1337"/>
                  <a:pt x="1204" y="1337"/>
                </a:cubicBezTo>
                <a:cubicBezTo>
                  <a:pt x="1204" y="1337"/>
                  <a:pt x="1217" y="1352"/>
                  <a:pt x="1223" y="1363"/>
                </a:cubicBezTo>
                <a:cubicBezTo>
                  <a:pt x="1229" y="1374"/>
                  <a:pt x="1236" y="1427"/>
                  <a:pt x="1236" y="1427"/>
                </a:cubicBezTo>
                <a:cubicBezTo>
                  <a:pt x="1246" y="1444"/>
                  <a:pt x="1246" y="1444"/>
                  <a:pt x="1246" y="1444"/>
                </a:cubicBezTo>
                <a:cubicBezTo>
                  <a:pt x="1256" y="1451"/>
                  <a:pt x="1256" y="1451"/>
                  <a:pt x="1256" y="1451"/>
                </a:cubicBezTo>
                <a:cubicBezTo>
                  <a:pt x="1256" y="1451"/>
                  <a:pt x="1256" y="1466"/>
                  <a:pt x="1256" y="1473"/>
                </a:cubicBezTo>
                <a:cubicBezTo>
                  <a:pt x="1256" y="1480"/>
                  <a:pt x="1246" y="1487"/>
                  <a:pt x="1246" y="1487"/>
                </a:cubicBezTo>
                <a:cubicBezTo>
                  <a:pt x="1225" y="1487"/>
                  <a:pt x="1225" y="1487"/>
                  <a:pt x="1225" y="1487"/>
                </a:cubicBezTo>
                <a:cubicBezTo>
                  <a:pt x="1221" y="1493"/>
                  <a:pt x="1221" y="1493"/>
                  <a:pt x="1221" y="1493"/>
                </a:cubicBezTo>
                <a:cubicBezTo>
                  <a:pt x="1221" y="1493"/>
                  <a:pt x="1210" y="1496"/>
                  <a:pt x="1207" y="1498"/>
                </a:cubicBezTo>
                <a:cubicBezTo>
                  <a:pt x="1203" y="1499"/>
                  <a:pt x="1204" y="1505"/>
                  <a:pt x="1204" y="1505"/>
                </a:cubicBezTo>
                <a:cubicBezTo>
                  <a:pt x="1218" y="1517"/>
                  <a:pt x="1218" y="1517"/>
                  <a:pt x="1218" y="1517"/>
                </a:cubicBezTo>
                <a:cubicBezTo>
                  <a:pt x="1218" y="1517"/>
                  <a:pt x="1207" y="1555"/>
                  <a:pt x="1204" y="1563"/>
                </a:cubicBezTo>
                <a:cubicBezTo>
                  <a:pt x="1200" y="1571"/>
                  <a:pt x="1179" y="1577"/>
                  <a:pt x="1179" y="1577"/>
                </a:cubicBezTo>
                <a:cubicBezTo>
                  <a:pt x="1182" y="1593"/>
                  <a:pt x="1182" y="1593"/>
                  <a:pt x="1182" y="1593"/>
                </a:cubicBezTo>
                <a:cubicBezTo>
                  <a:pt x="1178" y="1599"/>
                  <a:pt x="1178" y="1599"/>
                  <a:pt x="1178" y="1599"/>
                </a:cubicBezTo>
                <a:cubicBezTo>
                  <a:pt x="1184" y="1608"/>
                  <a:pt x="1184" y="1608"/>
                  <a:pt x="1184" y="1608"/>
                </a:cubicBezTo>
                <a:cubicBezTo>
                  <a:pt x="1181" y="1618"/>
                  <a:pt x="1181" y="1618"/>
                  <a:pt x="1181" y="1618"/>
                </a:cubicBezTo>
                <a:cubicBezTo>
                  <a:pt x="1181" y="1618"/>
                  <a:pt x="1188" y="1624"/>
                  <a:pt x="1189" y="1626"/>
                </a:cubicBezTo>
                <a:cubicBezTo>
                  <a:pt x="1190" y="1627"/>
                  <a:pt x="1200" y="1632"/>
                  <a:pt x="1200" y="1632"/>
                </a:cubicBezTo>
                <a:cubicBezTo>
                  <a:pt x="1242" y="1630"/>
                  <a:pt x="1242" y="1630"/>
                  <a:pt x="1242" y="1630"/>
                </a:cubicBezTo>
                <a:cubicBezTo>
                  <a:pt x="1254" y="1610"/>
                  <a:pt x="1254" y="1610"/>
                  <a:pt x="1254" y="1610"/>
                </a:cubicBezTo>
                <a:cubicBezTo>
                  <a:pt x="1255" y="1589"/>
                  <a:pt x="1255" y="1589"/>
                  <a:pt x="1255" y="1589"/>
                </a:cubicBezTo>
                <a:cubicBezTo>
                  <a:pt x="1278" y="1561"/>
                  <a:pt x="1278" y="1561"/>
                  <a:pt x="1278" y="1561"/>
                </a:cubicBezTo>
                <a:cubicBezTo>
                  <a:pt x="1302" y="1549"/>
                  <a:pt x="1305" y="1541"/>
                  <a:pt x="1309" y="1534"/>
                </a:cubicBezTo>
                <a:cubicBezTo>
                  <a:pt x="1313" y="1526"/>
                  <a:pt x="1307" y="1490"/>
                  <a:pt x="1307" y="1490"/>
                </a:cubicBezTo>
                <a:cubicBezTo>
                  <a:pt x="1301" y="1485"/>
                  <a:pt x="1301" y="1485"/>
                  <a:pt x="1301" y="1485"/>
                </a:cubicBezTo>
                <a:cubicBezTo>
                  <a:pt x="1301" y="1485"/>
                  <a:pt x="1317" y="1462"/>
                  <a:pt x="1329" y="1455"/>
                </a:cubicBezTo>
                <a:cubicBezTo>
                  <a:pt x="1341" y="1447"/>
                  <a:pt x="1363" y="1442"/>
                  <a:pt x="1363" y="1442"/>
                </a:cubicBezTo>
                <a:cubicBezTo>
                  <a:pt x="1367" y="1448"/>
                  <a:pt x="1367" y="1448"/>
                  <a:pt x="1367" y="1448"/>
                </a:cubicBezTo>
                <a:cubicBezTo>
                  <a:pt x="1376" y="1445"/>
                  <a:pt x="1376" y="1445"/>
                  <a:pt x="1376" y="1445"/>
                </a:cubicBezTo>
                <a:cubicBezTo>
                  <a:pt x="1378" y="1446"/>
                  <a:pt x="1378" y="1446"/>
                  <a:pt x="1378" y="1446"/>
                </a:cubicBezTo>
                <a:cubicBezTo>
                  <a:pt x="1389" y="1440"/>
                  <a:pt x="1389" y="1440"/>
                  <a:pt x="1389" y="1440"/>
                </a:cubicBezTo>
                <a:cubicBezTo>
                  <a:pt x="1388" y="1433"/>
                  <a:pt x="1388" y="1433"/>
                  <a:pt x="1388" y="1433"/>
                </a:cubicBezTo>
                <a:cubicBezTo>
                  <a:pt x="1392" y="1427"/>
                  <a:pt x="1392" y="1427"/>
                  <a:pt x="1392" y="1427"/>
                </a:cubicBezTo>
                <a:cubicBezTo>
                  <a:pt x="1392" y="1427"/>
                  <a:pt x="1383" y="1422"/>
                  <a:pt x="1380" y="1416"/>
                </a:cubicBezTo>
                <a:cubicBezTo>
                  <a:pt x="1377" y="1410"/>
                  <a:pt x="1383" y="1394"/>
                  <a:pt x="1383" y="1394"/>
                </a:cubicBezTo>
                <a:cubicBezTo>
                  <a:pt x="1383" y="1394"/>
                  <a:pt x="1381" y="1389"/>
                  <a:pt x="1376" y="1386"/>
                </a:cubicBezTo>
                <a:cubicBezTo>
                  <a:pt x="1371" y="1383"/>
                  <a:pt x="1381" y="1359"/>
                  <a:pt x="1381" y="1359"/>
                </a:cubicBezTo>
                <a:cubicBezTo>
                  <a:pt x="1369" y="1352"/>
                  <a:pt x="1369" y="1352"/>
                  <a:pt x="1369" y="1352"/>
                </a:cubicBezTo>
                <a:cubicBezTo>
                  <a:pt x="1369" y="1352"/>
                  <a:pt x="1365" y="1344"/>
                  <a:pt x="1361" y="1344"/>
                </a:cubicBezTo>
                <a:cubicBezTo>
                  <a:pt x="1356" y="1344"/>
                  <a:pt x="1341" y="1336"/>
                  <a:pt x="1341" y="1336"/>
                </a:cubicBezTo>
                <a:cubicBezTo>
                  <a:pt x="1327" y="1323"/>
                  <a:pt x="1327" y="1323"/>
                  <a:pt x="1327" y="1323"/>
                </a:cubicBezTo>
                <a:cubicBezTo>
                  <a:pt x="1308" y="1322"/>
                  <a:pt x="1308" y="1322"/>
                  <a:pt x="1308" y="1322"/>
                </a:cubicBezTo>
                <a:cubicBezTo>
                  <a:pt x="1293" y="1314"/>
                  <a:pt x="1293" y="1314"/>
                  <a:pt x="1293" y="1314"/>
                </a:cubicBezTo>
                <a:cubicBezTo>
                  <a:pt x="1293" y="1305"/>
                  <a:pt x="1293" y="1305"/>
                  <a:pt x="1293" y="1305"/>
                </a:cubicBezTo>
                <a:cubicBezTo>
                  <a:pt x="1287" y="1301"/>
                  <a:pt x="1287" y="1301"/>
                  <a:pt x="1287" y="1301"/>
                </a:cubicBezTo>
                <a:cubicBezTo>
                  <a:pt x="1287" y="1292"/>
                  <a:pt x="1287" y="1292"/>
                  <a:pt x="1287" y="1292"/>
                </a:cubicBezTo>
                <a:cubicBezTo>
                  <a:pt x="1304" y="1263"/>
                  <a:pt x="1304" y="1263"/>
                  <a:pt x="1304" y="1263"/>
                </a:cubicBezTo>
                <a:cubicBezTo>
                  <a:pt x="1300" y="1240"/>
                  <a:pt x="1300" y="1240"/>
                  <a:pt x="1300" y="1240"/>
                </a:cubicBezTo>
                <a:cubicBezTo>
                  <a:pt x="1306" y="1233"/>
                  <a:pt x="1306" y="1233"/>
                  <a:pt x="1306" y="1233"/>
                </a:cubicBezTo>
                <a:cubicBezTo>
                  <a:pt x="1310" y="1228"/>
                  <a:pt x="1310" y="1228"/>
                  <a:pt x="1310" y="1228"/>
                </a:cubicBezTo>
                <a:cubicBezTo>
                  <a:pt x="1333" y="1184"/>
                  <a:pt x="1333" y="1184"/>
                  <a:pt x="1333" y="1184"/>
                </a:cubicBezTo>
                <a:cubicBezTo>
                  <a:pt x="1334" y="1183"/>
                  <a:pt x="1334" y="1183"/>
                  <a:pt x="1334" y="1183"/>
                </a:cubicBezTo>
                <a:cubicBezTo>
                  <a:pt x="1334" y="1183"/>
                  <a:pt x="1355" y="1160"/>
                  <a:pt x="1364" y="1158"/>
                </a:cubicBezTo>
                <a:cubicBezTo>
                  <a:pt x="1373" y="1157"/>
                  <a:pt x="1380" y="1166"/>
                  <a:pt x="1386" y="1171"/>
                </a:cubicBezTo>
                <a:cubicBezTo>
                  <a:pt x="1392" y="1176"/>
                  <a:pt x="1379" y="1177"/>
                  <a:pt x="1379" y="1177"/>
                </a:cubicBezTo>
                <a:cubicBezTo>
                  <a:pt x="1406" y="1190"/>
                  <a:pt x="1406" y="1190"/>
                  <a:pt x="1406" y="1190"/>
                </a:cubicBezTo>
                <a:cubicBezTo>
                  <a:pt x="1411" y="1189"/>
                  <a:pt x="1411" y="1189"/>
                  <a:pt x="1411" y="1189"/>
                </a:cubicBezTo>
                <a:cubicBezTo>
                  <a:pt x="1420" y="1194"/>
                  <a:pt x="1420" y="1194"/>
                  <a:pt x="1420" y="1194"/>
                </a:cubicBezTo>
                <a:cubicBezTo>
                  <a:pt x="1420" y="1194"/>
                  <a:pt x="1469" y="1194"/>
                  <a:pt x="1474" y="1198"/>
                </a:cubicBezTo>
                <a:cubicBezTo>
                  <a:pt x="1479" y="1201"/>
                  <a:pt x="1478" y="1211"/>
                  <a:pt x="1478" y="1211"/>
                </a:cubicBezTo>
                <a:cubicBezTo>
                  <a:pt x="1491" y="1224"/>
                  <a:pt x="1491" y="1224"/>
                  <a:pt x="1491" y="1224"/>
                </a:cubicBezTo>
                <a:cubicBezTo>
                  <a:pt x="1489" y="1234"/>
                  <a:pt x="1489" y="1234"/>
                  <a:pt x="1489" y="1234"/>
                </a:cubicBezTo>
                <a:cubicBezTo>
                  <a:pt x="1494" y="1244"/>
                  <a:pt x="1494" y="1244"/>
                  <a:pt x="1494" y="1244"/>
                </a:cubicBezTo>
                <a:cubicBezTo>
                  <a:pt x="1494" y="1244"/>
                  <a:pt x="1487" y="1244"/>
                  <a:pt x="1499" y="1258"/>
                </a:cubicBezTo>
                <a:cubicBezTo>
                  <a:pt x="1510" y="1272"/>
                  <a:pt x="1532" y="1271"/>
                  <a:pt x="1532" y="1271"/>
                </a:cubicBezTo>
                <a:cubicBezTo>
                  <a:pt x="1532" y="1271"/>
                  <a:pt x="1540" y="1278"/>
                  <a:pt x="1544" y="1279"/>
                </a:cubicBezTo>
                <a:cubicBezTo>
                  <a:pt x="1549" y="1281"/>
                  <a:pt x="1548" y="1244"/>
                  <a:pt x="1548" y="1244"/>
                </a:cubicBezTo>
                <a:cubicBezTo>
                  <a:pt x="1548" y="1244"/>
                  <a:pt x="1562" y="1225"/>
                  <a:pt x="1562" y="1219"/>
                </a:cubicBezTo>
                <a:close/>
                <a:moveTo>
                  <a:pt x="937" y="1140"/>
                </a:moveTo>
                <a:cubicBezTo>
                  <a:pt x="938" y="1138"/>
                  <a:pt x="937" y="1134"/>
                  <a:pt x="937" y="1134"/>
                </a:cubicBezTo>
                <a:cubicBezTo>
                  <a:pt x="923" y="1132"/>
                  <a:pt x="923" y="1132"/>
                  <a:pt x="923" y="1132"/>
                </a:cubicBezTo>
                <a:cubicBezTo>
                  <a:pt x="924" y="1140"/>
                  <a:pt x="924" y="1140"/>
                  <a:pt x="924" y="1140"/>
                </a:cubicBezTo>
                <a:cubicBezTo>
                  <a:pt x="924" y="1140"/>
                  <a:pt x="937" y="1143"/>
                  <a:pt x="937" y="1140"/>
                </a:cubicBezTo>
                <a:close/>
                <a:moveTo>
                  <a:pt x="367" y="1140"/>
                </a:moveTo>
                <a:cubicBezTo>
                  <a:pt x="362" y="1132"/>
                  <a:pt x="362" y="1132"/>
                  <a:pt x="362" y="1132"/>
                </a:cubicBezTo>
                <a:cubicBezTo>
                  <a:pt x="363" y="1126"/>
                  <a:pt x="363" y="1126"/>
                  <a:pt x="363" y="1126"/>
                </a:cubicBezTo>
                <a:cubicBezTo>
                  <a:pt x="354" y="1119"/>
                  <a:pt x="354" y="1119"/>
                  <a:pt x="354" y="1119"/>
                </a:cubicBezTo>
                <a:cubicBezTo>
                  <a:pt x="359" y="1118"/>
                  <a:pt x="359" y="1118"/>
                  <a:pt x="359" y="1118"/>
                </a:cubicBezTo>
                <a:cubicBezTo>
                  <a:pt x="359" y="1112"/>
                  <a:pt x="359" y="1112"/>
                  <a:pt x="359" y="1112"/>
                </a:cubicBezTo>
                <a:cubicBezTo>
                  <a:pt x="365" y="1110"/>
                  <a:pt x="365" y="1110"/>
                  <a:pt x="365" y="1110"/>
                </a:cubicBezTo>
                <a:cubicBezTo>
                  <a:pt x="364" y="1106"/>
                  <a:pt x="364" y="1106"/>
                  <a:pt x="364" y="1106"/>
                </a:cubicBezTo>
                <a:cubicBezTo>
                  <a:pt x="357" y="1110"/>
                  <a:pt x="357" y="1110"/>
                  <a:pt x="357" y="1110"/>
                </a:cubicBezTo>
                <a:cubicBezTo>
                  <a:pt x="356" y="1104"/>
                  <a:pt x="356" y="1104"/>
                  <a:pt x="356" y="1104"/>
                </a:cubicBezTo>
                <a:cubicBezTo>
                  <a:pt x="365" y="1097"/>
                  <a:pt x="365" y="1097"/>
                  <a:pt x="365" y="1097"/>
                </a:cubicBezTo>
                <a:cubicBezTo>
                  <a:pt x="352" y="1102"/>
                  <a:pt x="352" y="1102"/>
                  <a:pt x="352" y="1102"/>
                </a:cubicBezTo>
                <a:cubicBezTo>
                  <a:pt x="353" y="1095"/>
                  <a:pt x="353" y="1095"/>
                  <a:pt x="353" y="1095"/>
                </a:cubicBezTo>
                <a:cubicBezTo>
                  <a:pt x="347" y="1099"/>
                  <a:pt x="347" y="1099"/>
                  <a:pt x="347" y="1099"/>
                </a:cubicBezTo>
                <a:cubicBezTo>
                  <a:pt x="333" y="1097"/>
                  <a:pt x="333" y="1097"/>
                  <a:pt x="333" y="1097"/>
                </a:cubicBezTo>
                <a:cubicBezTo>
                  <a:pt x="337" y="1093"/>
                  <a:pt x="337" y="1093"/>
                  <a:pt x="337" y="1093"/>
                </a:cubicBezTo>
                <a:cubicBezTo>
                  <a:pt x="344" y="1094"/>
                  <a:pt x="344" y="1094"/>
                  <a:pt x="344" y="1094"/>
                </a:cubicBezTo>
                <a:cubicBezTo>
                  <a:pt x="345" y="1085"/>
                  <a:pt x="345" y="1085"/>
                  <a:pt x="345" y="1085"/>
                </a:cubicBezTo>
                <a:cubicBezTo>
                  <a:pt x="351" y="1082"/>
                  <a:pt x="351" y="1082"/>
                  <a:pt x="351" y="1082"/>
                </a:cubicBezTo>
                <a:cubicBezTo>
                  <a:pt x="354" y="1086"/>
                  <a:pt x="354" y="1086"/>
                  <a:pt x="354" y="1086"/>
                </a:cubicBezTo>
                <a:cubicBezTo>
                  <a:pt x="359" y="1083"/>
                  <a:pt x="359" y="1083"/>
                  <a:pt x="359" y="1083"/>
                </a:cubicBezTo>
                <a:cubicBezTo>
                  <a:pt x="359" y="1083"/>
                  <a:pt x="353" y="1079"/>
                  <a:pt x="350" y="1079"/>
                </a:cubicBezTo>
                <a:cubicBezTo>
                  <a:pt x="347" y="1079"/>
                  <a:pt x="341" y="1080"/>
                  <a:pt x="341" y="1080"/>
                </a:cubicBezTo>
                <a:cubicBezTo>
                  <a:pt x="341" y="1075"/>
                  <a:pt x="341" y="1075"/>
                  <a:pt x="341" y="1075"/>
                </a:cubicBezTo>
                <a:cubicBezTo>
                  <a:pt x="336" y="1079"/>
                  <a:pt x="336" y="1079"/>
                  <a:pt x="336" y="1079"/>
                </a:cubicBezTo>
                <a:cubicBezTo>
                  <a:pt x="339" y="1067"/>
                  <a:pt x="339" y="1067"/>
                  <a:pt x="339" y="1067"/>
                </a:cubicBezTo>
                <a:cubicBezTo>
                  <a:pt x="345" y="1064"/>
                  <a:pt x="345" y="1064"/>
                  <a:pt x="345" y="1064"/>
                </a:cubicBezTo>
                <a:cubicBezTo>
                  <a:pt x="345" y="1064"/>
                  <a:pt x="341" y="1055"/>
                  <a:pt x="340" y="1053"/>
                </a:cubicBezTo>
                <a:cubicBezTo>
                  <a:pt x="339" y="1051"/>
                  <a:pt x="332" y="1057"/>
                  <a:pt x="332" y="1057"/>
                </a:cubicBezTo>
                <a:cubicBezTo>
                  <a:pt x="326" y="1061"/>
                  <a:pt x="326" y="1061"/>
                  <a:pt x="326" y="1061"/>
                </a:cubicBezTo>
                <a:cubicBezTo>
                  <a:pt x="326" y="1055"/>
                  <a:pt x="326" y="1055"/>
                  <a:pt x="326" y="1055"/>
                </a:cubicBezTo>
                <a:cubicBezTo>
                  <a:pt x="326" y="1055"/>
                  <a:pt x="323" y="1053"/>
                  <a:pt x="322" y="1049"/>
                </a:cubicBezTo>
                <a:cubicBezTo>
                  <a:pt x="320" y="1045"/>
                  <a:pt x="316" y="1044"/>
                  <a:pt x="316" y="1044"/>
                </a:cubicBezTo>
                <a:cubicBezTo>
                  <a:pt x="316" y="1044"/>
                  <a:pt x="311" y="1049"/>
                  <a:pt x="306" y="1049"/>
                </a:cubicBezTo>
                <a:cubicBezTo>
                  <a:pt x="302" y="1049"/>
                  <a:pt x="305" y="1042"/>
                  <a:pt x="305" y="1040"/>
                </a:cubicBezTo>
                <a:cubicBezTo>
                  <a:pt x="305" y="1037"/>
                  <a:pt x="301" y="1036"/>
                  <a:pt x="301" y="1036"/>
                </a:cubicBezTo>
                <a:cubicBezTo>
                  <a:pt x="301" y="1036"/>
                  <a:pt x="287" y="1036"/>
                  <a:pt x="290" y="1038"/>
                </a:cubicBezTo>
                <a:cubicBezTo>
                  <a:pt x="293" y="1039"/>
                  <a:pt x="290" y="1050"/>
                  <a:pt x="290" y="1050"/>
                </a:cubicBezTo>
                <a:cubicBezTo>
                  <a:pt x="286" y="1056"/>
                  <a:pt x="286" y="1056"/>
                  <a:pt x="286" y="1056"/>
                </a:cubicBezTo>
                <a:cubicBezTo>
                  <a:pt x="286" y="1056"/>
                  <a:pt x="280" y="1055"/>
                  <a:pt x="275" y="1055"/>
                </a:cubicBezTo>
                <a:cubicBezTo>
                  <a:pt x="269" y="1055"/>
                  <a:pt x="264" y="1064"/>
                  <a:pt x="261" y="1069"/>
                </a:cubicBezTo>
                <a:cubicBezTo>
                  <a:pt x="258" y="1074"/>
                  <a:pt x="256" y="1072"/>
                  <a:pt x="251" y="1073"/>
                </a:cubicBezTo>
                <a:cubicBezTo>
                  <a:pt x="246" y="1074"/>
                  <a:pt x="251" y="1080"/>
                  <a:pt x="241" y="1088"/>
                </a:cubicBezTo>
                <a:cubicBezTo>
                  <a:pt x="232" y="1095"/>
                  <a:pt x="219" y="1096"/>
                  <a:pt x="219" y="1096"/>
                </a:cubicBezTo>
                <a:cubicBezTo>
                  <a:pt x="219" y="1096"/>
                  <a:pt x="214" y="1105"/>
                  <a:pt x="206" y="1108"/>
                </a:cubicBezTo>
                <a:cubicBezTo>
                  <a:pt x="199" y="1110"/>
                  <a:pt x="192" y="1108"/>
                  <a:pt x="192" y="1108"/>
                </a:cubicBezTo>
                <a:cubicBezTo>
                  <a:pt x="186" y="1103"/>
                  <a:pt x="186" y="1103"/>
                  <a:pt x="186" y="1103"/>
                </a:cubicBezTo>
                <a:cubicBezTo>
                  <a:pt x="174" y="1102"/>
                  <a:pt x="174" y="1102"/>
                  <a:pt x="174" y="1102"/>
                </a:cubicBezTo>
                <a:cubicBezTo>
                  <a:pt x="174" y="1102"/>
                  <a:pt x="166" y="1096"/>
                  <a:pt x="164" y="1091"/>
                </a:cubicBezTo>
                <a:cubicBezTo>
                  <a:pt x="161" y="1087"/>
                  <a:pt x="164" y="1083"/>
                  <a:pt x="164" y="1083"/>
                </a:cubicBezTo>
                <a:cubicBezTo>
                  <a:pt x="162" y="1077"/>
                  <a:pt x="162" y="1077"/>
                  <a:pt x="162" y="1077"/>
                </a:cubicBezTo>
                <a:cubicBezTo>
                  <a:pt x="162" y="1077"/>
                  <a:pt x="156" y="1085"/>
                  <a:pt x="156" y="1086"/>
                </a:cubicBezTo>
                <a:cubicBezTo>
                  <a:pt x="156" y="1088"/>
                  <a:pt x="159" y="1095"/>
                  <a:pt x="162" y="1097"/>
                </a:cubicBezTo>
                <a:cubicBezTo>
                  <a:pt x="165" y="1100"/>
                  <a:pt x="148" y="1120"/>
                  <a:pt x="148" y="1120"/>
                </a:cubicBezTo>
                <a:cubicBezTo>
                  <a:pt x="156" y="1130"/>
                  <a:pt x="156" y="1130"/>
                  <a:pt x="156" y="1130"/>
                </a:cubicBezTo>
                <a:cubicBezTo>
                  <a:pt x="155" y="1140"/>
                  <a:pt x="155" y="1140"/>
                  <a:pt x="155" y="1140"/>
                </a:cubicBezTo>
                <a:cubicBezTo>
                  <a:pt x="149" y="1141"/>
                  <a:pt x="149" y="1141"/>
                  <a:pt x="149" y="1141"/>
                </a:cubicBezTo>
                <a:cubicBezTo>
                  <a:pt x="151" y="1153"/>
                  <a:pt x="151" y="1153"/>
                  <a:pt x="151" y="1153"/>
                </a:cubicBezTo>
                <a:cubicBezTo>
                  <a:pt x="151" y="1153"/>
                  <a:pt x="151" y="1153"/>
                  <a:pt x="157" y="1143"/>
                </a:cubicBezTo>
                <a:cubicBezTo>
                  <a:pt x="164" y="1133"/>
                  <a:pt x="151" y="1153"/>
                  <a:pt x="158" y="1151"/>
                </a:cubicBezTo>
                <a:cubicBezTo>
                  <a:pt x="165" y="1149"/>
                  <a:pt x="169" y="1148"/>
                  <a:pt x="169" y="1148"/>
                </a:cubicBezTo>
                <a:cubicBezTo>
                  <a:pt x="169" y="1148"/>
                  <a:pt x="174" y="1162"/>
                  <a:pt x="174" y="1164"/>
                </a:cubicBezTo>
                <a:cubicBezTo>
                  <a:pt x="174" y="1165"/>
                  <a:pt x="180" y="1168"/>
                  <a:pt x="182" y="1175"/>
                </a:cubicBezTo>
                <a:cubicBezTo>
                  <a:pt x="184" y="1182"/>
                  <a:pt x="178" y="1193"/>
                  <a:pt x="178" y="1193"/>
                </a:cubicBezTo>
                <a:cubicBezTo>
                  <a:pt x="178" y="1193"/>
                  <a:pt x="184" y="1193"/>
                  <a:pt x="189" y="1198"/>
                </a:cubicBezTo>
                <a:cubicBezTo>
                  <a:pt x="193" y="1204"/>
                  <a:pt x="188" y="1216"/>
                  <a:pt x="187" y="1220"/>
                </a:cubicBezTo>
                <a:cubicBezTo>
                  <a:pt x="187" y="1225"/>
                  <a:pt x="193" y="1237"/>
                  <a:pt x="193" y="1237"/>
                </a:cubicBezTo>
                <a:cubicBezTo>
                  <a:pt x="187" y="1243"/>
                  <a:pt x="187" y="1243"/>
                  <a:pt x="187" y="1243"/>
                </a:cubicBezTo>
                <a:cubicBezTo>
                  <a:pt x="178" y="1243"/>
                  <a:pt x="178" y="1243"/>
                  <a:pt x="178" y="1243"/>
                </a:cubicBezTo>
                <a:cubicBezTo>
                  <a:pt x="177" y="1246"/>
                  <a:pt x="177" y="1246"/>
                  <a:pt x="177" y="1246"/>
                </a:cubicBezTo>
                <a:cubicBezTo>
                  <a:pt x="180" y="1252"/>
                  <a:pt x="180" y="1252"/>
                  <a:pt x="180" y="1252"/>
                </a:cubicBezTo>
                <a:cubicBezTo>
                  <a:pt x="180" y="1252"/>
                  <a:pt x="177" y="1257"/>
                  <a:pt x="177" y="1262"/>
                </a:cubicBezTo>
                <a:cubicBezTo>
                  <a:pt x="177" y="1268"/>
                  <a:pt x="181" y="1272"/>
                  <a:pt x="181" y="1272"/>
                </a:cubicBezTo>
                <a:cubicBezTo>
                  <a:pt x="187" y="1268"/>
                  <a:pt x="187" y="1268"/>
                  <a:pt x="187" y="1268"/>
                </a:cubicBezTo>
                <a:cubicBezTo>
                  <a:pt x="187" y="1268"/>
                  <a:pt x="196" y="1275"/>
                  <a:pt x="198" y="1275"/>
                </a:cubicBezTo>
                <a:cubicBezTo>
                  <a:pt x="199" y="1276"/>
                  <a:pt x="202" y="1285"/>
                  <a:pt x="197" y="1285"/>
                </a:cubicBezTo>
                <a:cubicBezTo>
                  <a:pt x="192" y="1285"/>
                  <a:pt x="193" y="1300"/>
                  <a:pt x="193" y="1300"/>
                </a:cubicBezTo>
                <a:cubicBezTo>
                  <a:pt x="197" y="1309"/>
                  <a:pt x="197" y="1309"/>
                  <a:pt x="197" y="1309"/>
                </a:cubicBezTo>
                <a:cubicBezTo>
                  <a:pt x="192" y="1309"/>
                  <a:pt x="192" y="1309"/>
                  <a:pt x="192" y="1309"/>
                </a:cubicBezTo>
                <a:cubicBezTo>
                  <a:pt x="182" y="1296"/>
                  <a:pt x="182" y="1296"/>
                  <a:pt x="182" y="1296"/>
                </a:cubicBezTo>
                <a:cubicBezTo>
                  <a:pt x="182" y="1296"/>
                  <a:pt x="182" y="1329"/>
                  <a:pt x="182" y="1333"/>
                </a:cubicBezTo>
                <a:cubicBezTo>
                  <a:pt x="182" y="1337"/>
                  <a:pt x="173" y="1349"/>
                  <a:pt x="170" y="1352"/>
                </a:cubicBezTo>
                <a:cubicBezTo>
                  <a:pt x="166" y="1355"/>
                  <a:pt x="175" y="1357"/>
                  <a:pt x="175" y="1357"/>
                </a:cubicBezTo>
                <a:cubicBezTo>
                  <a:pt x="175" y="1357"/>
                  <a:pt x="173" y="1362"/>
                  <a:pt x="168" y="1364"/>
                </a:cubicBezTo>
                <a:cubicBezTo>
                  <a:pt x="164" y="1366"/>
                  <a:pt x="172" y="1370"/>
                  <a:pt x="172" y="1370"/>
                </a:cubicBezTo>
                <a:cubicBezTo>
                  <a:pt x="176" y="1372"/>
                  <a:pt x="176" y="1372"/>
                  <a:pt x="176" y="1372"/>
                </a:cubicBezTo>
                <a:cubicBezTo>
                  <a:pt x="178" y="1381"/>
                  <a:pt x="178" y="1381"/>
                  <a:pt x="178" y="1381"/>
                </a:cubicBezTo>
                <a:cubicBezTo>
                  <a:pt x="168" y="1393"/>
                  <a:pt x="168" y="1393"/>
                  <a:pt x="168" y="1393"/>
                </a:cubicBezTo>
                <a:cubicBezTo>
                  <a:pt x="172" y="1398"/>
                  <a:pt x="172" y="1398"/>
                  <a:pt x="172" y="1398"/>
                </a:cubicBezTo>
                <a:cubicBezTo>
                  <a:pt x="172" y="1398"/>
                  <a:pt x="173" y="1402"/>
                  <a:pt x="176" y="1402"/>
                </a:cubicBezTo>
                <a:cubicBezTo>
                  <a:pt x="179" y="1403"/>
                  <a:pt x="175" y="1412"/>
                  <a:pt x="175" y="1412"/>
                </a:cubicBezTo>
                <a:cubicBezTo>
                  <a:pt x="181" y="1412"/>
                  <a:pt x="181" y="1412"/>
                  <a:pt x="181" y="1412"/>
                </a:cubicBezTo>
                <a:cubicBezTo>
                  <a:pt x="187" y="1420"/>
                  <a:pt x="187" y="1420"/>
                  <a:pt x="187" y="1420"/>
                </a:cubicBezTo>
                <a:cubicBezTo>
                  <a:pt x="194" y="1430"/>
                  <a:pt x="194" y="1430"/>
                  <a:pt x="194" y="1430"/>
                </a:cubicBezTo>
                <a:cubicBezTo>
                  <a:pt x="195" y="1442"/>
                  <a:pt x="195" y="1442"/>
                  <a:pt x="195" y="1442"/>
                </a:cubicBezTo>
                <a:cubicBezTo>
                  <a:pt x="195" y="1442"/>
                  <a:pt x="195" y="1442"/>
                  <a:pt x="200" y="1443"/>
                </a:cubicBezTo>
                <a:cubicBezTo>
                  <a:pt x="204" y="1444"/>
                  <a:pt x="198" y="1450"/>
                  <a:pt x="199" y="1451"/>
                </a:cubicBezTo>
                <a:cubicBezTo>
                  <a:pt x="201" y="1451"/>
                  <a:pt x="200" y="1457"/>
                  <a:pt x="200" y="1457"/>
                </a:cubicBezTo>
                <a:cubicBezTo>
                  <a:pt x="206" y="1450"/>
                  <a:pt x="206" y="1450"/>
                  <a:pt x="206" y="1450"/>
                </a:cubicBezTo>
                <a:cubicBezTo>
                  <a:pt x="211" y="1451"/>
                  <a:pt x="211" y="1451"/>
                  <a:pt x="211" y="1451"/>
                </a:cubicBezTo>
                <a:cubicBezTo>
                  <a:pt x="211" y="1451"/>
                  <a:pt x="213" y="1446"/>
                  <a:pt x="219" y="1449"/>
                </a:cubicBezTo>
                <a:cubicBezTo>
                  <a:pt x="224" y="1452"/>
                  <a:pt x="234" y="1458"/>
                  <a:pt x="234" y="1458"/>
                </a:cubicBezTo>
                <a:cubicBezTo>
                  <a:pt x="266" y="1435"/>
                  <a:pt x="259" y="1426"/>
                  <a:pt x="259" y="1426"/>
                </a:cubicBezTo>
                <a:cubicBezTo>
                  <a:pt x="257" y="1420"/>
                  <a:pt x="257" y="1420"/>
                  <a:pt x="257" y="1420"/>
                </a:cubicBezTo>
                <a:cubicBezTo>
                  <a:pt x="256" y="1408"/>
                  <a:pt x="256" y="1408"/>
                  <a:pt x="256" y="1408"/>
                </a:cubicBezTo>
                <a:cubicBezTo>
                  <a:pt x="269" y="1400"/>
                  <a:pt x="269" y="1400"/>
                  <a:pt x="269" y="1400"/>
                </a:cubicBezTo>
                <a:cubicBezTo>
                  <a:pt x="276" y="1404"/>
                  <a:pt x="276" y="1404"/>
                  <a:pt x="276" y="1404"/>
                </a:cubicBezTo>
                <a:cubicBezTo>
                  <a:pt x="276" y="1404"/>
                  <a:pt x="282" y="1398"/>
                  <a:pt x="290" y="1398"/>
                </a:cubicBezTo>
                <a:cubicBezTo>
                  <a:pt x="298" y="1398"/>
                  <a:pt x="313" y="1415"/>
                  <a:pt x="313" y="1415"/>
                </a:cubicBezTo>
                <a:cubicBezTo>
                  <a:pt x="324" y="1415"/>
                  <a:pt x="324" y="1415"/>
                  <a:pt x="324" y="1415"/>
                </a:cubicBezTo>
                <a:cubicBezTo>
                  <a:pt x="325" y="1419"/>
                  <a:pt x="325" y="1419"/>
                  <a:pt x="325" y="1419"/>
                </a:cubicBezTo>
                <a:cubicBezTo>
                  <a:pt x="335" y="1407"/>
                  <a:pt x="335" y="1407"/>
                  <a:pt x="335" y="1407"/>
                </a:cubicBezTo>
                <a:cubicBezTo>
                  <a:pt x="335" y="1407"/>
                  <a:pt x="334" y="1396"/>
                  <a:pt x="334" y="1393"/>
                </a:cubicBezTo>
                <a:cubicBezTo>
                  <a:pt x="335" y="1390"/>
                  <a:pt x="343" y="1386"/>
                  <a:pt x="343" y="1386"/>
                </a:cubicBezTo>
                <a:cubicBezTo>
                  <a:pt x="343" y="1386"/>
                  <a:pt x="339" y="1384"/>
                  <a:pt x="338" y="1376"/>
                </a:cubicBezTo>
                <a:cubicBezTo>
                  <a:pt x="338" y="1369"/>
                  <a:pt x="343" y="1362"/>
                  <a:pt x="345" y="1357"/>
                </a:cubicBezTo>
                <a:cubicBezTo>
                  <a:pt x="347" y="1351"/>
                  <a:pt x="345" y="1353"/>
                  <a:pt x="343" y="1348"/>
                </a:cubicBezTo>
                <a:cubicBezTo>
                  <a:pt x="342" y="1343"/>
                  <a:pt x="346" y="1341"/>
                  <a:pt x="346" y="1341"/>
                </a:cubicBezTo>
                <a:cubicBezTo>
                  <a:pt x="346" y="1341"/>
                  <a:pt x="349" y="1318"/>
                  <a:pt x="352" y="1313"/>
                </a:cubicBezTo>
                <a:cubicBezTo>
                  <a:pt x="355" y="1308"/>
                  <a:pt x="350" y="1307"/>
                  <a:pt x="349" y="1304"/>
                </a:cubicBezTo>
                <a:cubicBezTo>
                  <a:pt x="349" y="1300"/>
                  <a:pt x="353" y="1296"/>
                  <a:pt x="355" y="1290"/>
                </a:cubicBezTo>
                <a:cubicBezTo>
                  <a:pt x="358" y="1284"/>
                  <a:pt x="352" y="1281"/>
                  <a:pt x="352" y="1281"/>
                </a:cubicBezTo>
                <a:cubicBezTo>
                  <a:pt x="358" y="1273"/>
                  <a:pt x="358" y="1273"/>
                  <a:pt x="358" y="1273"/>
                </a:cubicBezTo>
                <a:cubicBezTo>
                  <a:pt x="352" y="1270"/>
                  <a:pt x="352" y="1270"/>
                  <a:pt x="352" y="1270"/>
                </a:cubicBezTo>
                <a:cubicBezTo>
                  <a:pt x="359" y="1246"/>
                  <a:pt x="359" y="1246"/>
                  <a:pt x="359" y="1246"/>
                </a:cubicBezTo>
                <a:cubicBezTo>
                  <a:pt x="351" y="1235"/>
                  <a:pt x="351" y="1235"/>
                  <a:pt x="351" y="1235"/>
                </a:cubicBezTo>
                <a:cubicBezTo>
                  <a:pt x="347" y="1216"/>
                  <a:pt x="347" y="1216"/>
                  <a:pt x="347" y="1216"/>
                </a:cubicBezTo>
                <a:cubicBezTo>
                  <a:pt x="358" y="1199"/>
                  <a:pt x="358" y="1199"/>
                  <a:pt x="358" y="1199"/>
                </a:cubicBezTo>
                <a:cubicBezTo>
                  <a:pt x="367" y="1192"/>
                  <a:pt x="367" y="1192"/>
                  <a:pt x="367" y="1192"/>
                </a:cubicBezTo>
                <a:cubicBezTo>
                  <a:pt x="376" y="1169"/>
                  <a:pt x="376" y="1169"/>
                  <a:pt x="376" y="1169"/>
                </a:cubicBezTo>
                <a:cubicBezTo>
                  <a:pt x="366" y="1154"/>
                  <a:pt x="366" y="1154"/>
                  <a:pt x="366" y="1154"/>
                </a:cubicBezTo>
                <a:lnTo>
                  <a:pt x="367" y="1140"/>
                </a:lnTo>
                <a:close/>
                <a:moveTo>
                  <a:pt x="1030" y="1523"/>
                </a:moveTo>
                <a:cubicBezTo>
                  <a:pt x="1034" y="1520"/>
                  <a:pt x="1031" y="1518"/>
                  <a:pt x="1024" y="1517"/>
                </a:cubicBezTo>
                <a:cubicBezTo>
                  <a:pt x="1024" y="1517"/>
                  <a:pt x="1026" y="1525"/>
                  <a:pt x="1030" y="1523"/>
                </a:cubicBezTo>
                <a:close/>
                <a:moveTo>
                  <a:pt x="1070" y="1517"/>
                </a:moveTo>
                <a:cubicBezTo>
                  <a:pt x="1062" y="1515"/>
                  <a:pt x="1062" y="1515"/>
                  <a:pt x="1062" y="1515"/>
                </a:cubicBezTo>
                <a:cubicBezTo>
                  <a:pt x="1058" y="1517"/>
                  <a:pt x="1058" y="1517"/>
                  <a:pt x="1058" y="1517"/>
                </a:cubicBezTo>
                <a:cubicBezTo>
                  <a:pt x="1070" y="1526"/>
                  <a:pt x="1070" y="1526"/>
                  <a:pt x="1070" y="1526"/>
                </a:cubicBezTo>
                <a:lnTo>
                  <a:pt x="1070" y="1517"/>
                </a:lnTo>
                <a:close/>
                <a:moveTo>
                  <a:pt x="1081" y="1528"/>
                </a:moveTo>
                <a:cubicBezTo>
                  <a:pt x="1075" y="1527"/>
                  <a:pt x="1075" y="1527"/>
                  <a:pt x="1075" y="1527"/>
                </a:cubicBezTo>
                <a:cubicBezTo>
                  <a:pt x="1073" y="1535"/>
                  <a:pt x="1073" y="1535"/>
                  <a:pt x="1073" y="1535"/>
                </a:cubicBezTo>
                <a:cubicBezTo>
                  <a:pt x="1082" y="1540"/>
                  <a:pt x="1082" y="1540"/>
                  <a:pt x="1082" y="1540"/>
                </a:cubicBezTo>
                <a:cubicBezTo>
                  <a:pt x="1081" y="1547"/>
                  <a:pt x="1081" y="1547"/>
                  <a:pt x="1081" y="1547"/>
                </a:cubicBezTo>
                <a:cubicBezTo>
                  <a:pt x="1092" y="1556"/>
                  <a:pt x="1092" y="1556"/>
                  <a:pt x="1092" y="1556"/>
                </a:cubicBezTo>
                <a:cubicBezTo>
                  <a:pt x="1092" y="1556"/>
                  <a:pt x="1091" y="1552"/>
                  <a:pt x="1087" y="1547"/>
                </a:cubicBezTo>
                <a:cubicBezTo>
                  <a:pt x="1084" y="1541"/>
                  <a:pt x="1090" y="1535"/>
                  <a:pt x="1090" y="1535"/>
                </a:cubicBezTo>
                <a:lnTo>
                  <a:pt x="1081" y="1528"/>
                </a:lnTo>
                <a:close/>
                <a:moveTo>
                  <a:pt x="1097" y="1506"/>
                </a:moveTo>
                <a:cubicBezTo>
                  <a:pt x="1088" y="1505"/>
                  <a:pt x="1090" y="1505"/>
                  <a:pt x="1095" y="1509"/>
                </a:cubicBezTo>
                <a:cubicBezTo>
                  <a:pt x="1100" y="1512"/>
                  <a:pt x="1097" y="1506"/>
                  <a:pt x="1097" y="1506"/>
                </a:cubicBezTo>
                <a:close/>
                <a:moveTo>
                  <a:pt x="1118" y="1472"/>
                </a:moveTo>
                <a:cubicBezTo>
                  <a:pt x="1112" y="1477"/>
                  <a:pt x="1112" y="1477"/>
                  <a:pt x="1112" y="1477"/>
                </a:cubicBezTo>
                <a:cubicBezTo>
                  <a:pt x="1114" y="1480"/>
                  <a:pt x="1115" y="1483"/>
                  <a:pt x="1115" y="1483"/>
                </a:cubicBezTo>
                <a:cubicBezTo>
                  <a:pt x="1121" y="1476"/>
                  <a:pt x="1121" y="1476"/>
                  <a:pt x="1121" y="1476"/>
                </a:cubicBezTo>
                <a:lnTo>
                  <a:pt x="1118" y="1472"/>
                </a:lnTo>
                <a:close/>
                <a:moveTo>
                  <a:pt x="1180" y="1570"/>
                </a:moveTo>
                <a:cubicBezTo>
                  <a:pt x="1176" y="1570"/>
                  <a:pt x="1166" y="1564"/>
                  <a:pt x="1166" y="1564"/>
                </a:cubicBezTo>
                <a:cubicBezTo>
                  <a:pt x="1166" y="1564"/>
                  <a:pt x="1152" y="1575"/>
                  <a:pt x="1139" y="1579"/>
                </a:cubicBezTo>
                <a:cubicBezTo>
                  <a:pt x="1127" y="1583"/>
                  <a:pt x="1126" y="1583"/>
                  <a:pt x="1126" y="1583"/>
                </a:cubicBezTo>
                <a:cubicBezTo>
                  <a:pt x="1126" y="1583"/>
                  <a:pt x="1127" y="1575"/>
                  <a:pt x="1126" y="1573"/>
                </a:cubicBezTo>
                <a:cubicBezTo>
                  <a:pt x="1125" y="1571"/>
                  <a:pt x="1121" y="1571"/>
                  <a:pt x="1123" y="1574"/>
                </a:cubicBezTo>
                <a:cubicBezTo>
                  <a:pt x="1126" y="1577"/>
                  <a:pt x="1121" y="1584"/>
                  <a:pt x="1120" y="1586"/>
                </a:cubicBezTo>
                <a:cubicBezTo>
                  <a:pt x="1120" y="1588"/>
                  <a:pt x="1103" y="1599"/>
                  <a:pt x="1103" y="1599"/>
                </a:cubicBezTo>
                <a:cubicBezTo>
                  <a:pt x="1098" y="1593"/>
                  <a:pt x="1098" y="1593"/>
                  <a:pt x="1098" y="1593"/>
                </a:cubicBezTo>
                <a:cubicBezTo>
                  <a:pt x="1085" y="1592"/>
                  <a:pt x="1085" y="1592"/>
                  <a:pt x="1085" y="1592"/>
                </a:cubicBezTo>
                <a:cubicBezTo>
                  <a:pt x="1080" y="1587"/>
                  <a:pt x="1080" y="1587"/>
                  <a:pt x="1080" y="1587"/>
                </a:cubicBezTo>
                <a:cubicBezTo>
                  <a:pt x="1080" y="1587"/>
                  <a:pt x="1072" y="1590"/>
                  <a:pt x="1065" y="1593"/>
                </a:cubicBezTo>
                <a:cubicBezTo>
                  <a:pt x="1059" y="1595"/>
                  <a:pt x="1055" y="1592"/>
                  <a:pt x="1055" y="1592"/>
                </a:cubicBezTo>
                <a:cubicBezTo>
                  <a:pt x="1055" y="1592"/>
                  <a:pt x="1040" y="1608"/>
                  <a:pt x="1031" y="1612"/>
                </a:cubicBezTo>
                <a:cubicBezTo>
                  <a:pt x="1023" y="1616"/>
                  <a:pt x="1012" y="1615"/>
                  <a:pt x="1012" y="1615"/>
                </a:cubicBezTo>
                <a:cubicBezTo>
                  <a:pt x="992" y="1622"/>
                  <a:pt x="992" y="1622"/>
                  <a:pt x="992" y="1622"/>
                </a:cubicBezTo>
                <a:cubicBezTo>
                  <a:pt x="960" y="1620"/>
                  <a:pt x="960" y="1620"/>
                  <a:pt x="960" y="1620"/>
                </a:cubicBezTo>
                <a:cubicBezTo>
                  <a:pt x="960" y="1620"/>
                  <a:pt x="953" y="1616"/>
                  <a:pt x="949" y="1616"/>
                </a:cubicBezTo>
                <a:cubicBezTo>
                  <a:pt x="945" y="1616"/>
                  <a:pt x="928" y="1627"/>
                  <a:pt x="926" y="1628"/>
                </a:cubicBezTo>
                <a:cubicBezTo>
                  <a:pt x="925" y="1629"/>
                  <a:pt x="907" y="1627"/>
                  <a:pt x="907" y="1627"/>
                </a:cubicBezTo>
                <a:cubicBezTo>
                  <a:pt x="886" y="1614"/>
                  <a:pt x="886" y="1614"/>
                  <a:pt x="886" y="1614"/>
                </a:cubicBezTo>
                <a:cubicBezTo>
                  <a:pt x="883" y="1603"/>
                  <a:pt x="883" y="1603"/>
                  <a:pt x="883" y="1603"/>
                </a:cubicBezTo>
                <a:cubicBezTo>
                  <a:pt x="883" y="1603"/>
                  <a:pt x="870" y="1608"/>
                  <a:pt x="864" y="1606"/>
                </a:cubicBezTo>
                <a:cubicBezTo>
                  <a:pt x="857" y="1605"/>
                  <a:pt x="862" y="1592"/>
                  <a:pt x="862" y="1592"/>
                </a:cubicBezTo>
                <a:cubicBezTo>
                  <a:pt x="855" y="1584"/>
                  <a:pt x="855" y="1584"/>
                  <a:pt x="855" y="1584"/>
                </a:cubicBezTo>
                <a:cubicBezTo>
                  <a:pt x="837" y="1596"/>
                  <a:pt x="837" y="1596"/>
                  <a:pt x="837" y="1596"/>
                </a:cubicBezTo>
                <a:cubicBezTo>
                  <a:pt x="824" y="1592"/>
                  <a:pt x="824" y="1592"/>
                  <a:pt x="824" y="1592"/>
                </a:cubicBezTo>
                <a:cubicBezTo>
                  <a:pt x="817" y="1601"/>
                  <a:pt x="817" y="1601"/>
                  <a:pt x="817" y="1601"/>
                </a:cubicBezTo>
                <a:cubicBezTo>
                  <a:pt x="817" y="1601"/>
                  <a:pt x="820" y="1610"/>
                  <a:pt x="817" y="1612"/>
                </a:cubicBezTo>
                <a:cubicBezTo>
                  <a:pt x="812" y="1616"/>
                  <a:pt x="791" y="1619"/>
                  <a:pt x="791" y="1619"/>
                </a:cubicBezTo>
                <a:cubicBezTo>
                  <a:pt x="781" y="1608"/>
                  <a:pt x="781" y="1608"/>
                  <a:pt x="781" y="1608"/>
                </a:cubicBezTo>
                <a:cubicBezTo>
                  <a:pt x="781" y="1608"/>
                  <a:pt x="779" y="1598"/>
                  <a:pt x="777" y="1594"/>
                </a:cubicBezTo>
                <a:cubicBezTo>
                  <a:pt x="774" y="1589"/>
                  <a:pt x="771" y="1591"/>
                  <a:pt x="771" y="1591"/>
                </a:cubicBezTo>
                <a:cubicBezTo>
                  <a:pt x="766" y="1594"/>
                  <a:pt x="772" y="1601"/>
                  <a:pt x="772" y="1601"/>
                </a:cubicBezTo>
                <a:cubicBezTo>
                  <a:pt x="769" y="1606"/>
                  <a:pt x="769" y="1606"/>
                  <a:pt x="769" y="1606"/>
                </a:cubicBezTo>
                <a:cubicBezTo>
                  <a:pt x="763" y="1606"/>
                  <a:pt x="763" y="1606"/>
                  <a:pt x="763" y="1606"/>
                </a:cubicBezTo>
                <a:cubicBezTo>
                  <a:pt x="756" y="1613"/>
                  <a:pt x="756" y="1613"/>
                  <a:pt x="756" y="1613"/>
                </a:cubicBezTo>
                <a:cubicBezTo>
                  <a:pt x="747" y="1613"/>
                  <a:pt x="747" y="1613"/>
                  <a:pt x="747" y="1613"/>
                </a:cubicBezTo>
                <a:cubicBezTo>
                  <a:pt x="747" y="1613"/>
                  <a:pt x="748" y="1615"/>
                  <a:pt x="742" y="1620"/>
                </a:cubicBezTo>
                <a:cubicBezTo>
                  <a:pt x="737" y="1626"/>
                  <a:pt x="739" y="1636"/>
                  <a:pt x="739" y="1636"/>
                </a:cubicBezTo>
                <a:cubicBezTo>
                  <a:pt x="733" y="1641"/>
                  <a:pt x="733" y="1641"/>
                  <a:pt x="733" y="1641"/>
                </a:cubicBezTo>
                <a:cubicBezTo>
                  <a:pt x="733" y="1641"/>
                  <a:pt x="736" y="1647"/>
                  <a:pt x="736" y="1649"/>
                </a:cubicBezTo>
                <a:cubicBezTo>
                  <a:pt x="736" y="1650"/>
                  <a:pt x="735" y="1655"/>
                  <a:pt x="735" y="1655"/>
                </a:cubicBezTo>
                <a:cubicBezTo>
                  <a:pt x="735" y="1655"/>
                  <a:pt x="730" y="1644"/>
                  <a:pt x="727" y="1646"/>
                </a:cubicBezTo>
                <a:cubicBezTo>
                  <a:pt x="725" y="1647"/>
                  <a:pt x="729" y="1653"/>
                  <a:pt x="733" y="1655"/>
                </a:cubicBezTo>
                <a:cubicBezTo>
                  <a:pt x="737" y="1658"/>
                  <a:pt x="729" y="1660"/>
                  <a:pt x="729" y="1660"/>
                </a:cubicBezTo>
                <a:cubicBezTo>
                  <a:pt x="735" y="1671"/>
                  <a:pt x="735" y="1671"/>
                  <a:pt x="735" y="1671"/>
                </a:cubicBezTo>
                <a:cubicBezTo>
                  <a:pt x="735" y="1681"/>
                  <a:pt x="735" y="1681"/>
                  <a:pt x="735" y="1681"/>
                </a:cubicBezTo>
                <a:cubicBezTo>
                  <a:pt x="740" y="1687"/>
                  <a:pt x="740" y="1687"/>
                  <a:pt x="740" y="1687"/>
                </a:cubicBezTo>
                <a:cubicBezTo>
                  <a:pt x="740" y="1687"/>
                  <a:pt x="749" y="1688"/>
                  <a:pt x="753" y="1690"/>
                </a:cubicBezTo>
                <a:cubicBezTo>
                  <a:pt x="756" y="1692"/>
                  <a:pt x="764" y="1704"/>
                  <a:pt x="764" y="1704"/>
                </a:cubicBezTo>
                <a:cubicBezTo>
                  <a:pt x="764" y="1704"/>
                  <a:pt x="771" y="1701"/>
                  <a:pt x="777" y="1700"/>
                </a:cubicBezTo>
                <a:cubicBezTo>
                  <a:pt x="783" y="1699"/>
                  <a:pt x="803" y="1703"/>
                  <a:pt x="803" y="1703"/>
                </a:cubicBezTo>
                <a:cubicBezTo>
                  <a:pt x="812" y="1714"/>
                  <a:pt x="812" y="1714"/>
                  <a:pt x="812" y="1714"/>
                </a:cubicBezTo>
                <a:cubicBezTo>
                  <a:pt x="812" y="1714"/>
                  <a:pt x="829" y="1716"/>
                  <a:pt x="834" y="1716"/>
                </a:cubicBezTo>
                <a:cubicBezTo>
                  <a:pt x="839" y="1716"/>
                  <a:pt x="845" y="1728"/>
                  <a:pt x="845" y="1728"/>
                </a:cubicBezTo>
                <a:cubicBezTo>
                  <a:pt x="845" y="1728"/>
                  <a:pt x="847" y="1729"/>
                  <a:pt x="849" y="1734"/>
                </a:cubicBezTo>
                <a:cubicBezTo>
                  <a:pt x="851" y="1739"/>
                  <a:pt x="864" y="1743"/>
                  <a:pt x="865" y="1743"/>
                </a:cubicBezTo>
                <a:cubicBezTo>
                  <a:pt x="866" y="1743"/>
                  <a:pt x="873" y="1752"/>
                  <a:pt x="873" y="1752"/>
                </a:cubicBezTo>
                <a:cubicBezTo>
                  <a:pt x="888" y="1752"/>
                  <a:pt x="888" y="1752"/>
                  <a:pt x="888" y="1752"/>
                </a:cubicBezTo>
                <a:cubicBezTo>
                  <a:pt x="888" y="1752"/>
                  <a:pt x="896" y="1760"/>
                  <a:pt x="901" y="1764"/>
                </a:cubicBezTo>
                <a:cubicBezTo>
                  <a:pt x="906" y="1768"/>
                  <a:pt x="916" y="1776"/>
                  <a:pt x="917" y="1777"/>
                </a:cubicBezTo>
                <a:cubicBezTo>
                  <a:pt x="918" y="1777"/>
                  <a:pt x="926" y="1776"/>
                  <a:pt x="926" y="1776"/>
                </a:cubicBezTo>
                <a:cubicBezTo>
                  <a:pt x="936" y="1784"/>
                  <a:pt x="936" y="1784"/>
                  <a:pt x="936" y="1784"/>
                </a:cubicBezTo>
                <a:cubicBezTo>
                  <a:pt x="942" y="1783"/>
                  <a:pt x="942" y="1783"/>
                  <a:pt x="942" y="1783"/>
                </a:cubicBezTo>
                <a:cubicBezTo>
                  <a:pt x="987" y="1784"/>
                  <a:pt x="992" y="1792"/>
                  <a:pt x="1000" y="1798"/>
                </a:cubicBezTo>
                <a:cubicBezTo>
                  <a:pt x="1008" y="1804"/>
                  <a:pt x="1022" y="1839"/>
                  <a:pt x="1022" y="1839"/>
                </a:cubicBezTo>
                <a:cubicBezTo>
                  <a:pt x="1041" y="1841"/>
                  <a:pt x="1041" y="1841"/>
                  <a:pt x="1041" y="1841"/>
                </a:cubicBezTo>
                <a:cubicBezTo>
                  <a:pt x="1051" y="1849"/>
                  <a:pt x="1051" y="1849"/>
                  <a:pt x="1051" y="1849"/>
                </a:cubicBezTo>
                <a:cubicBezTo>
                  <a:pt x="1061" y="1849"/>
                  <a:pt x="1061" y="1849"/>
                  <a:pt x="1061" y="1849"/>
                </a:cubicBezTo>
                <a:cubicBezTo>
                  <a:pt x="1065" y="1853"/>
                  <a:pt x="1065" y="1853"/>
                  <a:pt x="1065" y="1853"/>
                </a:cubicBezTo>
                <a:cubicBezTo>
                  <a:pt x="1065" y="1853"/>
                  <a:pt x="1078" y="1848"/>
                  <a:pt x="1080" y="1849"/>
                </a:cubicBezTo>
                <a:cubicBezTo>
                  <a:pt x="1082" y="1849"/>
                  <a:pt x="1090" y="1855"/>
                  <a:pt x="1090" y="1855"/>
                </a:cubicBezTo>
                <a:cubicBezTo>
                  <a:pt x="1090" y="1855"/>
                  <a:pt x="1091" y="1854"/>
                  <a:pt x="1101" y="1854"/>
                </a:cubicBezTo>
                <a:cubicBezTo>
                  <a:pt x="1111" y="1854"/>
                  <a:pt x="1109" y="1861"/>
                  <a:pt x="1109" y="1861"/>
                </a:cubicBezTo>
                <a:cubicBezTo>
                  <a:pt x="1117" y="1855"/>
                  <a:pt x="1117" y="1855"/>
                  <a:pt x="1117" y="1855"/>
                </a:cubicBezTo>
                <a:cubicBezTo>
                  <a:pt x="1117" y="1855"/>
                  <a:pt x="1113" y="1844"/>
                  <a:pt x="1111" y="1838"/>
                </a:cubicBezTo>
                <a:cubicBezTo>
                  <a:pt x="1109" y="1832"/>
                  <a:pt x="1118" y="1817"/>
                  <a:pt x="1119" y="1813"/>
                </a:cubicBezTo>
                <a:cubicBezTo>
                  <a:pt x="1121" y="1809"/>
                  <a:pt x="1134" y="1805"/>
                  <a:pt x="1134" y="1805"/>
                </a:cubicBezTo>
                <a:cubicBezTo>
                  <a:pt x="1136" y="1797"/>
                  <a:pt x="1136" y="1797"/>
                  <a:pt x="1136" y="1797"/>
                </a:cubicBezTo>
                <a:cubicBezTo>
                  <a:pt x="1146" y="1797"/>
                  <a:pt x="1146" y="1797"/>
                  <a:pt x="1146" y="1797"/>
                </a:cubicBezTo>
                <a:cubicBezTo>
                  <a:pt x="1146" y="1797"/>
                  <a:pt x="1145" y="1796"/>
                  <a:pt x="1142" y="1792"/>
                </a:cubicBezTo>
                <a:cubicBezTo>
                  <a:pt x="1140" y="1788"/>
                  <a:pt x="1135" y="1791"/>
                  <a:pt x="1135" y="1789"/>
                </a:cubicBezTo>
                <a:cubicBezTo>
                  <a:pt x="1135" y="1786"/>
                  <a:pt x="1139" y="1783"/>
                  <a:pt x="1137" y="1780"/>
                </a:cubicBezTo>
                <a:cubicBezTo>
                  <a:pt x="1136" y="1778"/>
                  <a:pt x="1130" y="1777"/>
                  <a:pt x="1130" y="1777"/>
                </a:cubicBezTo>
                <a:cubicBezTo>
                  <a:pt x="1129" y="1771"/>
                  <a:pt x="1129" y="1771"/>
                  <a:pt x="1129" y="1771"/>
                </a:cubicBezTo>
                <a:cubicBezTo>
                  <a:pt x="1125" y="1772"/>
                  <a:pt x="1125" y="1772"/>
                  <a:pt x="1125" y="1772"/>
                </a:cubicBezTo>
                <a:cubicBezTo>
                  <a:pt x="1122" y="1760"/>
                  <a:pt x="1122" y="1760"/>
                  <a:pt x="1122" y="1760"/>
                </a:cubicBezTo>
                <a:cubicBezTo>
                  <a:pt x="1122" y="1760"/>
                  <a:pt x="1123" y="1755"/>
                  <a:pt x="1127" y="1755"/>
                </a:cubicBezTo>
                <a:cubicBezTo>
                  <a:pt x="1130" y="1755"/>
                  <a:pt x="1128" y="1759"/>
                  <a:pt x="1128" y="1759"/>
                </a:cubicBezTo>
                <a:cubicBezTo>
                  <a:pt x="1131" y="1755"/>
                  <a:pt x="1131" y="1755"/>
                  <a:pt x="1131" y="1755"/>
                </a:cubicBezTo>
                <a:cubicBezTo>
                  <a:pt x="1131" y="1755"/>
                  <a:pt x="1129" y="1752"/>
                  <a:pt x="1124" y="1749"/>
                </a:cubicBezTo>
                <a:cubicBezTo>
                  <a:pt x="1120" y="1746"/>
                  <a:pt x="1115" y="1746"/>
                  <a:pt x="1110" y="1744"/>
                </a:cubicBezTo>
                <a:cubicBezTo>
                  <a:pt x="1106" y="1741"/>
                  <a:pt x="1105" y="1715"/>
                  <a:pt x="1105" y="1715"/>
                </a:cubicBezTo>
                <a:cubicBezTo>
                  <a:pt x="1118" y="1696"/>
                  <a:pt x="1118" y="1696"/>
                  <a:pt x="1118" y="1696"/>
                </a:cubicBezTo>
                <a:cubicBezTo>
                  <a:pt x="1117" y="1686"/>
                  <a:pt x="1117" y="1686"/>
                  <a:pt x="1117" y="1686"/>
                </a:cubicBezTo>
                <a:cubicBezTo>
                  <a:pt x="1124" y="1671"/>
                  <a:pt x="1124" y="1671"/>
                  <a:pt x="1124" y="1671"/>
                </a:cubicBezTo>
                <a:cubicBezTo>
                  <a:pt x="1124" y="1671"/>
                  <a:pt x="1121" y="1667"/>
                  <a:pt x="1122" y="1664"/>
                </a:cubicBezTo>
                <a:cubicBezTo>
                  <a:pt x="1123" y="1662"/>
                  <a:pt x="1134" y="1640"/>
                  <a:pt x="1134" y="1640"/>
                </a:cubicBezTo>
                <a:cubicBezTo>
                  <a:pt x="1134" y="1640"/>
                  <a:pt x="1157" y="1610"/>
                  <a:pt x="1162" y="1605"/>
                </a:cubicBezTo>
                <a:cubicBezTo>
                  <a:pt x="1166" y="1601"/>
                  <a:pt x="1170" y="1582"/>
                  <a:pt x="1170" y="1577"/>
                </a:cubicBezTo>
                <a:cubicBezTo>
                  <a:pt x="1170" y="1572"/>
                  <a:pt x="1185" y="1570"/>
                  <a:pt x="1180" y="1570"/>
                </a:cubicBezTo>
                <a:close/>
                <a:moveTo>
                  <a:pt x="714" y="1621"/>
                </a:moveTo>
                <a:cubicBezTo>
                  <a:pt x="714" y="1621"/>
                  <a:pt x="707" y="1629"/>
                  <a:pt x="714" y="1629"/>
                </a:cubicBezTo>
                <a:cubicBezTo>
                  <a:pt x="722" y="1629"/>
                  <a:pt x="714" y="1621"/>
                  <a:pt x="714" y="1621"/>
                </a:cubicBezTo>
                <a:close/>
                <a:moveTo>
                  <a:pt x="834" y="1495"/>
                </a:moveTo>
                <a:cubicBezTo>
                  <a:pt x="828" y="1492"/>
                  <a:pt x="828" y="1500"/>
                  <a:pt x="828" y="1500"/>
                </a:cubicBezTo>
                <a:cubicBezTo>
                  <a:pt x="828" y="1500"/>
                  <a:pt x="841" y="1499"/>
                  <a:pt x="834" y="1495"/>
                </a:cubicBezTo>
                <a:close/>
                <a:moveTo>
                  <a:pt x="996" y="1526"/>
                </a:moveTo>
                <a:cubicBezTo>
                  <a:pt x="1001" y="1525"/>
                  <a:pt x="1001" y="1525"/>
                  <a:pt x="1001" y="1525"/>
                </a:cubicBezTo>
                <a:cubicBezTo>
                  <a:pt x="1001" y="1525"/>
                  <a:pt x="992" y="1516"/>
                  <a:pt x="996" y="1526"/>
                </a:cubicBezTo>
                <a:close/>
                <a:moveTo>
                  <a:pt x="656" y="1836"/>
                </a:moveTo>
                <a:cubicBezTo>
                  <a:pt x="655" y="1841"/>
                  <a:pt x="655" y="1841"/>
                  <a:pt x="655" y="1841"/>
                </a:cubicBezTo>
                <a:cubicBezTo>
                  <a:pt x="666" y="1851"/>
                  <a:pt x="666" y="1851"/>
                  <a:pt x="666" y="1851"/>
                </a:cubicBezTo>
                <a:cubicBezTo>
                  <a:pt x="673" y="1848"/>
                  <a:pt x="673" y="1848"/>
                  <a:pt x="673" y="1848"/>
                </a:cubicBezTo>
                <a:cubicBezTo>
                  <a:pt x="673" y="1841"/>
                  <a:pt x="673" y="1841"/>
                  <a:pt x="673" y="1841"/>
                </a:cubicBezTo>
                <a:cubicBezTo>
                  <a:pt x="673" y="1841"/>
                  <a:pt x="666" y="1830"/>
                  <a:pt x="656" y="1836"/>
                </a:cubicBezTo>
                <a:close/>
                <a:moveTo>
                  <a:pt x="673" y="1627"/>
                </a:moveTo>
                <a:cubicBezTo>
                  <a:pt x="673" y="1627"/>
                  <a:pt x="673" y="1633"/>
                  <a:pt x="677" y="1632"/>
                </a:cubicBezTo>
                <a:cubicBezTo>
                  <a:pt x="681" y="1631"/>
                  <a:pt x="678" y="1627"/>
                  <a:pt x="673" y="1627"/>
                </a:cubicBezTo>
                <a:close/>
                <a:moveTo>
                  <a:pt x="707" y="1636"/>
                </a:moveTo>
                <a:cubicBezTo>
                  <a:pt x="707" y="1640"/>
                  <a:pt x="707" y="1640"/>
                  <a:pt x="707" y="1640"/>
                </a:cubicBezTo>
                <a:cubicBezTo>
                  <a:pt x="718" y="1644"/>
                  <a:pt x="718" y="1644"/>
                  <a:pt x="718" y="1644"/>
                </a:cubicBezTo>
                <a:cubicBezTo>
                  <a:pt x="718" y="1644"/>
                  <a:pt x="723" y="1638"/>
                  <a:pt x="707" y="1636"/>
                </a:cubicBezTo>
                <a:close/>
              </a:path>
            </a:pathLst>
          </a:custGeom>
          <a:solidFill>
            <a:schemeClr val="bg1">
              <a:lumMod val="65000"/>
            </a:schemeClr>
          </a:solidFill>
          <a:ln w="12700" cap="flat" cmpd="sng">
            <a:solidFill>
              <a:schemeClr val="bg1"/>
            </a:solidFill>
            <a:prstDash val="solid"/>
            <a:miter lim="800000"/>
            <a:headEnd type="none" w="med" len="med"/>
            <a:tailEnd type="none" w="med" len="med"/>
          </a:ln>
          <a:effectLst>
            <a:outerShdw blurRad="50800" dist="38100" dir="2700000" algn="tl" rotWithShape="0">
              <a:prstClr val="black">
                <a:alpha val="40000"/>
              </a:prstClr>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a:p>
        </p:txBody>
      </p:sp>
      <p:grpSp>
        <p:nvGrpSpPr>
          <p:cNvPr id="5" name="Gruppieren 107"/>
          <p:cNvGrpSpPr/>
          <p:nvPr/>
        </p:nvGrpSpPr>
        <p:grpSpPr>
          <a:xfrm>
            <a:off x="3531421" y="1622426"/>
            <a:ext cx="2207649" cy="2165349"/>
            <a:chOff x="-2770187" y="-4762"/>
            <a:chExt cx="2207649" cy="2165349"/>
          </a:xfrm>
        </p:grpSpPr>
        <p:pic>
          <p:nvPicPr>
            <p:cNvPr id="1028" name="Picture 4"/>
            <p:cNvPicPr>
              <a:picLocks noChangeAspect="1" noChangeArrowheads="1"/>
            </p:cNvPicPr>
            <p:nvPr/>
          </p:nvPicPr>
          <p:blipFill>
            <a:blip r:embed="rId4"/>
            <a:srcRect/>
            <a:stretch>
              <a:fillRect/>
            </a:stretch>
          </p:blipFill>
          <p:spPr bwMode="auto">
            <a:xfrm>
              <a:off x="-1791263" y="-4762"/>
              <a:ext cx="1228725" cy="1914525"/>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pic>
          <p:nvPicPr>
            <p:cNvPr id="1026" name="Picture 2"/>
            <p:cNvPicPr>
              <a:picLocks noChangeAspect="1" noChangeArrowheads="1"/>
            </p:cNvPicPr>
            <p:nvPr/>
          </p:nvPicPr>
          <p:blipFill>
            <a:blip r:embed="rId5"/>
            <a:srcRect/>
            <a:stretch>
              <a:fillRect/>
            </a:stretch>
          </p:blipFill>
          <p:spPr bwMode="auto">
            <a:xfrm>
              <a:off x="-2770187" y="1912937"/>
              <a:ext cx="1857375" cy="247650"/>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grpSp>
      <p:grpSp>
        <p:nvGrpSpPr>
          <p:cNvPr id="6" name="Gruppieren 137"/>
          <p:cNvGrpSpPr/>
          <p:nvPr/>
        </p:nvGrpSpPr>
        <p:grpSpPr>
          <a:xfrm>
            <a:off x="3514945" y="3137586"/>
            <a:ext cx="347663" cy="338138"/>
            <a:chOff x="203518" y="4378643"/>
            <a:chExt cx="347663" cy="338138"/>
          </a:xfrm>
        </p:grpSpPr>
        <p:pic>
          <p:nvPicPr>
            <p:cNvPr id="110" name="Grafik 109" descr="schatten.png"/>
            <p:cNvPicPr>
              <a:picLocks noChangeAspect="1"/>
            </p:cNvPicPr>
            <p:nvPr/>
          </p:nvPicPr>
          <p:blipFill>
            <a:blip r:embed="rId3" cstate="print">
              <a:lum bright="30000"/>
            </a:blip>
            <a:srcRect l="17603" t="9404" r="15359" b="14528"/>
            <a:stretch>
              <a:fillRect/>
            </a:stretch>
          </p:blipFill>
          <p:spPr>
            <a:xfrm>
              <a:off x="203518" y="4378643"/>
              <a:ext cx="347663" cy="338138"/>
            </a:xfrm>
            <a:prstGeom prst="rect">
              <a:avLst/>
            </a:prstGeom>
          </p:spPr>
        </p:pic>
        <p:sp>
          <p:nvSpPr>
            <p:cNvPr id="111"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7" name="Gruppieren 140"/>
          <p:cNvGrpSpPr/>
          <p:nvPr/>
        </p:nvGrpSpPr>
        <p:grpSpPr>
          <a:xfrm>
            <a:off x="4094933" y="1693207"/>
            <a:ext cx="347663" cy="338138"/>
            <a:chOff x="203518" y="4966018"/>
            <a:chExt cx="347663" cy="338138"/>
          </a:xfrm>
        </p:grpSpPr>
        <p:pic>
          <p:nvPicPr>
            <p:cNvPr id="127" name="Grafik 40" descr="schatten.png"/>
            <p:cNvPicPr>
              <a:picLocks noChangeAspect="1"/>
            </p:cNvPicPr>
            <p:nvPr/>
          </p:nvPicPr>
          <p:blipFill>
            <a:blip r:embed="rId3" cstate="print">
              <a:lum bright="30000"/>
            </a:blip>
            <a:srcRect l="17603" t="9404" r="15359" b="14528"/>
            <a:stretch>
              <a:fillRect/>
            </a:stretch>
          </p:blipFill>
          <p:spPr>
            <a:xfrm>
              <a:off x="203518" y="4966018"/>
              <a:ext cx="347663" cy="338138"/>
            </a:xfrm>
            <a:prstGeom prst="rect">
              <a:avLst/>
            </a:prstGeom>
          </p:spPr>
        </p:pic>
        <p:sp>
          <p:nvSpPr>
            <p:cNvPr id="128"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8" name="Group 50"/>
          <p:cNvGrpSpPr/>
          <p:nvPr/>
        </p:nvGrpSpPr>
        <p:grpSpPr>
          <a:xfrm>
            <a:off x="2782329" y="3482975"/>
            <a:ext cx="2264411" cy="824933"/>
            <a:chOff x="2782329" y="3482975"/>
            <a:chExt cx="2264411" cy="824933"/>
          </a:xfrm>
        </p:grpSpPr>
        <p:sp>
          <p:nvSpPr>
            <p:cNvPr id="112" name="Rechteck 111"/>
            <p:cNvSpPr/>
            <p:nvPr/>
          </p:nvSpPr>
          <p:spPr>
            <a:xfrm>
              <a:off x="4514856" y="3567085"/>
              <a:ext cx="216688" cy="189737"/>
            </a:xfrm>
            <a:prstGeom prst="rect">
              <a:avLst/>
            </a:prstGeom>
            <a:solidFill>
              <a:schemeClr val="bg1">
                <a:alpha val="0"/>
              </a:schemeClr>
            </a:solid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nvGrpSpPr>
            <p:cNvPr id="9" name="Group 45"/>
            <p:cNvGrpSpPr>
              <a:grpSpLocks/>
            </p:cNvGrpSpPr>
            <p:nvPr/>
          </p:nvGrpSpPr>
          <p:grpSpPr bwMode="auto">
            <a:xfrm rot="-1312736">
              <a:off x="2782329" y="3482975"/>
              <a:ext cx="374650" cy="609600"/>
              <a:chOff x="1950" y="1045"/>
              <a:chExt cx="568" cy="928"/>
            </a:xfrm>
          </p:grpSpPr>
          <p:sp>
            <p:nvSpPr>
              <p:cNvPr id="130"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131"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132"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33"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134"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35"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36"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37"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38"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39"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40"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41"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10" name="Group 45"/>
            <p:cNvGrpSpPr>
              <a:grpSpLocks/>
            </p:cNvGrpSpPr>
            <p:nvPr/>
          </p:nvGrpSpPr>
          <p:grpSpPr bwMode="auto">
            <a:xfrm rot="-1312736">
              <a:off x="4672090" y="3698308"/>
              <a:ext cx="374650" cy="609600"/>
              <a:chOff x="1950" y="1045"/>
              <a:chExt cx="568" cy="928"/>
            </a:xfrm>
          </p:grpSpPr>
          <p:sp>
            <p:nvSpPr>
              <p:cNvPr id="114"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115"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116"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17"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118"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19"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20"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21"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22"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23"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24"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25"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sp>
        <p:nvSpPr>
          <p:cNvPr id="58"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3</a:t>
            </a:r>
            <a:endParaRPr lang="de-DE" sz="900" dirty="0">
              <a:solidFill>
                <a:schemeClr val="bg1">
                  <a:lumMod val="50000"/>
                </a:schemeClr>
              </a:solidFill>
            </a:endParaRPr>
          </a:p>
        </p:txBody>
      </p:sp>
      <p:grpSp>
        <p:nvGrpSpPr>
          <p:cNvPr id="11" name="Gruppieren 108"/>
          <p:cNvGrpSpPr/>
          <p:nvPr/>
        </p:nvGrpSpPr>
        <p:grpSpPr>
          <a:xfrm>
            <a:off x="203518" y="4966018"/>
            <a:ext cx="347663" cy="338138"/>
            <a:chOff x="203518" y="4378643"/>
            <a:chExt cx="347663" cy="338138"/>
          </a:xfrm>
        </p:grpSpPr>
        <p:pic>
          <p:nvPicPr>
            <p:cNvPr id="76" name="Grafik 58" descr="schatten.png"/>
            <p:cNvPicPr>
              <a:picLocks noChangeAspect="1"/>
            </p:cNvPicPr>
            <p:nvPr/>
          </p:nvPicPr>
          <p:blipFill>
            <a:blip r:embed="rId3" cstate="print">
              <a:lum bright="30000"/>
            </a:blip>
            <a:srcRect l="17603" t="9404" r="15359" b="14528"/>
            <a:stretch>
              <a:fillRect/>
            </a:stretch>
          </p:blipFill>
          <p:spPr>
            <a:xfrm>
              <a:off x="203518" y="4378643"/>
              <a:ext cx="347663" cy="338138"/>
            </a:xfrm>
            <a:prstGeom prst="rect">
              <a:avLst/>
            </a:prstGeom>
          </p:spPr>
        </p:pic>
        <p:sp>
          <p:nvSpPr>
            <p:cNvPr id="77"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300"/>
                                        <p:tgtEl>
                                          <p:spTgt spid="55"/>
                                        </p:tgtEl>
                                      </p:cBhvr>
                                    </p:animEffect>
                                  </p:childTnLst>
                                </p:cTn>
                              </p:par>
                            </p:childTnLst>
                          </p:cTn>
                        </p:par>
                        <p:par>
                          <p:cTn id="8" fill="hold">
                            <p:stCondLst>
                              <p:cond delay="300"/>
                            </p:stCondLst>
                            <p:childTnLst>
                              <p:par>
                                <p:cTn id="9" presetID="10" presetClass="entr" presetSubtype="0" fill="hold" nodeType="afterEffect">
                                  <p:stCondLst>
                                    <p:cond delay="10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300"/>
                                        <p:tgtEl>
                                          <p:spTgt spid="4"/>
                                        </p:tgtEl>
                                      </p:cBhvr>
                                    </p:animEffect>
                                  </p:childTnLst>
                                </p:cTn>
                              </p:par>
                            </p:childTnLst>
                          </p:cTn>
                        </p:par>
                        <p:par>
                          <p:cTn id="12" fill="hold">
                            <p:stCondLst>
                              <p:cond delay="1600"/>
                            </p:stCondLst>
                            <p:childTnLst>
                              <p:par>
                                <p:cTn id="13" presetID="10" presetClass="entr" presetSubtype="0" fill="hold" grpId="0" nodeType="afterEffect">
                                  <p:stCondLst>
                                    <p:cond delay="0"/>
                                  </p:stCondLst>
                                  <p:childTnLst>
                                    <p:set>
                                      <p:cBhvr>
                                        <p:cTn id="14" dur="1" fill="hold">
                                          <p:stCondLst>
                                            <p:cond delay="0"/>
                                          </p:stCondLst>
                                        </p:cTn>
                                        <p:tgtEl>
                                          <p:spTgt spid="56"/>
                                        </p:tgtEl>
                                        <p:attrNameLst>
                                          <p:attrName>style.visibility</p:attrName>
                                        </p:attrNameLst>
                                      </p:cBhvr>
                                      <p:to>
                                        <p:strVal val="visible"/>
                                      </p:to>
                                    </p:set>
                                    <p:animEffect transition="in" filter="fade">
                                      <p:cBhvr>
                                        <p:cTn id="15" dur="300"/>
                                        <p:tgtEl>
                                          <p:spTgt spid="56"/>
                                        </p:tgtEl>
                                      </p:cBhvr>
                                    </p:animEffect>
                                  </p:childTnLst>
                                </p:cTn>
                              </p:par>
                            </p:childTnLst>
                          </p:cTn>
                        </p:par>
                        <p:par>
                          <p:cTn id="16" fill="hold">
                            <p:stCondLst>
                              <p:cond delay="19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300"/>
                                        <p:tgtEl>
                                          <p:spTgt spid="6"/>
                                        </p:tgtEl>
                                      </p:cBhvr>
                                    </p:animEffect>
                                  </p:childTnLst>
                                </p:cTn>
                              </p:par>
                            </p:childTnLst>
                          </p:cTn>
                        </p:par>
                        <p:par>
                          <p:cTn id="20" fill="hold">
                            <p:stCondLst>
                              <p:cond delay="2200"/>
                            </p:stCondLst>
                            <p:childTnLst>
                              <p:par>
                                <p:cTn id="21" presetID="10" presetClass="entr" presetSubtype="0" fill="hold" nodeType="afterEffect">
                                  <p:stCondLst>
                                    <p:cond delay="20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300"/>
                                        <p:tgtEl>
                                          <p:spTgt spid="7"/>
                                        </p:tgtEl>
                                      </p:cBhvr>
                                    </p:animEffect>
                                  </p:childTnLst>
                                </p:cTn>
                              </p:par>
                            </p:childTnLst>
                          </p:cTn>
                        </p:par>
                        <p:par>
                          <p:cTn id="24" fill="hold">
                            <p:stCondLst>
                              <p:cond delay="4500"/>
                            </p:stCondLst>
                            <p:childTnLst>
                              <p:par>
                                <p:cTn id="25" presetID="10" presetClass="entr" presetSubtype="0" fill="hold" nodeType="afterEffect">
                                  <p:stCondLst>
                                    <p:cond delay="100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3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2"/>
          <p:cNvPicPr>
            <a:picLocks noChangeAspect="1" noChangeArrowheads="1"/>
          </p:cNvPicPr>
          <p:nvPr/>
        </p:nvPicPr>
        <p:blipFill>
          <a:blip r:embed="rId2"/>
          <a:srcRect/>
          <a:stretch>
            <a:fillRect/>
          </a:stretch>
        </p:blipFill>
        <p:spPr bwMode="auto">
          <a:xfrm>
            <a:off x="-12700" y="3054350"/>
            <a:ext cx="9156700" cy="3359150"/>
          </a:xfrm>
          <a:prstGeom prst="rect">
            <a:avLst/>
          </a:prstGeom>
          <a:noFill/>
          <a:ln w="9525">
            <a:noFill/>
            <a:miter lim="800000"/>
            <a:headEnd/>
            <a:tailEnd/>
          </a:ln>
          <a:effectLst/>
        </p:spPr>
      </p:pic>
      <p:sp>
        <p:nvSpPr>
          <p:cNvPr id="2"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eaLnBrk="0" hangingPunct="0">
              <a:defRPr/>
            </a:pPr>
            <a:r>
              <a:rPr lang="de-DE" sz="2800" kern="0" dirty="0" smtClean="0">
                <a:solidFill>
                  <a:schemeClr val="tx2"/>
                </a:solidFill>
                <a:latin typeface="Myriad Pro" pitchFamily="34" charset="0"/>
                <a:ea typeface="+mj-ea"/>
                <a:cs typeface="+mj-cs"/>
              </a:rPr>
              <a:t>3D Effekt erstellen</a:t>
            </a:r>
          </a:p>
        </p:txBody>
      </p:sp>
      <p:sp>
        <p:nvSpPr>
          <p:cNvPr id="4" name="Freeform 2"/>
          <p:cNvSpPr>
            <a:spLocks noEditPoints="1"/>
          </p:cNvSpPr>
          <p:nvPr/>
        </p:nvSpPr>
        <p:spPr bwMode="auto">
          <a:xfrm>
            <a:off x="619126" y="1201775"/>
            <a:ext cx="2121104" cy="2871945"/>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endParaRPr lang="de-DE"/>
          </a:p>
        </p:txBody>
      </p:sp>
      <p:grpSp>
        <p:nvGrpSpPr>
          <p:cNvPr id="3" name="Gruppieren 111"/>
          <p:cNvGrpSpPr/>
          <p:nvPr/>
        </p:nvGrpSpPr>
        <p:grpSpPr>
          <a:xfrm>
            <a:off x="203518" y="4966018"/>
            <a:ext cx="347663" cy="338138"/>
            <a:chOff x="203518" y="4966018"/>
            <a:chExt cx="347663" cy="338138"/>
          </a:xfrm>
        </p:grpSpPr>
        <p:pic>
          <p:nvPicPr>
            <p:cNvPr id="7" name="Grafik 6" descr="schatten.png"/>
            <p:cNvPicPr>
              <a:picLocks noChangeAspect="1"/>
            </p:cNvPicPr>
            <p:nvPr/>
          </p:nvPicPr>
          <p:blipFill>
            <a:blip r:embed="rId3" cstate="print">
              <a:lum bright="30000"/>
            </a:blip>
            <a:srcRect l="17603" t="9404" r="15359" b="14528"/>
            <a:stretch>
              <a:fillRect/>
            </a:stretch>
          </p:blipFill>
          <p:spPr>
            <a:xfrm>
              <a:off x="203518" y="4966018"/>
              <a:ext cx="347663" cy="338138"/>
            </a:xfrm>
            <a:prstGeom prst="rect">
              <a:avLst/>
            </a:prstGeom>
          </p:spPr>
        </p:pic>
        <p:sp>
          <p:nvSpPr>
            <p:cNvPr id="8"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1</a:t>
              </a:r>
            </a:p>
          </p:txBody>
        </p:sp>
      </p:grpSp>
      <p:grpSp>
        <p:nvGrpSpPr>
          <p:cNvPr id="5" name="Gruppieren 115"/>
          <p:cNvGrpSpPr/>
          <p:nvPr/>
        </p:nvGrpSpPr>
        <p:grpSpPr>
          <a:xfrm>
            <a:off x="203518" y="5530850"/>
            <a:ext cx="347663" cy="338138"/>
            <a:chOff x="203518" y="5554980"/>
            <a:chExt cx="347663" cy="338138"/>
          </a:xfrm>
        </p:grpSpPr>
        <p:pic>
          <p:nvPicPr>
            <p:cNvPr id="10" name="Grafik 9" descr="schatten.png"/>
            <p:cNvPicPr>
              <a:picLocks noChangeAspect="1"/>
            </p:cNvPicPr>
            <p:nvPr/>
          </p:nvPicPr>
          <p:blipFill>
            <a:blip r:embed="rId3" cstate="print">
              <a:lum bright="30000"/>
            </a:blip>
            <a:srcRect l="17603" t="9404" r="15359" b="14528"/>
            <a:stretch>
              <a:fillRect/>
            </a:stretch>
          </p:blipFill>
          <p:spPr>
            <a:xfrm>
              <a:off x="203518" y="5554980"/>
              <a:ext cx="347663" cy="338138"/>
            </a:xfrm>
            <a:prstGeom prst="rect">
              <a:avLst/>
            </a:prstGeom>
          </p:spPr>
        </p:pic>
        <p:sp>
          <p:nvSpPr>
            <p:cNvPr id="11"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sp>
        <p:nvSpPr>
          <p:cNvPr id="26" name="Rectangle 5"/>
          <p:cNvSpPr>
            <a:spLocks noChangeArrowheads="1"/>
          </p:cNvSpPr>
          <p:nvPr/>
        </p:nvSpPr>
        <p:spPr bwMode="gray">
          <a:xfrm>
            <a:off x="639763" y="4966018"/>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Wählen Sie die Karte mit der linken Maustaste an, anschließend klicken Sie auf den Punkt „3D-Art“.</a:t>
            </a:r>
            <a:endParaRPr lang="en-US" dirty="0">
              <a:solidFill>
                <a:srgbClr val="000000"/>
              </a:solidFill>
              <a:ea typeface="Arial Unicode MS" pitchFamily="34" charset="-128"/>
              <a:cs typeface="Arial" charset="0"/>
            </a:endParaRPr>
          </a:p>
        </p:txBody>
      </p:sp>
      <p:sp>
        <p:nvSpPr>
          <p:cNvPr id="27" name="Rectangle 5"/>
          <p:cNvSpPr>
            <a:spLocks noChangeArrowheads="1"/>
          </p:cNvSpPr>
          <p:nvPr/>
        </p:nvSpPr>
        <p:spPr bwMode="gray">
          <a:xfrm>
            <a:off x="639763" y="5530850"/>
            <a:ext cx="8251825" cy="423863"/>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Hier haben Sie verschiedene Möglichkeiten eine 3D-Effekt zu erzeugen.</a:t>
            </a:r>
          </a:p>
          <a:p>
            <a:endParaRPr lang="en-US" sz="1200" dirty="0">
              <a:solidFill>
                <a:srgbClr val="000000"/>
              </a:solidFill>
              <a:latin typeface="Myriad Pro" pitchFamily="34" charset="0"/>
              <a:ea typeface="Arial Unicode MS" pitchFamily="34" charset="-128"/>
              <a:cs typeface="Arial" charset="0"/>
            </a:endParaRPr>
          </a:p>
        </p:txBody>
      </p:sp>
      <p:sp>
        <p:nvSpPr>
          <p:cNvPr id="33" name="Freeform 2"/>
          <p:cNvSpPr>
            <a:spLocks noEditPoints="1"/>
          </p:cNvSpPr>
          <p:nvPr/>
        </p:nvSpPr>
        <p:spPr bwMode="auto">
          <a:xfrm>
            <a:off x="6770484" y="1201775"/>
            <a:ext cx="2121104" cy="2871945"/>
          </a:xfrm>
          <a:custGeom>
            <a:avLst/>
            <a:gdLst/>
            <a:ahLst/>
            <a:cxnLst>
              <a:cxn ang="0">
                <a:pos x="5408" y="2655"/>
              </a:cxn>
              <a:cxn ang="0">
                <a:pos x="5163" y="1297"/>
              </a:cxn>
              <a:cxn ang="0">
                <a:pos x="4681" y="978"/>
              </a:cxn>
              <a:cxn ang="0">
                <a:pos x="4071" y="843"/>
              </a:cxn>
              <a:cxn ang="0">
                <a:pos x="3984" y="742"/>
              </a:cxn>
              <a:cxn ang="0">
                <a:pos x="3441" y="1163"/>
              </a:cxn>
              <a:cxn ang="0">
                <a:pos x="3074" y="1061"/>
              </a:cxn>
              <a:cxn ang="0">
                <a:pos x="2846" y="666"/>
              </a:cxn>
              <a:cxn ang="0">
                <a:pos x="2404" y="220"/>
              </a:cxn>
              <a:cxn ang="0">
                <a:pos x="1947" y="484"/>
              </a:cxn>
              <a:cxn ang="0">
                <a:pos x="2019" y="775"/>
              </a:cxn>
              <a:cxn ang="0">
                <a:pos x="2519" y="1540"/>
              </a:cxn>
              <a:cxn ang="0">
                <a:pos x="1680" y="1507"/>
              </a:cxn>
              <a:cxn ang="0">
                <a:pos x="1156" y="1383"/>
              </a:cxn>
              <a:cxn ang="0">
                <a:pos x="935" y="2014"/>
              </a:cxn>
              <a:cxn ang="0">
                <a:pos x="560" y="2990"/>
              </a:cxn>
              <a:cxn ang="0">
                <a:pos x="150" y="3294"/>
              </a:cxn>
              <a:cxn ang="0">
                <a:pos x="22" y="4030"/>
              </a:cxn>
              <a:cxn ang="0">
                <a:pos x="167" y="4774"/>
              </a:cxn>
              <a:cxn ang="0">
                <a:pos x="333" y="5681"/>
              </a:cxn>
              <a:cxn ang="0">
                <a:pos x="873" y="5913"/>
              </a:cxn>
              <a:cxn ang="0">
                <a:pos x="1214" y="6365"/>
              </a:cxn>
              <a:cxn ang="0">
                <a:pos x="967" y="7513"/>
              </a:cxn>
              <a:cxn ang="0">
                <a:pos x="1607" y="7311"/>
              </a:cxn>
              <a:cxn ang="0">
                <a:pos x="2361" y="7576"/>
              </a:cxn>
              <a:cxn ang="0">
                <a:pos x="2903" y="7527"/>
              </a:cxn>
              <a:cxn ang="0">
                <a:pos x="3545" y="7674"/>
              </a:cxn>
              <a:cxn ang="0">
                <a:pos x="4281" y="7481"/>
              </a:cxn>
              <a:cxn ang="0">
                <a:pos x="4495" y="7072"/>
              </a:cxn>
              <a:cxn ang="0">
                <a:pos x="4997" y="6142"/>
              </a:cxn>
              <a:cxn ang="0">
                <a:pos x="4209" y="5261"/>
              </a:cxn>
              <a:cxn ang="0">
                <a:pos x="4191" y="4747"/>
              </a:cxn>
              <a:cxn ang="0">
                <a:pos x="5108" y="4273"/>
              </a:cxn>
              <a:cxn ang="0">
                <a:pos x="5616" y="4206"/>
              </a:cxn>
              <a:cxn ang="0">
                <a:pos x="1745" y="555"/>
              </a:cxn>
              <a:cxn ang="0">
                <a:pos x="1707" y="1093"/>
              </a:cxn>
              <a:cxn ang="0">
                <a:pos x="1765" y="1153"/>
              </a:cxn>
              <a:cxn ang="0">
                <a:pos x="3490" y="1099"/>
              </a:cxn>
              <a:cxn ang="0">
                <a:pos x="4541" y="637"/>
              </a:cxn>
              <a:cxn ang="0">
                <a:pos x="4666" y="709"/>
              </a:cxn>
              <a:cxn ang="0">
                <a:pos x="4740" y="607"/>
              </a:cxn>
              <a:cxn ang="0">
                <a:pos x="4619" y="444"/>
              </a:cxn>
              <a:cxn ang="0">
                <a:pos x="4559" y="576"/>
              </a:cxn>
              <a:cxn ang="0">
                <a:pos x="5033" y="1100"/>
              </a:cxn>
              <a:cxn ang="0">
                <a:pos x="4875" y="874"/>
              </a:cxn>
              <a:cxn ang="0">
                <a:pos x="4472" y="437"/>
              </a:cxn>
              <a:cxn ang="0">
                <a:pos x="3284" y="655"/>
              </a:cxn>
              <a:cxn ang="0">
                <a:pos x="1795" y="484"/>
              </a:cxn>
              <a:cxn ang="0">
                <a:pos x="838" y="1361"/>
              </a:cxn>
              <a:cxn ang="0">
                <a:pos x="949" y="1341"/>
              </a:cxn>
              <a:cxn ang="0">
                <a:pos x="1109" y="1307"/>
              </a:cxn>
              <a:cxn ang="0">
                <a:pos x="1863" y="1007"/>
              </a:cxn>
              <a:cxn ang="0">
                <a:pos x="1727" y="7427"/>
              </a:cxn>
              <a:cxn ang="0">
                <a:pos x="799" y="1387"/>
              </a:cxn>
              <a:cxn ang="0">
                <a:pos x="1678" y="340"/>
              </a:cxn>
              <a:cxn ang="0">
                <a:pos x="1643" y="252"/>
              </a:cxn>
              <a:cxn ang="0">
                <a:pos x="1685" y="123"/>
              </a:cxn>
              <a:cxn ang="0">
                <a:pos x="1731" y="1"/>
              </a:cxn>
              <a:cxn ang="0">
                <a:pos x="1477" y="1290"/>
              </a:cxn>
              <a:cxn ang="0">
                <a:pos x="1407" y="889"/>
              </a:cxn>
            </a:cxnLst>
            <a:rect l="0" t="0" r="r" b="b"/>
            <a:pathLst>
              <a:path w="5793" h="7842">
                <a:moveTo>
                  <a:pt x="5718" y="3620"/>
                </a:moveTo>
                <a:cubicBezTo>
                  <a:pt x="5718" y="3525"/>
                  <a:pt x="5640" y="3540"/>
                  <a:pt x="5571" y="3505"/>
                </a:cubicBezTo>
                <a:cubicBezTo>
                  <a:pt x="5521" y="3480"/>
                  <a:pt x="5594" y="3417"/>
                  <a:pt x="5573" y="3374"/>
                </a:cubicBezTo>
                <a:cubicBezTo>
                  <a:pt x="5532" y="3293"/>
                  <a:pt x="5426" y="3239"/>
                  <a:pt x="5490" y="3153"/>
                </a:cubicBezTo>
                <a:cubicBezTo>
                  <a:pt x="5525" y="3105"/>
                  <a:pt x="5583" y="2951"/>
                  <a:pt x="5504" y="2935"/>
                </a:cubicBezTo>
                <a:cubicBezTo>
                  <a:pt x="5481" y="2931"/>
                  <a:pt x="5536" y="2790"/>
                  <a:pt x="5488" y="2772"/>
                </a:cubicBezTo>
                <a:cubicBezTo>
                  <a:pt x="5423" y="2748"/>
                  <a:pt x="5423" y="2720"/>
                  <a:pt x="5408" y="2655"/>
                </a:cubicBezTo>
                <a:cubicBezTo>
                  <a:pt x="5392" y="2587"/>
                  <a:pt x="5453" y="2604"/>
                  <a:pt x="5453" y="2549"/>
                </a:cubicBezTo>
                <a:cubicBezTo>
                  <a:pt x="5453" y="2428"/>
                  <a:pt x="5267" y="2219"/>
                  <a:pt x="5120" y="2213"/>
                </a:cubicBezTo>
                <a:cubicBezTo>
                  <a:pt x="5136" y="2177"/>
                  <a:pt x="5127" y="2102"/>
                  <a:pt x="5148" y="2075"/>
                </a:cubicBezTo>
                <a:cubicBezTo>
                  <a:pt x="5183" y="2029"/>
                  <a:pt x="5250" y="2030"/>
                  <a:pt x="5260" y="1962"/>
                </a:cubicBezTo>
                <a:cubicBezTo>
                  <a:pt x="5275" y="1865"/>
                  <a:pt x="5307" y="1768"/>
                  <a:pt x="5258" y="1680"/>
                </a:cubicBezTo>
                <a:cubicBezTo>
                  <a:pt x="5203" y="1581"/>
                  <a:pt x="5245" y="1397"/>
                  <a:pt x="5137" y="1343"/>
                </a:cubicBezTo>
                <a:cubicBezTo>
                  <a:pt x="5126" y="1337"/>
                  <a:pt x="5180" y="1311"/>
                  <a:pt x="5163" y="1297"/>
                </a:cubicBezTo>
                <a:cubicBezTo>
                  <a:pt x="5141" y="1280"/>
                  <a:pt x="5061" y="1314"/>
                  <a:pt x="5017" y="1300"/>
                </a:cubicBezTo>
                <a:cubicBezTo>
                  <a:pt x="5008" y="1296"/>
                  <a:pt x="4951" y="1266"/>
                  <a:pt x="4943" y="1258"/>
                </a:cubicBezTo>
                <a:cubicBezTo>
                  <a:pt x="4914" y="1229"/>
                  <a:pt x="4869" y="1215"/>
                  <a:pt x="4907" y="1175"/>
                </a:cubicBezTo>
                <a:cubicBezTo>
                  <a:pt x="4967" y="1112"/>
                  <a:pt x="4911" y="1151"/>
                  <a:pt x="4904" y="1093"/>
                </a:cubicBezTo>
                <a:cubicBezTo>
                  <a:pt x="4896" y="1030"/>
                  <a:pt x="4835" y="1068"/>
                  <a:pt x="4860" y="982"/>
                </a:cubicBezTo>
                <a:cubicBezTo>
                  <a:pt x="4871" y="944"/>
                  <a:pt x="4817" y="947"/>
                  <a:pt x="4821" y="913"/>
                </a:cubicBezTo>
                <a:cubicBezTo>
                  <a:pt x="4827" y="873"/>
                  <a:pt x="4676" y="975"/>
                  <a:pt x="4681" y="978"/>
                </a:cubicBezTo>
                <a:cubicBezTo>
                  <a:pt x="4670" y="977"/>
                  <a:pt x="4635" y="902"/>
                  <a:pt x="4630" y="892"/>
                </a:cubicBezTo>
                <a:cubicBezTo>
                  <a:pt x="4630" y="892"/>
                  <a:pt x="4464" y="804"/>
                  <a:pt x="4457" y="783"/>
                </a:cubicBezTo>
                <a:cubicBezTo>
                  <a:pt x="4448" y="752"/>
                  <a:pt x="4395" y="653"/>
                  <a:pt x="4405" y="639"/>
                </a:cubicBezTo>
                <a:cubicBezTo>
                  <a:pt x="4390" y="660"/>
                  <a:pt x="4322" y="665"/>
                  <a:pt x="4326" y="701"/>
                </a:cubicBezTo>
                <a:cubicBezTo>
                  <a:pt x="4333" y="766"/>
                  <a:pt x="4254" y="697"/>
                  <a:pt x="4265" y="691"/>
                </a:cubicBezTo>
                <a:cubicBezTo>
                  <a:pt x="4234" y="707"/>
                  <a:pt x="4194" y="688"/>
                  <a:pt x="4163" y="733"/>
                </a:cubicBezTo>
                <a:cubicBezTo>
                  <a:pt x="4097" y="705"/>
                  <a:pt x="4068" y="843"/>
                  <a:pt x="4071" y="843"/>
                </a:cubicBezTo>
                <a:cubicBezTo>
                  <a:pt x="3975" y="843"/>
                  <a:pt x="4072" y="768"/>
                  <a:pt x="4049" y="757"/>
                </a:cubicBezTo>
                <a:cubicBezTo>
                  <a:pt x="4028" y="746"/>
                  <a:pt x="4129" y="703"/>
                  <a:pt x="4163" y="703"/>
                </a:cubicBezTo>
                <a:cubicBezTo>
                  <a:pt x="4144" y="703"/>
                  <a:pt x="4217" y="673"/>
                  <a:pt x="4228" y="672"/>
                </a:cubicBezTo>
                <a:cubicBezTo>
                  <a:pt x="4264" y="670"/>
                  <a:pt x="4348" y="685"/>
                  <a:pt x="4365" y="639"/>
                </a:cubicBezTo>
                <a:cubicBezTo>
                  <a:pt x="4357" y="661"/>
                  <a:pt x="4271" y="656"/>
                  <a:pt x="4202" y="637"/>
                </a:cubicBezTo>
                <a:cubicBezTo>
                  <a:pt x="4159" y="626"/>
                  <a:pt x="4097" y="575"/>
                  <a:pt x="4088" y="662"/>
                </a:cubicBezTo>
                <a:cubicBezTo>
                  <a:pt x="4084" y="694"/>
                  <a:pt x="4008" y="708"/>
                  <a:pt x="3984" y="742"/>
                </a:cubicBezTo>
                <a:cubicBezTo>
                  <a:pt x="3925" y="824"/>
                  <a:pt x="3894" y="922"/>
                  <a:pt x="3849" y="921"/>
                </a:cubicBezTo>
                <a:cubicBezTo>
                  <a:pt x="3799" y="920"/>
                  <a:pt x="3764" y="958"/>
                  <a:pt x="3717" y="958"/>
                </a:cubicBezTo>
                <a:cubicBezTo>
                  <a:pt x="3674" y="958"/>
                  <a:pt x="3661" y="929"/>
                  <a:pt x="3623" y="942"/>
                </a:cubicBezTo>
                <a:cubicBezTo>
                  <a:pt x="3605" y="948"/>
                  <a:pt x="3496" y="1035"/>
                  <a:pt x="3513" y="1049"/>
                </a:cubicBezTo>
                <a:cubicBezTo>
                  <a:pt x="3539" y="1071"/>
                  <a:pt x="3560" y="1011"/>
                  <a:pt x="3582" y="1011"/>
                </a:cubicBezTo>
                <a:cubicBezTo>
                  <a:pt x="3568" y="1011"/>
                  <a:pt x="3513" y="1114"/>
                  <a:pt x="3511" y="1131"/>
                </a:cubicBezTo>
                <a:cubicBezTo>
                  <a:pt x="3499" y="1221"/>
                  <a:pt x="3487" y="1163"/>
                  <a:pt x="3441" y="1163"/>
                </a:cubicBezTo>
                <a:cubicBezTo>
                  <a:pt x="3419" y="1163"/>
                  <a:pt x="3396" y="1165"/>
                  <a:pt x="3370" y="1165"/>
                </a:cubicBezTo>
                <a:cubicBezTo>
                  <a:pt x="3398" y="1165"/>
                  <a:pt x="3349" y="1101"/>
                  <a:pt x="3327" y="1093"/>
                </a:cubicBezTo>
                <a:cubicBezTo>
                  <a:pt x="3307" y="1086"/>
                  <a:pt x="3236" y="1087"/>
                  <a:pt x="3220" y="1099"/>
                </a:cubicBezTo>
                <a:cubicBezTo>
                  <a:pt x="3155" y="1148"/>
                  <a:pt x="3120" y="1143"/>
                  <a:pt x="3214" y="1183"/>
                </a:cubicBezTo>
                <a:cubicBezTo>
                  <a:pt x="3142" y="1152"/>
                  <a:pt x="3053" y="1300"/>
                  <a:pt x="3008" y="1298"/>
                </a:cubicBezTo>
                <a:cubicBezTo>
                  <a:pt x="2966" y="1296"/>
                  <a:pt x="3129" y="1167"/>
                  <a:pt x="3128" y="1175"/>
                </a:cubicBezTo>
                <a:cubicBezTo>
                  <a:pt x="3135" y="1104"/>
                  <a:pt x="3112" y="1113"/>
                  <a:pt x="3074" y="1061"/>
                </a:cubicBezTo>
                <a:cubicBezTo>
                  <a:pt x="3071" y="1058"/>
                  <a:pt x="3212" y="942"/>
                  <a:pt x="3230" y="935"/>
                </a:cubicBezTo>
                <a:cubicBezTo>
                  <a:pt x="3300" y="909"/>
                  <a:pt x="3267" y="881"/>
                  <a:pt x="3267" y="827"/>
                </a:cubicBezTo>
                <a:cubicBezTo>
                  <a:pt x="3267" y="715"/>
                  <a:pt x="3287" y="788"/>
                  <a:pt x="3301" y="719"/>
                </a:cubicBezTo>
                <a:cubicBezTo>
                  <a:pt x="3309" y="679"/>
                  <a:pt x="3226" y="736"/>
                  <a:pt x="3221" y="737"/>
                </a:cubicBezTo>
                <a:cubicBezTo>
                  <a:pt x="3222" y="737"/>
                  <a:pt x="3181" y="704"/>
                  <a:pt x="3124" y="756"/>
                </a:cubicBezTo>
                <a:cubicBezTo>
                  <a:pt x="3057" y="816"/>
                  <a:pt x="3048" y="765"/>
                  <a:pt x="2995" y="732"/>
                </a:cubicBezTo>
                <a:cubicBezTo>
                  <a:pt x="2953" y="705"/>
                  <a:pt x="2894" y="681"/>
                  <a:pt x="2846" y="666"/>
                </a:cubicBezTo>
                <a:cubicBezTo>
                  <a:pt x="2756" y="638"/>
                  <a:pt x="2777" y="760"/>
                  <a:pt x="2726" y="767"/>
                </a:cubicBezTo>
                <a:cubicBezTo>
                  <a:pt x="2721" y="768"/>
                  <a:pt x="2750" y="644"/>
                  <a:pt x="2749" y="643"/>
                </a:cubicBezTo>
                <a:cubicBezTo>
                  <a:pt x="2743" y="578"/>
                  <a:pt x="2606" y="644"/>
                  <a:pt x="2563" y="633"/>
                </a:cubicBezTo>
                <a:cubicBezTo>
                  <a:pt x="2612" y="643"/>
                  <a:pt x="2703" y="461"/>
                  <a:pt x="2630" y="408"/>
                </a:cubicBezTo>
                <a:cubicBezTo>
                  <a:pt x="2674" y="440"/>
                  <a:pt x="2634" y="337"/>
                  <a:pt x="2634" y="344"/>
                </a:cubicBezTo>
                <a:cubicBezTo>
                  <a:pt x="2634" y="268"/>
                  <a:pt x="2580" y="329"/>
                  <a:pt x="2565" y="330"/>
                </a:cubicBezTo>
                <a:cubicBezTo>
                  <a:pt x="2513" y="335"/>
                  <a:pt x="2432" y="234"/>
                  <a:pt x="2404" y="220"/>
                </a:cubicBezTo>
                <a:cubicBezTo>
                  <a:pt x="2396" y="216"/>
                  <a:pt x="2327" y="270"/>
                  <a:pt x="2315" y="270"/>
                </a:cubicBezTo>
                <a:cubicBezTo>
                  <a:pt x="2299" y="200"/>
                  <a:pt x="2287" y="252"/>
                  <a:pt x="2253" y="268"/>
                </a:cubicBezTo>
                <a:cubicBezTo>
                  <a:pt x="2191" y="300"/>
                  <a:pt x="2213" y="217"/>
                  <a:pt x="2179" y="211"/>
                </a:cubicBezTo>
                <a:cubicBezTo>
                  <a:pt x="2077" y="193"/>
                  <a:pt x="2017" y="163"/>
                  <a:pt x="1919" y="172"/>
                </a:cubicBezTo>
                <a:cubicBezTo>
                  <a:pt x="1875" y="175"/>
                  <a:pt x="1864" y="128"/>
                  <a:pt x="1839" y="195"/>
                </a:cubicBezTo>
                <a:cubicBezTo>
                  <a:pt x="1825" y="231"/>
                  <a:pt x="1899" y="323"/>
                  <a:pt x="1886" y="336"/>
                </a:cubicBezTo>
                <a:cubicBezTo>
                  <a:pt x="1892" y="330"/>
                  <a:pt x="1944" y="480"/>
                  <a:pt x="1947" y="484"/>
                </a:cubicBezTo>
                <a:cubicBezTo>
                  <a:pt x="1951" y="489"/>
                  <a:pt x="2042" y="515"/>
                  <a:pt x="2023" y="553"/>
                </a:cubicBezTo>
                <a:cubicBezTo>
                  <a:pt x="2011" y="577"/>
                  <a:pt x="1934" y="542"/>
                  <a:pt x="1940" y="603"/>
                </a:cubicBezTo>
                <a:cubicBezTo>
                  <a:pt x="1947" y="667"/>
                  <a:pt x="2023" y="591"/>
                  <a:pt x="2038" y="578"/>
                </a:cubicBezTo>
                <a:cubicBezTo>
                  <a:pt x="2036" y="580"/>
                  <a:pt x="2021" y="655"/>
                  <a:pt x="1981" y="675"/>
                </a:cubicBezTo>
                <a:cubicBezTo>
                  <a:pt x="1981" y="675"/>
                  <a:pt x="1804" y="663"/>
                  <a:pt x="1832" y="700"/>
                </a:cubicBezTo>
                <a:cubicBezTo>
                  <a:pt x="1848" y="701"/>
                  <a:pt x="1855" y="708"/>
                  <a:pt x="1853" y="720"/>
                </a:cubicBezTo>
                <a:cubicBezTo>
                  <a:pt x="1663" y="801"/>
                  <a:pt x="2009" y="838"/>
                  <a:pt x="2019" y="775"/>
                </a:cubicBezTo>
                <a:cubicBezTo>
                  <a:pt x="2008" y="849"/>
                  <a:pt x="1897" y="828"/>
                  <a:pt x="1942" y="933"/>
                </a:cubicBezTo>
                <a:cubicBezTo>
                  <a:pt x="1949" y="948"/>
                  <a:pt x="1993" y="964"/>
                  <a:pt x="2012" y="990"/>
                </a:cubicBezTo>
                <a:cubicBezTo>
                  <a:pt x="2068" y="1067"/>
                  <a:pt x="1976" y="1016"/>
                  <a:pt x="1947" y="1054"/>
                </a:cubicBezTo>
                <a:cubicBezTo>
                  <a:pt x="1937" y="1068"/>
                  <a:pt x="1973" y="1102"/>
                  <a:pt x="1977" y="1120"/>
                </a:cubicBezTo>
                <a:cubicBezTo>
                  <a:pt x="2002" y="1242"/>
                  <a:pt x="2093" y="1166"/>
                  <a:pt x="2173" y="1184"/>
                </a:cubicBezTo>
                <a:cubicBezTo>
                  <a:pt x="2247" y="1201"/>
                  <a:pt x="2273" y="1253"/>
                  <a:pt x="2298" y="1318"/>
                </a:cubicBezTo>
                <a:cubicBezTo>
                  <a:pt x="2323" y="1383"/>
                  <a:pt x="2426" y="1555"/>
                  <a:pt x="2519" y="1540"/>
                </a:cubicBezTo>
                <a:cubicBezTo>
                  <a:pt x="2376" y="1564"/>
                  <a:pt x="2295" y="1414"/>
                  <a:pt x="2257" y="1301"/>
                </a:cubicBezTo>
                <a:cubicBezTo>
                  <a:pt x="2203" y="1143"/>
                  <a:pt x="2045" y="1300"/>
                  <a:pt x="1954" y="1255"/>
                </a:cubicBezTo>
                <a:cubicBezTo>
                  <a:pt x="1804" y="1180"/>
                  <a:pt x="1830" y="1175"/>
                  <a:pt x="1749" y="1326"/>
                </a:cubicBezTo>
                <a:cubicBezTo>
                  <a:pt x="1703" y="1412"/>
                  <a:pt x="1815" y="1491"/>
                  <a:pt x="1784" y="1550"/>
                </a:cubicBezTo>
                <a:cubicBezTo>
                  <a:pt x="1780" y="1558"/>
                  <a:pt x="1726" y="1668"/>
                  <a:pt x="1735" y="1666"/>
                </a:cubicBezTo>
                <a:cubicBezTo>
                  <a:pt x="1705" y="1674"/>
                  <a:pt x="1731" y="1575"/>
                  <a:pt x="1731" y="1576"/>
                </a:cubicBezTo>
                <a:cubicBezTo>
                  <a:pt x="1757" y="1508"/>
                  <a:pt x="1738" y="1523"/>
                  <a:pt x="1680" y="1507"/>
                </a:cubicBezTo>
                <a:cubicBezTo>
                  <a:pt x="1644" y="1498"/>
                  <a:pt x="1628" y="1403"/>
                  <a:pt x="1588" y="1489"/>
                </a:cubicBezTo>
                <a:cubicBezTo>
                  <a:pt x="1555" y="1561"/>
                  <a:pt x="1587" y="1547"/>
                  <a:pt x="1625" y="1547"/>
                </a:cubicBezTo>
                <a:cubicBezTo>
                  <a:pt x="1642" y="1547"/>
                  <a:pt x="1608" y="1642"/>
                  <a:pt x="1606" y="1645"/>
                </a:cubicBezTo>
                <a:cubicBezTo>
                  <a:pt x="1574" y="1709"/>
                  <a:pt x="1544" y="1629"/>
                  <a:pt x="1519" y="1615"/>
                </a:cubicBezTo>
                <a:cubicBezTo>
                  <a:pt x="1501" y="1605"/>
                  <a:pt x="1431" y="1592"/>
                  <a:pt x="1504" y="1555"/>
                </a:cubicBezTo>
                <a:cubicBezTo>
                  <a:pt x="1593" y="1511"/>
                  <a:pt x="1450" y="1348"/>
                  <a:pt x="1393" y="1342"/>
                </a:cubicBezTo>
                <a:cubicBezTo>
                  <a:pt x="1319" y="1335"/>
                  <a:pt x="1231" y="1383"/>
                  <a:pt x="1156" y="1383"/>
                </a:cubicBezTo>
                <a:cubicBezTo>
                  <a:pt x="1116" y="1383"/>
                  <a:pt x="1074" y="1360"/>
                  <a:pt x="1032" y="1360"/>
                </a:cubicBezTo>
                <a:cubicBezTo>
                  <a:pt x="967" y="1360"/>
                  <a:pt x="876" y="1455"/>
                  <a:pt x="915" y="1514"/>
                </a:cubicBezTo>
                <a:cubicBezTo>
                  <a:pt x="893" y="1517"/>
                  <a:pt x="903" y="1520"/>
                  <a:pt x="896" y="1537"/>
                </a:cubicBezTo>
                <a:cubicBezTo>
                  <a:pt x="868" y="1511"/>
                  <a:pt x="875" y="1530"/>
                  <a:pt x="846" y="1517"/>
                </a:cubicBezTo>
                <a:cubicBezTo>
                  <a:pt x="858" y="1574"/>
                  <a:pt x="848" y="1642"/>
                  <a:pt x="830" y="1701"/>
                </a:cubicBezTo>
                <a:cubicBezTo>
                  <a:pt x="996" y="1715"/>
                  <a:pt x="936" y="1736"/>
                  <a:pt x="954" y="1843"/>
                </a:cubicBezTo>
                <a:cubicBezTo>
                  <a:pt x="960" y="1882"/>
                  <a:pt x="930" y="1961"/>
                  <a:pt x="935" y="2014"/>
                </a:cubicBezTo>
                <a:cubicBezTo>
                  <a:pt x="940" y="2082"/>
                  <a:pt x="895" y="2137"/>
                  <a:pt x="857" y="2190"/>
                </a:cubicBezTo>
                <a:cubicBezTo>
                  <a:pt x="806" y="2260"/>
                  <a:pt x="862" y="2368"/>
                  <a:pt x="786" y="2404"/>
                </a:cubicBezTo>
                <a:cubicBezTo>
                  <a:pt x="744" y="2423"/>
                  <a:pt x="555" y="2320"/>
                  <a:pt x="639" y="2459"/>
                </a:cubicBezTo>
                <a:cubicBezTo>
                  <a:pt x="509" y="2509"/>
                  <a:pt x="711" y="2657"/>
                  <a:pt x="772" y="2570"/>
                </a:cubicBezTo>
                <a:cubicBezTo>
                  <a:pt x="840" y="2646"/>
                  <a:pt x="754" y="2741"/>
                  <a:pt x="811" y="2795"/>
                </a:cubicBezTo>
                <a:cubicBezTo>
                  <a:pt x="776" y="2805"/>
                  <a:pt x="691" y="2908"/>
                  <a:pt x="680" y="2908"/>
                </a:cubicBezTo>
                <a:cubicBezTo>
                  <a:pt x="615" y="2908"/>
                  <a:pt x="587" y="2941"/>
                  <a:pt x="560" y="2990"/>
                </a:cubicBezTo>
                <a:cubicBezTo>
                  <a:pt x="690" y="2994"/>
                  <a:pt x="619" y="3136"/>
                  <a:pt x="586" y="3114"/>
                </a:cubicBezTo>
                <a:cubicBezTo>
                  <a:pt x="526" y="3074"/>
                  <a:pt x="457" y="3173"/>
                  <a:pt x="383" y="3144"/>
                </a:cubicBezTo>
                <a:cubicBezTo>
                  <a:pt x="386" y="3157"/>
                  <a:pt x="388" y="3169"/>
                  <a:pt x="390" y="3181"/>
                </a:cubicBezTo>
                <a:cubicBezTo>
                  <a:pt x="340" y="3142"/>
                  <a:pt x="257" y="3111"/>
                  <a:pt x="204" y="3119"/>
                </a:cubicBezTo>
                <a:cubicBezTo>
                  <a:pt x="218" y="3137"/>
                  <a:pt x="219" y="3158"/>
                  <a:pt x="229" y="3174"/>
                </a:cubicBezTo>
                <a:cubicBezTo>
                  <a:pt x="184" y="3152"/>
                  <a:pt x="142" y="3163"/>
                  <a:pt x="91" y="3167"/>
                </a:cubicBezTo>
                <a:cubicBezTo>
                  <a:pt x="92" y="3168"/>
                  <a:pt x="149" y="3305"/>
                  <a:pt x="150" y="3294"/>
                </a:cubicBezTo>
                <a:cubicBezTo>
                  <a:pt x="146" y="3338"/>
                  <a:pt x="173" y="3402"/>
                  <a:pt x="208" y="3451"/>
                </a:cubicBezTo>
                <a:cubicBezTo>
                  <a:pt x="245" y="3504"/>
                  <a:pt x="250" y="3573"/>
                  <a:pt x="248" y="3635"/>
                </a:cubicBezTo>
                <a:cubicBezTo>
                  <a:pt x="244" y="3717"/>
                  <a:pt x="117" y="3731"/>
                  <a:pt x="144" y="3841"/>
                </a:cubicBezTo>
                <a:cubicBezTo>
                  <a:pt x="195" y="3830"/>
                  <a:pt x="195" y="3830"/>
                  <a:pt x="195" y="3830"/>
                </a:cubicBezTo>
                <a:cubicBezTo>
                  <a:pt x="179" y="3905"/>
                  <a:pt x="87" y="3902"/>
                  <a:pt x="66" y="3977"/>
                </a:cubicBezTo>
                <a:cubicBezTo>
                  <a:pt x="58" y="3961"/>
                  <a:pt x="49" y="3946"/>
                  <a:pt x="41" y="3931"/>
                </a:cubicBezTo>
                <a:cubicBezTo>
                  <a:pt x="0" y="3949"/>
                  <a:pt x="3" y="3989"/>
                  <a:pt x="22" y="4030"/>
                </a:cubicBezTo>
                <a:cubicBezTo>
                  <a:pt x="117" y="3990"/>
                  <a:pt x="112" y="4095"/>
                  <a:pt x="133" y="4163"/>
                </a:cubicBezTo>
                <a:cubicBezTo>
                  <a:pt x="101" y="4162"/>
                  <a:pt x="82" y="4175"/>
                  <a:pt x="55" y="4204"/>
                </a:cubicBezTo>
                <a:cubicBezTo>
                  <a:pt x="71" y="4270"/>
                  <a:pt x="163" y="4389"/>
                  <a:pt x="232" y="4395"/>
                </a:cubicBezTo>
                <a:cubicBezTo>
                  <a:pt x="214" y="4412"/>
                  <a:pt x="165" y="4445"/>
                  <a:pt x="165" y="4469"/>
                </a:cubicBezTo>
                <a:cubicBezTo>
                  <a:pt x="168" y="4553"/>
                  <a:pt x="229" y="4493"/>
                  <a:pt x="257" y="4526"/>
                </a:cubicBezTo>
                <a:cubicBezTo>
                  <a:pt x="276" y="4549"/>
                  <a:pt x="306" y="4681"/>
                  <a:pt x="294" y="4701"/>
                </a:cubicBezTo>
                <a:cubicBezTo>
                  <a:pt x="279" y="4725"/>
                  <a:pt x="195" y="4747"/>
                  <a:pt x="167" y="4774"/>
                </a:cubicBezTo>
                <a:cubicBezTo>
                  <a:pt x="127" y="4812"/>
                  <a:pt x="114" y="4889"/>
                  <a:pt x="114" y="4943"/>
                </a:cubicBezTo>
                <a:cubicBezTo>
                  <a:pt x="114" y="5025"/>
                  <a:pt x="174" y="5189"/>
                  <a:pt x="259" y="5182"/>
                </a:cubicBezTo>
                <a:cubicBezTo>
                  <a:pt x="286" y="5244"/>
                  <a:pt x="365" y="5191"/>
                  <a:pt x="335" y="5310"/>
                </a:cubicBezTo>
                <a:cubicBezTo>
                  <a:pt x="332" y="5324"/>
                  <a:pt x="262" y="5400"/>
                  <a:pt x="244" y="5416"/>
                </a:cubicBezTo>
                <a:cubicBezTo>
                  <a:pt x="218" y="5441"/>
                  <a:pt x="236" y="5469"/>
                  <a:pt x="229" y="5504"/>
                </a:cubicBezTo>
                <a:cubicBezTo>
                  <a:pt x="212" y="5591"/>
                  <a:pt x="283" y="5533"/>
                  <a:pt x="337" y="5598"/>
                </a:cubicBezTo>
                <a:cubicBezTo>
                  <a:pt x="359" y="5624"/>
                  <a:pt x="357" y="5664"/>
                  <a:pt x="333" y="5681"/>
                </a:cubicBezTo>
                <a:cubicBezTo>
                  <a:pt x="349" y="5670"/>
                  <a:pt x="443" y="5822"/>
                  <a:pt x="439" y="5816"/>
                </a:cubicBezTo>
                <a:cubicBezTo>
                  <a:pt x="462" y="5845"/>
                  <a:pt x="420" y="5867"/>
                  <a:pt x="475" y="5876"/>
                </a:cubicBezTo>
                <a:cubicBezTo>
                  <a:pt x="523" y="5884"/>
                  <a:pt x="538" y="5882"/>
                  <a:pt x="526" y="5830"/>
                </a:cubicBezTo>
                <a:cubicBezTo>
                  <a:pt x="556" y="5832"/>
                  <a:pt x="638" y="5839"/>
                  <a:pt x="639" y="5875"/>
                </a:cubicBezTo>
                <a:cubicBezTo>
                  <a:pt x="643" y="5981"/>
                  <a:pt x="667" y="5897"/>
                  <a:pt x="692" y="5897"/>
                </a:cubicBezTo>
                <a:cubicBezTo>
                  <a:pt x="705" y="5897"/>
                  <a:pt x="774" y="5938"/>
                  <a:pt x="806" y="5941"/>
                </a:cubicBezTo>
                <a:cubicBezTo>
                  <a:pt x="835" y="5943"/>
                  <a:pt x="836" y="5918"/>
                  <a:pt x="873" y="5913"/>
                </a:cubicBezTo>
                <a:cubicBezTo>
                  <a:pt x="881" y="5912"/>
                  <a:pt x="849" y="5889"/>
                  <a:pt x="888" y="5886"/>
                </a:cubicBezTo>
                <a:cubicBezTo>
                  <a:pt x="912" y="5885"/>
                  <a:pt x="922" y="5901"/>
                  <a:pt x="944" y="5901"/>
                </a:cubicBezTo>
                <a:cubicBezTo>
                  <a:pt x="918" y="5901"/>
                  <a:pt x="976" y="5973"/>
                  <a:pt x="990" y="5979"/>
                </a:cubicBezTo>
                <a:cubicBezTo>
                  <a:pt x="1027" y="5993"/>
                  <a:pt x="1167" y="6066"/>
                  <a:pt x="1190" y="6041"/>
                </a:cubicBezTo>
                <a:cubicBezTo>
                  <a:pt x="1232" y="5992"/>
                  <a:pt x="1369" y="6107"/>
                  <a:pt x="1420" y="6115"/>
                </a:cubicBezTo>
                <a:cubicBezTo>
                  <a:pt x="1353" y="6156"/>
                  <a:pt x="1368" y="6227"/>
                  <a:pt x="1326" y="6276"/>
                </a:cubicBezTo>
                <a:cubicBezTo>
                  <a:pt x="1295" y="6312"/>
                  <a:pt x="1229" y="6294"/>
                  <a:pt x="1214" y="6365"/>
                </a:cubicBezTo>
                <a:cubicBezTo>
                  <a:pt x="1215" y="6361"/>
                  <a:pt x="1132" y="6463"/>
                  <a:pt x="1130" y="6465"/>
                </a:cubicBezTo>
                <a:cubicBezTo>
                  <a:pt x="1141" y="6458"/>
                  <a:pt x="1063" y="6689"/>
                  <a:pt x="1064" y="6692"/>
                </a:cubicBezTo>
                <a:cubicBezTo>
                  <a:pt x="1079" y="6736"/>
                  <a:pt x="1038" y="6800"/>
                  <a:pt x="1007" y="6849"/>
                </a:cubicBezTo>
                <a:cubicBezTo>
                  <a:pt x="972" y="6906"/>
                  <a:pt x="980" y="7081"/>
                  <a:pt x="967" y="7107"/>
                </a:cubicBezTo>
                <a:cubicBezTo>
                  <a:pt x="912" y="7218"/>
                  <a:pt x="877" y="7381"/>
                  <a:pt x="935" y="7483"/>
                </a:cubicBezTo>
                <a:cubicBezTo>
                  <a:pt x="960" y="7481"/>
                  <a:pt x="998" y="7497"/>
                  <a:pt x="1004" y="7497"/>
                </a:cubicBezTo>
                <a:cubicBezTo>
                  <a:pt x="992" y="7502"/>
                  <a:pt x="980" y="7508"/>
                  <a:pt x="967" y="7513"/>
                </a:cubicBezTo>
                <a:cubicBezTo>
                  <a:pt x="1029" y="7562"/>
                  <a:pt x="1085" y="7465"/>
                  <a:pt x="1247" y="7536"/>
                </a:cubicBezTo>
                <a:cubicBezTo>
                  <a:pt x="1297" y="7557"/>
                  <a:pt x="1333" y="7471"/>
                  <a:pt x="1414" y="7483"/>
                </a:cubicBezTo>
                <a:cubicBezTo>
                  <a:pt x="1458" y="7490"/>
                  <a:pt x="1485" y="7544"/>
                  <a:pt x="1558" y="7511"/>
                </a:cubicBezTo>
                <a:cubicBezTo>
                  <a:pt x="1554" y="7468"/>
                  <a:pt x="1586" y="7452"/>
                  <a:pt x="1611" y="7497"/>
                </a:cubicBezTo>
                <a:cubicBezTo>
                  <a:pt x="1715" y="7421"/>
                  <a:pt x="1576" y="7450"/>
                  <a:pt x="1561" y="7439"/>
                </a:cubicBezTo>
                <a:cubicBezTo>
                  <a:pt x="1529" y="7418"/>
                  <a:pt x="1507" y="7452"/>
                  <a:pt x="1503" y="7396"/>
                </a:cubicBezTo>
                <a:cubicBezTo>
                  <a:pt x="1501" y="7361"/>
                  <a:pt x="1580" y="7315"/>
                  <a:pt x="1607" y="7311"/>
                </a:cubicBezTo>
                <a:cubicBezTo>
                  <a:pt x="1604" y="7302"/>
                  <a:pt x="1635" y="7285"/>
                  <a:pt x="1653" y="7325"/>
                </a:cubicBezTo>
                <a:cubicBezTo>
                  <a:pt x="1705" y="7294"/>
                  <a:pt x="1726" y="7371"/>
                  <a:pt x="1758" y="7412"/>
                </a:cubicBezTo>
                <a:cubicBezTo>
                  <a:pt x="1765" y="7407"/>
                  <a:pt x="1767" y="7372"/>
                  <a:pt x="1763" y="7357"/>
                </a:cubicBezTo>
                <a:cubicBezTo>
                  <a:pt x="1791" y="7387"/>
                  <a:pt x="1804" y="7437"/>
                  <a:pt x="1841" y="7451"/>
                </a:cubicBezTo>
                <a:cubicBezTo>
                  <a:pt x="1857" y="7457"/>
                  <a:pt x="1919" y="7408"/>
                  <a:pt x="1964" y="7424"/>
                </a:cubicBezTo>
                <a:cubicBezTo>
                  <a:pt x="2015" y="7443"/>
                  <a:pt x="2069" y="7448"/>
                  <a:pt x="2119" y="7466"/>
                </a:cubicBezTo>
                <a:cubicBezTo>
                  <a:pt x="2231" y="7506"/>
                  <a:pt x="2234" y="7570"/>
                  <a:pt x="2361" y="7576"/>
                </a:cubicBezTo>
                <a:cubicBezTo>
                  <a:pt x="2414" y="7579"/>
                  <a:pt x="2395" y="7504"/>
                  <a:pt x="2457" y="7525"/>
                </a:cubicBezTo>
                <a:cubicBezTo>
                  <a:pt x="2466" y="7527"/>
                  <a:pt x="2534" y="7591"/>
                  <a:pt x="2575" y="7628"/>
                </a:cubicBezTo>
                <a:cubicBezTo>
                  <a:pt x="2634" y="7682"/>
                  <a:pt x="2615" y="7675"/>
                  <a:pt x="2641" y="7761"/>
                </a:cubicBezTo>
                <a:cubicBezTo>
                  <a:pt x="2655" y="7744"/>
                  <a:pt x="2695" y="7718"/>
                  <a:pt x="2718" y="7726"/>
                </a:cubicBezTo>
                <a:cubicBezTo>
                  <a:pt x="2756" y="7738"/>
                  <a:pt x="2696" y="7821"/>
                  <a:pt x="2690" y="7842"/>
                </a:cubicBezTo>
                <a:cubicBezTo>
                  <a:pt x="2759" y="7830"/>
                  <a:pt x="2898" y="7752"/>
                  <a:pt x="2902" y="7672"/>
                </a:cubicBezTo>
                <a:cubicBezTo>
                  <a:pt x="2904" y="7617"/>
                  <a:pt x="2837" y="7559"/>
                  <a:pt x="2903" y="7527"/>
                </a:cubicBezTo>
                <a:cubicBezTo>
                  <a:pt x="2888" y="7534"/>
                  <a:pt x="2920" y="7627"/>
                  <a:pt x="2963" y="7560"/>
                </a:cubicBezTo>
                <a:cubicBezTo>
                  <a:pt x="2982" y="7530"/>
                  <a:pt x="3178" y="7586"/>
                  <a:pt x="3161" y="7575"/>
                </a:cubicBezTo>
                <a:cubicBezTo>
                  <a:pt x="3198" y="7599"/>
                  <a:pt x="3178" y="7611"/>
                  <a:pt x="3161" y="7637"/>
                </a:cubicBezTo>
                <a:cubicBezTo>
                  <a:pt x="3207" y="7640"/>
                  <a:pt x="3234" y="7677"/>
                  <a:pt x="3225" y="7722"/>
                </a:cubicBezTo>
                <a:cubicBezTo>
                  <a:pt x="3296" y="7729"/>
                  <a:pt x="3355" y="7716"/>
                  <a:pt x="3418" y="7683"/>
                </a:cubicBezTo>
                <a:cubicBezTo>
                  <a:pt x="3395" y="7727"/>
                  <a:pt x="3395" y="7727"/>
                  <a:pt x="3395" y="7727"/>
                </a:cubicBezTo>
                <a:cubicBezTo>
                  <a:pt x="3453" y="7712"/>
                  <a:pt x="3477" y="7654"/>
                  <a:pt x="3545" y="7674"/>
                </a:cubicBezTo>
                <a:cubicBezTo>
                  <a:pt x="3536" y="7663"/>
                  <a:pt x="3527" y="7651"/>
                  <a:pt x="3517" y="7640"/>
                </a:cubicBezTo>
                <a:cubicBezTo>
                  <a:pt x="3544" y="7610"/>
                  <a:pt x="3638" y="7544"/>
                  <a:pt x="3667" y="7534"/>
                </a:cubicBezTo>
                <a:cubicBezTo>
                  <a:pt x="3729" y="7512"/>
                  <a:pt x="3794" y="7521"/>
                  <a:pt x="3855" y="7506"/>
                </a:cubicBezTo>
                <a:cubicBezTo>
                  <a:pt x="3888" y="7497"/>
                  <a:pt x="4049" y="7519"/>
                  <a:pt x="4067" y="7499"/>
                </a:cubicBezTo>
                <a:cubicBezTo>
                  <a:pt x="4111" y="7452"/>
                  <a:pt x="4003" y="7411"/>
                  <a:pt x="4092" y="7361"/>
                </a:cubicBezTo>
                <a:cubicBezTo>
                  <a:pt x="4088" y="7382"/>
                  <a:pt x="4098" y="7407"/>
                  <a:pt x="4094" y="7428"/>
                </a:cubicBezTo>
                <a:cubicBezTo>
                  <a:pt x="4179" y="7402"/>
                  <a:pt x="4229" y="7443"/>
                  <a:pt x="4281" y="7481"/>
                </a:cubicBezTo>
                <a:cubicBezTo>
                  <a:pt x="4347" y="7530"/>
                  <a:pt x="4367" y="7368"/>
                  <a:pt x="4474" y="7426"/>
                </a:cubicBezTo>
                <a:cubicBezTo>
                  <a:pt x="4473" y="7437"/>
                  <a:pt x="4455" y="7528"/>
                  <a:pt x="4469" y="7548"/>
                </a:cubicBezTo>
                <a:cubicBezTo>
                  <a:pt x="4489" y="7574"/>
                  <a:pt x="4616" y="7631"/>
                  <a:pt x="4637" y="7607"/>
                </a:cubicBezTo>
                <a:cubicBezTo>
                  <a:pt x="4653" y="7589"/>
                  <a:pt x="4675" y="7457"/>
                  <a:pt x="4669" y="7442"/>
                </a:cubicBezTo>
                <a:cubicBezTo>
                  <a:pt x="4647" y="7386"/>
                  <a:pt x="4629" y="7363"/>
                  <a:pt x="4554" y="7384"/>
                </a:cubicBezTo>
                <a:cubicBezTo>
                  <a:pt x="4570" y="7292"/>
                  <a:pt x="4641" y="7266"/>
                  <a:pt x="4579" y="7178"/>
                </a:cubicBezTo>
                <a:cubicBezTo>
                  <a:pt x="4544" y="7129"/>
                  <a:pt x="4519" y="7130"/>
                  <a:pt x="4495" y="7072"/>
                </a:cubicBezTo>
                <a:cubicBezTo>
                  <a:pt x="4484" y="7047"/>
                  <a:pt x="4377" y="6992"/>
                  <a:pt x="4446" y="6970"/>
                </a:cubicBezTo>
                <a:cubicBezTo>
                  <a:pt x="4512" y="6949"/>
                  <a:pt x="4587" y="6835"/>
                  <a:pt x="4618" y="6823"/>
                </a:cubicBezTo>
                <a:cubicBezTo>
                  <a:pt x="4667" y="6805"/>
                  <a:pt x="4708" y="6791"/>
                  <a:pt x="4759" y="6789"/>
                </a:cubicBezTo>
                <a:cubicBezTo>
                  <a:pt x="4861" y="6786"/>
                  <a:pt x="4904" y="6595"/>
                  <a:pt x="4865" y="6520"/>
                </a:cubicBezTo>
                <a:cubicBezTo>
                  <a:pt x="4934" y="6491"/>
                  <a:pt x="4992" y="6501"/>
                  <a:pt x="5072" y="6554"/>
                </a:cubicBezTo>
                <a:cubicBezTo>
                  <a:pt x="5102" y="6507"/>
                  <a:pt x="5137" y="6432"/>
                  <a:pt x="5126" y="6363"/>
                </a:cubicBezTo>
                <a:cubicBezTo>
                  <a:pt x="5110" y="6265"/>
                  <a:pt x="5031" y="6201"/>
                  <a:pt x="4997" y="6142"/>
                </a:cubicBezTo>
                <a:cubicBezTo>
                  <a:pt x="4950" y="6058"/>
                  <a:pt x="4854" y="6163"/>
                  <a:pt x="4842" y="6039"/>
                </a:cubicBezTo>
                <a:cubicBezTo>
                  <a:pt x="4835" y="5977"/>
                  <a:pt x="4756" y="5962"/>
                  <a:pt x="4711" y="5956"/>
                </a:cubicBezTo>
                <a:cubicBezTo>
                  <a:pt x="4693" y="5955"/>
                  <a:pt x="4542" y="5767"/>
                  <a:pt x="4450" y="5745"/>
                </a:cubicBezTo>
                <a:cubicBezTo>
                  <a:pt x="4381" y="5729"/>
                  <a:pt x="4307" y="5597"/>
                  <a:pt x="4288" y="5550"/>
                </a:cubicBezTo>
                <a:cubicBezTo>
                  <a:pt x="4270" y="5507"/>
                  <a:pt x="4264" y="5450"/>
                  <a:pt x="4239" y="5412"/>
                </a:cubicBezTo>
                <a:cubicBezTo>
                  <a:pt x="4221" y="5382"/>
                  <a:pt x="4157" y="5382"/>
                  <a:pt x="4154" y="5329"/>
                </a:cubicBezTo>
                <a:cubicBezTo>
                  <a:pt x="4154" y="5331"/>
                  <a:pt x="4209" y="5261"/>
                  <a:pt x="4209" y="5261"/>
                </a:cubicBezTo>
                <a:cubicBezTo>
                  <a:pt x="4229" y="5252"/>
                  <a:pt x="4238" y="5195"/>
                  <a:pt x="4246" y="5168"/>
                </a:cubicBezTo>
                <a:cubicBezTo>
                  <a:pt x="4229" y="5159"/>
                  <a:pt x="4212" y="5151"/>
                  <a:pt x="4196" y="5143"/>
                </a:cubicBezTo>
                <a:cubicBezTo>
                  <a:pt x="4225" y="5085"/>
                  <a:pt x="4079" y="5045"/>
                  <a:pt x="4046" y="5002"/>
                </a:cubicBezTo>
                <a:cubicBezTo>
                  <a:pt x="4005" y="4948"/>
                  <a:pt x="3948" y="4857"/>
                  <a:pt x="3952" y="4777"/>
                </a:cubicBezTo>
                <a:cubicBezTo>
                  <a:pt x="3960" y="4775"/>
                  <a:pt x="3969" y="4774"/>
                  <a:pt x="3977" y="4772"/>
                </a:cubicBezTo>
                <a:cubicBezTo>
                  <a:pt x="3997" y="4799"/>
                  <a:pt x="4074" y="4939"/>
                  <a:pt x="4099" y="4929"/>
                </a:cubicBezTo>
                <a:cubicBezTo>
                  <a:pt x="4110" y="4924"/>
                  <a:pt x="4156" y="4769"/>
                  <a:pt x="4191" y="4747"/>
                </a:cubicBezTo>
                <a:cubicBezTo>
                  <a:pt x="4223" y="4727"/>
                  <a:pt x="4245" y="4641"/>
                  <a:pt x="4321" y="4692"/>
                </a:cubicBezTo>
                <a:cubicBezTo>
                  <a:pt x="4323" y="4693"/>
                  <a:pt x="4386" y="4665"/>
                  <a:pt x="4400" y="4657"/>
                </a:cubicBezTo>
                <a:cubicBezTo>
                  <a:pt x="4455" y="4627"/>
                  <a:pt x="4541" y="4722"/>
                  <a:pt x="4557" y="4584"/>
                </a:cubicBezTo>
                <a:cubicBezTo>
                  <a:pt x="4594" y="4593"/>
                  <a:pt x="4634" y="4584"/>
                  <a:pt x="4660" y="4549"/>
                </a:cubicBezTo>
                <a:cubicBezTo>
                  <a:pt x="4708" y="4486"/>
                  <a:pt x="4762" y="4449"/>
                  <a:pt x="4764" y="4444"/>
                </a:cubicBezTo>
                <a:cubicBezTo>
                  <a:pt x="4822" y="4519"/>
                  <a:pt x="4863" y="4370"/>
                  <a:pt x="4920" y="4342"/>
                </a:cubicBezTo>
                <a:cubicBezTo>
                  <a:pt x="4954" y="4326"/>
                  <a:pt x="5072" y="4273"/>
                  <a:pt x="5108" y="4273"/>
                </a:cubicBezTo>
                <a:cubicBezTo>
                  <a:pt x="5170" y="4273"/>
                  <a:pt x="5235" y="4198"/>
                  <a:pt x="5292" y="4165"/>
                </a:cubicBezTo>
                <a:cubicBezTo>
                  <a:pt x="5341" y="4137"/>
                  <a:pt x="5388" y="4171"/>
                  <a:pt x="5387" y="4101"/>
                </a:cubicBezTo>
                <a:cubicBezTo>
                  <a:pt x="5386" y="4095"/>
                  <a:pt x="5305" y="4059"/>
                  <a:pt x="5299" y="4057"/>
                </a:cubicBezTo>
                <a:cubicBezTo>
                  <a:pt x="5301" y="4039"/>
                  <a:pt x="5314" y="4005"/>
                  <a:pt x="5325" y="3991"/>
                </a:cubicBezTo>
                <a:cubicBezTo>
                  <a:pt x="5380" y="4020"/>
                  <a:pt x="5573" y="4009"/>
                  <a:pt x="5492" y="4126"/>
                </a:cubicBezTo>
                <a:cubicBezTo>
                  <a:pt x="5510" y="4120"/>
                  <a:pt x="5532" y="4122"/>
                  <a:pt x="5550" y="4115"/>
                </a:cubicBezTo>
                <a:cubicBezTo>
                  <a:pt x="5484" y="4201"/>
                  <a:pt x="5565" y="4170"/>
                  <a:pt x="5616" y="4206"/>
                </a:cubicBezTo>
                <a:cubicBezTo>
                  <a:pt x="5666" y="4241"/>
                  <a:pt x="5666" y="4145"/>
                  <a:pt x="5690" y="4129"/>
                </a:cubicBezTo>
                <a:cubicBezTo>
                  <a:pt x="5740" y="4096"/>
                  <a:pt x="5760" y="3931"/>
                  <a:pt x="5759" y="3866"/>
                </a:cubicBezTo>
                <a:cubicBezTo>
                  <a:pt x="5793" y="3761"/>
                  <a:pt x="5718" y="3715"/>
                  <a:pt x="5718" y="3620"/>
                </a:cubicBezTo>
                <a:close/>
                <a:moveTo>
                  <a:pt x="1736" y="494"/>
                </a:moveTo>
                <a:cubicBezTo>
                  <a:pt x="1734" y="477"/>
                  <a:pt x="1717" y="477"/>
                  <a:pt x="1718" y="495"/>
                </a:cubicBezTo>
                <a:cubicBezTo>
                  <a:pt x="1719" y="514"/>
                  <a:pt x="1736" y="494"/>
                  <a:pt x="1736" y="494"/>
                </a:cubicBezTo>
                <a:close/>
                <a:moveTo>
                  <a:pt x="1745" y="555"/>
                </a:moveTo>
                <a:cubicBezTo>
                  <a:pt x="1753" y="536"/>
                  <a:pt x="1748" y="524"/>
                  <a:pt x="1732" y="517"/>
                </a:cubicBezTo>
                <a:cubicBezTo>
                  <a:pt x="1658" y="541"/>
                  <a:pt x="1776" y="576"/>
                  <a:pt x="1745" y="555"/>
                </a:cubicBezTo>
                <a:close/>
                <a:moveTo>
                  <a:pt x="1779" y="419"/>
                </a:moveTo>
                <a:cubicBezTo>
                  <a:pt x="1816" y="456"/>
                  <a:pt x="1823" y="426"/>
                  <a:pt x="1835" y="403"/>
                </a:cubicBezTo>
                <a:cubicBezTo>
                  <a:pt x="1820" y="417"/>
                  <a:pt x="1802" y="422"/>
                  <a:pt x="1779" y="419"/>
                </a:cubicBezTo>
                <a:close/>
                <a:moveTo>
                  <a:pt x="1744" y="1107"/>
                </a:moveTo>
                <a:cubicBezTo>
                  <a:pt x="1750" y="1089"/>
                  <a:pt x="1712" y="1091"/>
                  <a:pt x="1707" y="1093"/>
                </a:cubicBezTo>
                <a:cubicBezTo>
                  <a:pt x="1685" y="1077"/>
                  <a:pt x="1724" y="1165"/>
                  <a:pt x="1744" y="1107"/>
                </a:cubicBezTo>
                <a:close/>
                <a:moveTo>
                  <a:pt x="1742" y="608"/>
                </a:moveTo>
                <a:cubicBezTo>
                  <a:pt x="1710" y="563"/>
                  <a:pt x="1715" y="652"/>
                  <a:pt x="1751" y="641"/>
                </a:cubicBezTo>
                <a:cubicBezTo>
                  <a:pt x="1761" y="629"/>
                  <a:pt x="1758" y="618"/>
                  <a:pt x="1742" y="608"/>
                </a:cubicBezTo>
                <a:close/>
                <a:moveTo>
                  <a:pt x="1765" y="1153"/>
                </a:moveTo>
                <a:cubicBezTo>
                  <a:pt x="1787" y="1152"/>
                  <a:pt x="1766" y="1133"/>
                  <a:pt x="1766" y="1133"/>
                </a:cubicBezTo>
                <a:cubicBezTo>
                  <a:pt x="1738" y="1133"/>
                  <a:pt x="1742" y="1155"/>
                  <a:pt x="1765" y="1153"/>
                </a:cubicBezTo>
                <a:close/>
                <a:moveTo>
                  <a:pt x="1791" y="597"/>
                </a:moveTo>
                <a:cubicBezTo>
                  <a:pt x="1793" y="577"/>
                  <a:pt x="1776" y="585"/>
                  <a:pt x="1774" y="598"/>
                </a:cubicBezTo>
                <a:cubicBezTo>
                  <a:pt x="1772" y="612"/>
                  <a:pt x="1791" y="597"/>
                  <a:pt x="1791" y="597"/>
                </a:cubicBezTo>
                <a:close/>
                <a:moveTo>
                  <a:pt x="1851" y="558"/>
                </a:moveTo>
                <a:cubicBezTo>
                  <a:pt x="1874" y="544"/>
                  <a:pt x="1878" y="528"/>
                  <a:pt x="1862" y="511"/>
                </a:cubicBezTo>
                <a:cubicBezTo>
                  <a:pt x="1832" y="494"/>
                  <a:pt x="1751" y="596"/>
                  <a:pt x="1851" y="558"/>
                </a:cubicBezTo>
                <a:close/>
                <a:moveTo>
                  <a:pt x="3490" y="1099"/>
                </a:moveTo>
                <a:cubicBezTo>
                  <a:pt x="3480" y="1116"/>
                  <a:pt x="3479" y="1118"/>
                  <a:pt x="3495" y="1118"/>
                </a:cubicBezTo>
                <a:cubicBezTo>
                  <a:pt x="3495" y="1114"/>
                  <a:pt x="3527" y="1062"/>
                  <a:pt x="3507" y="1059"/>
                </a:cubicBezTo>
                <a:cubicBezTo>
                  <a:pt x="3502" y="1058"/>
                  <a:pt x="3412" y="1081"/>
                  <a:pt x="3439" y="1111"/>
                </a:cubicBezTo>
                <a:cubicBezTo>
                  <a:pt x="3467" y="1143"/>
                  <a:pt x="3468" y="1103"/>
                  <a:pt x="3490" y="1099"/>
                </a:cubicBezTo>
                <a:close/>
                <a:moveTo>
                  <a:pt x="4559" y="576"/>
                </a:moveTo>
                <a:cubicBezTo>
                  <a:pt x="4563" y="593"/>
                  <a:pt x="4484" y="600"/>
                  <a:pt x="4494" y="625"/>
                </a:cubicBezTo>
                <a:cubicBezTo>
                  <a:pt x="4499" y="639"/>
                  <a:pt x="4539" y="606"/>
                  <a:pt x="4541" y="637"/>
                </a:cubicBezTo>
                <a:cubicBezTo>
                  <a:pt x="4542" y="671"/>
                  <a:pt x="4566" y="675"/>
                  <a:pt x="4513" y="675"/>
                </a:cubicBezTo>
                <a:cubicBezTo>
                  <a:pt x="4471" y="675"/>
                  <a:pt x="4468" y="723"/>
                  <a:pt x="4482" y="751"/>
                </a:cubicBezTo>
                <a:cubicBezTo>
                  <a:pt x="4496" y="761"/>
                  <a:pt x="4576" y="802"/>
                  <a:pt x="4601" y="792"/>
                </a:cubicBezTo>
                <a:cubicBezTo>
                  <a:pt x="4611" y="811"/>
                  <a:pt x="4598" y="809"/>
                  <a:pt x="4598" y="818"/>
                </a:cubicBezTo>
                <a:cubicBezTo>
                  <a:pt x="4611" y="823"/>
                  <a:pt x="4656" y="834"/>
                  <a:pt x="4660" y="812"/>
                </a:cubicBezTo>
                <a:cubicBezTo>
                  <a:pt x="4665" y="781"/>
                  <a:pt x="4622" y="805"/>
                  <a:pt x="4622" y="784"/>
                </a:cubicBezTo>
                <a:cubicBezTo>
                  <a:pt x="4622" y="753"/>
                  <a:pt x="4697" y="755"/>
                  <a:pt x="4666" y="709"/>
                </a:cubicBezTo>
                <a:cubicBezTo>
                  <a:pt x="4682" y="707"/>
                  <a:pt x="4782" y="686"/>
                  <a:pt x="4790" y="695"/>
                </a:cubicBezTo>
                <a:cubicBezTo>
                  <a:pt x="4796" y="703"/>
                  <a:pt x="4760" y="721"/>
                  <a:pt x="4764" y="723"/>
                </a:cubicBezTo>
                <a:cubicBezTo>
                  <a:pt x="4778" y="720"/>
                  <a:pt x="4792" y="717"/>
                  <a:pt x="4806" y="714"/>
                </a:cubicBezTo>
                <a:cubicBezTo>
                  <a:pt x="4812" y="720"/>
                  <a:pt x="4773" y="740"/>
                  <a:pt x="4781" y="748"/>
                </a:cubicBezTo>
                <a:cubicBezTo>
                  <a:pt x="4783" y="750"/>
                  <a:pt x="4829" y="770"/>
                  <a:pt x="4829" y="770"/>
                </a:cubicBezTo>
                <a:cubicBezTo>
                  <a:pt x="4825" y="746"/>
                  <a:pt x="4857" y="695"/>
                  <a:pt x="4857" y="698"/>
                </a:cubicBezTo>
                <a:cubicBezTo>
                  <a:pt x="4863" y="672"/>
                  <a:pt x="4747" y="631"/>
                  <a:pt x="4740" y="607"/>
                </a:cubicBezTo>
                <a:cubicBezTo>
                  <a:pt x="4720" y="542"/>
                  <a:pt x="4874" y="427"/>
                  <a:pt x="4698" y="466"/>
                </a:cubicBezTo>
                <a:cubicBezTo>
                  <a:pt x="4673" y="472"/>
                  <a:pt x="4621" y="434"/>
                  <a:pt x="4624" y="406"/>
                </a:cubicBezTo>
                <a:cubicBezTo>
                  <a:pt x="4626" y="390"/>
                  <a:pt x="4688" y="357"/>
                  <a:pt x="4623" y="359"/>
                </a:cubicBezTo>
                <a:cubicBezTo>
                  <a:pt x="4589" y="360"/>
                  <a:pt x="4455" y="450"/>
                  <a:pt x="4497" y="481"/>
                </a:cubicBezTo>
                <a:cubicBezTo>
                  <a:pt x="4519" y="498"/>
                  <a:pt x="4543" y="425"/>
                  <a:pt x="4546" y="423"/>
                </a:cubicBezTo>
                <a:cubicBezTo>
                  <a:pt x="4575" y="410"/>
                  <a:pt x="4548" y="483"/>
                  <a:pt x="4551" y="484"/>
                </a:cubicBezTo>
                <a:cubicBezTo>
                  <a:pt x="4577" y="491"/>
                  <a:pt x="4596" y="444"/>
                  <a:pt x="4619" y="444"/>
                </a:cubicBezTo>
                <a:cubicBezTo>
                  <a:pt x="4606" y="444"/>
                  <a:pt x="4692" y="514"/>
                  <a:pt x="4692" y="504"/>
                </a:cubicBezTo>
                <a:cubicBezTo>
                  <a:pt x="4692" y="644"/>
                  <a:pt x="4642" y="490"/>
                  <a:pt x="4622" y="495"/>
                </a:cubicBezTo>
                <a:cubicBezTo>
                  <a:pt x="4611" y="498"/>
                  <a:pt x="4625" y="524"/>
                  <a:pt x="4619" y="524"/>
                </a:cubicBezTo>
                <a:cubicBezTo>
                  <a:pt x="4604" y="524"/>
                  <a:pt x="4620" y="475"/>
                  <a:pt x="4605" y="471"/>
                </a:cubicBezTo>
                <a:cubicBezTo>
                  <a:pt x="4572" y="462"/>
                  <a:pt x="4581" y="523"/>
                  <a:pt x="4591" y="535"/>
                </a:cubicBezTo>
                <a:cubicBezTo>
                  <a:pt x="4579" y="520"/>
                  <a:pt x="4479" y="471"/>
                  <a:pt x="4485" y="513"/>
                </a:cubicBezTo>
                <a:cubicBezTo>
                  <a:pt x="4490" y="555"/>
                  <a:pt x="4550" y="539"/>
                  <a:pt x="4559" y="576"/>
                </a:cubicBezTo>
                <a:close/>
                <a:moveTo>
                  <a:pt x="1875" y="605"/>
                </a:moveTo>
                <a:cubicBezTo>
                  <a:pt x="1891" y="605"/>
                  <a:pt x="1878" y="588"/>
                  <a:pt x="1878" y="588"/>
                </a:cubicBezTo>
                <a:cubicBezTo>
                  <a:pt x="1865" y="590"/>
                  <a:pt x="1860" y="605"/>
                  <a:pt x="1875" y="605"/>
                </a:cubicBezTo>
                <a:close/>
                <a:moveTo>
                  <a:pt x="4878" y="1015"/>
                </a:moveTo>
                <a:cubicBezTo>
                  <a:pt x="4877" y="1015"/>
                  <a:pt x="4897" y="1033"/>
                  <a:pt x="4911" y="1014"/>
                </a:cubicBezTo>
                <a:cubicBezTo>
                  <a:pt x="4918" y="1023"/>
                  <a:pt x="4930" y="1024"/>
                  <a:pt x="4944" y="1033"/>
                </a:cubicBezTo>
                <a:cubicBezTo>
                  <a:pt x="4951" y="993"/>
                  <a:pt x="5044" y="1009"/>
                  <a:pt x="5033" y="1100"/>
                </a:cubicBezTo>
                <a:cubicBezTo>
                  <a:pt x="5003" y="1085"/>
                  <a:pt x="5016" y="1097"/>
                  <a:pt x="4987" y="1104"/>
                </a:cubicBezTo>
                <a:cubicBezTo>
                  <a:pt x="4984" y="1094"/>
                  <a:pt x="4986" y="1061"/>
                  <a:pt x="4984" y="1049"/>
                </a:cubicBezTo>
                <a:cubicBezTo>
                  <a:pt x="4949" y="1109"/>
                  <a:pt x="5004" y="1150"/>
                  <a:pt x="4919" y="1184"/>
                </a:cubicBezTo>
                <a:cubicBezTo>
                  <a:pt x="4906" y="1189"/>
                  <a:pt x="4970" y="1190"/>
                  <a:pt x="4981" y="1187"/>
                </a:cubicBezTo>
                <a:cubicBezTo>
                  <a:pt x="4994" y="1182"/>
                  <a:pt x="5166" y="1143"/>
                  <a:pt x="5182" y="1191"/>
                </a:cubicBezTo>
                <a:cubicBezTo>
                  <a:pt x="5164" y="1138"/>
                  <a:pt x="5125" y="1053"/>
                  <a:pt x="5066" y="1031"/>
                </a:cubicBezTo>
                <a:cubicBezTo>
                  <a:pt x="5004" y="1008"/>
                  <a:pt x="4930" y="885"/>
                  <a:pt x="4875" y="874"/>
                </a:cubicBezTo>
                <a:cubicBezTo>
                  <a:pt x="4873" y="874"/>
                  <a:pt x="4880" y="1004"/>
                  <a:pt x="4878" y="1015"/>
                </a:cubicBezTo>
                <a:close/>
                <a:moveTo>
                  <a:pt x="4964" y="799"/>
                </a:moveTo>
                <a:cubicBezTo>
                  <a:pt x="4959" y="779"/>
                  <a:pt x="4951" y="776"/>
                  <a:pt x="4938" y="790"/>
                </a:cubicBezTo>
                <a:cubicBezTo>
                  <a:pt x="4932" y="830"/>
                  <a:pt x="4956" y="798"/>
                  <a:pt x="4964" y="799"/>
                </a:cubicBezTo>
                <a:close/>
                <a:moveTo>
                  <a:pt x="4472" y="437"/>
                </a:moveTo>
                <a:cubicBezTo>
                  <a:pt x="4414" y="412"/>
                  <a:pt x="4427" y="562"/>
                  <a:pt x="4433" y="578"/>
                </a:cubicBezTo>
                <a:cubicBezTo>
                  <a:pt x="4448" y="555"/>
                  <a:pt x="4459" y="432"/>
                  <a:pt x="4472" y="437"/>
                </a:cubicBezTo>
                <a:close/>
                <a:moveTo>
                  <a:pt x="4473" y="604"/>
                </a:moveTo>
                <a:cubicBezTo>
                  <a:pt x="4490" y="595"/>
                  <a:pt x="4507" y="585"/>
                  <a:pt x="4524" y="576"/>
                </a:cubicBezTo>
                <a:cubicBezTo>
                  <a:pt x="4491" y="532"/>
                  <a:pt x="4497" y="580"/>
                  <a:pt x="4473" y="604"/>
                </a:cubicBezTo>
                <a:close/>
                <a:moveTo>
                  <a:pt x="3284" y="655"/>
                </a:moveTo>
                <a:cubicBezTo>
                  <a:pt x="3321" y="687"/>
                  <a:pt x="3357" y="704"/>
                  <a:pt x="3416" y="704"/>
                </a:cubicBezTo>
                <a:cubicBezTo>
                  <a:pt x="3412" y="602"/>
                  <a:pt x="3218" y="510"/>
                  <a:pt x="3237" y="657"/>
                </a:cubicBezTo>
                <a:cubicBezTo>
                  <a:pt x="3253" y="662"/>
                  <a:pt x="3268" y="661"/>
                  <a:pt x="3284" y="655"/>
                </a:cubicBezTo>
                <a:close/>
                <a:moveTo>
                  <a:pt x="4443" y="607"/>
                </a:moveTo>
                <a:cubicBezTo>
                  <a:pt x="4450" y="595"/>
                  <a:pt x="4397" y="615"/>
                  <a:pt x="4399" y="614"/>
                </a:cubicBezTo>
                <a:cubicBezTo>
                  <a:pt x="4405" y="614"/>
                  <a:pt x="4431" y="626"/>
                  <a:pt x="4443" y="607"/>
                </a:cubicBezTo>
                <a:close/>
                <a:moveTo>
                  <a:pt x="1883" y="421"/>
                </a:moveTo>
                <a:cubicBezTo>
                  <a:pt x="1850" y="453"/>
                  <a:pt x="1888" y="431"/>
                  <a:pt x="1891" y="441"/>
                </a:cubicBezTo>
                <a:cubicBezTo>
                  <a:pt x="1889" y="447"/>
                  <a:pt x="1912" y="392"/>
                  <a:pt x="1883" y="421"/>
                </a:cubicBezTo>
                <a:close/>
                <a:moveTo>
                  <a:pt x="1795" y="484"/>
                </a:moveTo>
                <a:cubicBezTo>
                  <a:pt x="1783" y="490"/>
                  <a:pt x="1773" y="488"/>
                  <a:pt x="1763" y="479"/>
                </a:cubicBezTo>
                <a:cubicBezTo>
                  <a:pt x="1746" y="489"/>
                  <a:pt x="1748" y="497"/>
                  <a:pt x="1770" y="501"/>
                </a:cubicBezTo>
                <a:cubicBezTo>
                  <a:pt x="1773" y="498"/>
                  <a:pt x="1816" y="521"/>
                  <a:pt x="1795" y="484"/>
                </a:cubicBezTo>
                <a:close/>
                <a:moveTo>
                  <a:pt x="1481" y="1312"/>
                </a:moveTo>
                <a:cubicBezTo>
                  <a:pt x="1492" y="1312"/>
                  <a:pt x="1492" y="1298"/>
                  <a:pt x="1480" y="1298"/>
                </a:cubicBezTo>
                <a:cubicBezTo>
                  <a:pt x="1480" y="1298"/>
                  <a:pt x="1471" y="1312"/>
                  <a:pt x="1481" y="1312"/>
                </a:cubicBezTo>
                <a:close/>
                <a:moveTo>
                  <a:pt x="838" y="1361"/>
                </a:moveTo>
                <a:cubicBezTo>
                  <a:pt x="869" y="1363"/>
                  <a:pt x="899" y="1361"/>
                  <a:pt x="929" y="1353"/>
                </a:cubicBezTo>
                <a:cubicBezTo>
                  <a:pt x="905" y="1318"/>
                  <a:pt x="828" y="1359"/>
                  <a:pt x="800" y="1359"/>
                </a:cubicBezTo>
                <a:cubicBezTo>
                  <a:pt x="813" y="1361"/>
                  <a:pt x="825" y="1362"/>
                  <a:pt x="838" y="1361"/>
                </a:cubicBezTo>
                <a:close/>
                <a:moveTo>
                  <a:pt x="949" y="1341"/>
                </a:moveTo>
                <a:cubicBezTo>
                  <a:pt x="967" y="1347"/>
                  <a:pt x="1004" y="1336"/>
                  <a:pt x="1029" y="1334"/>
                </a:cubicBezTo>
                <a:cubicBezTo>
                  <a:pt x="1042" y="1334"/>
                  <a:pt x="1079" y="1343"/>
                  <a:pt x="1076" y="1315"/>
                </a:cubicBezTo>
                <a:cubicBezTo>
                  <a:pt x="1073" y="1271"/>
                  <a:pt x="925" y="1333"/>
                  <a:pt x="949" y="1341"/>
                </a:cubicBezTo>
                <a:close/>
                <a:moveTo>
                  <a:pt x="1358" y="1278"/>
                </a:moveTo>
                <a:cubicBezTo>
                  <a:pt x="1375" y="1270"/>
                  <a:pt x="1306" y="1264"/>
                  <a:pt x="1302" y="1263"/>
                </a:cubicBezTo>
                <a:cubicBezTo>
                  <a:pt x="1294" y="1270"/>
                  <a:pt x="1244" y="1270"/>
                  <a:pt x="1268" y="1297"/>
                </a:cubicBezTo>
                <a:cubicBezTo>
                  <a:pt x="1280" y="1309"/>
                  <a:pt x="1338" y="1288"/>
                  <a:pt x="1358" y="1278"/>
                </a:cubicBezTo>
                <a:close/>
                <a:moveTo>
                  <a:pt x="1109" y="1307"/>
                </a:moveTo>
                <a:cubicBezTo>
                  <a:pt x="1083" y="1304"/>
                  <a:pt x="1101" y="1325"/>
                  <a:pt x="1101" y="1325"/>
                </a:cubicBezTo>
                <a:cubicBezTo>
                  <a:pt x="1120" y="1325"/>
                  <a:pt x="1135" y="1310"/>
                  <a:pt x="1109" y="1307"/>
                </a:cubicBezTo>
                <a:close/>
                <a:moveTo>
                  <a:pt x="1153" y="1326"/>
                </a:moveTo>
                <a:cubicBezTo>
                  <a:pt x="1176" y="1326"/>
                  <a:pt x="1211" y="1304"/>
                  <a:pt x="1242" y="1303"/>
                </a:cubicBezTo>
                <a:cubicBezTo>
                  <a:pt x="1233" y="1279"/>
                  <a:pt x="1211" y="1274"/>
                  <a:pt x="1178" y="1288"/>
                </a:cubicBezTo>
                <a:cubicBezTo>
                  <a:pt x="1189" y="1279"/>
                  <a:pt x="1110" y="1326"/>
                  <a:pt x="1153" y="1326"/>
                </a:cubicBezTo>
                <a:close/>
                <a:moveTo>
                  <a:pt x="1884" y="1030"/>
                </a:moveTo>
                <a:cubicBezTo>
                  <a:pt x="1886" y="998"/>
                  <a:pt x="1886" y="998"/>
                  <a:pt x="1886" y="998"/>
                </a:cubicBezTo>
                <a:cubicBezTo>
                  <a:pt x="1886" y="998"/>
                  <a:pt x="1863" y="971"/>
                  <a:pt x="1863" y="1007"/>
                </a:cubicBezTo>
                <a:cubicBezTo>
                  <a:pt x="1863" y="1043"/>
                  <a:pt x="1884" y="1030"/>
                  <a:pt x="1884" y="1030"/>
                </a:cubicBezTo>
                <a:close/>
                <a:moveTo>
                  <a:pt x="1935" y="504"/>
                </a:moveTo>
                <a:cubicBezTo>
                  <a:pt x="1934" y="516"/>
                  <a:pt x="1908" y="503"/>
                  <a:pt x="1935" y="527"/>
                </a:cubicBezTo>
                <a:cubicBezTo>
                  <a:pt x="1959" y="521"/>
                  <a:pt x="1959" y="514"/>
                  <a:pt x="1935" y="504"/>
                </a:cubicBezTo>
                <a:close/>
                <a:moveTo>
                  <a:pt x="1692" y="7378"/>
                </a:moveTo>
                <a:cubicBezTo>
                  <a:pt x="1673" y="7422"/>
                  <a:pt x="1673" y="7422"/>
                  <a:pt x="1673" y="7422"/>
                </a:cubicBezTo>
                <a:cubicBezTo>
                  <a:pt x="1727" y="7427"/>
                  <a:pt x="1727" y="7427"/>
                  <a:pt x="1727" y="7427"/>
                </a:cubicBezTo>
                <a:cubicBezTo>
                  <a:pt x="1716" y="7389"/>
                  <a:pt x="1716" y="7389"/>
                  <a:pt x="1716" y="7389"/>
                </a:cubicBezTo>
                <a:lnTo>
                  <a:pt x="1692" y="7378"/>
                </a:lnTo>
                <a:close/>
                <a:moveTo>
                  <a:pt x="1696" y="363"/>
                </a:moveTo>
                <a:cubicBezTo>
                  <a:pt x="1893" y="496"/>
                  <a:pt x="1748" y="162"/>
                  <a:pt x="1696" y="363"/>
                </a:cubicBezTo>
                <a:close/>
                <a:moveTo>
                  <a:pt x="799" y="1387"/>
                </a:moveTo>
                <a:cubicBezTo>
                  <a:pt x="788" y="1366"/>
                  <a:pt x="772" y="1375"/>
                  <a:pt x="786" y="1393"/>
                </a:cubicBezTo>
                <a:cubicBezTo>
                  <a:pt x="800" y="1411"/>
                  <a:pt x="799" y="1387"/>
                  <a:pt x="799" y="1387"/>
                </a:cubicBezTo>
                <a:close/>
                <a:moveTo>
                  <a:pt x="1537" y="1343"/>
                </a:moveTo>
                <a:cubicBezTo>
                  <a:pt x="1564" y="1343"/>
                  <a:pt x="1612" y="1309"/>
                  <a:pt x="1554" y="1318"/>
                </a:cubicBezTo>
                <a:cubicBezTo>
                  <a:pt x="1555" y="1311"/>
                  <a:pt x="1519" y="1343"/>
                  <a:pt x="1537" y="1343"/>
                </a:cubicBezTo>
                <a:close/>
                <a:moveTo>
                  <a:pt x="1685" y="1248"/>
                </a:moveTo>
                <a:cubicBezTo>
                  <a:pt x="1710" y="1239"/>
                  <a:pt x="1682" y="1218"/>
                  <a:pt x="1682" y="1218"/>
                </a:cubicBezTo>
                <a:cubicBezTo>
                  <a:pt x="1651" y="1223"/>
                  <a:pt x="1661" y="1257"/>
                  <a:pt x="1685" y="1248"/>
                </a:cubicBezTo>
                <a:close/>
                <a:moveTo>
                  <a:pt x="1678" y="340"/>
                </a:moveTo>
                <a:cubicBezTo>
                  <a:pt x="1658" y="337"/>
                  <a:pt x="1636" y="387"/>
                  <a:pt x="1629" y="399"/>
                </a:cubicBezTo>
                <a:cubicBezTo>
                  <a:pt x="1629" y="405"/>
                  <a:pt x="1679" y="487"/>
                  <a:pt x="1691" y="453"/>
                </a:cubicBezTo>
                <a:cubicBezTo>
                  <a:pt x="1695" y="440"/>
                  <a:pt x="1655" y="336"/>
                  <a:pt x="1678" y="340"/>
                </a:cubicBezTo>
                <a:close/>
                <a:moveTo>
                  <a:pt x="1640" y="328"/>
                </a:moveTo>
                <a:cubicBezTo>
                  <a:pt x="1646" y="325"/>
                  <a:pt x="1638" y="312"/>
                  <a:pt x="1638" y="308"/>
                </a:cubicBezTo>
                <a:cubicBezTo>
                  <a:pt x="1638" y="303"/>
                  <a:pt x="1644" y="299"/>
                  <a:pt x="1644" y="294"/>
                </a:cubicBezTo>
                <a:cubicBezTo>
                  <a:pt x="1644" y="290"/>
                  <a:pt x="1641" y="267"/>
                  <a:pt x="1643" y="252"/>
                </a:cubicBezTo>
                <a:cubicBezTo>
                  <a:pt x="1644" y="237"/>
                  <a:pt x="1644" y="206"/>
                  <a:pt x="1650" y="205"/>
                </a:cubicBezTo>
                <a:cubicBezTo>
                  <a:pt x="1656" y="204"/>
                  <a:pt x="1663" y="206"/>
                  <a:pt x="1665" y="202"/>
                </a:cubicBezTo>
                <a:cubicBezTo>
                  <a:pt x="1666" y="198"/>
                  <a:pt x="1673" y="186"/>
                  <a:pt x="1673" y="186"/>
                </a:cubicBezTo>
                <a:cubicBezTo>
                  <a:pt x="1678" y="189"/>
                  <a:pt x="1675" y="206"/>
                  <a:pt x="1693" y="208"/>
                </a:cubicBezTo>
                <a:cubicBezTo>
                  <a:pt x="1710" y="209"/>
                  <a:pt x="1744" y="204"/>
                  <a:pt x="1750" y="195"/>
                </a:cubicBezTo>
                <a:cubicBezTo>
                  <a:pt x="1756" y="186"/>
                  <a:pt x="1715" y="179"/>
                  <a:pt x="1698" y="167"/>
                </a:cubicBezTo>
                <a:cubicBezTo>
                  <a:pt x="1682" y="155"/>
                  <a:pt x="1684" y="127"/>
                  <a:pt x="1685" y="123"/>
                </a:cubicBezTo>
                <a:cubicBezTo>
                  <a:pt x="1687" y="118"/>
                  <a:pt x="1684" y="95"/>
                  <a:pt x="1684" y="95"/>
                </a:cubicBezTo>
                <a:cubicBezTo>
                  <a:pt x="1684" y="95"/>
                  <a:pt x="1697" y="76"/>
                  <a:pt x="1701" y="70"/>
                </a:cubicBezTo>
                <a:cubicBezTo>
                  <a:pt x="1706" y="64"/>
                  <a:pt x="1729" y="55"/>
                  <a:pt x="1734" y="45"/>
                </a:cubicBezTo>
                <a:cubicBezTo>
                  <a:pt x="1738" y="35"/>
                  <a:pt x="1725" y="23"/>
                  <a:pt x="1725" y="23"/>
                </a:cubicBezTo>
                <a:cubicBezTo>
                  <a:pt x="1725" y="23"/>
                  <a:pt x="1720" y="14"/>
                  <a:pt x="1726" y="14"/>
                </a:cubicBezTo>
                <a:cubicBezTo>
                  <a:pt x="1732" y="14"/>
                  <a:pt x="1745" y="20"/>
                  <a:pt x="1750" y="16"/>
                </a:cubicBezTo>
                <a:cubicBezTo>
                  <a:pt x="1754" y="11"/>
                  <a:pt x="1748" y="2"/>
                  <a:pt x="1731" y="1"/>
                </a:cubicBezTo>
                <a:cubicBezTo>
                  <a:pt x="1713" y="0"/>
                  <a:pt x="1707" y="10"/>
                  <a:pt x="1701" y="22"/>
                </a:cubicBezTo>
                <a:cubicBezTo>
                  <a:pt x="1695" y="33"/>
                  <a:pt x="1669" y="86"/>
                  <a:pt x="1653" y="120"/>
                </a:cubicBezTo>
                <a:cubicBezTo>
                  <a:pt x="1637" y="154"/>
                  <a:pt x="1632" y="206"/>
                  <a:pt x="1631" y="217"/>
                </a:cubicBezTo>
                <a:cubicBezTo>
                  <a:pt x="1629" y="227"/>
                  <a:pt x="1632" y="246"/>
                  <a:pt x="1628" y="258"/>
                </a:cubicBezTo>
                <a:cubicBezTo>
                  <a:pt x="1624" y="270"/>
                  <a:pt x="1621" y="299"/>
                  <a:pt x="1625" y="312"/>
                </a:cubicBezTo>
                <a:cubicBezTo>
                  <a:pt x="1629" y="325"/>
                  <a:pt x="1634" y="331"/>
                  <a:pt x="1640" y="328"/>
                </a:cubicBezTo>
                <a:close/>
                <a:moveTo>
                  <a:pt x="1477" y="1290"/>
                </a:moveTo>
                <a:cubicBezTo>
                  <a:pt x="1490" y="1288"/>
                  <a:pt x="1487" y="1278"/>
                  <a:pt x="1474" y="1278"/>
                </a:cubicBezTo>
                <a:cubicBezTo>
                  <a:pt x="1474" y="1278"/>
                  <a:pt x="1464" y="1292"/>
                  <a:pt x="1477" y="1290"/>
                </a:cubicBezTo>
                <a:close/>
                <a:moveTo>
                  <a:pt x="1402" y="1270"/>
                </a:moveTo>
                <a:cubicBezTo>
                  <a:pt x="1419" y="1285"/>
                  <a:pt x="1436" y="1287"/>
                  <a:pt x="1453" y="1276"/>
                </a:cubicBezTo>
                <a:cubicBezTo>
                  <a:pt x="1478" y="1254"/>
                  <a:pt x="1326" y="1272"/>
                  <a:pt x="1402" y="1270"/>
                </a:cubicBezTo>
                <a:close/>
                <a:moveTo>
                  <a:pt x="1406" y="849"/>
                </a:moveTo>
                <a:cubicBezTo>
                  <a:pt x="1394" y="862"/>
                  <a:pt x="1395" y="876"/>
                  <a:pt x="1407" y="889"/>
                </a:cubicBezTo>
                <a:cubicBezTo>
                  <a:pt x="1420" y="889"/>
                  <a:pt x="1406" y="849"/>
                  <a:pt x="1406" y="849"/>
                </a:cubicBezTo>
                <a:close/>
                <a:moveTo>
                  <a:pt x="1433" y="879"/>
                </a:moveTo>
                <a:cubicBezTo>
                  <a:pt x="1446" y="879"/>
                  <a:pt x="1450" y="865"/>
                  <a:pt x="1433" y="865"/>
                </a:cubicBezTo>
                <a:cubicBezTo>
                  <a:pt x="1433" y="865"/>
                  <a:pt x="1420" y="879"/>
                  <a:pt x="1433" y="879"/>
                </a:cubicBezTo>
                <a:close/>
              </a:path>
            </a:pathLst>
          </a:custGeom>
          <a:gradFill rotWithShape="0">
            <a:gsLst>
              <a:gs pos="0">
                <a:srgbClr val="EAEAEA"/>
              </a:gs>
              <a:gs pos="100000">
                <a:srgbClr val="969696"/>
              </a:gs>
            </a:gsLst>
            <a:lin ang="5400000" scaled="1"/>
          </a:gradFill>
          <a:ln w="6350" cap="flat" cmpd="sng">
            <a:solidFill>
              <a:srgbClr val="E2E2E2"/>
            </a:solidFill>
            <a:prstDash val="solid"/>
            <a:miter lim="800000"/>
            <a:headEnd type="none" w="med" len="med"/>
            <a:tailEnd type="none" w="med" len="med"/>
          </a:ln>
          <a:effectLst>
            <a:outerShdw dist="45791" dir="2021404" algn="ctr" rotWithShape="0">
              <a:srgbClr val="808080"/>
            </a:outerShdw>
            <a:reflection blurRad="6350" stA="52000" endA="300" endPos="35000" dir="5400000" sy="-100000" algn="bl" rotWithShape="0"/>
          </a:effectLst>
          <a:scene3d>
            <a:camera prst="isometricOffAxis2Left"/>
            <a:lightRig rig="threePt" dir="t"/>
          </a:scene3d>
        </p:spPr>
        <p:txBody>
          <a:bodyPr vert="horz" wrap="square" lIns="91440" tIns="45720" rIns="91440" bIns="45720" numCol="1" anchor="t" anchorCtr="0" compatLnSpc="1">
            <a:prstTxWarp prst="textNoShape">
              <a:avLst/>
            </a:prstTxWarp>
          </a:bodyPr>
          <a:lstStyle/>
          <a:p>
            <a:endParaRPr lang="de-DE"/>
          </a:p>
        </p:txBody>
      </p:sp>
      <p:grpSp>
        <p:nvGrpSpPr>
          <p:cNvPr id="6" name="Gruppieren 108"/>
          <p:cNvGrpSpPr/>
          <p:nvPr/>
        </p:nvGrpSpPr>
        <p:grpSpPr>
          <a:xfrm>
            <a:off x="3611637" y="3138006"/>
            <a:ext cx="347663" cy="338138"/>
            <a:chOff x="203518" y="4378643"/>
            <a:chExt cx="347663" cy="338138"/>
          </a:xfrm>
        </p:grpSpPr>
        <p:pic>
          <p:nvPicPr>
            <p:cNvPr id="39" name="Grafik 38" descr="schatten.png"/>
            <p:cNvPicPr>
              <a:picLocks noChangeAspect="1"/>
            </p:cNvPicPr>
            <p:nvPr/>
          </p:nvPicPr>
          <p:blipFill>
            <a:blip r:embed="rId3" cstate="print">
              <a:lum bright="30000"/>
            </a:blip>
            <a:srcRect l="17603" t="9404" r="15359" b="14528"/>
            <a:stretch>
              <a:fillRect/>
            </a:stretch>
          </p:blipFill>
          <p:spPr>
            <a:xfrm>
              <a:off x="203518" y="4378643"/>
              <a:ext cx="347663" cy="338138"/>
            </a:xfrm>
            <a:prstGeom prst="rect">
              <a:avLst/>
            </a:prstGeom>
          </p:spPr>
        </p:pic>
        <p:sp>
          <p:nvSpPr>
            <p:cNvPr id="40"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9" name="Gruppieren 111"/>
          <p:cNvGrpSpPr/>
          <p:nvPr/>
        </p:nvGrpSpPr>
        <p:grpSpPr>
          <a:xfrm>
            <a:off x="4414993" y="1713952"/>
            <a:ext cx="347663" cy="338138"/>
            <a:chOff x="203518" y="4966018"/>
            <a:chExt cx="347663" cy="338138"/>
          </a:xfrm>
        </p:grpSpPr>
        <p:pic>
          <p:nvPicPr>
            <p:cNvPr id="42" name="Grafik 41" descr="schatten.png"/>
            <p:cNvPicPr>
              <a:picLocks noChangeAspect="1"/>
            </p:cNvPicPr>
            <p:nvPr/>
          </p:nvPicPr>
          <p:blipFill>
            <a:blip r:embed="rId3" cstate="print">
              <a:lum bright="30000"/>
            </a:blip>
            <a:srcRect l="17603" t="9404" r="15359" b="14528"/>
            <a:stretch>
              <a:fillRect/>
            </a:stretch>
          </p:blipFill>
          <p:spPr>
            <a:xfrm>
              <a:off x="203518" y="4966018"/>
              <a:ext cx="347663" cy="338138"/>
            </a:xfrm>
            <a:prstGeom prst="rect">
              <a:avLst/>
            </a:prstGeom>
          </p:spPr>
        </p:pic>
        <p:sp>
          <p:nvSpPr>
            <p:cNvPr id="43"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2" name="Group 77"/>
          <p:cNvGrpSpPr/>
          <p:nvPr/>
        </p:nvGrpSpPr>
        <p:grpSpPr>
          <a:xfrm>
            <a:off x="3634604" y="1648584"/>
            <a:ext cx="2314575" cy="2129666"/>
            <a:chOff x="2491604" y="4314812"/>
            <a:chExt cx="2314575" cy="2129666"/>
          </a:xfrm>
        </p:grpSpPr>
        <p:pic>
          <p:nvPicPr>
            <p:cNvPr id="2051" name="Picture 3"/>
            <p:cNvPicPr>
              <a:picLocks noChangeAspect="1" noChangeArrowheads="1"/>
            </p:cNvPicPr>
            <p:nvPr/>
          </p:nvPicPr>
          <p:blipFill>
            <a:blip r:embed="rId4"/>
            <a:srcRect/>
            <a:stretch>
              <a:fillRect/>
            </a:stretch>
          </p:blipFill>
          <p:spPr bwMode="auto">
            <a:xfrm>
              <a:off x="3693518" y="4314812"/>
              <a:ext cx="1066800" cy="1876425"/>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pic>
          <p:nvPicPr>
            <p:cNvPr id="2050" name="Picture 2"/>
            <p:cNvPicPr>
              <a:picLocks noChangeAspect="1" noChangeArrowheads="1"/>
            </p:cNvPicPr>
            <p:nvPr/>
          </p:nvPicPr>
          <p:blipFill>
            <a:blip r:embed="rId5"/>
            <a:srcRect/>
            <a:stretch>
              <a:fillRect/>
            </a:stretch>
          </p:blipFill>
          <p:spPr bwMode="auto">
            <a:xfrm>
              <a:off x="2491604" y="6196828"/>
              <a:ext cx="2314575" cy="247650"/>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reflection blurRad="6350" stA="52000" endA="300" endPos="35000" dir="5400000" sy="-100000" algn="bl" rotWithShape="0"/>
            </a:effectLst>
          </p:spPr>
        </p:pic>
      </p:grpSp>
      <p:grpSp>
        <p:nvGrpSpPr>
          <p:cNvPr id="13" name="Group 51"/>
          <p:cNvGrpSpPr/>
          <p:nvPr/>
        </p:nvGrpSpPr>
        <p:grpSpPr>
          <a:xfrm>
            <a:off x="2277520" y="3482974"/>
            <a:ext cx="3136899" cy="781051"/>
            <a:chOff x="2277520" y="3482974"/>
            <a:chExt cx="3136899" cy="781051"/>
          </a:xfrm>
        </p:grpSpPr>
        <p:grpSp>
          <p:nvGrpSpPr>
            <p:cNvPr id="14" name="Group 45"/>
            <p:cNvGrpSpPr>
              <a:grpSpLocks/>
            </p:cNvGrpSpPr>
            <p:nvPr/>
          </p:nvGrpSpPr>
          <p:grpSpPr bwMode="auto">
            <a:xfrm rot="-1312736">
              <a:off x="2277520" y="3482974"/>
              <a:ext cx="374650" cy="609600"/>
              <a:chOff x="1950" y="1045"/>
              <a:chExt cx="568" cy="928"/>
            </a:xfrm>
          </p:grpSpPr>
          <p:sp>
            <p:nvSpPr>
              <p:cNvPr id="79"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80"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81"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82"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83"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84"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85"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86"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87"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88"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89"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90"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sp>
          <p:nvSpPr>
            <p:cNvPr id="50" name="Rechteck 11"/>
            <p:cNvSpPr/>
            <p:nvPr/>
          </p:nvSpPr>
          <p:spPr>
            <a:xfrm>
              <a:off x="4834685" y="3544893"/>
              <a:ext cx="232615" cy="212719"/>
            </a:xfrm>
            <a:prstGeom prst="rect">
              <a:avLst/>
            </a:prstGeom>
            <a:solidFill>
              <a:schemeClr val="bg1">
                <a:alpha val="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nvGrpSpPr>
            <p:cNvPr id="15" name="Group 45"/>
            <p:cNvGrpSpPr>
              <a:grpSpLocks/>
            </p:cNvGrpSpPr>
            <p:nvPr/>
          </p:nvGrpSpPr>
          <p:grpSpPr bwMode="auto">
            <a:xfrm rot="-1312736">
              <a:off x="5039769" y="3654425"/>
              <a:ext cx="374650" cy="609600"/>
              <a:chOff x="1950" y="1045"/>
              <a:chExt cx="568" cy="928"/>
            </a:xfrm>
          </p:grpSpPr>
          <p:sp>
            <p:nvSpPr>
              <p:cNvPr id="94"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95"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96"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97"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98"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99"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00"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01"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02"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03"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04"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05"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sp>
        <p:nvSpPr>
          <p:cNvPr id="106"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3</a:t>
            </a:r>
            <a:endParaRPr lang="de-DE" sz="900" dirty="0">
              <a:solidFill>
                <a:schemeClr val="bg1">
                  <a:lumMod val="50000"/>
                </a:scheme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childTnLst>
                          </p:cTn>
                        </p:par>
                        <p:par>
                          <p:cTn id="8" fill="hold">
                            <p:stCondLst>
                              <p:cond delay="1300"/>
                            </p:stCondLst>
                            <p:childTnLst>
                              <p:par>
                                <p:cTn id="9" presetID="10" presetClass="entr" presetSubtype="0" fill="hold" grpId="0"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300"/>
                                        <p:tgtEl>
                                          <p:spTgt spid="26"/>
                                        </p:tgtEl>
                                      </p:cBhvr>
                                    </p:animEffect>
                                  </p:childTnLst>
                                </p:cTn>
                              </p:par>
                            </p:childTnLst>
                          </p:cTn>
                        </p:par>
                        <p:par>
                          <p:cTn id="12" fill="hold">
                            <p:stCondLst>
                              <p:cond delay="1600"/>
                            </p:stCondLst>
                            <p:childTnLst>
                              <p:par>
                                <p:cTn id="13" presetID="10" presetClass="entr" presetSubtype="0"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300"/>
                                        <p:tgtEl>
                                          <p:spTgt spid="5"/>
                                        </p:tgtEl>
                                      </p:cBhvr>
                                    </p:animEffect>
                                  </p:childTnLst>
                                </p:cTn>
                              </p:par>
                            </p:childTnLst>
                          </p:cTn>
                        </p:par>
                        <p:par>
                          <p:cTn id="16" fill="hold">
                            <p:stCondLst>
                              <p:cond delay="2900"/>
                            </p:stCondLst>
                            <p:childTnLst>
                              <p:par>
                                <p:cTn id="17" presetID="10" presetClass="entr" presetSubtype="0"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300"/>
                                        <p:tgtEl>
                                          <p:spTgt spid="27"/>
                                        </p:tgtEl>
                                      </p:cBhvr>
                                    </p:animEffect>
                                  </p:childTnLst>
                                </p:cTn>
                              </p:par>
                            </p:childTnLst>
                          </p:cTn>
                        </p:par>
                        <p:par>
                          <p:cTn id="20" fill="hold">
                            <p:stCondLst>
                              <p:cond delay="3200"/>
                            </p:stCondLst>
                            <p:childTnLst>
                              <p:par>
                                <p:cTn id="21" presetID="10" presetClass="entr" presetSubtype="0" fill="hold" nodeType="afterEffect">
                                  <p:stCondLst>
                                    <p:cond delay="100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300"/>
                                        <p:tgtEl>
                                          <p:spTgt spid="6"/>
                                        </p:tgtEl>
                                      </p:cBhvr>
                                    </p:animEffect>
                                  </p:childTnLst>
                                </p:cTn>
                              </p:par>
                            </p:childTnLst>
                          </p:cTn>
                        </p:par>
                        <p:par>
                          <p:cTn id="24" fill="hold">
                            <p:stCondLst>
                              <p:cond delay="4500"/>
                            </p:stCondLst>
                            <p:childTnLst>
                              <p:par>
                                <p:cTn id="25" presetID="10" presetClass="entr" presetSubtype="0" fill="hold" nodeType="afterEffect">
                                  <p:stCondLst>
                                    <p:cond delay="10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3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 name="Picture 2"/>
          <p:cNvPicPr>
            <a:picLocks noChangeAspect="1" noChangeArrowheads="1"/>
          </p:cNvPicPr>
          <p:nvPr/>
        </p:nvPicPr>
        <p:blipFill>
          <a:blip r:embed="rId2"/>
          <a:srcRect/>
          <a:stretch>
            <a:fillRect/>
          </a:stretch>
        </p:blipFill>
        <p:spPr bwMode="auto">
          <a:xfrm>
            <a:off x="-12700" y="3054350"/>
            <a:ext cx="9156700" cy="3359150"/>
          </a:xfrm>
          <a:prstGeom prst="rect">
            <a:avLst/>
          </a:prstGeom>
          <a:noFill/>
          <a:ln w="9525">
            <a:noFill/>
            <a:miter lim="800000"/>
            <a:headEnd/>
            <a:tailEnd/>
          </a:ln>
          <a:effectLst/>
        </p:spPr>
      </p:pic>
      <p:grpSp>
        <p:nvGrpSpPr>
          <p:cNvPr id="2" name="Group 146"/>
          <p:cNvGrpSpPr>
            <a:grpSpLocks/>
          </p:cNvGrpSpPr>
          <p:nvPr/>
        </p:nvGrpSpPr>
        <p:grpSpPr bwMode="auto">
          <a:xfrm>
            <a:off x="619125" y="774047"/>
            <a:ext cx="2250000" cy="3394800"/>
            <a:chOff x="1463" y="592"/>
            <a:chExt cx="2191" cy="3229"/>
          </a:xfrm>
          <a:effectLst>
            <a:reflection blurRad="6350" stA="52000" endA="300" endPos="35000" dir="5400000" sy="-100000" algn="bl" rotWithShape="0"/>
          </a:effectLst>
        </p:grpSpPr>
        <p:sp>
          <p:nvSpPr>
            <p:cNvPr id="126" name="Freeform 147"/>
            <p:cNvSpPr>
              <a:spLocks noEditPoints="1"/>
            </p:cNvSpPr>
            <p:nvPr/>
          </p:nvSpPr>
          <p:spPr bwMode="auto">
            <a:xfrm>
              <a:off x="1463" y="2157"/>
              <a:ext cx="824" cy="1180"/>
            </a:xfrm>
            <a:custGeom>
              <a:avLst/>
              <a:gdLst/>
              <a:ahLst/>
              <a:cxnLst>
                <a:cxn ang="0">
                  <a:pos x="28" y="2530"/>
                </a:cxn>
                <a:cxn ang="0">
                  <a:pos x="1174" y="189"/>
                </a:cxn>
                <a:cxn ang="0">
                  <a:pos x="1602" y="7"/>
                </a:cxn>
                <a:cxn ang="0">
                  <a:pos x="232" y="965"/>
                </a:cxn>
                <a:cxn ang="0">
                  <a:pos x="1842" y="2531"/>
                </a:cxn>
                <a:cxn ang="0">
                  <a:pos x="257" y="1277"/>
                </a:cxn>
                <a:cxn ang="0">
                  <a:pos x="468" y="1715"/>
                </a:cxn>
                <a:cxn ang="0">
                  <a:pos x="1043" y="260"/>
                </a:cxn>
                <a:cxn ang="0">
                  <a:pos x="2032" y="1595"/>
                </a:cxn>
                <a:cxn ang="0">
                  <a:pos x="2034" y="1240"/>
                </a:cxn>
                <a:cxn ang="0">
                  <a:pos x="1999" y="1024"/>
                </a:cxn>
                <a:cxn ang="0">
                  <a:pos x="1770" y="915"/>
                </a:cxn>
                <a:cxn ang="0">
                  <a:pos x="1541" y="994"/>
                </a:cxn>
                <a:cxn ang="0">
                  <a:pos x="1284" y="851"/>
                </a:cxn>
                <a:cxn ang="0">
                  <a:pos x="1303" y="669"/>
                </a:cxn>
                <a:cxn ang="0">
                  <a:pos x="1458" y="477"/>
                </a:cxn>
                <a:cxn ang="0">
                  <a:pos x="1535" y="80"/>
                </a:cxn>
                <a:cxn ang="0">
                  <a:pos x="1459" y="296"/>
                </a:cxn>
                <a:cxn ang="0">
                  <a:pos x="1347" y="147"/>
                </a:cxn>
                <a:cxn ang="0">
                  <a:pos x="1187" y="216"/>
                </a:cxn>
                <a:cxn ang="0">
                  <a:pos x="1049" y="329"/>
                </a:cxn>
                <a:cxn ang="0">
                  <a:pos x="1002" y="461"/>
                </a:cxn>
                <a:cxn ang="0">
                  <a:pos x="990" y="592"/>
                </a:cxn>
                <a:cxn ang="0">
                  <a:pos x="1164" y="585"/>
                </a:cxn>
                <a:cxn ang="0">
                  <a:pos x="983" y="750"/>
                </a:cxn>
                <a:cxn ang="0">
                  <a:pos x="756" y="862"/>
                </a:cxn>
                <a:cxn ang="0">
                  <a:pos x="591" y="806"/>
                </a:cxn>
                <a:cxn ang="0">
                  <a:pos x="373" y="845"/>
                </a:cxn>
                <a:cxn ang="0">
                  <a:pos x="299" y="946"/>
                </a:cxn>
                <a:cxn ang="0">
                  <a:pos x="351" y="938"/>
                </a:cxn>
                <a:cxn ang="0">
                  <a:pos x="362" y="1093"/>
                </a:cxn>
                <a:cxn ang="0">
                  <a:pos x="239" y="1077"/>
                </a:cxn>
                <a:cxn ang="0">
                  <a:pos x="487" y="1174"/>
                </a:cxn>
                <a:cxn ang="0">
                  <a:pos x="359" y="1278"/>
                </a:cxn>
                <a:cxn ang="0">
                  <a:pos x="224" y="1393"/>
                </a:cxn>
                <a:cxn ang="0">
                  <a:pos x="264" y="1499"/>
                </a:cxn>
                <a:cxn ang="0">
                  <a:pos x="355" y="1570"/>
                </a:cxn>
                <a:cxn ang="0">
                  <a:pos x="460" y="1567"/>
                </a:cxn>
                <a:cxn ang="0">
                  <a:pos x="780" y="1665"/>
                </a:cxn>
                <a:cxn ang="0">
                  <a:pos x="650" y="1703"/>
                </a:cxn>
                <a:cxn ang="0">
                  <a:pos x="554" y="1937"/>
                </a:cxn>
                <a:cxn ang="0">
                  <a:pos x="431" y="2147"/>
                </a:cxn>
                <a:cxn ang="0">
                  <a:pos x="722" y="2081"/>
                </a:cxn>
                <a:cxn ang="0">
                  <a:pos x="718" y="2108"/>
                </a:cxn>
                <a:cxn ang="0">
                  <a:pos x="346" y="2354"/>
                </a:cxn>
                <a:cxn ang="0">
                  <a:pos x="235" y="2395"/>
                </a:cxn>
                <a:cxn ang="0">
                  <a:pos x="82" y="2457"/>
                </a:cxn>
                <a:cxn ang="0">
                  <a:pos x="152" y="2483"/>
                </a:cxn>
                <a:cxn ang="0">
                  <a:pos x="289" y="2548"/>
                </a:cxn>
                <a:cxn ang="0">
                  <a:pos x="103" y="2695"/>
                </a:cxn>
                <a:cxn ang="0">
                  <a:pos x="216" y="2779"/>
                </a:cxn>
                <a:cxn ang="0">
                  <a:pos x="359" y="2760"/>
                </a:cxn>
                <a:cxn ang="0">
                  <a:pos x="211" y="2898"/>
                </a:cxn>
                <a:cxn ang="0">
                  <a:pos x="486" y="2846"/>
                </a:cxn>
                <a:cxn ang="0">
                  <a:pos x="373" y="3017"/>
                </a:cxn>
                <a:cxn ang="0">
                  <a:pos x="539" y="2988"/>
                </a:cxn>
                <a:cxn ang="0">
                  <a:pos x="754" y="2973"/>
                </a:cxn>
                <a:cxn ang="0">
                  <a:pos x="931" y="2886"/>
                </a:cxn>
                <a:cxn ang="0">
                  <a:pos x="1061" y="2730"/>
                </a:cxn>
                <a:cxn ang="0">
                  <a:pos x="1305" y="2659"/>
                </a:cxn>
                <a:cxn ang="0">
                  <a:pos x="1617" y="2531"/>
                </a:cxn>
                <a:cxn ang="0">
                  <a:pos x="1816" y="2466"/>
                </a:cxn>
                <a:cxn ang="0">
                  <a:pos x="2036" y="2191"/>
                </a:cxn>
              </a:cxnLst>
              <a:rect l="0" t="0" r="r" b="b"/>
              <a:pathLst>
                <a:path w="2133" h="3053">
                  <a:moveTo>
                    <a:pt x="516" y="1963"/>
                  </a:moveTo>
                  <a:cubicBezTo>
                    <a:pt x="516" y="1963"/>
                    <a:pt x="523" y="1975"/>
                    <a:pt x="523" y="1967"/>
                  </a:cubicBezTo>
                  <a:cubicBezTo>
                    <a:pt x="524" y="1959"/>
                    <a:pt x="516" y="1963"/>
                    <a:pt x="516" y="1963"/>
                  </a:cubicBezTo>
                  <a:close/>
                  <a:moveTo>
                    <a:pt x="513" y="3020"/>
                  </a:moveTo>
                  <a:cubicBezTo>
                    <a:pt x="510" y="3023"/>
                    <a:pt x="474" y="3044"/>
                    <a:pt x="493" y="3053"/>
                  </a:cubicBezTo>
                  <a:cubicBezTo>
                    <a:pt x="507" y="3048"/>
                    <a:pt x="507" y="3048"/>
                    <a:pt x="507" y="3048"/>
                  </a:cubicBezTo>
                  <a:cubicBezTo>
                    <a:pt x="507" y="3048"/>
                    <a:pt x="522" y="3039"/>
                    <a:pt x="517" y="3031"/>
                  </a:cubicBezTo>
                  <a:cubicBezTo>
                    <a:pt x="514" y="3026"/>
                    <a:pt x="513" y="3021"/>
                    <a:pt x="513" y="3020"/>
                  </a:cubicBezTo>
                  <a:close/>
                  <a:moveTo>
                    <a:pt x="158" y="2805"/>
                  </a:moveTo>
                  <a:cubicBezTo>
                    <a:pt x="165" y="2813"/>
                    <a:pt x="167" y="2802"/>
                    <a:pt x="167" y="2796"/>
                  </a:cubicBezTo>
                  <a:cubicBezTo>
                    <a:pt x="167" y="2796"/>
                    <a:pt x="151" y="2797"/>
                    <a:pt x="158" y="2805"/>
                  </a:cubicBezTo>
                  <a:close/>
                  <a:moveTo>
                    <a:pt x="47" y="2508"/>
                  </a:moveTo>
                  <a:cubicBezTo>
                    <a:pt x="36" y="2509"/>
                    <a:pt x="27" y="2525"/>
                    <a:pt x="27" y="2525"/>
                  </a:cubicBezTo>
                  <a:cubicBezTo>
                    <a:pt x="15" y="2531"/>
                    <a:pt x="24" y="2530"/>
                    <a:pt x="28" y="2530"/>
                  </a:cubicBezTo>
                  <a:cubicBezTo>
                    <a:pt x="32" y="2530"/>
                    <a:pt x="49" y="2515"/>
                    <a:pt x="56" y="2515"/>
                  </a:cubicBezTo>
                  <a:cubicBezTo>
                    <a:pt x="63" y="2515"/>
                    <a:pt x="49" y="2497"/>
                    <a:pt x="49" y="2497"/>
                  </a:cubicBezTo>
                  <a:lnTo>
                    <a:pt x="47" y="2508"/>
                  </a:lnTo>
                  <a:close/>
                  <a:moveTo>
                    <a:pt x="9" y="2549"/>
                  </a:moveTo>
                  <a:cubicBezTo>
                    <a:pt x="9" y="2549"/>
                    <a:pt x="18" y="2549"/>
                    <a:pt x="12" y="2539"/>
                  </a:cubicBezTo>
                  <a:cubicBezTo>
                    <a:pt x="8" y="2533"/>
                    <a:pt x="0" y="2547"/>
                    <a:pt x="0" y="2547"/>
                  </a:cubicBezTo>
                  <a:cubicBezTo>
                    <a:pt x="0" y="2547"/>
                    <a:pt x="3" y="2555"/>
                    <a:pt x="13" y="2556"/>
                  </a:cubicBezTo>
                  <a:cubicBezTo>
                    <a:pt x="23" y="2557"/>
                    <a:pt x="9" y="2549"/>
                    <a:pt x="9" y="2549"/>
                  </a:cubicBezTo>
                  <a:close/>
                  <a:moveTo>
                    <a:pt x="25" y="2475"/>
                  </a:moveTo>
                  <a:cubicBezTo>
                    <a:pt x="25" y="2475"/>
                    <a:pt x="11" y="2490"/>
                    <a:pt x="18" y="2497"/>
                  </a:cubicBezTo>
                  <a:cubicBezTo>
                    <a:pt x="25" y="2503"/>
                    <a:pt x="25" y="2475"/>
                    <a:pt x="25" y="2475"/>
                  </a:cubicBezTo>
                  <a:close/>
                  <a:moveTo>
                    <a:pt x="1174" y="189"/>
                  </a:moveTo>
                  <a:cubicBezTo>
                    <a:pt x="1182" y="189"/>
                    <a:pt x="1179" y="177"/>
                    <a:pt x="1173" y="177"/>
                  </a:cubicBezTo>
                  <a:cubicBezTo>
                    <a:pt x="1165" y="177"/>
                    <a:pt x="1166" y="188"/>
                    <a:pt x="1174" y="189"/>
                  </a:cubicBezTo>
                  <a:close/>
                  <a:moveTo>
                    <a:pt x="1159" y="123"/>
                  </a:moveTo>
                  <a:cubicBezTo>
                    <a:pt x="1173" y="126"/>
                    <a:pt x="1164" y="112"/>
                    <a:pt x="1164" y="112"/>
                  </a:cubicBezTo>
                  <a:cubicBezTo>
                    <a:pt x="1156" y="115"/>
                    <a:pt x="1156" y="115"/>
                    <a:pt x="1156" y="115"/>
                  </a:cubicBezTo>
                  <a:cubicBezTo>
                    <a:pt x="1140" y="104"/>
                    <a:pt x="1140" y="104"/>
                    <a:pt x="1140" y="104"/>
                  </a:cubicBezTo>
                  <a:cubicBezTo>
                    <a:pt x="1133" y="115"/>
                    <a:pt x="1133" y="115"/>
                    <a:pt x="1133" y="115"/>
                  </a:cubicBezTo>
                  <a:cubicBezTo>
                    <a:pt x="1147" y="113"/>
                    <a:pt x="1147" y="113"/>
                    <a:pt x="1147" y="113"/>
                  </a:cubicBezTo>
                  <a:cubicBezTo>
                    <a:pt x="1147" y="113"/>
                    <a:pt x="1145" y="121"/>
                    <a:pt x="1159" y="123"/>
                  </a:cubicBezTo>
                  <a:close/>
                  <a:moveTo>
                    <a:pt x="1087" y="254"/>
                  </a:moveTo>
                  <a:cubicBezTo>
                    <a:pt x="1097" y="247"/>
                    <a:pt x="1081" y="235"/>
                    <a:pt x="1081" y="235"/>
                  </a:cubicBezTo>
                  <a:cubicBezTo>
                    <a:pt x="1073" y="247"/>
                    <a:pt x="1073" y="247"/>
                    <a:pt x="1073" y="247"/>
                  </a:cubicBezTo>
                  <a:cubicBezTo>
                    <a:pt x="1073" y="247"/>
                    <a:pt x="1078" y="261"/>
                    <a:pt x="1087" y="254"/>
                  </a:cubicBezTo>
                  <a:close/>
                  <a:moveTo>
                    <a:pt x="1602" y="7"/>
                  </a:moveTo>
                  <a:cubicBezTo>
                    <a:pt x="1605" y="0"/>
                    <a:pt x="1595" y="1"/>
                    <a:pt x="1595" y="1"/>
                  </a:cubicBezTo>
                  <a:cubicBezTo>
                    <a:pt x="1593" y="3"/>
                    <a:pt x="1599" y="15"/>
                    <a:pt x="1602" y="7"/>
                  </a:cubicBezTo>
                  <a:close/>
                  <a:moveTo>
                    <a:pt x="1010" y="334"/>
                  </a:moveTo>
                  <a:cubicBezTo>
                    <a:pt x="1023" y="340"/>
                    <a:pt x="1028" y="337"/>
                    <a:pt x="1027" y="329"/>
                  </a:cubicBezTo>
                  <a:cubicBezTo>
                    <a:pt x="1027" y="320"/>
                    <a:pt x="1015" y="295"/>
                    <a:pt x="1015" y="295"/>
                  </a:cubicBezTo>
                  <a:cubicBezTo>
                    <a:pt x="997" y="293"/>
                    <a:pt x="997" y="293"/>
                    <a:pt x="997" y="293"/>
                  </a:cubicBezTo>
                  <a:cubicBezTo>
                    <a:pt x="1003" y="305"/>
                    <a:pt x="1003" y="305"/>
                    <a:pt x="1003" y="305"/>
                  </a:cubicBezTo>
                  <a:cubicBezTo>
                    <a:pt x="1003" y="305"/>
                    <a:pt x="997" y="307"/>
                    <a:pt x="995" y="313"/>
                  </a:cubicBezTo>
                  <a:cubicBezTo>
                    <a:pt x="993" y="320"/>
                    <a:pt x="997" y="328"/>
                    <a:pt x="1010" y="334"/>
                  </a:cubicBezTo>
                  <a:close/>
                  <a:moveTo>
                    <a:pt x="232" y="965"/>
                  </a:moveTo>
                  <a:cubicBezTo>
                    <a:pt x="241" y="967"/>
                    <a:pt x="235" y="953"/>
                    <a:pt x="235" y="953"/>
                  </a:cubicBezTo>
                  <a:cubicBezTo>
                    <a:pt x="235" y="953"/>
                    <a:pt x="241" y="950"/>
                    <a:pt x="249" y="948"/>
                  </a:cubicBezTo>
                  <a:cubicBezTo>
                    <a:pt x="257" y="946"/>
                    <a:pt x="249" y="935"/>
                    <a:pt x="237" y="932"/>
                  </a:cubicBezTo>
                  <a:cubicBezTo>
                    <a:pt x="232" y="947"/>
                    <a:pt x="232" y="947"/>
                    <a:pt x="232" y="947"/>
                  </a:cubicBezTo>
                  <a:cubicBezTo>
                    <a:pt x="222" y="960"/>
                    <a:pt x="222" y="960"/>
                    <a:pt x="222" y="960"/>
                  </a:cubicBezTo>
                  <a:cubicBezTo>
                    <a:pt x="222" y="960"/>
                    <a:pt x="223" y="963"/>
                    <a:pt x="232" y="965"/>
                  </a:cubicBezTo>
                  <a:close/>
                  <a:moveTo>
                    <a:pt x="239" y="1346"/>
                  </a:moveTo>
                  <a:cubicBezTo>
                    <a:pt x="247" y="1344"/>
                    <a:pt x="236" y="1325"/>
                    <a:pt x="222" y="1323"/>
                  </a:cubicBezTo>
                  <a:cubicBezTo>
                    <a:pt x="208" y="1320"/>
                    <a:pt x="201" y="1339"/>
                    <a:pt x="201" y="1339"/>
                  </a:cubicBezTo>
                  <a:cubicBezTo>
                    <a:pt x="188" y="1335"/>
                    <a:pt x="188" y="1335"/>
                    <a:pt x="188" y="1335"/>
                  </a:cubicBezTo>
                  <a:cubicBezTo>
                    <a:pt x="188" y="1335"/>
                    <a:pt x="183" y="1350"/>
                    <a:pt x="183" y="1353"/>
                  </a:cubicBezTo>
                  <a:cubicBezTo>
                    <a:pt x="183" y="1353"/>
                    <a:pt x="207" y="1340"/>
                    <a:pt x="214" y="1339"/>
                  </a:cubicBezTo>
                  <a:cubicBezTo>
                    <a:pt x="221" y="1339"/>
                    <a:pt x="232" y="1348"/>
                    <a:pt x="239" y="1346"/>
                  </a:cubicBezTo>
                  <a:close/>
                  <a:moveTo>
                    <a:pt x="247" y="987"/>
                  </a:moveTo>
                  <a:cubicBezTo>
                    <a:pt x="246" y="991"/>
                    <a:pt x="261" y="1003"/>
                    <a:pt x="257" y="993"/>
                  </a:cubicBezTo>
                  <a:cubicBezTo>
                    <a:pt x="253" y="984"/>
                    <a:pt x="247" y="987"/>
                    <a:pt x="247" y="987"/>
                  </a:cubicBezTo>
                  <a:close/>
                  <a:moveTo>
                    <a:pt x="1842" y="2531"/>
                  </a:moveTo>
                  <a:cubicBezTo>
                    <a:pt x="1833" y="2545"/>
                    <a:pt x="1833" y="2545"/>
                    <a:pt x="1833" y="2545"/>
                  </a:cubicBezTo>
                  <a:cubicBezTo>
                    <a:pt x="1833" y="2545"/>
                    <a:pt x="1848" y="2537"/>
                    <a:pt x="1850" y="2537"/>
                  </a:cubicBezTo>
                  <a:cubicBezTo>
                    <a:pt x="1852" y="2536"/>
                    <a:pt x="1842" y="2531"/>
                    <a:pt x="1842" y="2531"/>
                  </a:cubicBezTo>
                  <a:close/>
                  <a:moveTo>
                    <a:pt x="537" y="1777"/>
                  </a:moveTo>
                  <a:cubicBezTo>
                    <a:pt x="529" y="1765"/>
                    <a:pt x="530" y="1759"/>
                    <a:pt x="522" y="1762"/>
                  </a:cubicBezTo>
                  <a:cubicBezTo>
                    <a:pt x="514" y="1765"/>
                    <a:pt x="511" y="1781"/>
                    <a:pt x="511" y="1789"/>
                  </a:cubicBezTo>
                  <a:cubicBezTo>
                    <a:pt x="511" y="1789"/>
                    <a:pt x="545" y="1790"/>
                    <a:pt x="537" y="1777"/>
                  </a:cubicBezTo>
                  <a:close/>
                  <a:moveTo>
                    <a:pt x="505" y="1743"/>
                  </a:moveTo>
                  <a:cubicBezTo>
                    <a:pt x="498" y="1737"/>
                    <a:pt x="477" y="1762"/>
                    <a:pt x="477" y="1762"/>
                  </a:cubicBezTo>
                  <a:cubicBezTo>
                    <a:pt x="486" y="1773"/>
                    <a:pt x="486" y="1773"/>
                    <a:pt x="486" y="1773"/>
                  </a:cubicBezTo>
                  <a:cubicBezTo>
                    <a:pt x="499" y="1773"/>
                    <a:pt x="513" y="1749"/>
                    <a:pt x="505" y="1743"/>
                  </a:cubicBezTo>
                  <a:close/>
                  <a:moveTo>
                    <a:pt x="268" y="1281"/>
                  </a:moveTo>
                  <a:cubicBezTo>
                    <a:pt x="271" y="1276"/>
                    <a:pt x="283" y="1282"/>
                    <a:pt x="283" y="1282"/>
                  </a:cubicBezTo>
                  <a:cubicBezTo>
                    <a:pt x="282" y="1263"/>
                    <a:pt x="282" y="1263"/>
                    <a:pt x="282" y="1263"/>
                  </a:cubicBezTo>
                  <a:cubicBezTo>
                    <a:pt x="271" y="1269"/>
                    <a:pt x="271" y="1269"/>
                    <a:pt x="271" y="1269"/>
                  </a:cubicBezTo>
                  <a:cubicBezTo>
                    <a:pt x="267" y="1259"/>
                    <a:pt x="267" y="1259"/>
                    <a:pt x="267" y="1259"/>
                  </a:cubicBezTo>
                  <a:cubicBezTo>
                    <a:pt x="257" y="1277"/>
                    <a:pt x="257" y="1277"/>
                    <a:pt x="257" y="1277"/>
                  </a:cubicBezTo>
                  <a:cubicBezTo>
                    <a:pt x="257" y="1277"/>
                    <a:pt x="265" y="1285"/>
                    <a:pt x="268" y="1281"/>
                  </a:cubicBezTo>
                  <a:close/>
                  <a:moveTo>
                    <a:pt x="313" y="1269"/>
                  </a:moveTo>
                  <a:cubicBezTo>
                    <a:pt x="306" y="1256"/>
                    <a:pt x="306" y="1256"/>
                    <a:pt x="306" y="1256"/>
                  </a:cubicBezTo>
                  <a:cubicBezTo>
                    <a:pt x="298" y="1271"/>
                    <a:pt x="313" y="1269"/>
                    <a:pt x="313" y="1269"/>
                  </a:cubicBezTo>
                  <a:close/>
                  <a:moveTo>
                    <a:pt x="468" y="1715"/>
                  </a:moveTo>
                  <a:cubicBezTo>
                    <a:pt x="469" y="1706"/>
                    <a:pt x="439" y="1703"/>
                    <a:pt x="439" y="1703"/>
                  </a:cubicBezTo>
                  <a:cubicBezTo>
                    <a:pt x="429" y="1713"/>
                    <a:pt x="429" y="1713"/>
                    <a:pt x="429" y="1713"/>
                  </a:cubicBezTo>
                  <a:cubicBezTo>
                    <a:pt x="429" y="1713"/>
                    <a:pt x="420" y="1698"/>
                    <a:pt x="407" y="1696"/>
                  </a:cubicBezTo>
                  <a:cubicBezTo>
                    <a:pt x="393" y="1694"/>
                    <a:pt x="387" y="1712"/>
                    <a:pt x="387" y="1712"/>
                  </a:cubicBezTo>
                  <a:cubicBezTo>
                    <a:pt x="391" y="1712"/>
                    <a:pt x="409" y="1717"/>
                    <a:pt x="412" y="1719"/>
                  </a:cubicBezTo>
                  <a:cubicBezTo>
                    <a:pt x="415" y="1720"/>
                    <a:pt x="467" y="1751"/>
                    <a:pt x="467" y="1751"/>
                  </a:cubicBezTo>
                  <a:cubicBezTo>
                    <a:pt x="477" y="1735"/>
                    <a:pt x="477" y="1735"/>
                    <a:pt x="477" y="1735"/>
                  </a:cubicBezTo>
                  <a:cubicBezTo>
                    <a:pt x="477" y="1735"/>
                    <a:pt x="459" y="1736"/>
                    <a:pt x="459" y="1729"/>
                  </a:cubicBezTo>
                  <a:cubicBezTo>
                    <a:pt x="459" y="1721"/>
                    <a:pt x="467" y="1723"/>
                    <a:pt x="468" y="1715"/>
                  </a:cubicBezTo>
                  <a:close/>
                  <a:moveTo>
                    <a:pt x="350" y="1197"/>
                  </a:moveTo>
                  <a:cubicBezTo>
                    <a:pt x="345" y="1188"/>
                    <a:pt x="332" y="1181"/>
                    <a:pt x="332" y="1181"/>
                  </a:cubicBezTo>
                  <a:cubicBezTo>
                    <a:pt x="317" y="1193"/>
                    <a:pt x="317" y="1193"/>
                    <a:pt x="317" y="1193"/>
                  </a:cubicBezTo>
                  <a:cubicBezTo>
                    <a:pt x="317" y="1193"/>
                    <a:pt x="295" y="1191"/>
                    <a:pt x="298" y="1215"/>
                  </a:cubicBezTo>
                  <a:cubicBezTo>
                    <a:pt x="298" y="1219"/>
                    <a:pt x="321" y="1217"/>
                    <a:pt x="328" y="1214"/>
                  </a:cubicBezTo>
                  <a:cubicBezTo>
                    <a:pt x="335" y="1211"/>
                    <a:pt x="355" y="1207"/>
                    <a:pt x="350" y="1197"/>
                  </a:cubicBezTo>
                  <a:close/>
                  <a:moveTo>
                    <a:pt x="322" y="1558"/>
                  </a:moveTo>
                  <a:cubicBezTo>
                    <a:pt x="309" y="1557"/>
                    <a:pt x="316" y="1567"/>
                    <a:pt x="326" y="1567"/>
                  </a:cubicBezTo>
                  <a:cubicBezTo>
                    <a:pt x="336" y="1568"/>
                    <a:pt x="333" y="1559"/>
                    <a:pt x="322" y="1558"/>
                  </a:cubicBezTo>
                  <a:close/>
                  <a:moveTo>
                    <a:pt x="2114" y="1477"/>
                  </a:moveTo>
                  <a:cubicBezTo>
                    <a:pt x="2114" y="1477"/>
                    <a:pt x="2112" y="1491"/>
                    <a:pt x="2122" y="1488"/>
                  </a:cubicBezTo>
                  <a:cubicBezTo>
                    <a:pt x="2132" y="1485"/>
                    <a:pt x="2133" y="1477"/>
                    <a:pt x="2133" y="1477"/>
                  </a:cubicBezTo>
                  <a:lnTo>
                    <a:pt x="2114" y="1477"/>
                  </a:lnTo>
                  <a:close/>
                  <a:moveTo>
                    <a:pt x="1043" y="260"/>
                  </a:moveTo>
                  <a:cubicBezTo>
                    <a:pt x="1038" y="270"/>
                    <a:pt x="1038" y="270"/>
                    <a:pt x="1038" y="270"/>
                  </a:cubicBezTo>
                  <a:cubicBezTo>
                    <a:pt x="1047" y="270"/>
                    <a:pt x="1047" y="270"/>
                    <a:pt x="1047" y="270"/>
                  </a:cubicBezTo>
                  <a:cubicBezTo>
                    <a:pt x="1044" y="265"/>
                    <a:pt x="1043" y="260"/>
                    <a:pt x="1043" y="260"/>
                  </a:cubicBezTo>
                  <a:close/>
                  <a:moveTo>
                    <a:pt x="177" y="2799"/>
                  </a:moveTo>
                  <a:cubicBezTo>
                    <a:pt x="184" y="2799"/>
                    <a:pt x="184" y="2799"/>
                    <a:pt x="184" y="2799"/>
                  </a:cubicBezTo>
                  <a:cubicBezTo>
                    <a:pt x="177" y="2791"/>
                    <a:pt x="177" y="2791"/>
                    <a:pt x="177" y="2791"/>
                  </a:cubicBezTo>
                  <a:lnTo>
                    <a:pt x="177" y="2799"/>
                  </a:lnTo>
                  <a:close/>
                  <a:moveTo>
                    <a:pt x="2103" y="1863"/>
                  </a:moveTo>
                  <a:cubicBezTo>
                    <a:pt x="2103" y="1863"/>
                    <a:pt x="2110" y="1768"/>
                    <a:pt x="2105" y="1752"/>
                  </a:cubicBezTo>
                  <a:cubicBezTo>
                    <a:pt x="2094" y="1751"/>
                    <a:pt x="2092" y="1728"/>
                    <a:pt x="2092" y="1709"/>
                  </a:cubicBezTo>
                  <a:cubicBezTo>
                    <a:pt x="2073" y="1693"/>
                    <a:pt x="2077" y="1649"/>
                    <a:pt x="2077" y="1649"/>
                  </a:cubicBezTo>
                  <a:cubicBezTo>
                    <a:pt x="2077" y="1649"/>
                    <a:pt x="2085" y="1649"/>
                    <a:pt x="2086" y="1644"/>
                  </a:cubicBezTo>
                  <a:cubicBezTo>
                    <a:pt x="2087" y="1639"/>
                    <a:pt x="2093" y="1644"/>
                    <a:pt x="2067" y="1625"/>
                  </a:cubicBezTo>
                  <a:cubicBezTo>
                    <a:pt x="2034" y="1623"/>
                    <a:pt x="2032" y="1595"/>
                    <a:pt x="2032" y="1595"/>
                  </a:cubicBezTo>
                  <a:cubicBezTo>
                    <a:pt x="2045" y="1595"/>
                    <a:pt x="2045" y="1595"/>
                    <a:pt x="2045" y="1595"/>
                  </a:cubicBezTo>
                  <a:cubicBezTo>
                    <a:pt x="2039" y="1581"/>
                    <a:pt x="2039" y="1581"/>
                    <a:pt x="2039" y="1581"/>
                  </a:cubicBezTo>
                  <a:cubicBezTo>
                    <a:pt x="2087" y="1565"/>
                    <a:pt x="2087" y="1565"/>
                    <a:pt x="2087" y="1565"/>
                  </a:cubicBezTo>
                  <a:cubicBezTo>
                    <a:pt x="2087" y="1583"/>
                    <a:pt x="2087" y="1583"/>
                    <a:pt x="2087" y="1583"/>
                  </a:cubicBezTo>
                  <a:cubicBezTo>
                    <a:pt x="2087" y="1583"/>
                    <a:pt x="2105" y="1566"/>
                    <a:pt x="2108" y="1562"/>
                  </a:cubicBezTo>
                  <a:cubicBezTo>
                    <a:pt x="2108" y="1562"/>
                    <a:pt x="2108" y="1562"/>
                    <a:pt x="2108" y="1562"/>
                  </a:cubicBezTo>
                  <a:cubicBezTo>
                    <a:pt x="2107" y="1562"/>
                    <a:pt x="2104" y="1560"/>
                    <a:pt x="2099" y="1548"/>
                  </a:cubicBezTo>
                  <a:cubicBezTo>
                    <a:pt x="2070" y="1549"/>
                    <a:pt x="2069" y="1524"/>
                    <a:pt x="2075" y="1512"/>
                  </a:cubicBezTo>
                  <a:cubicBezTo>
                    <a:pt x="2066" y="1510"/>
                    <a:pt x="2084" y="1479"/>
                    <a:pt x="2084" y="1479"/>
                  </a:cubicBezTo>
                  <a:cubicBezTo>
                    <a:pt x="2075" y="1460"/>
                    <a:pt x="2101" y="1456"/>
                    <a:pt x="2096" y="1456"/>
                  </a:cubicBezTo>
                  <a:cubicBezTo>
                    <a:pt x="2091" y="1456"/>
                    <a:pt x="2097" y="1437"/>
                    <a:pt x="2097" y="1437"/>
                  </a:cubicBezTo>
                  <a:cubicBezTo>
                    <a:pt x="2097" y="1437"/>
                    <a:pt x="2097" y="1428"/>
                    <a:pt x="2083" y="1404"/>
                  </a:cubicBezTo>
                  <a:cubicBezTo>
                    <a:pt x="2054" y="1405"/>
                    <a:pt x="2064" y="1405"/>
                    <a:pt x="2056" y="1385"/>
                  </a:cubicBezTo>
                  <a:cubicBezTo>
                    <a:pt x="1983" y="1309"/>
                    <a:pt x="2037" y="1244"/>
                    <a:pt x="2034" y="1240"/>
                  </a:cubicBezTo>
                  <a:cubicBezTo>
                    <a:pt x="1998" y="1239"/>
                    <a:pt x="2028" y="1189"/>
                    <a:pt x="2028" y="1189"/>
                  </a:cubicBezTo>
                  <a:cubicBezTo>
                    <a:pt x="2028" y="1189"/>
                    <a:pt x="1994" y="1185"/>
                    <a:pt x="1975" y="1173"/>
                  </a:cubicBezTo>
                  <a:cubicBezTo>
                    <a:pt x="1956" y="1161"/>
                    <a:pt x="1960" y="1121"/>
                    <a:pt x="1960" y="1121"/>
                  </a:cubicBezTo>
                  <a:cubicBezTo>
                    <a:pt x="1974" y="1114"/>
                    <a:pt x="1974" y="1114"/>
                    <a:pt x="1974" y="1114"/>
                  </a:cubicBezTo>
                  <a:cubicBezTo>
                    <a:pt x="1974" y="1083"/>
                    <a:pt x="1996" y="1081"/>
                    <a:pt x="1996" y="1081"/>
                  </a:cubicBezTo>
                  <a:cubicBezTo>
                    <a:pt x="1996" y="1081"/>
                    <a:pt x="2032" y="1106"/>
                    <a:pt x="2057" y="1110"/>
                  </a:cubicBezTo>
                  <a:cubicBezTo>
                    <a:pt x="2082" y="1114"/>
                    <a:pt x="2091" y="1086"/>
                    <a:pt x="2091" y="1086"/>
                  </a:cubicBezTo>
                  <a:cubicBezTo>
                    <a:pt x="2083" y="1077"/>
                    <a:pt x="2083" y="1077"/>
                    <a:pt x="2083" y="1077"/>
                  </a:cubicBezTo>
                  <a:cubicBezTo>
                    <a:pt x="2077" y="1074"/>
                    <a:pt x="2077" y="1074"/>
                    <a:pt x="2077" y="1074"/>
                  </a:cubicBezTo>
                  <a:cubicBezTo>
                    <a:pt x="2077" y="1074"/>
                    <a:pt x="2077" y="1074"/>
                    <a:pt x="2075" y="1062"/>
                  </a:cubicBezTo>
                  <a:cubicBezTo>
                    <a:pt x="2053" y="1063"/>
                    <a:pt x="2062" y="1061"/>
                    <a:pt x="2044" y="1036"/>
                  </a:cubicBezTo>
                  <a:cubicBezTo>
                    <a:pt x="2028" y="1036"/>
                    <a:pt x="2024" y="1026"/>
                    <a:pt x="2024" y="1018"/>
                  </a:cubicBezTo>
                  <a:cubicBezTo>
                    <a:pt x="2020" y="1017"/>
                    <a:pt x="2016" y="1016"/>
                    <a:pt x="2014" y="1016"/>
                  </a:cubicBezTo>
                  <a:cubicBezTo>
                    <a:pt x="2008" y="1016"/>
                    <a:pt x="1999" y="1024"/>
                    <a:pt x="1999" y="1024"/>
                  </a:cubicBezTo>
                  <a:cubicBezTo>
                    <a:pt x="1983" y="1005"/>
                    <a:pt x="1983" y="1005"/>
                    <a:pt x="1983" y="1005"/>
                  </a:cubicBezTo>
                  <a:cubicBezTo>
                    <a:pt x="1983" y="1005"/>
                    <a:pt x="1983" y="1005"/>
                    <a:pt x="1979" y="1013"/>
                  </a:cubicBezTo>
                  <a:cubicBezTo>
                    <a:pt x="1980" y="1027"/>
                    <a:pt x="1959" y="1051"/>
                    <a:pt x="1947" y="1053"/>
                  </a:cubicBezTo>
                  <a:cubicBezTo>
                    <a:pt x="1936" y="1055"/>
                    <a:pt x="1927" y="1037"/>
                    <a:pt x="1927" y="1037"/>
                  </a:cubicBezTo>
                  <a:cubicBezTo>
                    <a:pt x="1927" y="1037"/>
                    <a:pt x="1924" y="1037"/>
                    <a:pt x="1917" y="1048"/>
                  </a:cubicBezTo>
                  <a:cubicBezTo>
                    <a:pt x="1905" y="1049"/>
                    <a:pt x="1890" y="1057"/>
                    <a:pt x="1890" y="1057"/>
                  </a:cubicBezTo>
                  <a:cubicBezTo>
                    <a:pt x="1877" y="1047"/>
                    <a:pt x="1877" y="1047"/>
                    <a:pt x="1877" y="1047"/>
                  </a:cubicBezTo>
                  <a:cubicBezTo>
                    <a:pt x="1877" y="1047"/>
                    <a:pt x="1865" y="1059"/>
                    <a:pt x="1864" y="1061"/>
                  </a:cubicBezTo>
                  <a:cubicBezTo>
                    <a:pt x="1863" y="1063"/>
                    <a:pt x="1841" y="1038"/>
                    <a:pt x="1840" y="1022"/>
                  </a:cubicBezTo>
                  <a:cubicBezTo>
                    <a:pt x="1839" y="1006"/>
                    <a:pt x="1854" y="982"/>
                    <a:pt x="1854" y="982"/>
                  </a:cubicBezTo>
                  <a:cubicBezTo>
                    <a:pt x="1851" y="975"/>
                    <a:pt x="1851" y="975"/>
                    <a:pt x="1851" y="975"/>
                  </a:cubicBezTo>
                  <a:cubicBezTo>
                    <a:pt x="1851" y="975"/>
                    <a:pt x="1836" y="938"/>
                    <a:pt x="1828" y="936"/>
                  </a:cubicBezTo>
                  <a:cubicBezTo>
                    <a:pt x="1820" y="934"/>
                    <a:pt x="1805" y="951"/>
                    <a:pt x="1805" y="951"/>
                  </a:cubicBezTo>
                  <a:cubicBezTo>
                    <a:pt x="1770" y="915"/>
                    <a:pt x="1770" y="915"/>
                    <a:pt x="1770" y="915"/>
                  </a:cubicBezTo>
                  <a:cubicBezTo>
                    <a:pt x="1768" y="886"/>
                    <a:pt x="1745" y="881"/>
                    <a:pt x="1745" y="881"/>
                  </a:cubicBezTo>
                  <a:cubicBezTo>
                    <a:pt x="1745" y="881"/>
                    <a:pt x="1745" y="878"/>
                    <a:pt x="1755" y="855"/>
                  </a:cubicBezTo>
                  <a:cubicBezTo>
                    <a:pt x="1751" y="833"/>
                    <a:pt x="1703" y="781"/>
                    <a:pt x="1703" y="781"/>
                  </a:cubicBezTo>
                  <a:cubicBezTo>
                    <a:pt x="1689" y="781"/>
                    <a:pt x="1689" y="781"/>
                    <a:pt x="1689" y="781"/>
                  </a:cubicBezTo>
                  <a:cubicBezTo>
                    <a:pt x="1678" y="769"/>
                    <a:pt x="1678" y="769"/>
                    <a:pt x="1678" y="769"/>
                  </a:cubicBezTo>
                  <a:cubicBezTo>
                    <a:pt x="1629" y="832"/>
                    <a:pt x="1629" y="832"/>
                    <a:pt x="1629" y="832"/>
                  </a:cubicBezTo>
                  <a:cubicBezTo>
                    <a:pt x="1613" y="833"/>
                    <a:pt x="1613" y="833"/>
                    <a:pt x="1613" y="833"/>
                  </a:cubicBezTo>
                  <a:cubicBezTo>
                    <a:pt x="1613" y="833"/>
                    <a:pt x="1589" y="858"/>
                    <a:pt x="1595" y="858"/>
                  </a:cubicBezTo>
                  <a:cubicBezTo>
                    <a:pt x="1601" y="858"/>
                    <a:pt x="1617" y="879"/>
                    <a:pt x="1617" y="879"/>
                  </a:cubicBezTo>
                  <a:cubicBezTo>
                    <a:pt x="1617" y="879"/>
                    <a:pt x="1628" y="885"/>
                    <a:pt x="1615" y="914"/>
                  </a:cubicBezTo>
                  <a:cubicBezTo>
                    <a:pt x="1563" y="919"/>
                    <a:pt x="1560" y="993"/>
                    <a:pt x="1560" y="993"/>
                  </a:cubicBezTo>
                  <a:cubicBezTo>
                    <a:pt x="1560" y="993"/>
                    <a:pt x="1556" y="957"/>
                    <a:pt x="1551" y="956"/>
                  </a:cubicBezTo>
                  <a:cubicBezTo>
                    <a:pt x="1547" y="955"/>
                    <a:pt x="1539" y="971"/>
                    <a:pt x="1539" y="975"/>
                  </a:cubicBezTo>
                  <a:cubicBezTo>
                    <a:pt x="1539" y="978"/>
                    <a:pt x="1541" y="987"/>
                    <a:pt x="1541" y="994"/>
                  </a:cubicBezTo>
                  <a:cubicBezTo>
                    <a:pt x="1541" y="1001"/>
                    <a:pt x="1533" y="985"/>
                    <a:pt x="1526" y="985"/>
                  </a:cubicBezTo>
                  <a:cubicBezTo>
                    <a:pt x="1519" y="985"/>
                    <a:pt x="1517" y="997"/>
                    <a:pt x="1517" y="997"/>
                  </a:cubicBezTo>
                  <a:cubicBezTo>
                    <a:pt x="1517" y="997"/>
                    <a:pt x="1516" y="985"/>
                    <a:pt x="1516" y="980"/>
                  </a:cubicBezTo>
                  <a:cubicBezTo>
                    <a:pt x="1516" y="975"/>
                    <a:pt x="1501" y="979"/>
                    <a:pt x="1498" y="979"/>
                  </a:cubicBezTo>
                  <a:cubicBezTo>
                    <a:pt x="1495" y="979"/>
                    <a:pt x="1496" y="964"/>
                    <a:pt x="1496" y="964"/>
                  </a:cubicBezTo>
                  <a:cubicBezTo>
                    <a:pt x="1496" y="964"/>
                    <a:pt x="1477" y="991"/>
                    <a:pt x="1467" y="993"/>
                  </a:cubicBezTo>
                  <a:cubicBezTo>
                    <a:pt x="1458" y="996"/>
                    <a:pt x="1419" y="978"/>
                    <a:pt x="1419" y="978"/>
                  </a:cubicBezTo>
                  <a:cubicBezTo>
                    <a:pt x="1391" y="943"/>
                    <a:pt x="1391" y="943"/>
                    <a:pt x="1391" y="943"/>
                  </a:cubicBezTo>
                  <a:cubicBezTo>
                    <a:pt x="1384" y="943"/>
                    <a:pt x="1384" y="943"/>
                    <a:pt x="1384" y="943"/>
                  </a:cubicBezTo>
                  <a:cubicBezTo>
                    <a:pt x="1384" y="943"/>
                    <a:pt x="1369" y="924"/>
                    <a:pt x="1369" y="922"/>
                  </a:cubicBezTo>
                  <a:cubicBezTo>
                    <a:pt x="1368" y="920"/>
                    <a:pt x="1314" y="921"/>
                    <a:pt x="1314" y="921"/>
                  </a:cubicBezTo>
                  <a:cubicBezTo>
                    <a:pt x="1307" y="924"/>
                    <a:pt x="1307" y="924"/>
                    <a:pt x="1307" y="924"/>
                  </a:cubicBezTo>
                  <a:cubicBezTo>
                    <a:pt x="1307" y="923"/>
                    <a:pt x="1305" y="920"/>
                    <a:pt x="1300" y="913"/>
                  </a:cubicBezTo>
                  <a:cubicBezTo>
                    <a:pt x="1298" y="890"/>
                    <a:pt x="1284" y="851"/>
                    <a:pt x="1284" y="851"/>
                  </a:cubicBezTo>
                  <a:cubicBezTo>
                    <a:pt x="1268" y="849"/>
                    <a:pt x="1268" y="849"/>
                    <a:pt x="1268" y="849"/>
                  </a:cubicBezTo>
                  <a:cubicBezTo>
                    <a:pt x="1268" y="849"/>
                    <a:pt x="1248" y="839"/>
                    <a:pt x="1248" y="833"/>
                  </a:cubicBezTo>
                  <a:cubicBezTo>
                    <a:pt x="1248" y="827"/>
                    <a:pt x="1241" y="822"/>
                    <a:pt x="1226" y="797"/>
                  </a:cubicBezTo>
                  <a:cubicBezTo>
                    <a:pt x="1205" y="796"/>
                    <a:pt x="1171" y="740"/>
                    <a:pt x="1171" y="740"/>
                  </a:cubicBezTo>
                  <a:cubicBezTo>
                    <a:pt x="1173" y="733"/>
                    <a:pt x="1173" y="733"/>
                    <a:pt x="1173" y="733"/>
                  </a:cubicBezTo>
                  <a:cubicBezTo>
                    <a:pt x="1170" y="719"/>
                    <a:pt x="1170" y="719"/>
                    <a:pt x="1170" y="719"/>
                  </a:cubicBezTo>
                  <a:cubicBezTo>
                    <a:pt x="1191" y="718"/>
                    <a:pt x="1191" y="718"/>
                    <a:pt x="1191" y="718"/>
                  </a:cubicBezTo>
                  <a:cubicBezTo>
                    <a:pt x="1203" y="704"/>
                    <a:pt x="1203" y="704"/>
                    <a:pt x="1203" y="704"/>
                  </a:cubicBezTo>
                  <a:cubicBezTo>
                    <a:pt x="1213" y="706"/>
                    <a:pt x="1213" y="706"/>
                    <a:pt x="1213" y="706"/>
                  </a:cubicBezTo>
                  <a:cubicBezTo>
                    <a:pt x="1239" y="665"/>
                    <a:pt x="1239" y="665"/>
                    <a:pt x="1239" y="665"/>
                  </a:cubicBezTo>
                  <a:cubicBezTo>
                    <a:pt x="1239" y="665"/>
                    <a:pt x="1248" y="659"/>
                    <a:pt x="1251" y="667"/>
                  </a:cubicBezTo>
                  <a:cubicBezTo>
                    <a:pt x="1255" y="674"/>
                    <a:pt x="1293" y="675"/>
                    <a:pt x="1293" y="675"/>
                  </a:cubicBezTo>
                  <a:cubicBezTo>
                    <a:pt x="1303" y="669"/>
                    <a:pt x="1303" y="669"/>
                    <a:pt x="1303" y="669"/>
                  </a:cubicBezTo>
                  <a:cubicBezTo>
                    <a:pt x="1302" y="669"/>
                    <a:pt x="1303" y="669"/>
                    <a:pt x="1303" y="669"/>
                  </a:cubicBezTo>
                  <a:cubicBezTo>
                    <a:pt x="1303" y="669"/>
                    <a:pt x="1303" y="669"/>
                    <a:pt x="1303" y="669"/>
                  </a:cubicBezTo>
                  <a:cubicBezTo>
                    <a:pt x="1303" y="669"/>
                    <a:pt x="1307" y="668"/>
                    <a:pt x="1320" y="663"/>
                  </a:cubicBezTo>
                  <a:cubicBezTo>
                    <a:pt x="1327" y="643"/>
                    <a:pt x="1380" y="616"/>
                    <a:pt x="1380" y="616"/>
                  </a:cubicBezTo>
                  <a:cubicBezTo>
                    <a:pt x="1380" y="616"/>
                    <a:pt x="1385" y="617"/>
                    <a:pt x="1377" y="607"/>
                  </a:cubicBezTo>
                  <a:cubicBezTo>
                    <a:pt x="1343" y="612"/>
                    <a:pt x="1323" y="593"/>
                    <a:pt x="1323" y="593"/>
                  </a:cubicBezTo>
                  <a:cubicBezTo>
                    <a:pt x="1314" y="605"/>
                    <a:pt x="1314" y="605"/>
                    <a:pt x="1314" y="605"/>
                  </a:cubicBezTo>
                  <a:cubicBezTo>
                    <a:pt x="1281" y="570"/>
                    <a:pt x="1281" y="570"/>
                    <a:pt x="1281" y="570"/>
                  </a:cubicBezTo>
                  <a:cubicBezTo>
                    <a:pt x="1289" y="560"/>
                    <a:pt x="1289" y="560"/>
                    <a:pt x="1289" y="560"/>
                  </a:cubicBezTo>
                  <a:cubicBezTo>
                    <a:pt x="1279" y="550"/>
                    <a:pt x="1279" y="550"/>
                    <a:pt x="1279" y="550"/>
                  </a:cubicBezTo>
                  <a:cubicBezTo>
                    <a:pt x="1279" y="550"/>
                    <a:pt x="1313" y="524"/>
                    <a:pt x="1318" y="524"/>
                  </a:cubicBezTo>
                  <a:cubicBezTo>
                    <a:pt x="1323" y="524"/>
                    <a:pt x="1353" y="548"/>
                    <a:pt x="1353" y="548"/>
                  </a:cubicBezTo>
                  <a:cubicBezTo>
                    <a:pt x="1407" y="514"/>
                    <a:pt x="1407" y="514"/>
                    <a:pt x="1407" y="514"/>
                  </a:cubicBezTo>
                  <a:cubicBezTo>
                    <a:pt x="1447" y="516"/>
                    <a:pt x="1447" y="516"/>
                    <a:pt x="1447" y="516"/>
                  </a:cubicBezTo>
                  <a:cubicBezTo>
                    <a:pt x="1447" y="516"/>
                    <a:pt x="1447" y="516"/>
                    <a:pt x="1458" y="477"/>
                  </a:cubicBezTo>
                  <a:cubicBezTo>
                    <a:pt x="1495" y="457"/>
                    <a:pt x="1501" y="412"/>
                    <a:pt x="1500" y="393"/>
                  </a:cubicBezTo>
                  <a:cubicBezTo>
                    <a:pt x="1500" y="383"/>
                    <a:pt x="1509" y="363"/>
                    <a:pt x="1517" y="349"/>
                  </a:cubicBezTo>
                  <a:cubicBezTo>
                    <a:pt x="1516" y="336"/>
                    <a:pt x="1517" y="312"/>
                    <a:pt x="1517" y="312"/>
                  </a:cubicBezTo>
                  <a:cubicBezTo>
                    <a:pt x="1545" y="283"/>
                    <a:pt x="1545" y="283"/>
                    <a:pt x="1545" y="283"/>
                  </a:cubicBezTo>
                  <a:cubicBezTo>
                    <a:pt x="1569" y="287"/>
                    <a:pt x="1569" y="287"/>
                    <a:pt x="1569" y="287"/>
                  </a:cubicBezTo>
                  <a:cubicBezTo>
                    <a:pt x="1569" y="287"/>
                    <a:pt x="1551" y="281"/>
                    <a:pt x="1635" y="210"/>
                  </a:cubicBezTo>
                  <a:cubicBezTo>
                    <a:pt x="1726" y="161"/>
                    <a:pt x="1729" y="161"/>
                    <a:pt x="1734" y="151"/>
                  </a:cubicBezTo>
                  <a:cubicBezTo>
                    <a:pt x="1739" y="141"/>
                    <a:pt x="1676" y="118"/>
                    <a:pt x="1676" y="118"/>
                  </a:cubicBezTo>
                  <a:cubicBezTo>
                    <a:pt x="1666" y="118"/>
                    <a:pt x="1666" y="118"/>
                    <a:pt x="1666" y="118"/>
                  </a:cubicBezTo>
                  <a:cubicBezTo>
                    <a:pt x="1647" y="118"/>
                    <a:pt x="1631" y="88"/>
                    <a:pt x="1625" y="67"/>
                  </a:cubicBezTo>
                  <a:cubicBezTo>
                    <a:pt x="1604" y="46"/>
                    <a:pt x="1525" y="34"/>
                    <a:pt x="1525" y="34"/>
                  </a:cubicBezTo>
                  <a:cubicBezTo>
                    <a:pt x="1511" y="37"/>
                    <a:pt x="1531" y="48"/>
                    <a:pt x="1545" y="54"/>
                  </a:cubicBezTo>
                  <a:cubicBezTo>
                    <a:pt x="1532" y="56"/>
                    <a:pt x="1545" y="83"/>
                    <a:pt x="1545" y="83"/>
                  </a:cubicBezTo>
                  <a:cubicBezTo>
                    <a:pt x="1535" y="80"/>
                    <a:pt x="1535" y="80"/>
                    <a:pt x="1535" y="80"/>
                  </a:cubicBezTo>
                  <a:cubicBezTo>
                    <a:pt x="1535" y="80"/>
                    <a:pt x="1508" y="105"/>
                    <a:pt x="1505" y="105"/>
                  </a:cubicBezTo>
                  <a:cubicBezTo>
                    <a:pt x="1502" y="105"/>
                    <a:pt x="1495" y="97"/>
                    <a:pt x="1495" y="97"/>
                  </a:cubicBezTo>
                  <a:cubicBezTo>
                    <a:pt x="1462" y="103"/>
                    <a:pt x="1462" y="103"/>
                    <a:pt x="1462" y="103"/>
                  </a:cubicBezTo>
                  <a:cubicBezTo>
                    <a:pt x="1470" y="116"/>
                    <a:pt x="1470" y="116"/>
                    <a:pt x="1470" y="116"/>
                  </a:cubicBezTo>
                  <a:cubicBezTo>
                    <a:pt x="1459" y="131"/>
                    <a:pt x="1459" y="131"/>
                    <a:pt x="1459" y="131"/>
                  </a:cubicBezTo>
                  <a:cubicBezTo>
                    <a:pt x="1463" y="139"/>
                    <a:pt x="1463" y="139"/>
                    <a:pt x="1463" y="139"/>
                  </a:cubicBezTo>
                  <a:cubicBezTo>
                    <a:pt x="1449" y="170"/>
                    <a:pt x="1449" y="170"/>
                    <a:pt x="1449" y="170"/>
                  </a:cubicBezTo>
                  <a:cubicBezTo>
                    <a:pt x="1449" y="170"/>
                    <a:pt x="1482" y="205"/>
                    <a:pt x="1492" y="221"/>
                  </a:cubicBezTo>
                  <a:cubicBezTo>
                    <a:pt x="1502" y="237"/>
                    <a:pt x="1479" y="239"/>
                    <a:pt x="1479" y="245"/>
                  </a:cubicBezTo>
                  <a:cubicBezTo>
                    <a:pt x="1479" y="251"/>
                    <a:pt x="1497" y="266"/>
                    <a:pt x="1495" y="272"/>
                  </a:cubicBezTo>
                  <a:cubicBezTo>
                    <a:pt x="1493" y="278"/>
                    <a:pt x="1474" y="249"/>
                    <a:pt x="1474" y="249"/>
                  </a:cubicBezTo>
                  <a:cubicBezTo>
                    <a:pt x="1462" y="265"/>
                    <a:pt x="1462" y="265"/>
                    <a:pt x="1462" y="265"/>
                  </a:cubicBezTo>
                  <a:cubicBezTo>
                    <a:pt x="1462" y="265"/>
                    <a:pt x="1467" y="272"/>
                    <a:pt x="1470" y="278"/>
                  </a:cubicBezTo>
                  <a:cubicBezTo>
                    <a:pt x="1473" y="284"/>
                    <a:pt x="1459" y="296"/>
                    <a:pt x="1459" y="296"/>
                  </a:cubicBezTo>
                  <a:cubicBezTo>
                    <a:pt x="1459" y="296"/>
                    <a:pt x="1411" y="341"/>
                    <a:pt x="1402" y="341"/>
                  </a:cubicBezTo>
                  <a:cubicBezTo>
                    <a:pt x="1393" y="341"/>
                    <a:pt x="1444" y="292"/>
                    <a:pt x="1444" y="292"/>
                  </a:cubicBezTo>
                  <a:cubicBezTo>
                    <a:pt x="1436" y="279"/>
                    <a:pt x="1436" y="279"/>
                    <a:pt x="1436" y="279"/>
                  </a:cubicBezTo>
                  <a:cubicBezTo>
                    <a:pt x="1424" y="281"/>
                    <a:pt x="1424" y="281"/>
                    <a:pt x="1424" y="281"/>
                  </a:cubicBezTo>
                  <a:cubicBezTo>
                    <a:pt x="1424" y="281"/>
                    <a:pt x="1455" y="238"/>
                    <a:pt x="1465" y="226"/>
                  </a:cubicBezTo>
                  <a:cubicBezTo>
                    <a:pt x="1475" y="214"/>
                    <a:pt x="1444" y="199"/>
                    <a:pt x="1444" y="199"/>
                  </a:cubicBezTo>
                  <a:cubicBezTo>
                    <a:pt x="1445" y="178"/>
                    <a:pt x="1445" y="178"/>
                    <a:pt x="1445" y="178"/>
                  </a:cubicBezTo>
                  <a:cubicBezTo>
                    <a:pt x="1425" y="174"/>
                    <a:pt x="1425" y="174"/>
                    <a:pt x="1425" y="174"/>
                  </a:cubicBezTo>
                  <a:cubicBezTo>
                    <a:pt x="1417" y="160"/>
                    <a:pt x="1417" y="160"/>
                    <a:pt x="1417" y="160"/>
                  </a:cubicBezTo>
                  <a:cubicBezTo>
                    <a:pt x="1428" y="145"/>
                    <a:pt x="1428" y="145"/>
                    <a:pt x="1428" y="145"/>
                  </a:cubicBezTo>
                  <a:cubicBezTo>
                    <a:pt x="1428" y="145"/>
                    <a:pt x="1420" y="107"/>
                    <a:pt x="1410" y="107"/>
                  </a:cubicBezTo>
                  <a:cubicBezTo>
                    <a:pt x="1400" y="107"/>
                    <a:pt x="1390" y="127"/>
                    <a:pt x="1379" y="127"/>
                  </a:cubicBezTo>
                  <a:cubicBezTo>
                    <a:pt x="1368" y="127"/>
                    <a:pt x="1362" y="122"/>
                    <a:pt x="1362" y="122"/>
                  </a:cubicBezTo>
                  <a:cubicBezTo>
                    <a:pt x="1362" y="122"/>
                    <a:pt x="1353" y="147"/>
                    <a:pt x="1347" y="147"/>
                  </a:cubicBezTo>
                  <a:cubicBezTo>
                    <a:pt x="1341" y="147"/>
                    <a:pt x="1346" y="127"/>
                    <a:pt x="1346" y="127"/>
                  </a:cubicBezTo>
                  <a:cubicBezTo>
                    <a:pt x="1346" y="127"/>
                    <a:pt x="1334" y="130"/>
                    <a:pt x="1329" y="145"/>
                  </a:cubicBezTo>
                  <a:cubicBezTo>
                    <a:pt x="1320" y="140"/>
                    <a:pt x="1310" y="141"/>
                    <a:pt x="1306" y="154"/>
                  </a:cubicBezTo>
                  <a:cubicBezTo>
                    <a:pt x="1302" y="167"/>
                    <a:pt x="1327" y="186"/>
                    <a:pt x="1327" y="186"/>
                  </a:cubicBezTo>
                  <a:cubicBezTo>
                    <a:pt x="1309" y="210"/>
                    <a:pt x="1309" y="210"/>
                    <a:pt x="1309" y="210"/>
                  </a:cubicBezTo>
                  <a:cubicBezTo>
                    <a:pt x="1316" y="189"/>
                    <a:pt x="1316" y="189"/>
                    <a:pt x="1316" y="189"/>
                  </a:cubicBezTo>
                  <a:cubicBezTo>
                    <a:pt x="1316" y="189"/>
                    <a:pt x="1300" y="191"/>
                    <a:pt x="1300" y="184"/>
                  </a:cubicBezTo>
                  <a:cubicBezTo>
                    <a:pt x="1300" y="177"/>
                    <a:pt x="1292" y="177"/>
                    <a:pt x="1275" y="172"/>
                  </a:cubicBezTo>
                  <a:cubicBezTo>
                    <a:pt x="1269" y="119"/>
                    <a:pt x="1245" y="157"/>
                    <a:pt x="1239" y="157"/>
                  </a:cubicBezTo>
                  <a:cubicBezTo>
                    <a:pt x="1233" y="157"/>
                    <a:pt x="1238" y="186"/>
                    <a:pt x="1238" y="186"/>
                  </a:cubicBezTo>
                  <a:cubicBezTo>
                    <a:pt x="1238" y="186"/>
                    <a:pt x="1231" y="180"/>
                    <a:pt x="1228" y="180"/>
                  </a:cubicBezTo>
                  <a:cubicBezTo>
                    <a:pt x="1225" y="180"/>
                    <a:pt x="1221" y="188"/>
                    <a:pt x="1221" y="188"/>
                  </a:cubicBezTo>
                  <a:cubicBezTo>
                    <a:pt x="1221" y="188"/>
                    <a:pt x="1178" y="194"/>
                    <a:pt x="1178" y="198"/>
                  </a:cubicBezTo>
                  <a:cubicBezTo>
                    <a:pt x="1178" y="202"/>
                    <a:pt x="1188" y="205"/>
                    <a:pt x="1187" y="216"/>
                  </a:cubicBezTo>
                  <a:cubicBezTo>
                    <a:pt x="1186" y="227"/>
                    <a:pt x="1166" y="199"/>
                    <a:pt x="1166" y="199"/>
                  </a:cubicBezTo>
                  <a:cubicBezTo>
                    <a:pt x="1166" y="199"/>
                    <a:pt x="1124" y="198"/>
                    <a:pt x="1113" y="201"/>
                  </a:cubicBezTo>
                  <a:cubicBezTo>
                    <a:pt x="1102" y="204"/>
                    <a:pt x="1113" y="214"/>
                    <a:pt x="1113" y="214"/>
                  </a:cubicBezTo>
                  <a:cubicBezTo>
                    <a:pt x="1113" y="214"/>
                    <a:pt x="1113" y="218"/>
                    <a:pt x="1103" y="220"/>
                  </a:cubicBezTo>
                  <a:cubicBezTo>
                    <a:pt x="1093" y="222"/>
                    <a:pt x="1107" y="233"/>
                    <a:pt x="1107" y="233"/>
                  </a:cubicBezTo>
                  <a:cubicBezTo>
                    <a:pt x="1107" y="233"/>
                    <a:pt x="1106" y="237"/>
                    <a:pt x="1106" y="258"/>
                  </a:cubicBezTo>
                  <a:cubicBezTo>
                    <a:pt x="1106" y="279"/>
                    <a:pt x="1080" y="278"/>
                    <a:pt x="1080" y="278"/>
                  </a:cubicBezTo>
                  <a:cubicBezTo>
                    <a:pt x="1080" y="278"/>
                    <a:pt x="1077" y="278"/>
                    <a:pt x="1062" y="278"/>
                  </a:cubicBezTo>
                  <a:cubicBezTo>
                    <a:pt x="1058" y="278"/>
                    <a:pt x="1055" y="277"/>
                    <a:pt x="1053" y="276"/>
                  </a:cubicBezTo>
                  <a:cubicBezTo>
                    <a:pt x="1061" y="303"/>
                    <a:pt x="1061" y="303"/>
                    <a:pt x="1061" y="303"/>
                  </a:cubicBezTo>
                  <a:cubicBezTo>
                    <a:pt x="1045" y="310"/>
                    <a:pt x="1045" y="310"/>
                    <a:pt x="1045" y="310"/>
                  </a:cubicBezTo>
                  <a:cubicBezTo>
                    <a:pt x="1069" y="344"/>
                    <a:pt x="1069" y="344"/>
                    <a:pt x="1069" y="344"/>
                  </a:cubicBezTo>
                  <a:cubicBezTo>
                    <a:pt x="1069" y="344"/>
                    <a:pt x="1067" y="355"/>
                    <a:pt x="1055" y="355"/>
                  </a:cubicBezTo>
                  <a:cubicBezTo>
                    <a:pt x="1043" y="355"/>
                    <a:pt x="1049" y="329"/>
                    <a:pt x="1049" y="329"/>
                  </a:cubicBezTo>
                  <a:cubicBezTo>
                    <a:pt x="1033" y="309"/>
                    <a:pt x="1033" y="309"/>
                    <a:pt x="1033" y="309"/>
                  </a:cubicBezTo>
                  <a:cubicBezTo>
                    <a:pt x="1040" y="334"/>
                    <a:pt x="1040" y="334"/>
                    <a:pt x="1040" y="334"/>
                  </a:cubicBezTo>
                  <a:cubicBezTo>
                    <a:pt x="1040" y="334"/>
                    <a:pt x="1041" y="355"/>
                    <a:pt x="1041" y="373"/>
                  </a:cubicBezTo>
                  <a:cubicBezTo>
                    <a:pt x="1041" y="391"/>
                    <a:pt x="1063" y="388"/>
                    <a:pt x="1063" y="388"/>
                  </a:cubicBezTo>
                  <a:cubicBezTo>
                    <a:pt x="1063" y="388"/>
                    <a:pt x="1072" y="405"/>
                    <a:pt x="1072" y="417"/>
                  </a:cubicBezTo>
                  <a:cubicBezTo>
                    <a:pt x="1072" y="429"/>
                    <a:pt x="1049" y="423"/>
                    <a:pt x="1049" y="423"/>
                  </a:cubicBezTo>
                  <a:cubicBezTo>
                    <a:pt x="1042" y="423"/>
                    <a:pt x="1042" y="423"/>
                    <a:pt x="1042" y="423"/>
                  </a:cubicBezTo>
                  <a:cubicBezTo>
                    <a:pt x="1042" y="423"/>
                    <a:pt x="1032" y="422"/>
                    <a:pt x="1024" y="422"/>
                  </a:cubicBezTo>
                  <a:cubicBezTo>
                    <a:pt x="1016" y="422"/>
                    <a:pt x="1016" y="433"/>
                    <a:pt x="1016" y="433"/>
                  </a:cubicBezTo>
                  <a:cubicBezTo>
                    <a:pt x="1016" y="433"/>
                    <a:pt x="1007" y="429"/>
                    <a:pt x="1000" y="429"/>
                  </a:cubicBezTo>
                  <a:cubicBezTo>
                    <a:pt x="993" y="429"/>
                    <a:pt x="990" y="440"/>
                    <a:pt x="990" y="440"/>
                  </a:cubicBezTo>
                  <a:cubicBezTo>
                    <a:pt x="1015" y="451"/>
                    <a:pt x="1015" y="451"/>
                    <a:pt x="1015" y="451"/>
                  </a:cubicBezTo>
                  <a:cubicBezTo>
                    <a:pt x="1010" y="466"/>
                    <a:pt x="1010" y="466"/>
                    <a:pt x="1010" y="466"/>
                  </a:cubicBezTo>
                  <a:cubicBezTo>
                    <a:pt x="1002" y="461"/>
                    <a:pt x="1002" y="461"/>
                    <a:pt x="1002" y="461"/>
                  </a:cubicBezTo>
                  <a:cubicBezTo>
                    <a:pt x="1002" y="461"/>
                    <a:pt x="1002" y="461"/>
                    <a:pt x="999" y="467"/>
                  </a:cubicBezTo>
                  <a:cubicBezTo>
                    <a:pt x="996" y="473"/>
                    <a:pt x="1003" y="478"/>
                    <a:pt x="1003" y="478"/>
                  </a:cubicBezTo>
                  <a:cubicBezTo>
                    <a:pt x="1003" y="478"/>
                    <a:pt x="1002" y="485"/>
                    <a:pt x="998" y="486"/>
                  </a:cubicBezTo>
                  <a:cubicBezTo>
                    <a:pt x="994" y="487"/>
                    <a:pt x="996" y="474"/>
                    <a:pt x="996" y="474"/>
                  </a:cubicBezTo>
                  <a:cubicBezTo>
                    <a:pt x="947" y="476"/>
                    <a:pt x="947" y="476"/>
                    <a:pt x="947" y="476"/>
                  </a:cubicBezTo>
                  <a:cubicBezTo>
                    <a:pt x="906" y="503"/>
                    <a:pt x="906" y="503"/>
                    <a:pt x="906" y="503"/>
                  </a:cubicBezTo>
                  <a:cubicBezTo>
                    <a:pt x="900" y="523"/>
                    <a:pt x="900" y="523"/>
                    <a:pt x="900" y="523"/>
                  </a:cubicBezTo>
                  <a:cubicBezTo>
                    <a:pt x="900" y="523"/>
                    <a:pt x="881" y="529"/>
                    <a:pt x="884" y="535"/>
                  </a:cubicBezTo>
                  <a:cubicBezTo>
                    <a:pt x="887" y="541"/>
                    <a:pt x="888" y="559"/>
                    <a:pt x="888" y="562"/>
                  </a:cubicBezTo>
                  <a:cubicBezTo>
                    <a:pt x="888" y="565"/>
                    <a:pt x="919" y="574"/>
                    <a:pt x="930" y="574"/>
                  </a:cubicBezTo>
                  <a:cubicBezTo>
                    <a:pt x="941" y="574"/>
                    <a:pt x="936" y="591"/>
                    <a:pt x="936" y="591"/>
                  </a:cubicBezTo>
                  <a:cubicBezTo>
                    <a:pt x="973" y="597"/>
                    <a:pt x="973" y="597"/>
                    <a:pt x="973" y="597"/>
                  </a:cubicBezTo>
                  <a:cubicBezTo>
                    <a:pt x="976" y="612"/>
                    <a:pt x="976" y="612"/>
                    <a:pt x="976" y="612"/>
                  </a:cubicBezTo>
                  <a:cubicBezTo>
                    <a:pt x="976" y="612"/>
                    <a:pt x="978" y="592"/>
                    <a:pt x="990" y="592"/>
                  </a:cubicBezTo>
                  <a:cubicBezTo>
                    <a:pt x="1002" y="592"/>
                    <a:pt x="1021" y="580"/>
                    <a:pt x="1024" y="581"/>
                  </a:cubicBezTo>
                  <a:cubicBezTo>
                    <a:pt x="1027" y="582"/>
                    <a:pt x="1022" y="588"/>
                    <a:pt x="1019" y="592"/>
                  </a:cubicBezTo>
                  <a:cubicBezTo>
                    <a:pt x="1016" y="596"/>
                    <a:pt x="1024" y="608"/>
                    <a:pt x="1024" y="608"/>
                  </a:cubicBezTo>
                  <a:cubicBezTo>
                    <a:pt x="1024" y="608"/>
                    <a:pt x="1057" y="586"/>
                    <a:pt x="1067" y="589"/>
                  </a:cubicBezTo>
                  <a:cubicBezTo>
                    <a:pt x="1077" y="592"/>
                    <a:pt x="1063" y="609"/>
                    <a:pt x="1063" y="609"/>
                  </a:cubicBezTo>
                  <a:cubicBezTo>
                    <a:pt x="1063" y="609"/>
                    <a:pt x="1045" y="609"/>
                    <a:pt x="1042" y="609"/>
                  </a:cubicBezTo>
                  <a:cubicBezTo>
                    <a:pt x="1039" y="609"/>
                    <a:pt x="1029" y="632"/>
                    <a:pt x="1033" y="637"/>
                  </a:cubicBezTo>
                  <a:cubicBezTo>
                    <a:pt x="1037" y="642"/>
                    <a:pt x="1051" y="615"/>
                    <a:pt x="1051" y="615"/>
                  </a:cubicBezTo>
                  <a:cubicBezTo>
                    <a:pt x="1065" y="617"/>
                    <a:pt x="1065" y="617"/>
                    <a:pt x="1065" y="617"/>
                  </a:cubicBezTo>
                  <a:cubicBezTo>
                    <a:pt x="1065" y="617"/>
                    <a:pt x="1071" y="604"/>
                    <a:pt x="1082" y="596"/>
                  </a:cubicBezTo>
                  <a:cubicBezTo>
                    <a:pt x="1086" y="585"/>
                    <a:pt x="1118" y="580"/>
                    <a:pt x="1118" y="580"/>
                  </a:cubicBezTo>
                  <a:cubicBezTo>
                    <a:pt x="1118" y="580"/>
                    <a:pt x="1103" y="599"/>
                    <a:pt x="1100" y="599"/>
                  </a:cubicBezTo>
                  <a:cubicBezTo>
                    <a:pt x="1097" y="599"/>
                    <a:pt x="1106" y="614"/>
                    <a:pt x="1106" y="614"/>
                  </a:cubicBezTo>
                  <a:cubicBezTo>
                    <a:pt x="1106" y="614"/>
                    <a:pt x="1150" y="584"/>
                    <a:pt x="1164" y="585"/>
                  </a:cubicBezTo>
                  <a:cubicBezTo>
                    <a:pt x="1178" y="586"/>
                    <a:pt x="1162" y="608"/>
                    <a:pt x="1162" y="608"/>
                  </a:cubicBezTo>
                  <a:cubicBezTo>
                    <a:pt x="1162" y="608"/>
                    <a:pt x="1146" y="633"/>
                    <a:pt x="1139" y="637"/>
                  </a:cubicBezTo>
                  <a:cubicBezTo>
                    <a:pt x="1132" y="641"/>
                    <a:pt x="1139" y="637"/>
                    <a:pt x="1141" y="646"/>
                  </a:cubicBezTo>
                  <a:cubicBezTo>
                    <a:pt x="1143" y="655"/>
                    <a:pt x="1123" y="661"/>
                    <a:pt x="1119" y="664"/>
                  </a:cubicBezTo>
                  <a:cubicBezTo>
                    <a:pt x="1115" y="667"/>
                    <a:pt x="1119" y="672"/>
                    <a:pt x="1126" y="679"/>
                  </a:cubicBezTo>
                  <a:cubicBezTo>
                    <a:pt x="1133" y="686"/>
                    <a:pt x="1113" y="696"/>
                    <a:pt x="1100" y="702"/>
                  </a:cubicBezTo>
                  <a:cubicBezTo>
                    <a:pt x="1087" y="708"/>
                    <a:pt x="1059" y="705"/>
                    <a:pt x="1059" y="705"/>
                  </a:cubicBezTo>
                  <a:cubicBezTo>
                    <a:pt x="1047" y="714"/>
                    <a:pt x="1047" y="714"/>
                    <a:pt x="1047" y="714"/>
                  </a:cubicBezTo>
                  <a:cubicBezTo>
                    <a:pt x="1047" y="714"/>
                    <a:pt x="1035" y="706"/>
                    <a:pt x="1025" y="708"/>
                  </a:cubicBezTo>
                  <a:cubicBezTo>
                    <a:pt x="1015" y="710"/>
                    <a:pt x="1025" y="726"/>
                    <a:pt x="1025" y="726"/>
                  </a:cubicBezTo>
                  <a:cubicBezTo>
                    <a:pt x="1025" y="726"/>
                    <a:pt x="1011" y="741"/>
                    <a:pt x="1011" y="744"/>
                  </a:cubicBezTo>
                  <a:cubicBezTo>
                    <a:pt x="1011" y="747"/>
                    <a:pt x="1002" y="738"/>
                    <a:pt x="1002" y="738"/>
                  </a:cubicBezTo>
                  <a:cubicBezTo>
                    <a:pt x="996" y="750"/>
                    <a:pt x="996" y="750"/>
                    <a:pt x="996" y="750"/>
                  </a:cubicBezTo>
                  <a:cubicBezTo>
                    <a:pt x="983" y="750"/>
                    <a:pt x="983" y="750"/>
                    <a:pt x="983" y="750"/>
                  </a:cubicBezTo>
                  <a:cubicBezTo>
                    <a:pt x="976" y="763"/>
                    <a:pt x="976" y="763"/>
                    <a:pt x="976" y="763"/>
                  </a:cubicBezTo>
                  <a:cubicBezTo>
                    <a:pt x="976" y="763"/>
                    <a:pt x="943" y="775"/>
                    <a:pt x="932" y="780"/>
                  </a:cubicBezTo>
                  <a:cubicBezTo>
                    <a:pt x="921" y="785"/>
                    <a:pt x="930" y="789"/>
                    <a:pt x="947" y="813"/>
                  </a:cubicBezTo>
                  <a:cubicBezTo>
                    <a:pt x="980" y="794"/>
                    <a:pt x="976" y="814"/>
                    <a:pt x="976" y="819"/>
                  </a:cubicBezTo>
                  <a:cubicBezTo>
                    <a:pt x="976" y="824"/>
                    <a:pt x="949" y="868"/>
                    <a:pt x="949" y="868"/>
                  </a:cubicBezTo>
                  <a:cubicBezTo>
                    <a:pt x="949" y="868"/>
                    <a:pt x="946" y="855"/>
                    <a:pt x="928" y="855"/>
                  </a:cubicBezTo>
                  <a:cubicBezTo>
                    <a:pt x="910" y="855"/>
                    <a:pt x="913" y="862"/>
                    <a:pt x="910" y="862"/>
                  </a:cubicBezTo>
                  <a:cubicBezTo>
                    <a:pt x="907" y="862"/>
                    <a:pt x="895" y="843"/>
                    <a:pt x="895" y="843"/>
                  </a:cubicBezTo>
                  <a:cubicBezTo>
                    <a:pt x="895" y="843"/>
                    <a:pt x="878" y="866"/>
                    <a:pt x="862" y="866"/>
                  </a:cubicBezTo>
                  <a:cubicBezTo>
                    <a:pt x="846" y="866"/>
                    <a:pt x="826" y="836"/>
                    <a:pt x="826" y="836"/>
                  </a:cubicBezTo>
                  <a:cubicBezTo>
                    <a:pt x="801" y="837"/>
                    <a:pt x="801" y="837"/>
                    <a:pt x="801" y="837"/>
                  </a:cubicBezTo>
                  <a:cubicBezTo>
                    <a:pt x="793" y="829"/>
                    <a:pt x="793" y="829"/>
                    <a:pt x="793" y="829"/>
                  </a:cubicBezTo>
                  <a:cubicBezTo>
                    <a:pt x="761" y="826"/>
                    <a:pt x="761" y="826"/>
                    <a:pt x="761" y="826"/>
                  </a:cubicBezTo>
                  <a:cubicBezTo>
                    <a:pt x="761" y="826"/>
                    <a:pt x="756" y="849"/>
                    <a:pt x="756" y="862"/>
                  </a:cubicBezTo>
                  <a:cubicBezTo>
                    <a:pt x="756" y="875"/>
                    <a:pt x="739" y="882"/>
                    <a:pt x="739" y="882"/>
                  </a:cubicBezTo>
                  <a:cubicBezTo>
                    <a:pt x="739" y="893"/>
                    <a:pt x="739" y="893"/>
                    <a:pt x="739" y="893"/>
                  </a:cubicBezTo>
                  <a:cubicBezTo>
                    <a:pt x="739" y="893"/>
                    <a:pt x="741" y="896"/>
                    <a:pt x="730" y="899"/>
                  </a:cubicBezTo>
                  <a:cubicBezTo>
                    <a:pt x="739" y="912"/>
                    <a:pt x="720" y="915"/>
                    <a:pt x="720" y="915"/>
                  </a:cubicBezTo>
                  <a:cubicBezTo>
                    <a:pt x="715" y="912"/>
                    <a:pt x="715" y="912"/>
                    <a:pt x="715" y="912"/>
                  </a:cubicBezTo>
                  <a:cubicBezTo>
                    <a:pt x="720" y="904"/>
                    <a:pt x="720" y="904"/>
                    <a:pt x="720" y="904"/>
                  </a:cubicBezTo>
                  <a:cubicBezTo>
                    <a:pt x="720" y="904"/>
                    <a:pt x="702" y="891"/>
                    <a:pt x="702" y="882"/>
                  </a:cubicBezTo>
                  <a:cubicBezTo>
                    <a:pt x="702" y="873"/>
                    <a:pt x="686" y="859"/>
                    <a:pt x="690" y="858"/>
                  </a:cubicBezTo>
                  <a:cubicBezTo>
                    <a:pt x="694" y="857"/>
                    <a:pt x="689" y="836"/>
                    <a:pt x="689" y="833"/>
                  </a:cubicBezTo>
                  <a:cubicBezTo>
                    <a:pt x="689" y="834"/>
                    <a:pt x="689" y="839"/>
                    <a:pt x="677" y="838"/>
                  </a:cubicBezTo>
                  <a:cubicBezTo>
                    <a:pt x="677" y="811"/>
                    <a:pt x="644" y="811"/>
                    <a:pt x="644" y="811"/>
                  </a:cubicBezTo>
                  <a:cubicBezTo>
                    <a:pt x="638" y="801"/>
                    <a:pt x="638" y="801"/>
                    <a:pt x="638" y="801"/>
                  </a:cubicBezTo>
                  <a:cubicBezTo>
                    <a:pt x="615" y="823"/>
                    <a:pt x="615" y="823"/>
                    <a:pt x="615" y="823"/>
                  </a:cubicBezTo>
                  <a:cubicBezTo>
                    <a:pt x="591" y="806"/>
                    <a:pt x="591" y="806"/>
                    <a:pt x="591" y="806"/>
                  </a:cubicBezTo>
                  <a:cubicBezTo>
                    <a:pt x="586" y="816"/>
                    <a:pt x="586" y="816"/>
                    <a:pt x="586" y="816"/>
                  </a:cubicBezTo>
                  <a:cubicBezTo>
                    <a:pt x="586" y="816"/>
                    <a:pt x="576" y="806"/>
                    <a:pt x="561" y="805"/>
                  </a:cubicBezTo>
                  <a:cubicBezTo>
                    <a:pt x="546" y="804"/>
                    <a:pt x="538" y="802"/>
                    <a:pt x="517" y="801"/>
                  </a:cubicBezTo>
                  <a:cubicBezTo>
                    <a:pt x="496" y="800"/>
                    <a:pt x="491" y="807"/>
                    <a:pt x="473" y="807"/>
                  </a:cubicBezTo>
                  <a:cubicBezTo>
                    <a:pt x="455" y="807"/>
                    <a:pt x="442" y="786"/>
                    <a:pt x="426" y="784"/>
                  </a:cubicBezTo>
                  <a:cubicBezTo>
                    <a:pt x="410" y="782"/>
                    <a:pt x="399" y="801"/>
                    <a:pt x="399" y="801"/>
                  </a:cubicBezTo>
                  <a:cubicBezTo>
                    <a:pt x="399" y="816"/>
                    <a:pt x="399" y="816"/>
                    <a:pt x="399" y="816"/>
                  </a:cubicBezTo>
                  <a:cubicBezTo>
                    <a:pt x="413" y="833"/>
                    <a:pt x="413" y="833"/>
                    <a:pt x="413" y="833"/>
                  </a:cubicBezTo>
                  <a:cubicBezTo>
                    <a:pt x="413" y="833"/>
                    <a:pt x="410" y="834"/>
                    <a:pt x="399" y="834"/>
                  </a:cubicBezTo>
                  <a:cubicBezTo>
                    <a:pt x="388" y="834"/>
                    <a:pt x="385" y="869"/>
                    <a:pt x="385" y="869"/>
                  </a:cubicBezTo>
                  <a:cubicBezTo>
                    <a:pt x="385" y="883"/>
                    <a:pt x="385" y="883"/>
                    <a:pt x="385" y="883"/>
                  </a:cubicBezTo>
                  <a:cubicBezTo>
                    <a:pt x="367" y="874"/>
                    <a:pt x="367" y="874"/>
                    <a:pt x="367" y="874"/>
                  </a:cubicBezTo>
                  <a:cubicBezTo>
                    <a:pt x="384" y="841"/>
                    <a:pt x="384" y="841"/>
                    <a:pt x="384" y="841"/>
                  </a:cubicBezTo>
                  <a:cubicBezTo>
                    <a:pt x="373" y="845"/>
                    <a:pt x="373" y="845"/>
                    <a:pt x="373" y="845"/>
                  </a:cubicBezTo>
                  <a:cubicBezTo>
                    <a:pt x="363" y="835"/>
                    <a:pt x="363" y="835"/>
                    <a:pt x="363" y="835"/>
                  </a:cubicBezTo>
                  <a:cubicBezTo>
                    <a:pt x="357" y="841"/>
                    <a:pt x="357" y="841"/>
                    <a:pt x="357" y="841"/>
                  </a:cubicBezTo>
                  <a:cubicBezTo>
                    <a:pt x="337" y="811"/>
                    <a:pt x="337" y="811"/>
                    <a:pt x="337" y="811"/>
                  </a:cubicBezTo>
                  <a:cubicBezTo>
                    <a:pt x="337" y="811"/>
                    <a:pt x="291" y="835"/>
                    <a:pt x="291" y="845"/>
                  </a:cubicBezTo>
                  <a:cubicBezTo>
                    <a:pt x="291" y="855"/>
                    <a:pt x="282" y="861"/>
                    <a:pt x="282" y="861"/>
                  </a:cubicBezTo>
                  <a:cubicBezTo>
                    <a:pt x="307" y="873"/>
                    <a:pt x="307" y="873"/>
                    <a:pt x="307" y="873"/>
                  </a:cubicBezTo>
                  <a:cubicBezTo>
                    <a:pt x="307" y="873"/>
                    <a:pt x="309" y="882"/>
                    <a:pt x="306" y="883"/>
                  </a:cubicBezTo>
                  <a:cubicBezTo>
                    <a:pt x="303" y="884"/>
                    <a:pt x="289" y="889"/>
                    <a:pt x="292" y="907"/>
                  </a:cubicBezTo>
                  <a:cubicBezTo>
                    <a:pt x="274" y="926"/>
                    <a:pt x="272" y="959"/>
                    <a:pt x="272" y="966"/>
                  </a:cubicBezTo>
                  <a:cubicBezTo>
                    <a:pt x="272" y="973"/>
                    <a:pt x="285" y="979"/>
                    <a:pt x="285" y="979"/>
                  </a:cubicBezTo>
                  <a:cubicBezTo>
                    <a:pt x="300" y="979"/>
                    <a:pt x="300" y="979"/>
                    <a:pt x="300" y="979"/>
                  </a:cubicBezTo>
                  <a:cubicBezTo>
                    <a:pt x="300" y="959"/>
                    <a:pt x="300" y="959"/>
                    <a:pt x="300" y="959"/>
                  </a:cubicBezTo>
                  <a:cubicBezTo>
                    <a:pt x="291" y="957"/>
                    <a:pt x="291" y="957"/>
                    <a:pt x="291" y="957"/>
                  </a:cubicBezTo>
                  <a:cubicBezTo>
                    <a:pt x="299" y="946"/>
                    <a:pt x="299" y="946"/>
                    <a:pt x="299" y="946"/>
                  </a:cubicBezTo>
                  <a:cubicBezTo>
                    <a:pt x="296" y="943"/>
                    <a:pt x="296" y="943"/>
                    <a:pt x="296" y="943"/>
                  </a:cubicBezTo>
                  <a:cubicBezTo>
                    <a:pt x="305" y="938"/>
                    <a:pt x="305" y="938"/>
                    <a:pt x="305" y="938"/>
                  </a:cubicBezTo>
                  <a:cubicBezTo>
                    <a:pt x="298" y="919"/>
                    <a:pt x="298" y="919"/>
                    <a:pt x="298" y="919"/>
                  </a:cubicBezTo>
                  <a:cubicBezTo>
                    <a:pt x="315" y="918"/>
                    <a:pt x="315" y="918"/>
                    <a:pt x="315" y="918"/>
                  </a:cubicBezTo>
                  <a:cubicBezTo>
                    <a:pt x="318" y="902"/>
                    <a:pt x="318" y="902"/>
                    <a:pt x="318" y="902"/>
                  </a:cubicBezTo>
                  <a:cubicBezTo>
                    <a:pt x="324" y="908"/>
                    <a:pt x="324" y="908"/>
                    <a:pt x="324" y="908"/>
                  </a:cubicBezTo>
                  <a:cubicBezTo>
                    <a:pt x="334" y="899"/>
                    <a:pt x="334" y="899"/>
                    <a:pt x="334" y="899"/>
                  </a:cubicBezTo>
                  <a:cubicBezTo>
                    <a:pt x="326" y="886"/>
                    <a:pt x="326" y="886"/>
                    <a:pt x="326" y="886"/>
                  </a:cubicBezTo>
                  <a:cubicBezTo>
                    <a:pt x="335" y="882"/>
                    <a:pt x="335" y="882"/>
                    <a:pt x="335" y="882"/>
                  </a:cubicBezTo>
                  <a:cubicBezTo>
                    <a:pt x="356" y="902"/>
                    <a:pt x="356" y="902"/>
                    <a:pt x="356" y="902"/>
                  </a:cubicBezTo>
                  <a:cubicBezTo>
                    <a:pt x="354" y="912"/>
                    <a:pt x="354" y="912"/>
                    <a:pt x="354" y="912"/>
                  </a:cubicBezTo>
                  <a:cubicBezTo>
                    <a:pt x="354" y="912"/>
                    <a:pt x="339" y="904"/>
                    <a:pt x="338" y="908"/>
                  </a:cubicBezTo>
                  <a:cubicBezTo>
                    <a:pt x="337" y="912"/>
                    <a:pt x="356" y="923"/>
                    <a:pt x="356" y="923"/>
                  </a:cubicBezTo>
                  <a:cubicBezTo>
                    <a:pt x="356" y="923"/>
                    <a:pt x="349" y="930"/>
                    <a:pt x="351" y="938"/>
                  </a:cubicBezTo>
                  <a:cubicBezTo>
                    <a:pt x="353" y="946"/>
                    <a:pt x="365" y="943"/>
                    <a:pt x="368" y="954"/>
                  </a:cubicBezTo>
                  <a:cubicBezTo>
                    <a:pt x="371" y="965"/>
                    <a:pt x="336" y="956"/>
                    <a:pt x="336" y="963"/>
                  </a:cubicBezTo>
                  <a:cubicBezTo>
                    <a:pt x="336" y="970"/>
                    <a:pt x="343" y="983"/>
                    <a:pt x="343" y="983"/>
                  </a:cubicBezTo>
                  <a:cubicBezTo>
                    <a:pt x="343" y="983"/>
                    <a:pt x="346" y="1002"/>
                    <a:pt x="360" y="1003"/>
                  </a:cubicBezTo>
                  <a:cubicBezTo>
                    <a:pt x="374" y="1004"/>
                    <a:pt x="382" y="963"/>
                    <a:pt x="391" y="969"/>
                  </a:cubicBezTo>
                  <a:cubicBezTo>
                    <a:pt x="400" y="975"/>
                    <a:pt x="388" y="986"/>
                    <a:pt x="388" y="986"/>
                  </a:cubicBezTo>
                  <a:cubicBezTo>
                    <a:pt x="387" y="1004"/>
                    <a:pt x="387" y="1004"/>
                    <a:pt x="387" y="1004"/>
                  </a:cubicBezTo>
                  <a:cubicBezTo>
                    <a:pt x="377" y="997"/>
                    <a:pt x="377" y="997"/>
                    <a:pt x="377" y="997"/>
                  </a:cubicBezTo>
                  <a:cubicBezTo>
                    <a:pt x="377" y="997"/>
                    <a:pt x="370" y="1004"/>
                    <a:pt x="370" y="1009"/>
                  </a:cubicBezTo>
                  <a:cubicBezTo>
                    <a:pt x="370" y="1014"/>
                    <a:pt x="374" y="1025"/>
                    <a:pt x="374" y="1025"/>
                  </a:cubicBezTo>
                  <a:cubicBezTo>
                    <a:pt x="374" y="1025"/>
                    <a:pt x="384" y="1031"/>
                    <a:pt x="384" y="1046"/>
                  </a:cubicBezTo>
                  <a:cubicBezTo>
                    <a:pt x="384" y="1061"/>
                    <a:pt x="393" y="1076"/>
                    <a:pt x="393" y="1076"/>
                  </a:cubicBezTo>
                  <a:cubicBezTo>
                    <a:pt x="373" y="1077"/>
                    <a:pt x="373" y="1077"/>
                    <a:pt x="373" y="1077"/>
                  </a:cubicBezTo>
                  <a:cubicBezTo>
                    <a:pt x="362" y="1093"/>
                    <a:pt x="362" y="1093"/>
                    <a:pt x="362" y="1093"/>
                  </a:cubicBezTo>
                  <a:cubicBezTo>
                    <a:pt x="364" y="1071"/>
                    <a:pt x="364" y="1071"/>
                    <a:pt x="364" y="1071"/>
                  </a:cubicBezTo>
                  <a:cubicBezTo>
                    <a:pt x="364" y="1071"/>
                    <a:pt x="354" y="1063"/>
                    <a:pt x="354" y="1059"/>
                  </a:cubicBezTo>
                  <a:cubicBezTo>
                    <a:pt x="354" y="1055"/>
                    <a:pt x="371" y="1063"/>
                    <a:pt x="371" y="1063"/>
                  </a:cubicBezTo>
                  <a:cubicBezTo>
                    <a:pt x="371" y="1063"/>
                    <a:pt x="379" y="1051"/>
                    <a:pt x="379" y="1044"/>
                  </a:cubicBezTo>
                  <a:cubicBezTo>
                    <a:pt x="379" y="1037"/>
                    <a:pt x="367" y="1046"/>
                    <a:pt x="367" y="1046"/>
                  </a:cubicBezTo>
                  <a:cubicBezTo>
                    <a:pt x="342" y="1022"/>
                    <a:pt x="342" y="1022"/>
                    <a:pt x="342" y="1022"/>
                  </a:cubicBezTo>
                  <a:cubicBezTo>
                    <a:pt x="342" y="1022"/>
                    <a:pt x="328" y="1037"/>
                    <a:pt x="323" y="1034"/>
                  </a:cubicBezTo>
                  <a:cubicBezTo>
                    <a:pt x="291" y="1030"/>
                    <a:pt x="308" y="1022"/>
                    <a:pt x="300" y="1022"/>
                  </a:cubicBezTo>
                  <a:cubicBezTo>
                    <a:pt x="292" y="1022"/>
                    <a:pt x="286" y="1038"/>
                    <a:pt x="274" y="1038"/>
                  </a:cubicBezTo>
                  <a:cubicBezTo>
                    <a:pt x="262" y="1038"/>
                    <a:pt x="262" y="1033"/>
                    <a:pt x="262" y="1033"/>
                  </a:cubicBezTo>
                  <a:cubicBezTo>
                    <a:pt x="240" y="1033"/>
                    <a:pt x="240" y="1033"/>
                    <a:pt x="240" y="1033"/>
                  </a:cubicBezTo>
                  <a:cubicBezTo>
                    <a:pt x="237" y="1053"/>
                    <a:pt x="237" y="1053"/>
                    <a:pt x="237" y="1053"/>
                  </a:cubicBezTo>
                  <a:cubicBezTo>
                    <a:pt x="237" y="1053"/>
                    <a:pt x="211" y="1063"/>
                    <a:pt x="216" y="1066"/>
                  </a:cubicBezTo>
                  <a:cubicBezTo>
                    <a:pt x="221" y="1069"/>
                    <a:pt x="239" y="1077"/>
                    <a:pt x="239" y="1077"/>
                  </a:cubicBezTo>
                  <a:cubicBezTo>
                    <a:pt x="257" y="1073"/>
                    <a:pt x="257" y="1073"/>
                    <a:pt x="257" y="1073"/>
                  </a:cubicBezTo>
                  <a:cubicBezTo>
                    <a:pt x="265" y="1065"/>
                    <a:pt x="265" y="1065"/>
                    <a:pt x="265" y="1065"/>
                  </a:cubicBezTo>
                  <a:cubicBezTo>
                    <a:pt x="278" y="1072"/>
                    <a:pt x="278" y="1072"/>
                    <a:pt x="278" y="1072"/>
                  </a:cubicBezTo>
                  <a:cubicBezTo>
                    <a:pt x="292" y="1066"/>
                    <a:pt x="292" y="1066"/>
                    <a:pt x="292" y="1066"/>
                  </a:cubicBezTo>
                  <a:cubicBezTo>
                    <a:pt x="292" y="1066"/>
                    <a:pt x="295" y="1069"/>
                    <a:pt x="305" y="1086"/>
                  </a:cubicBezTo>
                  <a:cubicBezTo>
                    <a:pt x="286" y="1102"/>
                    <a:pt x="305" y="1113"/>
                    <a:pt x="305" y="1113"/>
                  </a:cubicBezTo>
                  <a:cubicBezTo>
                    <a:pt x="315" y="1109"/>
                    <a:pt x="315" y="1109"/>
                    <a:pt x="315" y="1109"/>
                  </a:cubicBezTo>
                  <a:cubicBezTo>
                    <a:pt x="346" y="1155"/>
                    <a:pt x="346" y="1155"/>
                    <a:pt x="346" y="1155"/>
                  </a:cubicBezTo>
                  <a:cubicBezTo>
                    <a:pt x="346" y="1155"/>
                    <a:pt x="345" y="1152"/>
                    <a:pt x="375" y="1152"/>
                  </a:cubicBezTo>
                  <a:cubicBezTo>
                    <a:pt x="405" y="1152"/>
                    <a:pt x="427" y="1127"/>
                    <a:pt x="427" y="1127"/>
                  </a:cubicBezTo>
                  <a:cubicBezTo>
                    <a:pt x="427" y="1127"/>
                    <a:pt x="429" y="1133"/>
                    <a:pt x="438" y="1133"/>
                  </a:cubicBezTo>
                  <a:cubicBezTo>
                    <a:pt x="447" y="1133"/>
                    <a:pt x="479" y="1138"/>
                    <a:pt x="487" y="1138"/>
                  </a:cubicBezTo>
                  <a:cubicBezTo>
                    <a:pt x="495" y="1138"/>
                    <a:pt x="514" y="1150"/>
                    <a:pt x="514" y="1150"/>
                  </a:cubicBezTo>
                  <a:cubicBezTo>
                    <a:pt x="514" y="1150"/>
                    <a:pt x="491" y="1170"/>
                    <a:pt x="487" y="1174"/>
                  </a:cubicBezTo>
                  <a:cubicBezTo>
                    <a:pt x="483" y="1178"/>
                    <a:pt x="479" y="1165"/>
                    <a:pt x="479" y="1165"/>
                  </a:cubicBezTo>
                  <a:cubicBezTo>
                    <a:pt x="471" y="1168"/>
                    <a:pt x="471" y="1168"/>
                    <a:pt x="471" y="1168"/>
                  </a:cubicBezTo>
                  <a:cubicBezTo>
                    <a:pt x="471" y="1182"/>
                    <a:pt x="471" y="1182"/>
                    <a:pt x="471" y="1182"/>
                  </a:cubicBezTo>
                  <a:cubicBezTo>
                    <a:pt x="471" y="1182"/>
                    <a:pt x="473" y="1178"/>
                    <a:pt x="476" y="1175"/>
                  </a:cubicBezTo>
                  <a:cubicBezTo>
                    <a:pt x="479" y="1172"/>
                    <a:pt x="484" y="1176"/>
                    <a:pt x="484" y="1176"/>
                  </a:cubicBezTo>
                  <a:cubicBezTo>
                    <a:pt x="489" y="1195"/>
                    <a:pt x="489" y="1195"/>
                    <a:pt x="489" y="1195"/>
                  </a:cubicBezTo>
                  <a:cubicBezTo>
                    <a:pt x="489" y="1195"/>
                    <a:pt x="518" y="1195"/>
                    <a:pt x="519" y="1205"/>
                  </a:cubicBezTo>
                  <a:cubicBezTo>
                    <a:pt x="520" y="1215"/>
                    <a:pt x="506" y="1218"/>
                    <a:pt x="506" y="1218"/>
                  </a:cubicBezTo>
                  <a:cubicBezTo>
                    <a:pt x="506" y="1218"/>
                    <a:pt x="489" y="1210"/>
                    <a:pt x="475" y="1210"/>
                  </a:cubicBezTo>
                  <a:cubicBezTo>
                    <a:pt x="461" y="1210"/>
                    <a:pt x="434" y="1218"/>
                    <a:pt x="434" y="1218"/>
                  </a:cubicBezTo>
                  <a:cubicBezTo>
                    <a:pt x="426" y="1214"/>
                    <a:pt x="426" y="1214"/>
                    <a:pt x="426" y="1214"/>
                  </a:cubicBezTo>
                  <a:cubicBezTo>
                    <a:pt x="366" y="1233"/>
                    <a:pt x="366" y="1233"/>
                    <a:pt x="366" y="1233"/>
                  </a:cubicBezTo>
                  <a:cubicBezTo>
                    <a:pt x="366" y="1233"/>
                    <a:pt x="368" y="1240"/>
                    <a:pt x="368" y="1248"/>
                  </a:cubicBezTo>
                  <a:cubicBezTo>
                    <a:pt x="368" y="1256"/>
                    <a:pt x="361" y="1265"/>
                    <a:pt x="359" y="1278"/>
                  </a:cubicBezTo>
                  <a:cubicBezTo>
                    <a:pt x="357" y="1291"/>
                    <a:pt x="362" y="1293"/>
                    <a:pt x="362" y="1293"/>
                  </a:cubicBezTo>
                  <a:cubicBezTo>
                    <a:pt x="356" y="1309"/>
                    <a:pt x="356" y="1309"/>
                    <a:pt x="356" y="1309"/>
                  </a:cubicBezTo>
                  <a:cubicBezTo>
                    <a:pt x="356" y="1309"/>
                    <a:pt x="359" y="1310"/>
                    <a:pt x="372" y="1321"/>
                  </a:cubicBezTo>
                  <a:cubicBezTo>
                    <a:pt x="385" y="1332"/>
                    <a:pt x="376" y="1334"/>
                    <a:pt x="361" y="1349"/>
                  </a:cubicBezTo>
                  <a:cubicBezTo>
                    <a:pt x="346" y="1364"/>
                    <a:pt x="331" y="1342"/>
                    <a:pt x="331" y="1342"/>
                  </a:cubicBezTo>
                  <a:cubicBezTo>
                    <a:pt x="297" y="1343"/>
                    <a:pt x="297" y="1343"/>
                    <a:pt x="297" y="1343"/>
                  </a:cubicBezTo>
                  <a:cubicBezTo>
                    <a:pt x="297" y="1343"/>
                    <a:pt x="293" y="1349"/>
                    <a:pt x="301" y="1362"/>
                  </a:cubicBezTo>
                  <a:cubicBezTo>
                    <a:pt x="309" y="1375"/>
                    <a:pt x="314" y="1372"/>
                    <a:pt x="314" y="1372"/>
                  </a:cubicBezTo>
                  <a:cubicBezTo>
                    <a:pt x="321" y="1377"/>
                    <a:pt x="321" y="1377"/>
                    <a:pt x="321" y="1377"/>
                  </a:cubicBezTo>
                  <a:cubicBezTo>
                    <a:pt x="321" y="1377"/>
                    <a:pt x="322" y="1391"/>
                    <a:pt x="311" y="1391"/>
                  </a:cubicBezTo>
                  <a:cubicBezTo>
                    <a:pt x="300" y="1391"/>
                    <a:pt x="309" y="1373"/>
                    <a:pt x="309" y="1373"/>
                  </a:cubicBezTo>
                  <a:cubicBezTo>
                    <a:pt x="258" y="1370"/>
                    <a:pt x="258" y="1370"/>
                    <a:pt x="258" y="1370"/>
                  </a:cubicBezTo>
                  <a:cubicBezTo>
                    <a:pt x="258" y="1370"/>
                    <a:pt x="263" y="1376"/>
                    <a:pt x="259" y="1382"/>
                  </a:cubicBezTo>
                  <a:cubicBezTo>
                    <a:pt x="240" y="1363"/>
                    <a:pt x="224" y="1393"/>
                    <a:pt x="224" y="1393"/>
                  </a:cubicBezTo>
                  <a:cubicBezTo>
                    <a:pt x="233" y="1393"/>
                    <a:pt x="233" y="1393"/>
                    <a:pt x="233" y="1393"/>
                  </a:cubicBezTo>
                  <a:cubicBezTo>
                    <a:pt x="248" y="1426"/>
                    <a:pt x="248" y="1426"/>
                    <a:pt x="248" y="1426"/>
                  </a:cubicBezTo>
                  <a:cubicBezTo>
                    <a:pt x="260" y="1422"/>
                    <a:pt x="260" y="1422"/>
                    <a:pt x="260" y="1422"/>
                  </a:cubicBezTo>
                  <a:cubicBezTo>
                    <a:pt x="281" y="1434"/>
                    <a:pt x="281" y="1434"/>
                    <a:pt x="281" y="1434"/>
                  </a:cubicBezTo>
                  <a:cubicBezTo>
                    <a:pt x="281" y="1434"/>
                    <a:pt x="271" y="1436"/>
                    <a:pt x="271" y="1443"/>
                  </a:cubicBezTo>
                  <a:cubicBezTo>
                    <a:pt x="271" y="1450"/>
                    <a:pt x="281" y="1456"/>
                    <a:pt x="281" y="1456"/>
                  </a:cubicBezTo>
                  <a:cubicBezTo>
                    <a:pt x="281" y="1456"/>
                    <a:pt x="291" y="1464"/>
                    <a:pt x="287" y="1471"/>
                  </a:cubicBezTo>
                  <a:cubicBezTo>
                    <a:pt x="283" y="1478"/>
                    <a:pt x="263" y="1457"/>
                    <a:pt x="260" y="1457"/>
                  </a:cubicBezTo>
                  <a:cubicBezTo>
                    <a:pt x="257" y="1457"/>
                    <a:pt x="250" y="1462"/>
                    <a:pt x="246" y="1463"/>
                  </a:cubicBezTo>
                  <a:cubicBezTo>
                    <a:pt x="242" y="1464"/>
                    <a:pt x="243" y="1466"/>
                    <a:pt x="243" y="1475"/>
                  </a:cubicBezTo>
                  <a:cubicBezTo>
                    <a:pt x="243" y="1484"/>
                    <a:pt x="225" y="1490"/>
                    <a:pt x="225" y="1493"/>
                  </a:cubicBezTo>
                  <a:cubicBezTo>
                    <a:pt x="225" y="1496"/>
                    <a:pt x="232" y="1497"/>
                    <a:pt x="232" y="1497"/>
                  </a:cubicBezTo>
                  <a:cubicBezTo>
                    <a:pt x="246" y="1488"/>
                    <a:pt x="246" y="1488"/>
                    <a:pt x="246" y="1488"/>
                  </a:cubicBezTo>
                  <a:cubicBezTo>
                    <a:pt x="246" y="1488"/>
                    <a:pt x="251" y="1498"/>
                    <a:pt x="264" y="1499"/>
                  </a:cubicBezTo>
                  <a:cubicBezTo>
                    <a:pt x="277" y="1500"/>
                    <a:pt x="286" y="1492"/>
                    <a:pt x="286" y="1492"/>
                  </a:cubicBezTo>
                  <a:cubicBezTo>
                    <a:pt x="301" y="1498"/>
                    <a:pt x="301" y="1498"/>
                    <a:pt x="301" y="1498"/>
                  </a:cubicBezTo>
                  <a:cubicBezTo>
                    <a:pt x="301" y="1498"/>
                    <a:pt x="293" y="1502"/>
                    <a:pt x="293" y="1512"/>
                  </a:cubicBezTo>
                  <a:cubicBezTo>
                    <a:pt x="293" y="1522"/>
                    <a:pt x="321" y="1522"/>
                    <a:pt x="321" y="1522"/>
                  </a:cubicBezTo>
                  <a:cubicBezTo>
                    <a:pt x="321" y="1522"/>
                    <a:pt x="335" y="1541"/>
                    <a:pt x="336" y="1530"/>
                  </a:cubicBezTo>
                  <a:cubicBezTo>
                    <a:pt x="336" y="1513"/>
                    <a:pt x="353" y="1513"/>
                    <a:pt x="353" y="1513"/>
                  </a:cubicBezTo>
                  <a:cubicBezTo>
                    <a:pt x="360" y="1527"/>
                    <a:pt x="360" y="1527"/>
                    <a:pt x="360" y="1527"/>
                  </a:cubicBezTo>
                  <a:cubicBezTo>
                    <a:pt x="372" y="1515"/>
                    <a:pt x="372" y="1515"/>
                    <a:pt x="372" y="1515"/>
                  </a:cubicBezTo>
                  <a:cubicBezTo>
                    <a:pt x="386" y="1515"/>
                    <a:pt x="386" y="1515"/>
                    <a:pt x="386" y="1515"/>
                  </a:cubicBezTo>
                  <a:cubicBezTo>
                    <a:pt x="393" y="1502"/>
                    <a:pt x="393" y="1502"/>
                    <a:pt x="393" y="1502"/>
                  </a:cubicBezTo>
                  <a:cubicBezTo>
                    <a:pt x="404" y="1512"/>
                    <a:pt x="404" y="1512"/>
                    <a:pt x="404" y="1512"/>
                  </a:cubicBezTo>
                  <a:cubicBezTo>
                    <a:pt x="404" y="1512"/>
                    <a:pt x="415" y="1515"/>
                    <a:pt x="398" y="1526"/>
                  </a:cubicBezTo>
                  <a:cubicBezTo>
                    <a:pt x="376" y="1526"/>
                    <a:pt x="366" y="1534"/>
                    <a:pt x="366" y="1534"/>
                  </a:cubicBezTo>
                  <a:cubicBezTo>
                    <a:pt x="355" y="1570"/>
                    <a:pt x="355" y="1570"/>
                    <a:pt x="355" y="1570"/>
                  </a:cubicBezTo>
                  <a:cubicBezTo>
                    <a:pt x="364" y="1567"/>
                    <a:pt x="364" y="1567"/>
                    <a:pt x="364" y="1567"/>
                  </a:cubicBezTo>
                  <a:cubicBezTo>
                    <a:pt x="385" y="1597"/>
                    <a:pt x="385" y="1597"/>
                    <a:pt x="385" y="1597"/>
                  </a:cubicBezTo>
                  <a:cubicBezTo>
                    <a:pt x="387" y="1578"/>
                    <a:pt x="387" y="1578"/>
                    <a:pt x="387" y="1578"/>
                  </a:cubicBezTo>
                  <a:cubicBezTo>
                    <a:pt x="397" y="1576"/>
                    <a:pt x="397" y="1576"/>
                    <a:pt x="397" y="1576"/>
                  </a:cubicBezTo>
                  <a:cubicBezTo>
                    <a:pt x="393" y="1585"/>
                    <a:pt x="393" y="1585"/>
                    <a:pt x="393" y="1585"/>
                  </a:cubicBezTo>
                  <a:cubicBezTo>
                    <a:pt x="394" y="1597"/>
                    <a:pt x="394" y="1597"/>
                    <a:pt x="394" y="1597"/>
                  </a:cubicBezTo>
                  <a:cubicBezTo>
                    <a:pt x="394" y="1597"/>
                    <a:pt x="399" y="1595"/>
                    <a:pt x="403" y="1585"/>
                  </a:cubicBezTo>
                  <a:cubicBezTo>
                    <a:pt x="413" y="1596"/>
                    <a:pt x="423" y="1590"/>
                    <a:pt x="435" y="1574"/>
                  </a:cubicBezTo>
                  <a:cubicBezTo>
                    <a:pt x="435" y="1556"/>
                    <a:pt x="475" y="1523"/>
                    <a:pt x="475" y="1523"/>
                  </a:cubicBezTo>
                  <a:cubicBezTo>
                    <a:pt x="475" y="1523"/>
                    <a:pt x="475" y="1523"/>
                    <a:pt x="478" y="1537"/>
                  </a:cubicBezTo>
                  <a:cubicBezTo>
                    <a:pt x="481" y="1551"/>
                    <a:pt x="466" y="1555"/>
                    <a:pt x="466" y="1558"/>
                  </a:cubicBezTo>
                  <a:cubicBezTo>
                    <a:pt x="466" y="1561"/>
                    <a:pt x="472" y="1558"/>
                    <a:pt x="479" y="1567"/>
                  </a:cubicBezTo>
                  <a:cubicBezTo>
                    <a:pt x="486" y="1576"/>
                    <a:pt x="467" y="1580"/>
                    <a:pt x="462" y="1580"/>
                  </a:cubicBezTo>
                  <a:cubicBezTo>
                    <a:pt x="457" y="1580"/>
                    <a:pt x="460" y="1572"/>
                    <a:pt x="460" y="1567"/>
                  </a:cubicBezTo>
                  <a:cubicBezTo>
                    <a:pt x="460" y="1562"/>
                    <a:pt x="460" y="1567"/>
                    <a:pt x="456" y="1579"/>
                  </a:cubicBezTo>
                  <a:cubicBezTo>
                    <a:pt x="428" y="1588"/>
                    <a:pt x="448" y="1621"/>
                    <a:pt x="448" y="1624"/>
                  </a:cubicBezTo>
                  <a:cubicBezTo>
                    <a:pt x="448" y="1627"/>
                    <a:pt x="429" y="1612"/>
                    <a:pt x="429" y="1612"/>
                  </a:cubicBezTo>
                  <a:cubicBezTo>
                    <a:pt x="429" y="1612"/>
                    <a:pt x="421" y="1647"/>
                    <a:pt x="428" y="1641"/>
                  </a:cubicBezTo>
                  <a:cubicBezTo>
                    <a:pt x="435" y="1635"/>
                    <a:pt x="452" y="1646"/>
                    <a:pt x="465" y="1647"/>
                  </a:cubicBezTo>
                  <a:cubicBezTo>
                    <a:pt x="478" y="1648"/>
                    <a:pt x="476" y="1635"/>
                    <a:pt x="476" y="1635"/>
                  </a:cubicBezTo>
                  <a:cubicBezTo>
                    <a:pt x="482" y="1642"/>
                    <a:pt x="482" y="1642"/>
                    <a:pt x="482" y="1642"/>
                  </a:cubicBezTo>
                  <a:cubicBezTo>
                    <a:pt x="513" y="1621"/>
                    <a:pt x="513" y="1621"/>
                    <a:pt x="513" y="1621"/>
                  </a:cubicBezTo>
                  <a:cubicBezTo>
                    <a:pt x="513" y="1621"/>
                    <a:pt x="526" y="1644"/>
                    <a:pt x="536" y="1650"/>
                  </a:cubicBezTo>
                  <a:cubicBezTo>
                    <a:pt x="546" y="1656"/>
                    <a:pt x="598" y="1636"/>
                    <a:pt x="598" y="1636"/>
                  </a:cubicBezTo>
                  <a:cubicBezTo>
                    <a:pt x="598" y="1636"/>
                    <a:pt x="700" y="1634"/>
                    <a:pt x="714" y="1626"/>
                  </a:cubicBezTo>
                  <a:cubicBezTo>
                    <a:pt x="728" y="1618"/>
                    <a:pt x="779" y="1624"/>
                    <a:pt x="779" y="1624"/>
                  </a:cubicBezTo>
                  <a:cubicBezTo>
                    <a:pt x="746" y="1657"/>
                    <a:pt x="746" y="1657"/>
                    <a:pt x="746" y="1657"/>
                  </a:cubicBezTo>
                  <a:cubicBezTo>
                    <a:pt x="746" y="1657"/>
                    <a:pt x="765" y="1663"/>
                    <a:pt x="780" y="1665"/>
                  </a:cubicBezTo>
                  <a:cubicBezTo>
                    <a:pt x="795" y="1667"/>
                    <a:pt x="792" y="1659"/>
                    <a:pt x="792" y="1659"/>
                  </a:cubicBezTo>
                  <a:cubicBezTo>
                    <a:pt x="798" y="1666"/>
                    <a:pt x="798" y="1666"/>
                    <a:pt x="798" y="1666"/>
                  </a:cubicBezTo>
                  <a:cubicBezTo>
                    <a:pt x="788" y="1670"/>
                    <a:pt x="788" y="1670"/>
                    <a:pt x="788" y="1670"/>
                  </a:cubicBezTo>
                  <a:cubicBezTo>
                    <a:pt x="788" y="1690"/>
                    <a:pt x="788" y="1690"/>
                    <a:pt x="788" y="1690"/>
                  </a:cubicBezTo>
                  <a:cubicBezTo>
                    <a:pt x="788" y="1690"/>
                    <a:pt x="797" y="1708"/>
                    <a:pt x="796" y="1715"/>
                  </a:cubicBezTo>
                  <a:cubicBezTo>
                    <a:pt x="795" y="1722"/>
                    <a:pt x="776" y="1691"/>
                    <a:pt x="776" y="1691"/>
                  </a:cubicBezTo>
                  <a:cubicBezTo>
                    <a:pt x="776" y="1691"/>
                    <a:pt x="756" y="1694"/>
                    <a:pt x="748" y="1694"/>
                  </a:cubicBezTo>
                  <a:cubicBezTo>
                    <a:pt x="740" y="1694"/>
                    <a:pt x="749" y="1703"/>
                    <a:pt x="749" y="1703"/>
                  </a:cubicBezTo>
                  <a:cubicBezTo>
                    <a:pt x="733" y="1693"/>
                    <a:pt x="733" y="1693"/>
                    <a:pt x="733" y="1693"/>
                  </a:cubicBezTo>
                  <a:cubicBezTo>
                    <a:pt x="706" y="1709"/>
                    <a:pt x="706" y="1709"/>
                    <a:pt x="706" y="1709"/>
                  </a:cubicBezTo>
                  <a:cubicBezTo>
                    <a:pt x="714" y="1717"/>
                    <a:pt x="714" y="1717"/>
                    <a:pt x="714" y="1717"/>
                  </a:cubicBezTo>
                  <a:cubicBezTo>
                    <a:pt x="693" y="1731"/>
                    <a:pt x="693" y="1731"/>
                    <a:pt x="693" y="1731"/>
                  </a:cubicBezTo>
                  <a:cubicBezTo>
                    <a:pt x="690" y="1720"/>
                    <a:pt x="690" y="1720"/>
                    <a:pt x="690" y="1720"/>
                  </a:cubicBezTo>
                  <a:cubicBezTo>
                    <a:pt x="650" y="1703"/>
                    <a:pt x="650" y="1703"/>
                    <a:pt x="650" y="1703"/>
                  </a:cubicBezTo>
                  <a:cubicBezTo>
                    <a:pt x="632" y="1712"/>
                    <a:pt x="632" y="1712"/>
                    <a:pt x="632" y="1712"/>
                  </a:cubicBezTo>
                  <a:cubicBezTo>
                    <a:pt x="632" y="1712"/>
                    <a:pt x="632" y="1727"/>
                    <a:pt x="633" y="1735"/>
                  </a:cubicBezTo>
                  <a:cubicBezTo>
                    <a:pt x="634" y="1743"/>
                    <a:pt x="601" y="1763"/>
                    <a:pt x="601" y="1763"/>
                  </a:cubicBezTo>
                  <a:cubicBezTo>
                    <a:pt x="598" y="1783"/>
                    <a:pt x="598" y="1783"/>
                    <a:pt x="598" y="1783"/>
                  </a:cubicBezTo>
                  <a:cubicBezTo>
                    <a:pt x="598" y="1783"/>
                    <a:pt x="573" y="1806"/>
                    <a:pt x="579" y="1808"/>
                  </a:cubicBezTo>
                  <a:cubicBezTo>
                    <a:pt x="585" y="1810"/>
                    <a:pt x="571" y="1822"/>
                    <a:pt x="566" y="1830"/>
                  </a:cubicBezTo>
                  <a:cubicBezTo>
                    <a:pt x="566" y="1844"/>
                    <a:pt x="549" y="1860"/>
                    <a:pt x="549" y="1860"/>
                  </a:cubicBezTo>
                  <a:cubicBezTo>
                    <a:pt x="548" y="1875"/>
                    <a:pt x="548" y="1875"/>
                    <a:pt x="548" y="1875"/>
                  </a:cubicBezTo>
                  <a:cubicBezTo>
                    <a:pt x="557" y="1870"/>
                    <a:pt x="557" y="1870"/>
                    <a:pt x="557" y="1870"/>
                  </a:cubicBezTo>
                  <a:cubicBezTo>
                    <a:pt x="572" y="1877"/>
                    <a:pt x="572" y="1877"/>
                    <a:pt x="572" y="1877"/>
                  </a:cubicBezTo>
                  <a:cubicBezTo>
                    <a:pt x="595" y="1863"/>
                    <a:pt x="595" y="1863"/>
                    <a:pt x="595" y="1863"/>
                  </a:cubicBezTo>
                  <a:cubicBezTo>
                    <a:pt x="603" y="1873"/>
                    <a:pt x="603" y="1873"/>
                    <a:pt x="603" y="1873"/>
                  </a:cubicBezTo>
                  <a:cubicBezTo>
                    <a:pt x="603" y="1873"/>
                    <a:pt x="602" y="1887"/>
                    <a:pt x="585" y="1893"/>
                  </a:cubicBezTo>
                  <a:cubicBezTo>
                    <a:pt x="568" y="1899"/>
                    <a:pt x="557" y="1931"/>
                    <a:pt x="554" y="1937"/>
                  </a:cubicBezTo>
                  <a:cubicBezTo>
                    <a:pt x="551" y="1943"/>
                    <a:pt x="561" y="1936"/>
                    <a:pt x="560" y="1948"/>
                  </a:cubicBezTo>
                  <a:cubicBezTo>
                    <a:pt x="559" y="1960"/>
                    <a:pt x="534" y="1961"/>
                    <a:pt x="534" y="1961"/>
                  </a:cubicBezTo>
                  <a:cubicBezTo>
                    <a:pt x="534" y="1961"/>
                    <a:pt x="534" y="1961"/>
                    <a:pt x="538" y="1978"/>
                  </a:cubicBezTo>
                  <a:cubicBezTo>
                    <a:pt x="542" y="1995"/>
                    <a:pt x="511" y="2020"/>
                    <a:pt x="511" y="2020"/>
                  </a:cubicBezTo>
                  <a:cubicBezTo>
                    <a:pt x="511" y="2020"/>
                    <a:pt x="507" y="2011"/>
                    <a:pt x="494" y="2010"/>
                  </a:cubicBezTo>
                  <a:cubicBezTo>
                    <a:pt x="481" y="2009"/>
                    <a:pt x="456" y="2055"/>
                    <a:pt x="456" y="2055"/>
                  </a:cubicBezTo>
                  <a:cubicBezTo>
                    <a:pt x="456" y="2055"/>
                    <a:pt x="468" y="2060"/>
                    <a:pt x="453" y="2065"/>
                  </a:cubicBezTo>
                  <a:cubicBezTo>
                    <a:pt x="433" y="2066"/>
                    <a:pt x="399" y="2102"/>
                    <a:pt x="381" y="2123"/>
                  </a:cubicBezTo>
                  <a:cubicBezTo>
                    <a:pt x="351" y="2122"/>
                    <a:pt x="328" y="2157"/>
                    <a:pt x="325" y="2158"/>
                  </a:cubicBezTo>
                  <a:cubicBezTo>
                    <a:pt x="322" y="2159"/>
                    <a:pt x="344" y="2167"/>
                    <a:pt x="344" y="2167"/>
                  </a:cubicBezTo>
                  <a:cubicBezTo>
                    <a:pt x="358" y="2150"/>
                    <a:pt x="358" y="2150"/>
                    <a:pt x="358" y="2150"/>
                  </a:cubicBezTo>
                  <a:cubicBezTo>
                    <a:pt x="397" y="2154"/>
                    <a:pt x="397" y="2154"/>
                    <a:pt x="397" y="2154"/>
                  </a:cubicBezTo>
                  <a:cubicBezTo>
                    <a:pt x="420" y="2142"/>
                    <a:pt x="420" y="2142"/>
                    <a:pt x="420" y="2142"/>
                  </a:cubicBezTo>
                  <a:cubicBezTo>
                    <a:pt x="420" y="2142"/>
                    <a:pt x="426" y="2147"/>
                    <a:pt x="431" y="2147"/>
                  </a:cubicBezTo>
                  <a:cubicBezTo>
                    <a:pt x="436" y="2147"/>
                    <a:pt x="439" y="2120"/>
                    <a:pt x="439" y="2120"/>
                  </a:cubicBezTo>
                  <a:cubicBezTo>
                    <a:pt x="474" y="2117"/>
                    <a:pt x="474" y="2117"/>
                    <a:pt x="474" y="2117"/>
                  </a:cubicBezTo>
                  <a:cubicBezTo>
                    <a:pt x="506" y="2095"/>
                    <a:pt x="506" y="2095"/>
                    <a:pt x="506" y="2095"/>
                  </a:cubicBezTo>
                  <a:cubicBezTo>
                    <a:pt x="506" y="2095"/>
                    <a:pt x="498" y="2074"/>
                    <a:pt x="505" y="2074"/>
                  </a:cubicBezTo>
                  <a:cubicBezTo>
                    <a:pt x="512" y="2074"/>
                    <a:pt x="509" y="2091"/>
                    <a:pt x="509" y="2091"/>
                  </a:cubicBezTo>
                  <a:cubicBezTo>
                    <a:pt x="516" y="2105"/>
                    <a:pt x="516" y="2105"/>
                    <a:pt x="516" y="2105"/>
                  </a:cubicBezTo>
                  <a:cubicBezTo>
                    <a:pt x="516" y="2126"/>
                    <a:pt x="516" y="2126"/>
                    <a:pt x="516" y="2126"/>
                  </a:cubicBezTo>
                  <a:cubicBezTo>
                    <a:pt x="534" y="2107"/>
                    <a:pt x="534" y="2107"/>
                    <a:pt x="534" y="2107"/>
                  </a:cubicBezTo>
                  <a:cubicBezTo>
                    <a:pt x="534" y="2107"/>
                    <a:pt x="551" y="2123"/>
                    <a:pt x="572" y="2124"/>
                  </a:cubicBezTo>
                  <a:cubicBezTo>
                    <a:pt x="593" y="2125"/>
                    <a:pt x="625" y="2100"/>
                    <a:pt x="628" y="2105"/>
                  </a:cubicBezTo>
                  <a:cubicBezTo>
                    <a:pt x="631" y="2110"/>
                    <a:pt x="597" y="2124"/>
                    <a:pt x="603" y="2137"/>
                  </a:cubicBezTo>
                  <a:cubicBezTo>
                    <a:pt x="609" y="2150"/>
                    <a:pt x="644" y="2114"/>
                    <a:pt x="644" y="2114"/>
                  </a:cubicBezTo>
                  <a:cubicBezTo>
                    <a:pt x="644" y="2114"/>
                    <a:pt x="661" y="2114"/>
                    <a:pt x="685" y="2115"/>
                  </a:cubicBezTo>
                  <a:cubicBezTo>
                    <a:pt x="709" y="2116"/>
                    <a:pt x="722" y="2081"/>
                    <a:pt x="722" y="2081"/>
                  </a:cubicBezTo>
                  <a:cubicBezTo>
                    <a:pt x="741" y="2051"/>
                    <a:pt x="741" y="2051"/>
                    <a:pt x="741" y="2051"/>
                  </a:cubicBezTo>
                  <a:cubicBezTo>
                    <a:pt x="754" y="2053"/>
                    <a:pt x="754" y="2053"/>
                    <a:pt x="754" y="2053"/>
                  </a:cubicBezTo>
                  <a:cubicBezTo>
                    <a:pt x="757" y="2044"/>
                    <a:pt x="757" y="2044"/>
                    <a:pt x="757" y="2044"/>
                  </a:cubicBezTo>
                  <a:cubicBezTo>
                    <a:pt x="757" y="2044"/>
                    <a:pt x="743" y="2038"/>
                    <a:pt x="743" y="2029"/>
                  </a:cubicBezTo>
                  <a:cubicBezTo>
                    <a:pt x="743" y="2020"/>
                    <a:pt x="752" y="2007"/>
                    <a:pt x="757" y="2007"/>
                  </a:cubicBezTo>
                  <a:cubicBezTo>
                    <a:pt x="762" y="2007"/>
                    <a:pt x="781" y="2026"/>
                    <a:pt x="787" y="2026"/>
                  </a:cubicBezTo>
                  <a:cubicBezTo>
                    <a:pt x="793" y="2026"/>
                    <a:pt x="775" y="2048"/>
                    <a:pt x="775" y="2048"/>
                  </a:cubicBezTo>
                  <a:cubicBezTo>
                    <a:pt x="767" y="2045"/>
                    <a:pt x="767" y="2045"/>
                    <a:pt x="767" y="2045"/>
                  </a:cubicBezTo>
                  <a:cubicBezTo>
                    <a:pt x="767" y="2045"/>
                    <a:pt x="772" y="2068"/>
                    <a:pt x="784" y="2073"/>
                  </a:cubicBezTo>
                  <a:cubicBezTo>
                    <a:pt x="796" y="2078"/>
                    <a:pt x="818" y="2057"/>
                    <a:pt x="818" y="2057"/>
                  </a:cubicBezTo>
                  <a:cubicBezTo>
                    <a:pt x="850" y="2086"/>
                    <a:pt x="850" y="2086"/>
                    <a:pt x="850" y="2086"/>
                  </a:cubicBezTo>
                  <a:cubicBezTo>
                    <a:pt x="775" y="2087"/>
                    <a:pt x="775" y="2087"/>
                    <a:pt x="775" y="2087"/>
                  </a:cubicBezTo>
                  <a:cubicBezTo>
                    <a:pt x="775" y="2087"/>
                    <a:pt x="761" y="2112"/>
                    <a:pt x="746" y="2112"/>
                  </a:cubicBezTo>
                  <a:cubicBezTo>
                    <a:pt x="731" y="2112"/>
                    <a:pt x="718" y="2108"/>
                    <a:pt x="718" y="2108"/>
                  </a:cubicBezTo>
                  <a:cubicBezTo>
                    <a:pt x="720" y="2119"/>
                    <a:pt x="720" y="2119"/>
                    <a:pt x="720" y="2119"/>
                  </a:cubicBezTo>
                  <a:cubicBezTo>
                    <a:pt x="705" y="2118"/>
                    <a:pt x="705" y="2118"/>
                    <a:pt x="705" y="2118"/>
                  </a:cubicBezTo>
                  <a:cubicBezTo>
                    <a:pt x="708" y="2118"/>
                    <a:pt x="720" y="2120"/>
                    <a:pt x="688" y="2126"/>
                  </a:cubicBezTo>
                  <a:cubicBezTo>
                    <a:pt x="652" y="2127"/>
                    <a:pt x="631" y="2156"/>
                    <a:pt x="608" y="2155"/>
                  </a:cubicBezTo>
                  <a:cubicBezTo>
                    <a:pt x="585" y="2154"/>
                    <a:pt x="583" y="2139"/>
                    <a:pt x="583" y="2139"/>
                  </a:cubicBezTo>
                  <a:cubicBezTo>
                    <a:pt x="559" y="2139"/>
                    <a:pt x="559" y="2139"/>
                    <a:pt x="559" y="2139"/>
                  </a:cubicBezTo>
                  <a:cubicBezTo>
                    <a:pt x="538" y="2150"/>
                    <a:pt x="538" y="2150"/>
                    <a:pt x="538" y="2150"/>
                  </a:cubicBezTo>
                  <a:cubicBezTo>
                    <a:pt x="524" y="2143"/>
                    <a:pt x="524" y="2143"/>
                    <a:pt x="524" y="2143"/>
                  </a:cubicBezTo>
                  <a:cubicBezTo>
                    <a:pt x="524" y="2143"/>
                    <a:pt x="524" y="2150"/>
                    <a:pt x="489" y="2150"/>
                  </a:cubicBezTo>
                  <a:cubicBezTo>
                    <a:pt x="455" y="2105"/>
                    <a:pt x="438" y="2213"/>
                    <a:pt x="438" y="2213"/>
                  </a:cubicBezTo>
                  <a:cubicBezTo>
                    <a:pt x="438" y="2213"/>
                    <a:pt x="419" y="2227"/>
                    <a:pt x="391" y="2248"/>
                  </a:cubicBezTo>
                  <a:cubicBezTo>
                    <a:pt x="363" y="2269"/>
                    <a:pt x="320" y="2249"/>
                    <a:pt x="320" y="2267"/>
                  </a:cubicBezTo>
                  <a:cubicBezTo>
                    <a:pt x="320" y="2285"/>
                    <a:pt x="327" y="2283"/>
                    <a:pt x="369" y="2295"/>
                  </a:cubicBezTo>
                  <a:cubicBezTo>
                    <a:pt x="370" y="2369"/>
                    <a:pt x="346" y="2354"/>
                    <a:pt x="346" y="2354"/>
                  </a:cubicBezTo>
                  <a:cubicBezTo>
                    <a:pt x="351" y="2378"/>
                    <a:pt x="351" y="2378"/>
                    <a:pt x="351" y="2378"/>
                  </a:cubicBezTo>
                  <a:cubicBezTo>
                    <a:pt x="358" y="2371"/>
                    <a:pt x="358" y="2371"/>
                    <a:pt x="358" y="2371"/>
                  </a:cubicBezTo>
                  <a:cubicBezTo>
                    <a:pt x="358" y="2371"/>
                    <a:pt x="357" y="2376"/>
                    <a:pt x="370" y="2379"/>
                  </a:cubicBezTo>
                  <a:cubicBezTo>
                    <a:pt x="388" y="2377"/>
                    <a:pt x="411" y="2397"/>
                    <a:pt x="400" y="2398"/>
                  </a:cubicBezTo>
                  <a:cubicBezTo>
                    <a:pt x="389" y="2399"/>
                    <a:pt x="376" y="2391"/>
                    <a:pt x="367" y="2391"/>
                  </a:cubicBezTo>
                  <a:cubicBezTo>
                    <a:pt x="358" y="2391"/>
                    <a:pt x="360" y="2411"/>
                    <a:pt x="331" y="2411"/>
                  </a:cubicBezTo>
                  <a:cubicBezTo>
                    <a:pt x="302" y="2411"/>
                    <a:pt x="276" y="2380"/>
                    <a:pt x="282" y="2376"/>
                  </a:cubicBezTo>
                  <a:cubicBezTo>
                    <a:pt x="288" y="2372"/>
                    <a:pt x="291" y="2346"/>
                    <a:pt x="291" y="2346"/>
                  </a:cubicBezTo>
                  <a:cubicBezTo>
                    <a:pt x="285" y="2351"/>
                    <a:pt x="285" y="2351"/>
                    <a:pt x="285" y="2351"/>
                  </a:cubicBezTo>
                  <a:cubicBezTo>
                    <a:pt x="275" y="2347"/>
                    <a:pt x="275" y="2347"/>
                    <a:pt x="275" y="2347"/>
                  </a:cubicBezTo>
                  <a:cubicBezTo>
                    <a:pt x="265" y="2348"/>
                    <a:pt x="265" y="2348"/>
                    <a:pt x="265" y="2348"/>
                  </a:cubicBezTo>
                  <a:cubicBezTo>
                    <a:pt x="277" y="2367"/>
                    <a:pt x="277" y="2367"/>
                    <a:pt x="277" y="2367"/>
                  </a:cubicBezTo>
                  <a:cubicBezTo>
                    <a:pt x="257" y="2392"/>
                    <a:pt x="257" y="2392"/>
                    <a:pt x="257" y="2392"/>
                  </a:cubicBezTo>
                  <a:cubicBezTo>
                    <a:pt x="235" y="2395"/>
                    <a:pt x="235" y="2395"/>
                    <a:pt x="235" y="2395"/>
                  </a:cubicBezTo>
                  <a:cubicBezTo>
                    <a:pt x="235" y="2395"/>
                    <a:pt x="215" y="2401"/>
                    <a:pt x="218" y="2396"/>
                  </a:cubicBezTo>
                  <a:cubicBezTo>
                    <a:pt x="221" y="2391"/>
                    <a:pt x="217" y="2374"/>
                    <a:pt x="217" y="2360"/>
                  </a:cubicBezTo>
                  <a:cubicBezTo>
                    <a:pt x="217" y="2346"/>
                    <a:pt x="196" y="2373"/>
                    <a:pt x="196" y="2373"/>
                  </a:cubicBezTo>
                  <a:cubicBezTo>
                    <a:pt x="179" y="2372"/>
                    <a:pt x="179" y="2372"/>
                    <a:pt x="179" y="2372"/>
                  </a:cubicBezTo>
                  <a:cubicBezTo>
                    <a:pt x="179" y="2372"/>
                    <a:pt x="166" y="2389"/>
                    <a:pt x="151" y="2398"/>
                  </a:cubicBezTo>
                  <a:cubicBezTo>
                    <a:pt x="136" y="2407"/>
                    <a:pt x="124" y="2400"/>
                    <a:pt x="124" y="2400"/>
                  </a:cubicBezTo>
                  <a:cubicBezTo>
                    <a:pt x="113" y="2419"/>
                    <a:pt x="113" y="2419"/>
                    <a:pt x="113" y="2419"/>
                  </a:cubicBezTo>
                  <a:cubicBezTo>
                    <a:pt x="125" y="2421"/>
                    <a:pt x="125" y="2421"/>
                    <a:pt x="125" y="2421"/>
                  </a:cubicBezTo>
                  <a:cubicBezTo>
                    <a:pt x="125" y="2421"/>
                    <a:pt x="117" y="2430"/>
                    <a:pt x="118" y="2435"/>
                  </a:cubicBezTo>
                  <a:cubicBezTo>
                    <a:pt x="119" y="2440"/>
                    <a:pt x="119" y="2445"/>
                    <a:pt x="120" y="2450"/>
                  </a:cubicBezTo>
                  <a:cubicBezTo>
                    <a:pt x="121" y="2455"/>
                    <a:pt x="104" y="2451"/>
                    <a:pt x="104" y="2451"/>
                  </a:cubicBezTo>
                  <a:cubicBezTo>
                    <a:pt x="101" y="2426"/>
                    <a:pt x="101" y="2426"/>
                    <a:pt x="101" y="2426"/>
                  </a:cubicBezTo>
                  <a:cubicBezTo>
                    <a:pt x="74" y="2445"/>
                    <a:pt x="74" y="2445"/>
                    <a:pt x="74" y="2445"/>
                  </a:cubicBezTo>
                  <a:cubicBezTo>
                    <a:pt x="82" y="2457"/>
                    <a:pt x="82" y="2457"/>
                    <a:pt x="82" y="2457"/>
                  </a:cubicBezTo>
                  <a:cubicBezTo>
                    <a:pt x="73" y="2470"/>
                    <a:pt x="73" y="2470"/>
                    <a:pt x="73" y="2470"/>
                  </a:cubicBezTo>
                  <a:cubicBezTo>
                    <a:pt x="76" y="2492"/>
                    <a:pt x="76" y="2492"/>
                    <a:pt x="76" y="2492"/>
                  </a:cubicBezTo>
                  <a:cubicBezTo>
                    <a:pt x="76" y="2492"/>
                    <a:pt x="68" y="2495"/>
                    <a:pt x="68" y="2501"/>
                  </a:cubicBezTo>
                  <a:cubicBezTo>
                    <a:pt x="68" y="2507"/>
                    <a:pt x="73" y="2510"/>
                    <a:pt x="86" y="2520"/>
                  </a:cubicBezTo>
                  <a:cubicBezTo>
                    <a:pt x="98" y="2502"/>
                    <a:pt x="131" y="2507"/>
                    <a:pt x="131" y="2507"/>
                  </a:cubicBezTo>
                  <a:cubicBezTo>
                    <a:pt x="130" y="2498"/>
                    <a:pt x="130" y="2498"/>
                    <a:pt x="130" y="2498"/>
                  </a:cubicBezTo>
                  <a:cubicBezTo>
                    <a:pt x="119" y="2497"/>
                    <a:pt x="119" y="2497"/>
                    <a:pt x="119" y="2497"/>
                  </a:cubicBezTo>
                  <a:cubicBezTo>
                    <a:pt x="119" y="2488"/>
                    <a:pt x="119" y="2488"/>
                    <a:pt x="119" y="2488"/>
                  </a:cubicBezTo>
                  <a:cubicBezTo>
                    <a:pt x="131" y="2488"/>
                    <a:pt x="131" y="2488"/>
                    <a:pt x="131" y="2488"/>
                  </a:cubicBezTo>
                  <a:cubicBezTo>
                    <a:pt x="145" y="2507"/>
                    <a:pt x="145" y="2507"/>
                    <a:pt x="145" y="2507"/>
                  </a:cubicBezTo>
                  <a:cubicBezTo>
                    <a:pt x="168" y="2505"/>
                    <a:pt x="168" y="2505"/>
                    <a:pt x="168" y="2505"/>
                  </a:cubicBezTo>
                  <a:cubicBezTo>
                    <a:pt x="168" y="2492"/>
                    <a:pt x="168" y="2492"/>
                    <a:pt x="168" y="2492"/>
                  </a:cubicBezTo>
                  <a:cubicBezTo>
                    <a:pt x="156" y="2490"/>
                    <a:pt x="156" y="2490"/>
                    <a:pt x="156" y="2490"/>
                  </a:cubicBezTo>
                  <a:cubicBezTo>
                    <a:pt x="152" y="2483"/>
                    <a:pt x="152" y="2483"/>
                    <a:pt x="152" y="2483"/>
                  </a:cubicBezTo>
                  <a:cubicBezTo>
                    <a:pt x="162" y="2483"/>
                    <a:pt x="162" y="2483"/>
                    <a:pt x="162" y="2483"/>
                  </a:cubicBezTo>
                  <a:cubicBezTo>
                    <a:pt x="162" y="2483"/>
                    <a:pt x="174" y="2496"/>
                    <a:pt x="186" y="2496"/>
                  </a:cubicBezTo>
                  <a:cubicBezTo>
                    <a:pt x="198" y="2496"/>
                    <a:pt x="199" y="2508"/>
                    <a:pt x="199" y="2508"/>
                  </a:cubicBezTo>
                  <a:cubicBezTo>
                    <a:pt x="217" y="2498"/>
                    <a:pt x="217" y="2498"/>
                    <a:pt x="217" y="2498"/>
                  </a:cubicBezTo>
                  <a:cubicBezTo>
                    <a:pt x="217" y="2498"/>
                    <a:pt x="218" y="2506"/>
                    <a:pt x="226" y="2506"/>
                  </a:cubicBezTo>
                  <a:cubicBezTo>
                    <a:pt x="234" y="2506"/>
                    <a:pt x="264" y="2485"/>
                    <a:pt x="264" y="2485"/>
                  </a:cubicBezTo>
                  <a:cubicBezTo>
                    <a:pt x="264" y="2485"/>
                    <a:pt x="272" y="2481"/>
                    <a:pt x="298" y="2490"/>
                  </a:cubicBezTo>
                  <a:cubicBezTo>
                    <a:pt x="298" y="2504"/>
                    <a:pt x="316" y="2513"/>
                    <a:pt x="317" y="2507"/>
                  </a:cubicBezTo>
                  <a:cubicBezTo>
                    <a:pt x="318" y="2501"/>
                    <a:pt x="307" y="2481"/>
                    <a:pt x="303" y="2481"/>
                  </a:cubicBezTo>
                  <a:cubicBezTo>
                    <a:pt x="306" y="2481"/>
                    <a:pt x="326" y="2481"/>
                    <a:pt x="326" y="2481"/>
                  </a:cubicBezTo>
                  <a:cubicBezTo>
                    <a:pt x="325" y="2505"/>
                    <a:pt x="325" y="2505"/>
                    <a:pt x="325" y="2505"/>
                  </a:cubicBezTo>
                  <a:cubicBezTo>
                    <a:pt x="325" y="2505"/>
                    <a:pt x="307" y="2542"/>
                    <a:pt x="303" y="2543"/>
                  </a:cubicBezTo>
                  <a:cubicBezTo>
                    <a:pt x="299" y="2544"/>
                    <a:pt x="309" y="2523"/>
                    <a:pt x="303" y="2523"/>
                  </a:cubicBezTo>
                  <a:cubicBezTo>
                    <a:pt x="297" y="2523"/>
                    <a:pt x="289" y="2548"/>
                    <a:pt x="289" y="2548"/>
                  </a:cubicBezTo>
                  <a:cubicBezTo>
                    <a:pt x="289" y="2548"/>
                    <a:pt x="298" y="2548"/>
                    <a:pt x="283" y="2558"/>
                  </a:cubicBezTo>
                  <a:cubicBezTo>
                    <a:pt x="257" y="2558"/>
                    <a:pt x="229" y="2572"/>
                    <a:pt x="229" y="2572"/>
                  </a:cubicBezTo>
                  <a:cubicBezTo>
                    <a:pt x="225" y="2562"/>
                    <a:pt x="225" y="2562"/>
                    <a:pt x="225" y="2562"/>
                  </a:cubicBezTo>
                  <a:cubicBezTo>
                    <a:pt x="182" y="2597"/>
                    <a:pt x="182" y="2597"/>
                    <a:pt x="182" y="2597"/>
                  </a:cubicBezTo>
                  <a:cubicBezTo>
                    <a:pt x="170" y="2591"/>
                    <a:pt x="170" y="2591"/>
                    <a:pt x="170" y="2591"/>
                  </a:cubicBezTo>
                  <a:cubicBezTo>
                    <a:pt x="170" y="2591"/>
                    <a:pt x="161" y="2603"/>
                    <a:pt x="149" y="2616"/>
                  </a:cubicBezTo>
                  <a:cubicBezTo>
                    <a:pt x="137" y="2616"/>
                    <a:pt x="137" y="2627"/>
                    <a:pt x="137" y="2627"/>
                  </a:cubicBezTo>
                  <a:cubicBezTo>
                    <a:pt x="145" y="2637"/>
                    <a:pt x="145" y="2637"/>
                    <a:pt x="145" y="2637"/>
                  </a:cubicBezTo>
                  <a:cubicBezTo>
                    <a:pt x="122" y="2637"/>
                    <a:pt x="122" y="2637"/>
                    <a:pt x="122" y="2637"/>
                  </a:cubicBezTo>
                  <a:cubicBezTo>
                    <a:pt x="120" y="2649"/>
                    <a:pt x="120" y="2649"/>
                    <a:pt x="120" y="2649"/>
                  </a:cubicBezTo>
                  <a:cubicBezTo>
                    <a:pt x="96" y="2652"/>
                    <a:pt x="96" y="2652"/>
                    <a:pt x="96" y="2652"/>
                  </a:cubicBezTo>
                  <a:cubicBezTo>
                    <a:pt x="86" y="2682"/>
                    <a:pt x="86" y="2682"/>
                    <a:pt x="86" y="2682"/>
                  </a:cubicBezTo>
                  <a:cubicBezTo>
                    <a:pt x="93" y="2677"/>
                    <a:pt x="93" y="2677"/>
                    <a:pt x="93" y="2677"/>
                  </a:cubicBezTo>
                  <a:cubicBezTo>
                    <a:pt x="93" y="2677"/>
                    <a:pt x="103" y="2683"/>
                    <a:pt x="103" y="2695"/>
                  </a:cubicBezTo>
                  <a:cubicBezTo>
                    <a:pt x="103" y="2707"/>
                    <a:pt x="94" y="2718"/>
                    <a:pt x="94" y="2718"/>
                  </a:cubicBezTo>
                  <a:cubicBezTo>
                    <a:pt x="101" y="2713"/>
                    <a:pt x="101" y="2713"/>
                    <a:pt x="101" y="2713"/>
                  </a:cubicBezTo>
                  <a:cubicBezTo>
                    <a:pt x="123" y="2713"/>
                    <a:pt x="123" y="2713"/>
                    <a:pt x="123" y="2713"/>
                  </a:cubicBezTo>
                  <a:cubicBezTo>
                    <a:pt x="130" y="2737"/>
                    <a:pt x="130" y="2737"/>
                    <a:pt x="130" y="2737"/>
                  </a:cubicBezTo>
                  <a:cubicBezTo>
                    <a:pt x="116" y="2742"/>
                    <a:pt x="116" y="2742"/>
                    <a:pt x="116" y="2742"/>
                  </a:cubicBezTo>
                  <a:cubicBezTo>
                    <a:pt x="125" y="2761"/>
                    <a:pt x="125" y="2761"/>
                    <a:pt x="125" y="2761"/>
                  </a:cubicBezTo>
                  <a:cubicBezTo>
                    <a:pt x="125" y="2761"/>
                    <a:pt x="136" y="2758"/>
                    <a:pt x="141" y="2758"/>
                  </a:cubicBezTo>
                  <a:cubicBezTo>
                    <a:pt x="146" y="2758"/>
                    <a:pt x="149" y="2743"/>
                    <a:pt x="149" y="2743"/>
                  </a:cubicBezTo>
                  <a:cubicBezTo>
                    <a:pt x="158" y="2742"/>
                    <a:pt x="158" y="2742"/>
                    <a:pt x="158" y="2742"/>
                  </a:cubicBezTo>
                  <a:cubicBezTo>
                    <a:pt x="158" y="2742"/>
                    <a:pt x="166" y="2713"/>
                    <a:pt x="177" y="2713"/>
                  </a:cubicBezTo>
                  <a:cubicBezTo>
                    <a:pt x="188" y="2713"/>
                    <a:pt x="200" y="2725"/>
                    <a:pt x="200" y="2744"/>
                  </a:cubicBezTo>
                  <a:cubicBezTo>
                    <a:pt x="200" y="2756"/>
                    <a:pt x="192" y="2761"/>
                    <a:pt x="185" y="2764"/>
                  </a:cubicBezTo>
                  <a:cubicBezTo>
                    <a:pt x="186" y="2764"/>
                    <a:pt x="186" y="2764"/>
                    <a:pt x="187" y="2764"/>
                  </a:cubicBezTo>
                  <a:cubicBezTo>
                    <a:pt x="188" y="2786"/>
                    <a:pt x="216" y="2779"/>
                    <a:pt x="216" y="2779"/>
                  </a:cubicBezTo>
                  <a:cubicBezTo>
                    <a:pt x="214" y="2792"/>
                    <a:pt x="214" y="2792"/>
                    <a:pt x="214" y="2792"/>
                  </a:cubicBezTo>
                  <a:cubicBezTo>
                    <a:pt x="217" y="2798"/>
                    <a:pt x="217" y="2798"/>
                    <a:pt x="217" y="2798"/>
                  </a:cubicBezTo>
                  <a:cubicBezTo>
                    <a:pt x="254" y="2770"/>
                    <a:pt x="254" y="2770"/>
                    <a:pt x="254" y="2770"/>
                  </a:cubicBezTo>
                  <a:cubicBezTo>
                    <a:pt x="254" y="2770"/>
                    <a:pt x="256" y="2773"/>
                    <a:pt x="277" y="2771"/>
                  </a:cubicBezTo>
                  <a:cubicBezTo>
                    <a:pt x="289" y="2761"/>
                    <a:pt x="337" y="2737"/>
                    <a:pt x="337" y="2737"/>
                  </a:cubicBezTo>
                  <a:cubicBezTo>
                    <a:pt x="339" y="2751"/>
                    <a:pt x="339" y="2751"/>
                    <a:pt x="339" y="2751"/>
                  </a:cubicBezTo>
                  <a:cubicBezTo>
                    <a:pt x="360" y="2733"/>
                    <a:pt x="360" y="2733"/>
                    <a:pt x="360" y="2733"/>
                  </a:cubicBezTo>
                  <a:cubicBezTo>
                    <a:pt x="360" y="2733"/>
                    <a:pt x="360" y="2736"/>
                    <a:pt x="365" y="2736"/>
                  </a:cubicBezTo>
                  <a:cubicBezTo>
                    <a:pt x="374" y="2717"/>
                    <a:pt x="412" y="2714"/>
                    <a:pt x="415" y="2707"/>
                  </a:cubicBezTo>
                  <a:cubicBezTo>
                    <a:pt x="418" y="2700"/>
                    <a:pt x="453" y="2703"/>
                    <a:pt x="453" y="2703"/>
                  </a:cubicBezTo>
                  <a:cubicBezTo>
                    <a:pt x="453" y="2703"/>
                    <a:pt x="454" y="2710"/>
                    <a:pt x="453" y="2717"/>
                  </a:cubicBezTo>
                  <a:cubicBezTo>
                    <a:pt x="453" y="2717"/>
                    <a:pt x="453" y="2717"/>
                    <a:pt x="437" y="2717"/>
                  </a:cubicBezTo>
                  <a:cubicBezTo>
                    <a:pt x="421" y="2717"/>
                    <a:pt x="397" y="2724"/>
                    <a:pt x="390" y="2733"/>
                  </a:cubicBezTo>
                  <a:cubicBezTo>
                    <a:pt x="383" y="2742"/>
                    <a:pt x="359" y="2760"/>
                    <a:pt x="359" y="2760"/>
                  </a:cubicBezTo>
                  <a:cubicBezTo>
                    <a:pt x="361" y="2777"/>
                    <a:pt x="361" y="2777"/>
                    <a:pt x="361" y="2777"/>
                  </a:cubicBezTo>
                  <a:cubicBezTo>
                    <a:pt x="354" y="2765"/>
                    <a:pt x="354" y="2765"/>
                    <a:pt x="354" y="2765"/>
                  </a:cubicBezTo>
                  <a:cubicBezTo>
                    <a:pt x="338" y="2785"/>
                    <a:pt x="338" y="2785"/>
                    <a:pt x="338" y="2785"/>
                  </a:cubicBezTo>
                  <a:cubicBezTo>
                    <a:pt x="330" y="2778"/>
                    <a:pt x="330" y="2778"/>
                    <a:pt x="330" y="2778"/>
                  </a:cubicBezTo>
                  <a:cubicBezTo>
                    <a:pt x="316" y="2786"/>
                    <a:pt x="316" y="2786"/>
                    <a:pt x="316" y="2786"/>
                  </a:cubicBezTo>
                  <a:cubicBezTo>
                    <a:pt x="269" y="2814"/>
                    <a:pt x="269" y="2814"/>
                    <a:pt x="269" y="2814"/>
                  </a:cubicBezTo>
                  <a:cubicBezTo>
                    <a:pt x="295" y="2822"/>
                    <a:pt x="295" y="2822"/>
                    <a:pt x="295" y="2822"/>
                  </a:cubicBezTo>
                  <a:cubicBezTo>
                    <a:pt x="295" y="2822"/>
                    <a:pt x="286" y="2839"/>
                    <a:pt x="276" y="2842"/>
                  </a:cubicBezTo>
                  <a:cubicBezTo>
                    <a:pt x="266" y="2845"/>
                    <a:pt x="231" y="2841"/>
                    <a:pt x="231" y="2849"/>
                  </a:cubicBezTo>
                  <a:cubicBezTo>
                    <a:pt x="231" y="2857"/>
                    <a:pt x="252" y="2867"/>
                    <a:pt x="252" y="2867"/>
                  </a:cubicBezTo>
                  <a:cubicBezTo>
                    <a:pt x="243" y="2885"/>
                    <a:pt x="243" y="2885"/>
                    <a:pt x="243" y="2885"/>
                  </a:cubicBezTo>
                  <a:cubicBezTo>
                    <a:pt x="185" y="2893"/>
                    <a:pt x="185" y="2893"/>
                    <a:pt x="185" y="2893"/>
                  </a:cubicBezTo>
                  <a:cubicBezTo>
                    <a:pt x="185" y="2893"/>
                    <a:pt x="163" y="2916"/>
                    <a:pt x="168" y="2920"/>
                  </a:cubicBezTo>
                  <a:cubicBezTo>
                    <a:pt x="173" y="2924"/>
                    <a:pt x="211" y="2898"/>
                    <a:pt x="211" y="2898"/>
                  </a:cubicBezTo>
                  <a:cubicBezTo>
                    <a:pt x="199" y="2919"/>
                    <a:pt x="199" y="2919"/>
                    <a:pt x="199" y="2919"/>
                  </a:cubicBezTo>
                  <a:cubicBezTo>
                    <a:pt x="219" y="2906"/>
                    <a:pt x="219" y="2906"/>
                    <a:pt x="219" y="2906"/>
                  </a:cubicBezTo>
                  <a:cubicBezTo>
                    <a:pt x="219" y="2906"/>
                    <a:pt x="246" y="2916"/>
                    <a:pt x="258" y="2916"/>
                  </a:cubicBezTo>
                  <a:cubicBezTo>
                    <a:pt x="270" y="2916"/>
                    <a:pt x="283" y="2894"/>
                    <a:pt x="283" y="2894"/>
                  </a:cubicBezTo>
                  <a:cubicBezTo>
                    <a:pt x="283" y="2894"/>
                    <a:pt x="298" y="2898"/>
                    <a:pt x="333" y="2896"/>
                  </a:cubicBezTo>
                  <a:cubicBezTo>
                    <a:pt x="368" y="2894"/>
                    <a:pt x="374" y="2869"/>
                    <a:pt x="374" y="2869"/>
                  </a:cubicBezTo>
                  <a:cubicBezTo>
                    <a:pt x="374" y="2869"/>
                    <a:pt x="355" y="2858"/>
                    <a:pt x="375" y="2858"/>
                  </a:cubicBezTo>
                  <a:cubicBezTo>
                    <a:pt x="395" y="2858"/>
                    <a:pt x="414" y="2843"/>
                    <a:pt x="414" y="2843"/>
                  </a:cubicBezTo>
                  <a:cubicBezTo>
                    <a:pt x="437" y="2851"/>
                    <a:pt x="437" y="2851"/>
                    <a:pt x="437" y="2851"/>
                  </a:cubicBezTo>
                  <a:cubicBezTo>
                    <a:pt x="487" y="2817"/>
                    <a:pt x="487" y="2817"/>
                    <a:pt x="487" y="2817"/>
                  </a:cubicBezTo>
                  <a:cubicBezTo>
                    <a:pt x="487" y="2794"/>
                    <a:pt x="487" y="2794"/>
                    <a:pt x="487" y="2794"/>
                  </a:cubicBezTo>
                  <a:cubicBezTo>
                    <a:pt x="487" y="2794"/>
                    <a:pt x="490" y="2795"/>
                    <a:pt x="495" y="2795"/>
                  </a:cubicBezTo>
                  <a:cubicBezTo>
                    <a:pt x="497" y="2816"/>
                    <a:pt x="514" y="2823"/>
                    <a:pt x="514" y="2823"/>
                  </a:cubicBezTo>
                  <a:cubicBezTo>
                    <a:pt x="486" y="2846"/>
                    <a:pt x="486" y="2846"/>
                    <a:pt x="486" y="2846"/>
                  </a:cubicBezTo>
                  <a:cubicBezTo>
                    <a:pt x="504" y="2852"/>
                    <a:pt x="504" y="2852"/>
                    <a:pt x="504" y="2852"/>
                  </a:cubicBezTo>
                  <a:cubicBezTo>
                    <a:pt x="504" y="2852"/>
                    <a:pt x="494" y="2860"/>
                    <a:pt x="445" y="2883"/>
                  </a:cubicBezTo>
                  <a:cubicBezTo>
                    <a:pt x="395" y="2894"/>
                    <a:pt x="341" y="2955"/>
                    <a:pt x="341" y="2955"/>
                  </a:cubicBezTo>
                  <a:cubicBezTo>
                    <a:pt x="359" y="2954"/>
                    <a:pt x="359" y="2954"/>
                    <a:pt x="359" y="2954"/>
                  </a:cubicBezTo>
                  <a:cubicBezTo>
                    <a:pt x="359" y="2954"/>
                    <a:pt x="383" y="2941"/>
                    <a:pt x="393" y="2943"/>
                  </a:cubicBezTo>
                  <a:cubicBezTo>
                    <a:pt x="402" y="2928"/>
                    <a:pt x="417" y="2924"/>
                    <a:pt x="417" y="2924"/>
                  </a:cubicBezTo>
                  <a:cubicBezTo>
                    <a:pt x="432" y="2920"/>
                    <a:pt x="432" y="2920"/>
                    <a:pt x="432" y="2920"/>
                  </a:cubicBezTo>
                  <a:cubicBezTo>
                    <a:pt x="432" y="2920"/>
                    <a:pt x="466" y="2901"/>
                    <a:pt x="466" y="2910"/>
                  </a:cubicBezTo>
                  <a:cubicBezTo>
                    <a:pt x="459" y="2918"/>
                    <a:pt x="416" y="2958"/>
                    <a:pt x="416" y="2958"/>
                  </a:cubicBezTo>
                  <a:cubicBezTo>
                    <a:pt x="396" y="2964"/>
                    <a:pt x="396" y="2964"/>
                    <a:pt x="396" y="2964"/>
                  </a:cubicBezTo>
                  <a:cubicBezTo>
                    <a:pt x="346" y="2997"/>
                    <a:pt x="346" y="2997"/>
                    <a:pt x="346" y="2997"/>
                  </a:cubicBezTo>
                  <a:cubicBezTo>
                    <a:pt x="351" y="3006"/>
                    <a:pt x="351" y="3006"/>
                    <a:pt x="351" y="3006"/>
                  </a:cubicBezTo>
                  <a:cubicBezTo>
                    <a:pt x="357" y="3029"/>
                    <a:pt x="357" y="3029"/>
                    <a:pt x="357" y="3029"/>
                  </a:cubicBezTo>
                  <a:cubicBezTo>
                    <a:pt x="373" y="3017"/>
                    <a:pt x="373" y="3017"/>
                    <a:pt x="373" y="3017"/>
                  </a:cubicBezTo>
                  <a:cubicBezTo>
                    <a:pt x="373" y="3017"/>
                    <a:pt x="376" y="3029"/>
                    <a:pt x="384" y="3029"/>
                  </a:cubicBezTo>
                  <a:cubicBezTo>
                    <a:pt x="392" y="3029"/>
                    <a:pt x="401" y="3023"/>
                    <a:pt x="408" y="3014"/>
                  </a:cubicBezTo>
                  <a:cubicBezTo>
                    <a:pt x="408" y="2993"/>
                    <a:pt x="420" y="2989"/>
                    <a:pt x="429" y="2995"/>
                  </a:cubicBezTo>
                  <a:cubicBezTo>
                    <a:pt x="429" y="2990"/>
                    <a:pt x="437" y="2977"/>
                    <a:pt x="441" y="2978"/>
                  </a:cubicBezTo>
                  <a:cubicBezTo>
                    <a:pt x="441" y="2999"/>
                    <a:pt x="474" y="3000"/>
                    <a:pt x="474" y="3000"/>
                  </a:cubicBezTo>
                  <a:cubicBezTo>
                    <a:pt x="487" y="2987"/>
                    <a:pt x="487" y="2987"/>
                    <a:pt x="487" y="2987"/>
                  </a:cubicBezTo>
                  <a:cubicBezTo>
                    <a:pt x="483" y="2972"/>
                    <a:pt x="483" y="2972"/>
                    <a:pt x="483" y="2972"/>
                  </a:cubicBezTo>
                  <a:cubicBezTo>
                    <a:pt x="489" y="2968"/>
                    <a:pt x="489" y="2968"/>
                    <a:pt x="489" y="2968"/>
                  </a:cubicBezTo>
                  <a:cubicBezTo>
                    <a:pt x="501" y="2986"/>
                    <a:pt x="501" y="2986"/>
                    <a:pt x="501" y="2986"/>
                  </a:cubicBezTo>
                  <a:cubicBezTo>
                    <a:pt x="508" y="2976"/>
                    <a:pt x="508" y="2976"/>
                    <a:pt x="508" y="2976"/>
                  </a:cubicBezTo>
                  <a:cubicBezTo>
                    <a:pt x="515" y="2981"/>
                    <a:pt x="515" y="2981"/>
                    <a:pt x="515" y="2981"/>
                  </a:cubicBezTo>
                  <a:cubicBezTo>
                    <a:pt x="515" y="2981"/>
                    <a:pt x="550" y="2953"/>
                    <a:pt x="551" y="2961"/>
                  </a:cubicBezTo>
                  <a:cubicBezTo>
                    <a:pt x="552" y="2969"/>
                    <a:pt x="531" y="2980"/>
                    <a:pt x="520" y="2993"/>
                  </a:cubicBezTo>
                  <a:cubicBezTo>
                    <a:pt x="509" y="3006"/>
                    <a:pt x="539" y="2988"/>
                    <a:pt x="539" y="2988"/>
                  </a:cubicBezTo>
                  <a:cubicBezTo>
                    <a:pt x="543" y="2995"/>
                    <a:pt x="543" y="2995"/>
                    <a:pt x="543" y="2995"/>
                  </a:cubicBezTo>
                  <a:cubicBezTo>
                    <a:pt x="543" y="2995"/>
                    <a:pt x="529" y="3009"/>
                    <a:pt x="528" y="3024"/>
                  </a:cubicBezTo>
                  <a:cubicBezTo>
                    <a:pt x="527" y="3039"/>
                    <a:pt x="555" y="3012"/>
                    <a:pt x="555" y="3012"/>
                  </a:cubicBezTo>
                  <a:cubicBezTo>
                    <a:pt x="555" y="3012"/>
                    <a:pt x="567" y="3020"/>
                    <a:pt x="570" y="3019"/>
                  </a:cubicBezTo>
                  <a:cubicBezTo>
                    <a:pt x="573" y="3018"/>
                    <a:pt x="604" y="2990"/>
                    <a:pt x="604" y="2990"/>
                  </a:cubicBezTo>
                  <a:cubicBezTo>
                    <a:pt x="611" y="3006"/>
                    <a:pt x="611" y="3006"/>
                    <a:pt x="611" y="3006"/>
                  </a:cubicBezTo>
                  <a:cubicBezTo>
                    <a:pt x="618" y="3002"/>
                    <a:pt x="618" y="3002"/>
                    <a:pt x="618" y="3002"/>
                  </a:cubicBezTo>
                  <a:cubicBezTo>
                    <a:pt x="618" y="3002"/>
                    <a:pt x="627" y="3008"/>
                    <a:pt x="635" y="3003"/>
                  </a:cubicBezTo>
                  <a:cubicBezTo>
                    <a:pt x="635" y="2996"/>
                    <a:pt x="643" y="2978"/>
                    <a:pt x="654" y="2978"/>
                  </a:cubicBezTo>
                  <a:cubicBezTo>
                    <a:pt x="665" y="2978"/>
                    <a:pt x="684" y="2962"/>
                    <a:pt x="684" y="2962"/>
                  </a:cubicBezTo>
                  <a:cubicBezTo>
                    <a:pt x="686" y="2950"/>
                    <a:pt x="686" y="2950"/>
                    <a:pt x="686" y="2950"/>
                  </a:cubicBezTo>
                  <a:cubicBezTo>
                    <a:pt x="706" y="2957"/>
                    <a:pt x="706" y="2957"/>
                    <a:pt x="706" y="2957"/>
                  </a:cubicBezTo>
                  <a:cubicBezTo>
                    <a:pt x="706" y="2957"/>
                    <a:pt x="737" y="2942"/>
                    <a:pt x="748" y="2950"/>
                  </a:cubicBezTo>
                  <a:cubicBezTo>
                    <a:pt x="759" y="2958"/>
                    <a:pt x="754" y="2973"/>
                    <a:pt x="754" y="2973"/>
                  </a:cubicBezTo>
                  <a:cubicBezTo>
                    <a:pt x="754" y="2973"/>
                    <a:pt x="775" y="2963"/>
                    <a:pt x="786" y="2958"/>
                  </a:cubicBezTo>
                  <a:cubicBezTo>
                    <a:pt x="797" y="2953"/>
                    <a:pt x="778" y="2939"/>
                    <a:pt x="785" y="2940"/>
                  </a:cubicBezTo>
                  <a:cubicBezTo>
                    <a:pt x="792" y="2941"/>
                    <a:pt x="803" y="2920"/>
                    <a:pt x="803" y="2920"/>
                  </a:cubicBezTo>
                  <a:cubicBezTo>
                    <a:pt x="803" y="2920"/>
                    <a:pt x="804" y="2923"/>
                    <a:pt x="810" y="2923"/>
                  </a:cubicBezTo>
                  <a:cubicBezTo>
                    <a:pt x="816" y="2923"/>
                    <a:pt x="838" y="2931"/>
                    <a:pt x="838" y="2931"/>
                  </a:cubicBezTo>
                  <a:cubicBezTo>
                    <a:pt x="846" y="2932"/>
                    <a:pt x="846" y="2932"/>
                    <a:pt x="846" y="2932"/>
                  </a:cubicBezTo>
                  <a:cubicBezTo>
                    <a:pt x="841" y="2941"/>
                    <a:pt x="841" y="2941"/>
                    <a:pt x="841" y="2941"/>
                  </a:cubicBezTo>
                  <a:cubicBezTo>
                    <a:pt x="869" y="2942"/>
                    <a:pt x="869" y="2942"/>
                    <a:pt x="869" y="2942"/>
                  </a:cubicBezTo>
                  <a:cubicBezTo>
                    <a:pt x="876" y="2934"/>
                    <a:pt x="876" y="2934"/>
                    <a:pt x="876" y="2934"/>
                  </a:cubicBezTo>
                  <a:cubicBezTo>
                    <a:pt x="872" y="2923"/>
                    <a:pt x="872" y="2923"/>
                    <a:pt x="872" y="2923"/>
                  </a:cubicBezTo>
                  <a:cubicBezTo>
                    <a:pt x="872" y="2923"/>
                    <a:pt x="883" y="2911"/>
                    <a:pt x="884" y="2907"/>
                  </a:cubicBezTo>
                  <a:cubicBezTo>
                    <a:pt x="878" y="2907"/>
                    <a:pt x="888" y="2876"/>
                    <a:pt x="888" y="2876"/>
                  </a:cubicBezTo>
                  <a:cubicBezTo>
                    <a:pt x="888" y="2876"/>
                    <a:pt x="897" y="2893"/>
                    <a:pt x="905" y="2895"/>
                  </a:cubicBezTo>
                  <a:cubicBezTo>
                    <a:pt x="913" y="2897"/>
                    <a:pt x="922" y="2879"/>
                    <a:pt x="931" y="2886"/>
                  </a:cubicBezTo>
                  <a:cubicBezTo>
                    <a:pt x="940" y="2893"/>
                    <a:pt x="945" y="2918"/>
                    <a:pt x="945" y="2918"/>
                  </a:cubicBezTo>
                  <a:cubicBezTo>
                    <a:pt x="945" y="2918"/>
                    <a:pt x="951" y="2918"/>
                    <a:pt x="952" y="2912"/>
                  </a:cubicBezTo>
                  <a:cubicBezTo>
                    <a:pt x="947" y="2911"/>
                    <a:pt x="953" y="2895"/>
                    <a:pt x="953" y="2895"/>
                  </a:cubicBezTo>
                  <a:cubicBezTo>
                    <a:pt x="948" y="2883"/>
                    <a:pt x="948" y="2883"/>
                    <a:pt x="948" y="2883"/>
                  </a:cubicBezTo>
                  <a:cubicBezTo>
                    <a:pt x="971" y="2854"/>
                    <a:pt x="971" y="2854"/>
                    <a:pt x="971" y="2854"/>
                  </a:cubicBezTo>
                  <a:cubicBezTo>
                    <a:pt x="971" y="2859"/>
                    <a:pt x="971" y="2859"/>
                    <a:pt x="971" y="2859"/>
                  </a:cubicBezTo>
                  <a:cubicBezTo>
                    <a:pt x="1010" y="2838"/>
                    <a:pt x="1010" y="2838"/>
                    <a:pt x="1010" y="2838"/>
                  </a:cubicBezTo>
                  <a:cubicBezTo>
                    <a:pt x="1017" y="2844"/>
                    <a:pt x="1017" y="2844"/>
                    <a:pt x="1017" y="2844"/>
                  </a:cubicBezTo>
                  <a:cubicBezTo>
                    <a:pt x="1020" y="2830"/>
                    <a:pt x="1020" y="2830"/>
                    <a:pt x="1020" y="2830"/>
                  </a:cubicBezTo>
                  <a:cubicBezTo>
                    <a:pt x="1039" y="2829"/>
                    <a:pt x="1039" y="2829"/>
                    <a:pt x="1039" y="2829"/>
                  </a:cubicBezTo>
                  <a:cubicBezTo>
                    <a:pt x="1039" y="2829"/>
                    <a:pt x="1039" y="2816"/>
                    <a:pt x="1046" y="2816"/>
                  </a:cubicBezTo>
                  <a:cubicBezTo>
                    <a:pt x="1053" y="2816"/>
                    <a:pt x="1057" y="2804"/>
                    <a:pt x="1058" y="2783"/>
                  </a:cubicBezTo>
                  <a:cubicBezTo>
                    <a:pt x="1068" y="2768"/>
                    <a:pt x="1076" y="2759"/>
                    <a:pt x="1066" y="2759"/>
                  </a:cubicBezTo>
                  <a:cubicBezTo>
                    <a:pt x="1056" y="2759"/>
                    <a:pt x="1058" y="2743"/>
                    <a:pt x="1061" y="2730"/>
                  </a:cubicBezTo>
                  <a:cubicBezTo>
                    <a:pt x="1078" y="2710"/>
                    <a:pt x="1103" y="2729"/>
                    <a:pt x="1103" y="2729"/>
                  </a:cubicBezTo>
                  <a:cubicBezTo>
                    <a:pt x="1073" y="2745"/>
                    <a:pt x="1073" y="2745"/>
                    <a:pt x="1073" y="2745"/>
                  </a:cubicBezTo>
                  <a:cubicBezTo>
                    <a:pt x="1085" y="2773"/>
                    <a:pt x="1085" y="2773"/>
                    <a:pt x="1085" y="2773"/>
                  </a:cubicBezTo>
                  <a:cubicBezTo>
                    <a:pt x="1111" y="2768"/>
                    <a:pt x="1111" y="2768"/>
                    <a:pt x="1111" y="2768"/>
                  </a:cubicBezTo>
                  <a:cubicBezTo>
                    <a:pt x="1116" y="2784"/>
                    <a:pt x="1116" y="2784"/>
                    <a:pt x="1116" y="2784"/>
                  </a:cubicBezTo>
                  <a:cubicBezTo>
                    <a:pt x="1116" y="2784"/>
                    <a:pt x="1126" y="2781"/>
                    <a:pt x="1141" y="2765"/>
                  </a:cubicBezTo>
                  <a:cubicBezTo>
                    <a:pt x="1163" y="2767"/>
                    <a:pt x="1195" y="2749"/>
                    <a:pt x="1195" y="2749"/>
                  </a:cubicBezTo>
                  <a:cubicBezTo>
                    <a:pt x="1187" y="2736"/>
                    <a:pt x="1187" y="2736"/>
                    <a:pt x="1187" y="2736"/>
                  </a:cubicBezTo>
                  <a:cubicBezTo>
                    <a:pt x="1187" y="2736"/>
                    <a:pt x="1185" y="2733"/>
                    <a:pt x="1210" y="2718"/>
                  </a:cubicBezTo>
                  <a:cubicBezTo>
                    <a:pt x="1241" y="2720"/>
                    <a:pt x="1257" y="2708"/>
                    <a:pt x="1257" y="2708"/>
                  </a:cubicBezTo>
                  <a:cubicBezTo>
                    <a:pt x="1257" y="2708"/>
                    <a:pt x="1257" y="2695"/>
                    <a:pt x="1252" y="2690"/>
                  </a:cubicBezTo>
                  <a:cubicBezTo>
                    <a:pt x="1247" y="2686"/>
                    <a:pt x="1269" y="2661"/>
                    <a:pt x="1272" y="2657"/>
                  </a:cubicBezTo>
                  <a:cubicBezTo>
                    <a:pt x="1273" y="2658"/>
                    <a:pt x="1275" y="2660"/>
                    <a:pt x="1287" y="2666"/>
                  </a:cubicBezTo>
                  <a:cubicBezTo>
                    <a:pt x="1298" y="2656"/>
                    <a:pt x="1305" y="2659"/>
                    <a:pt x="1305" y="2659"/>
                  </a:cubicBezTo>
                  <a:cubicBezTo>
                    <a:pt x="1333" y="2659"/>
                    <a:pt x="1333" y="2659"/>
                    <a:pt x="1333" y="2659"/>
                  </a:cubicBezTo>
                  <a:cubicBezTo>
                    <a:pt x="1330" y="2654"/>
                    <a:pt x="1330" y="2654"/>
                    <a:pt x="1330" y="2654"/>
                  </a:cubicBezTo>
                  <a:cubicBezTo>
                    <a:pt x="1331" y="2654"/>
                    <a:pt x="1335" y="2651"/>
                    <a:pt x="1345" y="2631"/>
                  </a:cubicBezTo>
                  <a:cubicBezTo>
                    <a:pt x="1399" y="2643"/>
                    <a:pt x="1395" y="2614"/>
                    <a:pt x="1395" y="2614"/>
                  </a:cubicBezTo>
                  <a:cubicBezTo>
                    <a:pt x="1397" y="2588"/>
                    <a:pt x="1397" y="2588"/>
                    <a:pt x="1397" y="2588"/>
                  </a:cubicBezTo>
                  <a:cubicBezTo>
                    <a:pt x="1397" y="2588"/>
                    <a:pt x="1408" y="2591"/>
                    <a:pt x="1412" y="2575"/>
                  </a:cubicBezTo>
                  <a:cubicBezTo>
                    <a:pt x="1374" y="2575"/>
                    <a:pt x="1391" y="2548"/>
                    <a:pt x="1391" y="2548"/>
                  </a:cubicBezTo>
                  <a:cubicBezTo>
                    <a:pt x="1391" y="2548"/>
                    <a:pt x="1391" y="2548"/>
                    <a:pt x="1407" y="2558"/>
                  </a:cubicBezTo>
                  <a:cubicBezTo>
                    <a:pt x="1433" y="2512"/>
                    <a:pt x="1541" y="2513"/>
                    <a:pt x="1541" y="2513"/>
                  </a:cubicBezTo>
                  <a:cubicBezTo>
                    <a:pt x="1583" y="2522"/>
                    <a:pt x="1583" y="2522"/>
                    <a:pt x="1583" y="2522"/>
                  </a:cubicBezTo>
                  <a:cubicBezTo>
                    <a:pt x="1604" y="2499"/>
                    <a:pt x="1604" y="2499"/>
                    <a:pt x="1604" y="2499"/>
                  </a:cubicBezTo>
                  <a:cubicBezTo>
                    <a:pt x="1604" y="2499"/>
                    <a:pt x="1612" y="2491"/>
                    <a:pt x="1624" y="2492"/>
                  </a:cubicBezTo>
                  <a:cubicBezTo>
                    <a:pt x="1636" y="2493"/>
                    <a:pt x="1616" y="2504"/>
                    <a:pt x="1616" y="2507"/>
                  </a:cubicBezTo>
                  <a:cubicBezTo>
                    <a:pt x="1616" y="2510"/>
                    <a:pt x="1617" y="2531"/>
                    <a:pt x="1617" y="2531"/>
                  </a:cubicBezTo>
                  <a:cubicBezTo>
                    <a:pt x="1617" y="2531"/>
                    <a:pt x="1643" y="2520"/>
                    <a:pt x="1649" y="2520"/>
                  </a:cubicBezTo>
                  <a:cubicBezTo>
                    <a:pt x="1655" y="2520"/>
                    <a:pt x="1686" y="2484"/>
                    <a:pt x="1686" y="2484"/>
                  </a:cubicBezTo>
                  <a:cubicBezTo>
                    <a:pt x="1677" y="2479"/>
                    <a:pt x="1677" y="2479"/>
                    <a:pt x="1677" y="2479"/>
                  </a:cubicBezTo>
                  <a:cubicBezTo>
                    <a:pt x="1687" y="2439"/>
                    <a:pt x="1687" y="2439"/>
                    <a:pt x="1687" y="2439"/>
                  </a:cubicBezTo>
                  <a:cubicBezTo>
                    <a:pt x="1704" y="2458"/>
                    <a:pt x="1704" y="2458"/>
                    <a:pt x="1704" y="2458"/>
                  </a:cubicBezTo>
                  <a:cubicBezTo>
                    <a:pt x="1704" y="2458"/>
                    <a:pt x="1706" y="2487"/>
                    <a:pt x="1706" y="2501"/>
                  </a:cubicBezTo>
                  <a:cubicBezTo>
                    <a:pt x="1706" y="2515"/>
                    <a:pt x="1689" y="2521"/>
                    <a:pt x="1694" y="2530"/>
                  </a:cubicBezTo>
                  <a:cubicBezTo>
                    <a:pt x="1699" y="2539"/>
                    <a:pt x="1708" y="2510"/>
                    <a:pt x="1708" y="2510"/>
                  </a:cubicBezTo>
                  <a:cubicBezTo>
                    <a:pt x="1736" y="2489"/>
                    <a:pt x="1736" y="2489"/>
                    <a:pt x="1736" y="2489"/>
                  </a:cubicBezTo>
                  <a:cubicBezTo>
                    <a:pt x="1742" y="2495"/>
                    <a:pt x="1742" y="2495"/>
                    <a:pt x="1742" y="2495"/>
                  </a:cubicBezTo>
                  <a:cubicBezTo>
                    <a:pt x="1751" y="2458"/>
                    <a:pt x="1751" y="2458"/>
                    <a:pt x="1751" y="2458"/>
                  </a:cubicBezTo>
                  <a:cubicBezTo>
                    <a:pt x="1751" y="2458"/>
                    <a:pt x="1758" y="2465"/>
                    <a:pt x="1762" y="2466"/>
                  </a:cubicBezTo>
                  <a:cubicBezTo>
                    <a:pt x="1766" y="2467"/>
                    <a:pt x="1768" y="2462"/>
                    <a:pt x="1768" y="2462"/>
                  </a:cubicBezTo>
                  <a:cubicBezTo>
                    <a:pt x="1768" y="2462"/>
                    <a:pt x="1773" y="2468"/>
                    <a:pt x="1816" y="2466"/>
                  </a:cubicBezTo>
                  <a:cubicBezTo>
                    <a:pt x="1855" y="2487"/>
                    <a:pt x="1848" y="2501"/>
                    <a:pt x="1848" y="2501"/>
                  </a:cubicBezTo>
                  <a:cubicBezTo>
                    <a:pt x="1873" y="2482"/>
                    <a:pt x="1873" y="2482"/>
                    <a:pt x="1873" y="2482"/>
                  </a:cubicBezTo>
                  <a:cubicBezTo>
                    <a:pt x="1937" y="2486"/>
                    <a:pt x="1937" y="2486"/>
                    <a:pt x="1937" y="2486"/>
                  </a:cubicBezTo>
                  <a:cubicBezTo>
                    <a:pt x="1937" y="2486"/>
                    <a:pt x="1948" y="2502"/>
                    <a:pt x="1954" y="2499"/>
                  </a:cubicBezTo>
                  <a:cubicBezTo>
                    <a:pt x="1960" y="2496"/>
                    <a:pt x="1964" y="2463"/>
                    <a:pt x="1964" y="2463"/>
                  </a:cubicBezTo>
                  <a:cubicBezTo>
                    <a:pt x="1964" y="2463"/>
                    <a:pt x="1978" y="2439"/>
                    <a:pt x="1968" y="2431"/>
                  </a:cubicBezTo>
                  <a:cubicBezTo>
                    <a:pt x="1930" y="2430"/>
                    <a:pt x="1946" y="2384"/>
                    <a:pt x="1944" y="2381"/>
                  </a:cubicBezTo>
                  <a:cubicBezTo>
                    <a:pt x="1942" y="2378"/>
                    <a:pt x="1947" y="2382"/>
                    <a:pt x="1932" y="2396"/>
                  </a:cubicBezTo>
                  <a:cubicBezTo>
                    <a:pt x="1911" y="2396"/>
                    <a:pt x="1915" y="2367"/>
                    <a:pt x="1917" y="2357"/>
                  </a:cubicBezTo>
                  <a:cubicBezTo>
                    <a:pt x="1919" y="2347"/>
                    <a:pt x="1947" y="2353"/>
                    <a:pt x="1947" y="2353"/>
                  </a:cubicBezTo>
                  <a:cubicBezTo>
                    <a:pt x="1947" y="2353"/>
                    <a:pt x="1951" y="2367"/>
                    <a:pt x="1959" y="2357"/>
                  </a:cubicBezTo>
                  <a:cubicBezTo>
                    <a:pt x="1949" y="2344"/>
                    <a:pt x="1959" y="2309"/>
                    <a:pt x="1959" y="2309"/>
                  </a:cubicBezTo>
                  <a:cubicBezTo>
                    <a:pt x="2026" y="2215"/>
                    <a:pt x="2026" y="2215"/>
                    <a:pt x="2026" y="2215"/>
                  </a:cubicBezTo>
                  <a:cubicBezTo>
                    <a:pt x="2036" y="2191"/>
                    <a:pt x="2036" y="2191"/>
                    <a:pt x="2036" y="2191"/>
                  </a:cubicBezTo>
                  <a:cubicBezTo>
                    <a:pt x="2036" y="2191"/>
                    <a:pt x="2029" y="2195"/>
                    <a:pt x="2026" y="2155"/>
                  </a:cubicBezTo>
                  <a:cubicBezTo>
                    <a:pt x="2008" y="2137"/>
                    <a:pt x="2030" y="2109"/>
                    <a:pt x="2030" y="2109"/>
                  </a:cubicBezTo>
                  <a:cubicBezTo>
                    <a:pt x="2032" y="2088"/>
                    <a:pt x="2032" y="2088"/>
                    <a:pt x="2032" y="2088"/>
                  </a:cubicBezTo>
                  <a:cubicBezTo>
                    <a:pt x="2032" y="2088"/>
                    <a:pt x="2032" y="2102"/>
                    <a:pt x="2060" y="2043"/>
                  </a:cubicBezTo>
                  <a:cubicBezTo>
                    <a:pt x="2064" y="1980"/>
                    <a:pt x="2099" y="1971"/>
                    <a:pt x="2099" y="1971"/>
                  </a:cubicBezTo>
                  <a:cubicBezTo>
                    <a:pt x="2102" y="1938"/>
                    <a:pt x="2102" y="1938"/>
                    <a:pt x="2102" y="1938"/>
                  </a:cubicBezTo>
                  <a:cubicBezTo>
                    <a:pt x="2102" y="1938"/>
                    <a:pt x="2127" y="1888"/>
                    <a:pt x="2127" y="1881"/>
                  </a:cubicBezTo>
                  <a:cubicBezTo>
                    <a:pt x="2127" y="1874"/>
                    <a:pt x="2103" y="1863"/>
                    <a:pt x="2103" y="1863"/>
                  </a:cubicBezTo>
                  <a:close/>
                  <a:moveTo>
                    <a:pt x="935" y="733"/>
                  </a:moveTo>
                  <a:cubicBezTo>
                    <a:pt x="947" y="734"/>
                    <a:pt x="947" y="734"/>
                    <a:pt x="947" y="734"/>
                  </a:cubicBezTo>
                  <a:cubicBezTo>
                    <a:pt x="937" y="725"/>
                    <a:pt x="937" y="725"/>
                    <a:pt x="937" y="725"/>
                  </a:cubicBezTo>
                  <a:lnTo>
                    <a:pt x="935" y="733"/>
                  </a:lnTo>
                  <a:close/>
                </a:path>
              </a:pathLst>
            </a:custGeom>
            <a:solidFill>
              <a:srgbClr val="C0C0C0"/>
            </a:solidFill>
            <a:ln w="12700" cap="flat" cmpd="sng">
              <a:solidFill>
                <a:schemeClr val="bg1"/>
              </a:solidFill>
              <a:prstDash val="solid"/>
              <a:round/>
              <a:headEnd type="none" w="med" len="med"/>
              <a:tailEnd type="none" w="med" len="med"/>
            </a:ln>
            <a:effectLst/>
          </p:spPr>
          <p:txBody>
            <a:bodyPr/>
            <a:lstStyle/>
            <a:p>
              <a:endParaRPr lang="en-US"/>
            </a:p>
          </p:txBody>
        </p:sp>
        <p:sp>
          <p:nvSpPr>
            <p:cNvPr id="127" name="Freeform 148" descr="Großbritannien"/>
            <p:cNvSpPr>
              <a:spLocks noEditPoints="1"/>
            </p:cNvSpPr>
            <p:nvPr/>
          </p:nvSpPr>
          <p:spPr bwMode="auto">
            <a:xfrm>
              <a:off x="1849" y="592"/>
              <a:ext cx="1805" cy="3229"/>
            </a:xfrm>
            <a:custGeom>
              <a:avLst/>
              <a:gdLst/>
              <a:ahLst/>
              <a:cxnLst>
                <a:cxn ang="0">
                  <a:pos x="3312" y="165"/>
                </a:cxn>
                <a:cxn ang="0">
                  <a:pos x="2924" y="337"/>
                </a:cxn>
                <a:cxn ang="0">
                  <a:pos x="3097" y="645"/>
                </a:cxn>
                <a:cxn ang="0">
                  <a:pos x="3061" y="209"/>
                </a:cxn>
                <a:cxn ang="0">
                  <a:pos x="3135" y="576"/>
                </a:cxn>
                <a:cxn ang="0">
                  <a:pos x="2520" y="1305"/>
                </a:cxn>
                <a:cxn ang="0">
                  <a:pos x="2411" y="1583"/>
                </a:cxn>
                <a:cxn ang="0">
                  <a:pos x="2493" y="1626"/>
                </a:cxn>
                <a:cxn ang="0">
                  <a:pos x="2299" y="1594"/>
                </a:cxn>
                <a:cxn ang="0">
                  <a:pos x="789" y="2333"/>
                </a:cxn>
                <a:cxn ang="0">
                  <a:pos x="1095" y="1843"/>
                </a:cxn>
                <a:cxn ang="0">
                  <a:pos x="672" y="2109"/>
                </a:cxn>
                <a:cxn ang="0">
                  <a:pos x="449" y="3019"/>
                </a:cxn>
                <a:cxn ang="0">
                  <a:pos x="533" y="2476"/>
                </a:cxn>
                <a:cxn ang="0">
                  <a:pos x="671" y="2404"/>
                </a:cxn>
                <a:cxn ang="0">
                  <a:pos x="1354" y="4903"/>
                </a:cxn>
                <a:cxn ang="0">
                  <a:pos x="1150" y="4393"/>
                </a:cxn>
                <a:cxn ang="0">
                  <a:pos x="302" y="4959"/>
                </a:cxn>
                <a:cxn ang="0">
                  <a:pos x="1219" y="4945"/>
                </a:cxn>
                <a:cxn ang="0">
                  <a:pos x="1741" y="8021"/>
                </a:cxn>
                <a:cxn ang="0">
                  <a:pos x="3913" y="5582"/>
                </a:cxn>
                <a:cxn ang="0">
                  <a:pos x="3543" y="4818"/>
                </a:cxn>
                <a:cxn ang="0">
                  <a:pos x="2914" y="3819"/>
                </a:cxn>
                <a:cxn ang="0">
                  <a:pos x="2339" y="3653"/>
                </a:cxn>
                <a:cxn ang="0">
                  <a:pos x="2761" y="3117"/>
                </a:cxn>
                <a:cxn ang="0">
                  <a:pos x="2223" y="2474"/>
                </a:cxn>
                <a:cxn ang="0">
                  <a:pos x="2478" y="1754"/>
                </a:cxn>
                <a:cxn ang="0">
                  <a:pos x="1765" y="1816"/>
                </a:cxn>
                <a:cxn ang="0">
                  <a:pos x="1429" y="2174"/>
                </a:cxn>
                <a:cxn ang="0">
                  <a:pos x="1297" y="2493"/>
                </a:cxn>
                <a:cxn ang="0">
                  <a:pos x="1007" y="2490"/>
                </a:cxn>
                <a:cxn ang="0">
                  <a:pos x="1079" y="2783"/>
                </a:cxn>
                <a:cxn ang="0">
                  <a:pos x="1171" y="3201"/>
                </a:cxn>
                <a:cxn ang="0">
                  <a:pos x="1355" y="3533"/>
                </a:cxn>
                <a:cxn ang="0">
                  <a:pos x="1399" y="3628"/>
                </a:cxn>
                <a:cxn ang="0">
                  <a:pos x="1638" y="3616"/>
                </a:cxn>
                <a:cxn ang="0">
                  <a:pos x="1588" y="4557"/>
                </a:cxn>
                <a:cxn ang="0">
                  <a:pos x="2264" y="4437"/>
                </a:cxn>
                <a:cxn ang="0">
                  <a:pos x="2535" y="5179"/>
                </a:cxn>
                <a:cxn ang="0">
                  <a:pos x="1936" y="5645"/>
                </a:cxn>
                <a:cxn ang="0">
                  <a:pos x="1890" y="5992"/>
                </a:cxn>
                <a:cxn ang="0">
                  <a:pos x="1465" y="6906"/>
                </a:cxn>
                <a:cxn ang="0">
                  <a:pos x="1987" y="7037"/>
                </a:cxn>
                <a:cxn ang="0">
                  <a:pos x="2481" y="7227"/>
                </a:cxn>
                <a:cxn ang="0">
                  <a:pos x="1550" y="7835"/>
                </a:cxn>
                <a:cxn ang="0">
                  <a:pos x="1675" y="8014"/>
                </a:cxn>
                <a:cxn ang="0">
                  <a:pos x="2770" y="7792"/>
                </a:cxn>
                <a:cxn ang="0">
                  <a:pos x="3963" y="7717"/>
                </a:cxn>
                <a:cxn ang="0">
                  <a:pos x="4170" y="7107"/>
                </a:cxn>
                <a:cxn ang="0">
                  <a:pos x="2037" y="2252"/>
                </a:cxn>
                <a:cxn ang="0">
                  <a:pos x="1331" y="2712"/>
                </a:cxn>
                <a:cxn ang="0">
                  <a:pos x="1538" y="2268"/>
                </a:cxn>
                <a:cxn ang="0">
                  <a:pos x="1983" y="2307"/>
                </a:cxn>
                <a:cxn ang="0">
                  <a:pos x="2038" y="6124"/>
                </a:cxn>
                <a:cxn ang="0">
                  <a:pos x="4194" y="7203"/>
                </a:cxn>
                <a:cxn ang="0">
                  <a:pos x="722" y="3259"/>
                </a:cxn>
                <a:cxn ang="0">
                  <a:pos x="1113" y="2970"/>
                </a:cxn>
                <a:cxn ang="0">
                  <a:pos x="1905" y="4925"/>
                </a:cxn>
                <a:cxn ang="0">
                  <a:pos x="1181" y="3607"/>
                </a:cxn>
                <a:cxn ang="0">
                  <a:pos x="1257" y="3630"/>
                </a:cxn>
                <a:cxn ang="0">
                  <a:pos x="1147" y="2667"/>
                </a:cxn>
                <a:cxn ang="0">
                  <a:pos x="958" y="3401"/>
                </a:cxn>
                <a:cxn ang="0">
                  <a:pos x="1268" y="3357"/>
                </a:cxn>
              </a:cxnLst>
              <a:rect l="0" t="0" r="r" b="b"/>
              <a:pathLst>
                <a:path w="4672" h="8351">
                  <a:moveTo>
                    <a:pt x="3131" y="247"/>
                  </a:moveTo>
                  <a:cubicBezTo>
                    <a:pt x="3131" y="237"/>
                    <a:pt x="3131" y="237"/>
                    <a:pt x="3131" y="237"/>
                  </a:cubicBezTo>
                  <a:cubicBezTo>
                    <a:pt x="3125" y="238"/>
                    <a:pt x="3125" y="238"/>
                    <a:pt x="3125" y="238"/>
                  </a:cubicBezTo>
                  <a:lnTo>
                    <a:pt x="3131" y="247"/>
                  </a:lnTo>
                  <a:close/>
                  <a:moveTo>
                    <a:pt x="3133" y="193"/>
                  </a:moveTo>
                  <a:cubicBezTo>
                    <a:pt x="3140" y="196"/>
                    <a:pt x="3129" y="203"/>
                    <a:pt x="3129" y="203"/>
                  </a:cubicBezTo>
                  <a:cubicBezTo>
                    <a:pt x="3129" y="203"/>
                    <a:pt x="3135" y="211"/>
                    <a:pt x="3136" y="216"/>
                  </a:cubicBezTo>
                  <a:cubicBezTo>
                    <a:pt x="3137" y="221"/>
                    <a:pt x="3128" y="220"/>
                    <a:pt x="3128" y="220"/>
                  </a:cubicBezTo>
                  <a:cubicBezTo>
                    <a:pt x="3147" y="247"/>
                    <a:pt x="3147" y="247"/>
                    <a:pt x="3147" y="247"/>
                  </a:cubicBezTo>
                  <a:cubicBezTo>
                    <a:pt x="3171" y="249"/>
                    <a:pt x="3171" y="249"/>
                    <a:pt x="3171" y="249"/>
                  </a:cubicBezTo>
                  <a:cubicBezTo>
                    <a:pt x="3171" y="249"/>
                    <a:pt x="3169" y="245"/>
                    <a:pt x="3165" y="245"/>
                  </a:cubicBezTo>
                  <a:cubicBezTo>
                    <a:pt x="3162" y="245"/>
                    <a:pt x="3163" y="235"/>
                    <a:pt x="3167" y="235"/>
                  </a:cubicBezTo>
                  <a:cubicBezTo>
                    <a:pt x="3171" y="235"/>
                    <a:pt x="3183" y="251"/>
                    <a:pt x="3183" y="251"/>
                  </a:cubicBezTo>
                  <a:cubicBezTo>
                    <a:pt x="3183" y="251"/>
                    <a:pt x="3193" y="241"/>
                    <a:pt x="3200" y="237"/>
                  </a:cubicBezTo>
                  <a:cubicBezTo>
                    <a:pt x="3207" y="233"/>
                    <a:pt x="3199" y="209"/>
                    <a:pt x="3199" y="209"/>
                  </a:cubicBezTo>
                  <a:cubicBezTo>
                    <a:pt x="3211" y="189"/>
                    <a:pt x="3211" y="189"/>
                    <a:pt x="3211" y="189"/>
                  </a:cubicBezTo>
                  <a:cubicBezTo>
                    <a:pt x="3201" y="172"/>
                    <a:pt x="3201" y="172"/>
                    <a:pt x="3201" y="172"/>
                  </a:cubicBezTo>
                  <a:cubicBezTo>
                    <a:pt x="3211" y="175"/>
                    <a:pt x="3211" y="175"/>
                    <a:pt x="3211" y="175"/>
                  </a:cubicBezTo>
                  <a:cubicBezTo>
                    <a:pt x="3226" y="161"/>
                    <a:pt x="3226" y="161"/>
                    <a:pt x="3226" y="161"/>
                  </a:cubicBezTo>
                  <a:cubicBezTo>
                    <a:pt x="3217" y="149"/>
                    <a:pt x="3217" y="149"/>
                    <a:pt x="3217" y="149"/>
                  </a:cubicBezTo>
                  <a:cubicBezTo>
                    <a:pt x="3223" y="143"/>
                    <a:pt x="3223" y="143"/>
                    <a:pt x="3223" y="143"/>
                  </a:cubicBezTo>
                  <a:cubicBezTo>
                    <a:pt x="3211" y="128"/>
                    <a:pt x="3211" y="128"/>
                    <a:pt x="3211" y="128"/>
                  </a:cubicBezTo>
                  <a:cubicBezTo>
                    <a:pt x="3217" y="120"/>
                    <a:pt x="3217" y="120"/>
                    <a:pt x="3217" y="120"/>
                  </a:cubicBezTo>
                  <a:cubicBezTo>
                    <a:pt x="3206" y="105"/>
                    <a:pt x="3206" y="105"/>
                    <a:pt x="3206" y="105"/>
                  </a:cubicBezTo>
                  <a:cubicBezTo>
                    <a:pt x="3206" y="105"/>
                    <a:pt x="3211" y="103"/>
                    <a:pt x="3210" y="95"/>
                  </a:cubicBezTo>
                  <a:cubicBezTo>
                    <a:pt x="3209" y="87"/>
                    <a:pt x="3192" y="77"/>
                    <a:pt x="3165" y="79"/>
                  </a:cubicBezTo>
                  <a:cubicBezTo>
                    <a:pt x="3139" y="81"/>
                    <a:pt x="3155" y="132"/>
                    <a:pt x="3155" y="132"/>
                  </a:cubicBezTo>
                  <a:cubicBezTo>
                    <a:pt x="3130" y="131"/>
                    <a:pt x="3122" y="166"/>
                    <a:pt x="3121" y="169"/>
                  </a:cubicBezTo>
                  <a:cubicBezTo>
                    <a:pt x="3121" y="173"/>
                    <a:pt x="3125" y="174"/>
                    <a:pt x="3125" y="180"/>
                  </a:cubicBezTo>
                  <a:cubicBezTo>
                    <a:pt x="3126" y="186"/>
                    <a:pt x="3121" y="191"/>
                    <a:pt x="3121" y="191"/>
                  </a:cubicBezTo>
                  <a:cubicBezTo>
                    <a:pt x="3123" y="196"/>
                    <a:pt x="3123" y="196"/>
                    <a:pt x="3123" y="196"/>
                  </a:cubicBezTo>
                  <a:cubicBezTo>
                    <a:pt x="3123" y="196"/>
                    <a:pt x="3127" y="189"/>
                    <a:pt x="3133" y="193"/>
                  </a:cubicBezTo>
                  <a:close/>
                  <a:moveTo>
                    <a:pt x="3202" y="145"/>
                  </a:moveTo>
                  <a:cubicBezTo>
                    <a:pt x="3210" y="142"/>
                    <a:pt x="3211" y="146"/>
                    <a:pt x="3213" y="154"/>
                  </a:cubicBezTo>
                  <a:cubicBezTo>
                    <a:pt x="3215" y="162"/>
                    <a:pt x="3209" y="163"/>
                    <a:pt x="3209" y="163"/>
                  </a:cubicBezTo>
                  <a:cubicBezTo>
                    <a:pt x="3201" y="160"/>
                    <a:pt x="3201" y="160"/>
                    <a:pt x="3201" y="160"/>
                  </a:cubicBezTo>
                  <a:cubicBezTo>
                    <a:pt x="3204" y="154"/>
                    <a:pt x="3204" y="154"/>
                    <a:pt x="3204" y="154"/>
                  </a:cubicBezTo>
                  <a:lnTo>
                    <a:pt x="3202" y="145"/>
                  </a:lnTo>
                  <a:close/>
                  <a:moveTo>
                    <a:pt x="3151" y="268"/>
                  </a:moveTo>
                  <a:cubicBezTo>
                    <a:pt x="3157" y="266"/>
                    <a:pt x="3157" y="266"/>
                    <a:pt x="3157" y="266"/>
                  </a:cubicBezTo>
                  <a:cubicBezTo>
                    <a:pt x="3150" y="259"/>
                    <a:pt x="3150" y="259"/>
                    <a:pt x="3150" y="259"/>
                  </a:cubicBezTo>
                  <a:cubicBezTo>
                    <a:pt x="3145" y="261"/>
                    <a:pt x="3145" y="261"/>
                    <a:pt x="3145" y="261"/>
                  </a:cubicBezTo>
                  <a:lnTo>
                    <a:pt x="3151" y="268"/>
                  </a:lnTo>
                  <a:close/>
                  <a:moveTo>
                    <a:pt x="3317" y="285"/>
                  </a:moveTo>
                  <a:cubicBezTo>
                    <a:pt x="3317" y="285"/>
                    <a:pt x="3313" y="299"/>
                    <a:pt x="3306" y="301"/>
                  </a:cubicBezTo>
                  <a:cubicBezTo>
                    <a:pt x="3316" y="301"/>
                    <a:pt x="3316" y="301"/>
                    <a:pt x="3316" y="301"/>
                  </a:cubicBezTo>
                  <a:lnTo>
                    <a:pt x="3317" y="285"/>
                  </a:lnTo>
                  <a:close/>
                  <a:moveTo>
                    <a:pt x="3220" y="125"/>
                  </a:moveTo>
                  <a:cubicBezTo>
                    <a:pt x="3223" y="130"/>
                    <a:pt x="3223" y="130"/>
                    <a:pt x="3223" y="130"/>
                  </a:cubicBezTo>
                  <a:cubicBezTo>
                    <a:pt x="3227" y="125"/>
                    <a:pt x="3227" y="125"/>
                    <a:pt x="3227" y="125"/>
                  </a:cubicBezTo>
                  <a:cubicBezTo>
                    <a:pt x="3223" y="121"/>
                    <a:pt x="3223" y="121"/>
                    <a:pt x="3223" y="121"/>
                  </a:cubicBezTo>
                  <a:lnTo>
                    <a:pt x="3220" y="125"/>
                  </a:lnTo>
                  <a:close/>
                  <a:moveTo>
                    <a:pt x="3272" y="195"/>
                  </a:moveTo>
                  <a:cubicBezTo>
                    <a:pt x="3273" y="180"/>
                    <a:pt x="3273" y="180"/>
                    <a:pt x="3273" y="180"/>
                  </a:cubicBezTo>
                  <a:cubicBezTo>
                    <a:pt x="3304" y="196"/>
                    <a:pt x="3304" y="196"/>
                    <a:pt x="3304" y="196"/>
                  </a:cubicBezTo>
                  <a:cubicBezTo>
                    <a:pt x="3299" y="184"/>
                    <a:pt x="3299" y="184"/>
                    <a:pt x="3299" y="184"/>
                  </a:cubicBezTo>
                  <a:cubicBezTo>
                    <a:pt x="3299" y="184"/>
                    <a:pt x="3313" y="173"/>
                    <a:pt x="3312" y="165"/>
                  </a:cubicBezTo>
                  <a:cubicBezTo>
                    <a:pt x="3311" y="157"/>
                    <a:pt x="3299" y="168"/>
                    <a:pt x="3299" y="168"/>
                  </a:cubicBezTo>
                  <a:cubicBezTo>
                    <a:pt x="3284" y="161"/>
                    <a:pt x="3284" y="161"/>
                    <a:pt x="3284" y="161"/>
                  </a:cubicBezTo>
                  <a:cubicBezTo>
                    <a:pt x="3289" y="157"/>
                    <a:pt x="3289" y="157"/>
                    <a:pt x="3289" y="157"/>
                  </a:cubicBezTo>
                  <a:cubicBezTo>
                    <a:pt x="3289" y="157"/>
                    <a:pt x="3285" y="145"/>
                    <a:pt x="3273" y="145"/>
                  </a:cubicBezTo>
                  <a:cubicBezTo>
                    <a:pt x="3261" y="145"/>
                    <a:pt x="3259" y="153"/>
                    <a:pt x="3259" y="153"/>
                  </a:cubicBezTo>
                  <a:cubicBezTo>
                    <a:pt x="3259" y="153"/>
                    <a:pt x="3247" y="148"/>
                    <a:pt x="3237" y="148"/>
                  </a:cubicBezTo>
                  <a:cubicBezTo>
                    <a:pt x="3223" y="148"/>
                    <a:pt x="3241" y="171"/>
                    <a:pt x="3243" y="175"/>
                  </a:cubicBezTo>
                  <a:cubicBezTo>
                    <a:pt x="3231" y="179"/>
                    <a:pt x="3257" y="200"/>
                    <a:pt x="3257" y="200"/>
                  </a:cubicBezTo>
                  <a:lnTo>
                    <a:pt x="3272" y="195"/>
                  </a:lnTo>
                  <a:close/>
                  <a:moveTo>
                    <a:pt x="3189" y="332"/>
                  </a:moveTo>
                  <a:cubicBezTo>
                    <a:pt x="3191" y="337"/>
                    <a:pt x="3191" y="337"/>
                    <a:pt x="3191" y="337"/>
                  </a:cubicBezTo>
                  <a:cubicBezTo>
                    <a:pt x="3212" y="361"/>
                    <a:pt x="3212" y="361"/>
                    <a:pt x="3212" y="361"/>
                  </a:cubicBezTo>
                  <a:cubicBezTo>
                    <a:pt x="3237" y="339"/>
                    <a:pt x="3237" y="339"/>
                    <a:pt x="3237" y="339"/>
                  </a:cubicBezTo>
                  <a:cubicBezTo>
                    <a:pt x="3252" y="323"/>
                    <a:pt x="3252" y="323"/>
                    <a:pt x="3252" y="323"/>
                  </a:cubicBezTo>
                  <a:cubicBezTo>
                    <a:pt x="3227" y="323"/>
                    <a:pt x="3227" y="323"/>
                    <a:pt x="3227" y="323"/>
                  </a:cubicBezTo>
                  <a:cubicBezTo>
                    <a:pt x="3221" y="321"/>
                    <a:pt x="3201" y="336"/>
                    <a:pt x="3201" y="336"/>
                  </a:cubicBezTo>
                  <a:cubicBezTo>
                    <a:pt x="3201" y="331"/>
                    <a:pt x="3201" y="331"/>
                    <a:pt x="3201" y="331"/>
                  </a:cubicBezTo>
                  <a:lnTo>
                    <a:pt x="3189" y="332"/>
                  </a:lnTo>
                  <a:close/>
                  <a:moveTo>
                    <a:pt x="3306" y="301"/>
                  </a:moveTo>
                  <a:cubicBezTo>
                    <a:pt x="3303" y="301"/>
                    <a:pt x="3303" y="301"/>
                    <a:pt x="3303" y="301"/>
                  </a:cubicBezTo>
                  <a:cubicBezTo>
                    <a:pt x="3304" y="302"/>
                    <a:pt x="3305" y="302"/>
                    <a:pt x="3306" y="301"/>
                  </a:cubicBezTo>
                  <a:close/>
                  <a:moveTo>
                    <a:pt x="3231" y="120"/>
                  </a:moveTo>
                  <a:cubicBezTo>
                    <a:pt x="3239" y="129"/>
                    <a:pt x="3241" y="120"/>
                    <a:pt x="3241" y="120"/>
                  </a:cubicBezTo>
                  <a:cubicBezTo>
                    <a:pt x="3259" y="136"/>
                    <a:pt x="3259" y="136"/>
                    <a:pt x="3259" y="136"/>
                  </a:cubicBezTo>
                  <a:cubicBezTo>
                    <a:pt x="3261" y="125"/>
                    <a:pt x="3261" y="125"/>
                    <a:pt x="3261" y="125"/>
                  </a:cubicBezTo>
                  <a:cubicBezTo>
                    <a:pt x="3276" y="124"/>
                    <a:pt x="3276" y="124"/>
                    <a:pt x="3276" y="124"/>
                  </a:cubicBezTo>
                  <a:cubicBezTo>
                    <a:pt x="3283" y="109"/>
                    <a:pt x="3283" y="109"/>
                    <a:pt x="3283" y="109"/>
                  </a:cubicBezTo>
                  <a:cubicBezTo>
                    <a:pt x="3268" y="97"/>
                    <a:pt x="3268" y="97"/>
                    <a:pt x="3268" y="97"/>
                  </a:cubicBezTo>
                  <a:cubicBezTo>
                    <a:pt x="3268" y="97"/>
                    <a:pt x="3281" y="83"/>
                    <a:pt x="3287" y="83"/>
                  </a:cubicBezTo>
                  <a:cubicBezTo>
                    <a:pt x="3292" y="83"/>
                    <a:pt x="3305" y="69"/>
                    <a:pt x="3305" y="69"/>
                  </a:cubicBezTo>
                  <a:cubicBezTo>
                    <a:pt x="3305" y="69"/>
                    <a:pt x="3289" y="56"/>
                    <a:pt x="3291" y="51"/>
                  </a:cubicBezTo>
                  <a:cubicBezTo>
                    <a:pt x="3307" y="52"/>
                    <a:pt x="3307" y="45"/>
                    <a:pt x="3309" y="31"/>
                  </a:cubicBezTo>
                  <a:cubicBezTo>
                    <a:pt x="3323" y="17"/>
                    <a:pt x="3300" y="13"/>
                    <a:pt x="3285" y="13"/>
                  </a:cubicBezTo>
                  <a:cubicBezTo>
                    <a:pt x="3271" y="13"/>
                    <a:pt x="3276" y="1"/>
                    <a:pt x="3276" y="1"/>
                  </a:cubicBezTo>
                  <a:cubicBezTo>
                    <a:pt x="3264" y="28"/>
                    <a:pt x="3264" y="28"/>
                    <a:pt x="3264" y="28"/>
                  </a:cubicBezTo>
                  <a:cubicBezTo>
                    <a:pt x="3260" y="0"/>
                    <a:pt x="3260" y="0"/>
                    <a:pt x="3260" y="0"/>
                  </a:cubicBezTo>
                  <a:cubicBezTo>
                    <a:pt x="3229" y="37"/>
                    <a:pt x="3229" y="37"/>
                    <a:pt x="3229" y="37"/>
                  </a:cubicBezTo>
                  <a:cubicBezTo>
                    <a:pt x="3228" y="39"/>
                    <a:pt x="3228" y="39"/>
                    <a:pt x="3228" y="39"/>
                  </a:cubicBezTo>
                  <a:cubicBezTo>
                    <a:pt x="3228" y="39"/>
                    <a:pt x="3232" y="47"/>
                    <a:pt x="3240" y="52"/>
                  </a:cubicBezTo>
                  <a:cubicBezTo>
                    <a:pt x="3248" y="57"/>
                    <a:pt x="3221" y="76"/>
                    <a:pt x="3221" y="76"/>
                  </a:cubicBezTo>
                  <a:cubicBezTo>
                    <a:pt x="3231" y="89"/>
                    <a:pt x="3231" y="89"/>
                    <a:pt x="3231" y="89"/>
                  </a:cubicBezTo>
                  <a:cubicBezTo>
                    <a:pt x="3217" y="89"/>
                    <a:pt x="3217" y="89"/>
                    <a:pt x="3217" y="89"/>
                  </a:cubicBezTo>
                  <a:cubicBezTo>
                    <a:pt x="3217" y="89"/>
                    <a:pt x="3223" y="111"/>
                    <a:pt x="3231" y="120"/>
                  </a:cubicBezTo>
                  <a:close/>
                  <a:moveTo>
                    <a:pt x="3067" y="1155"/>
                  </a:moveTo>
                  <a:cubicBezTo>
                    <a:pt x="3069" y="1169"/>
                    <a:pt x="3069" y="1169"/>
                    <a:pt x="3069" y="1169"/>
                  </a:cubicBezTo>
                  <a:cubicBezTo>
                    <a:pt x="3073" y="1165"/>
                    <a:pt x="3077" y="1157"/>
                    <a:pt x="3091" y="1155"/>
                  </a:cubicBezTo>
                  <a:cubicBezTo>
                    <a:pt x="3095" y="1141"/>
                    <a:pt x="3088" y="1134"/>
                    <a:pt x="3088" y="1134"/>
                  </a:cubicBezTo>
                  <a:cubicBezTo>
                    <a:pt x="3076" y="1133"/>
                    <a:pt x="3076" y="1133"/>
                    <a:pt x="3076" y="1133"/>
                  </a:cubicBezTo>
                  <a:cubicBezTo>
                    <a:pt x="3076" y="1133"/>
                    <a:pt x="3077" y="1142"/>
                    <a:pt x="3076" y="1145"/>
                  </a:cubicBezTo>
                  <a:cubicBezTo>
                    <a:pt x="3075" y="1149"/>
                    <a:pt x="3067" y="1155"/>
                    <a:pt x="3067" y="1155"/>
                  </a:cubicBezTo>
                  <a:close/>
                  <a:moveTo>
                    <a:pt x="2763" y="480"/>
                  </a:moveTo>
                  <a:cubicBezTo>
                    <a:pt x="2767" y="461"/>
                    <a:pt x="2736" y="464"/>
                    <a:pt x="2736" y="464"/>
                  </a:cubicBezTo>
                  <a:cubicBezTo>
                    <a:pt x="2728" y="477"/>
                    <a:pt x="2728" y="477"/>
                    <a:pt x="2728" y="477"/>
                  </a:cubicBezTo>
                  <a:cubicBezTo>
                    <a:pt x="2745" y="492"/>
                    <a:pt x="2745" y="492"/>
                    <a:pt x="2745" y="492"/>
                  </a:cubicBezTo>
                  <a:cubicBezTo>
                    <a:pt x="2745" y="492"/>
                    <a:pt x="2759" y="499"/>
                    <a:pt x="2763" y="480"/>
                  </a:cubicBezTo>
                  <a:close/>
                  <a:moveTo>
                    <a:pt x="2913" y="357"/>
                  </a:moveTo>
                  <a:cubicBezTo>
                    <a:pt x="2927" y="357"/>
                    <a:pt x="2924" y="337"/>
                    <a:pt x="2924" y="337"/>
                  </a:cubicBezTo>
                  <a:cubicBezTo>
                    <a:pt x="2899" y="337"/>
                    <a:pt x="2899" y="337"/>
                    <a:pt x="2899" y="337"/>
                  </a:cubicBezTo>
                  <a:cubicBezTo>
                    <a:pt x="2879" y="343"/>
                    <a:pt x="2900" y="357"/>
                    <a:pt x="2913" y="357"/>
                  </a:cubicBezTo>
                  <a:close/>
                  <a:moveTo>
                    <a:pt x="3067" y="560"/>
                  </a:moveTo>
                  <a:cubicBezTo>
                    <a:pt x="3053" y="560"/>
                    <a:pt x="3053" y="560"/>
                    <a:pt x="3053" y="560"/>
                  </a:cubicBezTo>
                  <a:cubicBezTo>
                    <a:pt x="3057" y="567"/>
                    <a:pt x="3057" y="567"/>
                    <a:pt x="3057" y="567"/>
                  </a:cubicBezTo>
                  <a:lnTo>
                    <a:pt x="3067" y="560"/>
                  </a:lnTo>
                  <a:close/>
                  <a:moveTo>
                    <a:pt x="3033" y="357"/>
                  </a:moveTo>
                  <a:cubicBezTo>
                    <a:pt x="3033" y="357"/>
                    <a:pt x="3031" y="353"/>
                    <a:pt x="3020" y="352"/>
                  </a:cubicBezTo>
                  <a:cubicBezTo>
                    <a:pt x="3009" y="351"/>
                    <a:pt x="3004" y="340"/>
                    <a:pt x="3004" y="340"/>
                  </a:cubicBezTo>
                  <a:cubicBezTo>
                    <a:pt x="3003" y="344"/>
                    <a:pt x="3003" y="344"/>
                    <a:pt x="3003" y="344"/>
                  </a:cubicBezTo>
                  <a:cubicBezTo>
                    <a:pt x="3001" y="360"/>
                    <a:pt x="3001" y="360"/>
                    <a:pt x="3001" y="360"/>
                  </a:cubicBezTo>
                  <a:cubicBezTo>
                    <a:pt x="2987" y="356"/>
                    <a:pt x="2987" y="356"/>
                    <a:pt x="2987" y="356"/>
                  </a:cubicBezTo>
                  <a:cubicBezTo>
                    <a:pt x="2955" y="368"/>
                    <a:pt x="2955" y="368"/>
                    <a:pt x="2955" y="368"/>
                  </a:cubicBezTo>
                  <a:cubicBezTo>
                    <a:pt x="2955" y="368"/>
                    <a:pt x="2921" y="363"/>
                    <a:pt x="2913" y="368"/>
                  </a:cubicBezTo>
                  <a:cubicBezTo>
                    <a:pt x="2905" y="373"/>
                    <a:pt x="2911" y="415"/>
                    <a:pt x="2911" y="415"/>
                  </a:cubicBezTo>
                  <a:cubicBezTo>
                    <a:pt x="2927" y="415"/>
                    <a:pt x="2927" y="415"/>
                    <a:pt x="2927" y="415"/>
                  </a:cubicBezTo>
                  <a:cubicBezTo>
                    <a:pt x="2960" y="445"/>
                    <a:pt x="2960" y="445"/>
                    <a:pt x="2960" y="445"/>
                  </a:cubicBezTo>
                  <a:cubicBezTo>
                    <a:pt x="2967" y="437"/>
                    <a:pt x="2967" y="437"/>
                    <a:pt x="2967" y="437"/>
                  </a:cubicBezTo>
                  <a:cubicBezTo>
                    <a:pt x="2972" y="421"/>
                    <a:pt x="2972" y="421"/>
                    <a:pt x="2972" y="421"/>
                  </a:cubicBezTo>
                  <a:cubicBezTo>
                    <a:pt x="2973" y="435"/>
                    <a:pt x="2973" y="435"/>
                    <a:pt x="2973" y="435"/>
                  </a:cubicBezTo>
                  <a:cubicBezTo>
                    <a:pt x="2984" y="424"/>
                    <a:pt x="2984" y="424"/>
                    <a:pt x="2984" y="424"/>
                  </a:cubicBezTo>
                  <a:cubicBezTo>
                    <a:pt x="2992" y="428"/>
                    <a:pt x="2992" y="428"/>
                    <a:pt x="2992" y="428"/>
                  </a:cubicBezTo>
                  <a:cubicBezTo>
                    <a:pt x="2977" y="451"/>
                    <a:pt x="2977" y="451"/>
                    <a:pt x="2977" y="451"/>
                  </a:cubicBezTo>
                  <a:cubicBezTo>
                    <a:pt x="2993" y="452"/>
                    <a:pt x="2993" y="452"/>
                    <a:pt x="2993" y="452"/>
                  </a:cubicBezTo>
                  <a:cubicBezTo>
                    <a:pt x="2997" y="471"/>
                    <a:pt x="2997" y="471"/>
                    <a:pt x="2997" y="471"/>
                  </a:cubicBezTo>
                  <a:cubicBezTo>
                    <a:pt x="3005" y="467"/>
                    <a:pt x="3005" y="467"/>
                    <a:pt x="3005" y="467"/>
                  </a:cubicBezTo>
                  <a:cubicBezTo>
                    <a:pt x="3009" y="477"/>
                    <a:pt x="3009" y="477"/>
                    <a:pt x="3009" y="477"/>
                  </a:cubicBezTo>
                  <a:cubicBezTo>
                    <a:pt x="3019" y="452"/>
                    <a:pt x="3019" y="452"/>
                    <a:pt x="3019" y="452"/>
                  </a:cubicBezTo>
                  <a:cubicBezTo>
                    <a:pt x="3019" y="452"/>
                    <a:pt x="3024" y="463"/>
                    <a:pt x="3029" y="463"/>
                  </a:cubicBezTo>
                  <a:cubicBezTo>
                    <a:pt x="3035" y="463"/>
                    <a:pt x="3040" y="456"/>
                    <a:pt x="3040" y="456"/>
                  </a:cubicBezTo>
                  <a:cubicBezTo>
                    <a:pt x="3040" y="445"/>
                    <a:pt x="3040" y="445"/>
                    <a:pt x="3040" y="445"/>
                  </a:cubicBezTo>
                  <a:cubicBezTo>
                    <a:pt x="3051" y="438"/>
                    <a:pt x="3051" y="438"/>
                    <a:pt x="3051" y="438"/>
                  </a:cubicBezTo>
                  <a:cubicBezTo>
                    <a:pt x="3052" y="438"/>
                    <a:pt x="3055" y="439"/>
                    <a:pt x="3064" y="439"/>
                  </a:cubicBezTo>
                  <a:cubicBezTo>
                    <a:pt x="3084" y="424"/>
                    <a:pt x="3080" y="433"/>
                    <a:pt x="3080" y="433"/>
                  </a:cubicBezTo>
                  <a:cubicBezTo>
                    <a:pt x="3069" y="452"/>
                    <a:pt x="3072" y="467"/>
                    <a:pt x="3077" y="469"/>
                  </a:cubicBezTo>
                  <a:cubicBezTo>
                    <a:pt x="3079" y="448"/>
                    <a:pt x="3087" y="456"/>
                    <a:pt x="3087" y="456"/>
                  </a:cubicBezTo>
                  <a:cubicBezTo>
                    <a:pt x="3087" y="456"/>
                    <a:pt x="3077" y="469"/>
                    <a:pt x="3083" y="483"/>
                  </a:cubicBezTo>
                  <a:cubicBezTo>
                    <a:pt x="3088" y="496"/>
                    <a:pt x="3071" y="499"/>
                    <a:pt x="3071" y="499"/>
                  </a:cubicBezTo>
                  <a:cubicBezTo>
                    <a:pt x="3056" y="477"/>
                    <a:pt x="3056" y="477"/>
                    <a:pt x="3056" y="477"/>
                  </a:cubicBezTo>
                  <a:cubicBezTo>
                    <a:pt x="3048" y="499"/>
                    <a:pt x="3048" y="499"/>
                    <a:pt x="3048" y="499"/>
                  </a:cubicBezTo>
                  <a:cubicBezTo>
                    <a:pt x="3052" y="511"/>
                    <a:pt x="3052" y="511"/>
                    <a:pt x="3052" y="511"/>
                  </a:cubicBezTo>
                  <a:cubicBezTo>
                    <a:pt x="3055" y="497"/>
                    <a:pt x="3055" y="497"/>
                    <a:pt x="3055" y="497"/>
                  </a:cubicBezTo>
                  <a:cubicBezTo>
                    <a:pt x="3055" y="497"/>
                    <a:pt x="3065" y="512"/>
                    <a:pt x="3069" y="513"/>
                  </a:cubicBezTo>
                  <a:cubicBezTo>
                    <a:pt x="3073" y="515"/>
                    <a:pt x="3055" y="549"/>
                    <a:pt x="3055" y="549"/>
                  </a:cubicBezTo>
                  <a:cubicBezTo>
                    <a:pt x="3069" y="549"/>
                    <a:pt x="3069" y="549"/>
                    <a:pt x="3069" y="549"/>
                  </a:cubicBezTo>
                  <a:cubicBezTo>
                    <a:pt x="3084" y="515"/>
                    <a:pt x="3084" y="515"/>
                    <a:pt x="3084" y="515"/>
                  </a:cubicBezTo>
                  <a:cubicBezTo>
                    <a:pt x="3077" y="508"/>
                    <a:pt x="3077" y="508"/>
                    <a:pt x="3077" y="508"/>
                  </a:cubicBezTo>
                  <a:cubicBezTo>
                    <a:pt x="3093" y="509"/>
                    <a:pt x="3093" y="509"/>
                    <a:pt x="3093" y="509"/>
                  </a:cubicBezTo>
                  <a:cubicBezTo>
                    <a:pt x="3093" y="509"/>
                    <a:pt x="3099" y="521"/>
                    <a:pt x="3077" y="569"/>
                  </a:cubicBezTo>
                  <a:cubicBezTo>
                    <a:pt x="3049" y="581"/>
                    <a:pt x="3069" y="599"/>
                    <a:pt x="3069" y="599"/>
                  </a:cubicBezTo>
                  <a:cubicBezTo>
                    <a:pt x="3069" y="599"/>
                    <a:pt x="3073" y="600"/>
                    <a:pt x="3065" y="613"/>
                  </a:cubicBezTo>
                  <a:cubicBezTo>
                    <a:pt x="3040" y="619"/>
                    <a:pt x="3049" y="656"/>
                    <a:pt x="3049" y="656"/>
                  </a:cubicBezTo>
                  <a:cubicBezTo>
                    <a:pt x="3055" y="653"/>
                    <a:pt x="3055" y="653"/>
                    <a:pt x="3055" y="653"/>
                  </a:cubicBezTo>
                  <a:cubicBezTo>
                    <a:pt x="3063" y="661"/>
                    <a:pt x="3063" y="661"/>
                    <a:pt x="3063" y="661"/>
                  </a:cubicBezTo>
                  <a:cubicBezTo>
                    <a:pt x="3069" y="652"/>
                    <a:pt x="3069" y="652"/>
                    <a:pt x="3069" y="652"/>
                  </a:cubicBezTo>
                  <a:cubicBezTo>
                    <a:pt x="3092" y="684"/>
                    <a:pt x="3092" y="684"/>
                    <a:pt x="3092" y="684"/>
                  </a:cubicBezTo>
                  <a:cubicBezTo>
                    <a:pt x="3097" y="645"/>
                    <a:pt x="3097" y="645"/>
                    <a:pt x="3097" y="645"/>
                  </a:cubicBezTo>
                  <a:cubicBezTo>
                    <a:pt x="3093" y="643"/>
                    <a:pt x="3093" y="643"/>
                    <a:pt x="3093" y="643"/>
                  </a:cubicBezTo>
                  <a:cubicBezTo>
                    <a:pt x="3093" y="643"/>
                    <a:pt x="3101" y="616"/>
                    <a:pt x="3103" y="603"/>
                  </a:cubicBezTo>
                  <a:cubicBezTo>
                    <a:pt x="3104" y="594"/>
                    <a:pt x="3101" y="594"/>
                    <a:pt x="3098" y="596"/>
                  </a:cubicBezTo>
                  <a:cubicBezTo>
                    <a:pt x="3101" y="593"/>
                    <a:pt x="3101" y="593"/>
                    <a:pt x="3101" y="593"/>
                  </a:cubicBezTo>
                  <a:cubicBezTo>
                    <a:pt x="3121" y="600"/>
                    <a:pt x="3121" y="600"/>
                    <a:pt x="3121" y="600"/>
                  </a:cubicBezTo>
                  <a:cubicBezTo>
                    <a:pt x="3127" y="591"/>
                    <a:pt x="3127" y="591"/>
                    <a:pt x="3127" y="591"/>
                  </a:cubicBezTo>
                  <a:cubicBezTo>
                    <a:pt x="3127" y="591"/>
                    <a:pt x="3113" y="560"/>
                    <a:pt x="3120" y="560"/>
                  </a:cubicBezTo>
                  <a:cubicBezTo>
                    <a:pt x="3127" y="560"/>
                    <a:pt x="3137" y="551"/>
                    <a:pt x="3137" y="551"/>
                  </a:cubicBezTo>
                  <a:cubicBezTo>
                    <a:pt x="3123" y="512"/>
                    <a:pt x="3123" y="512"/>
                    <a:pt x="3123" y="512"/>
                  </a:cubicBezTo>
                  <a:cubicBezTo>
                    <a:pt x="3147" y="489"/>
                    <a:pt x="3147" y="489"/>
                    <a:pt x="3147" y="489"/>
                  </a:cubicBezTo>
                  <a:cubicBezTo>
                    <a:pt x="3148" y="477"/>
                    <a:pt x="3148" y="477"/>
                    <a:pt x="3148" y="477"/>
                  </a:cubicBezTo>
                  <a:cubicBezTo>
                    <a:pt x="3145" y="463"/>
                    <a:pt x="3145" y="463"/>
                    <a:pt x="3145" y="463"/>
                  </a:cubicBezTo>
                  <a:cubicBezTo>
                    <a:pt x="3145" y="463"/>
                    <a:pt x="3164" y="468"/>
                    <a:pt x="3163" y="483"/>
                  </a:cubicBezTo>
                  <a:cubicBezTo>
                    <a:pt x="3151" y="515"/>
                    <a:pt x="3180" y="507"/>
                    <a:pt x="3180" y="507"/>
                  </a:cubicBezTo>
                  <a:cubicBezTo>
                    <a:pt x="3180" y="488"/>
                    <a:pt x="3193" y="489"/>
                    <a:pt x="3193" y="489"/>
                  </a:cubicBezTo>
                  <a:cubicBezTo>
                    <a:pt x="3201" y="495"/>
                    <a:pt x="3201" y="495"/>
                    <a:pt x="3201" y="495"/>
                  </a:cubicBezTo>
                  <a:cubicBezTo>
                    <a:pt x="3203" y="492"/>
                    <a:pt x="3203" y="492"/>
                    <a:pt x="3203" y="492"/>
                  </a:cubicBezTo>
                  <a:cubicBezTo>
                    <a:pt x="3229" y="484"/>
                    <a:pt x="3181" y="467"/>
                    <a:pt x="3181" y="467"/>
                  </a:cubicBezTo>
                  <a:cubicBezTo>
                    <a:pt x="3172" y="453"/>
                    <a:pt x="3172" y="453"/>
                    <a:pt x="3172" y="453"/>
                  </a:cubicBezTo>
                  <a:cubicBezTo>
                    <a:pt x="3169" y="459"/>
                    <a:pt x="3169" y="459"/>
                    <a:pt x="3169" y="459"/>
                  </a:cubicBezTo>
                  <a:cubicBezTo>
                    <a:pt x="3151" y="452"/>
                    <a:pt x="3151" y="452"/>
                    <a:pt x="3151" y="452"/>
                  </a:cubicBezTo>
                  <a:cubicBezTo>
                    <a:pt x="3139" y="424"/>
                    <a:pt x="3139" y="424"/>
                    <a:pt x="3139" y="424"/>
                  </a:cubicBezTo>
                  <a:cubicBezTo>
                    <a:pt x="3123" y="425"/>
                    <a:pt x="3123" y="425"/>
                    <a:pt x="3123" y="425"/>
                  </a:cubicBezTo>
                  <a:cubicBezTo>
                    <a:pt x="3125" y="397"/>
                    <a:pt x="3125" y="397"/>
                    <a:pt x="3125" y="397"/>
                  </a:cubicBezTo>
                  <a:cubicBezTo>
                    <a:pt x="3132" y="416"/>
                    <a:pt x="3132" y="416"/>
                    <a:pt x="3132" y="416"/>
                  </a:cubicBezTo>
                  <a:cubicBezTo>
                    <a:pt x="3143" y="416"/>
                    <a:pt x="3143" y="416"/>
                    <a:pt x="3143" y="416"/>
                  </a:cubicBezTo>
                  <a:cubicBezTo>
                    <a:pt x="3151" y="407"/>
                    <a:pt x="3151" y="407"/>
                    <a:pt x="3151" y="407"/>
                  </a:cubicBezTo>
                  <a:cubicBezTo>
                    <a:pt x="3169" y="407"/>
                    <a:pt x="3169" y="407"/>
                    <a:pt x="3169" y="407"/>
                  </a:cubicBezTo>
                  <a:cubicBezTo>
                    <a:pt x="3169" y="393"/>
                    <a:pt x="3169" y="393"/>
                    <a:pt x="3169" y="393"/>
                  </a:cubicBezTo>
                  <a:cubicBezTo>
                    <a:pt x="3153" y="395"/>
                    <a:pt x="3153" y="395"/>
                    <a:pt x="3153" y="395"/>
                  </a:cubicBezTo>
                  <a:cubicBezTo>
                    <a:pt x="3155" y="379"/>
                    <a:pt x="3155" y="379"/>
                    <a:pt x="3155" y="379"/>
                  </a:cubicBezTo>
                  <a:cubicBezTo>
                    <a:pt x="3177" y="379"/>
                    <a:pt x="3177" y="379"/>
                    <a:pt x="3177" y="379"/>
                  </a:cubicBezTo>
                  <a:cubicBezTo>
                    <a:pt x="3175" y="359"/>
                    <a:pt x="3175" y="359"/>
                    <a:pt x="3175" y="359"/>
                  </a:cubicBezTo>
                  <a:cubicBezTo>
                    <a:pt x="3175" y="359"/>
                    <a:pt x="3168" y="363"/>
                    <a:pt x="3160" y="363"/>
                  </a:cubicBezTo>
                  <a:cubicBezTo>
                    <a:pt x="3152" y="363"/>
                    <a:pt x="3147" y="351"/>
                    <a:pt x="3147" y="351"/>
                  </a:cubicBezTo>
                  <a:cubicBezTo>
                    <a:pt x="3137" y="352"/>
                    <a:pt x="3137" y="352"/>
                    <a:pt x="3137" y="352"/>
                  </a:cubicBezTo>
                  <a:cubicBezTo>
                    <a:pt x="3141" y="344"/>
                    <a:pt x="3141" y="344"/>
                    <a:pt x="3141" y="344"/>
                  </a:cubicBezTo>
                  <a:cubicBezTo>
                    <a:pt x="3141" y="344"/>
                    <a:pt x="3161" y="343"/>
                    <a:pt x="3177" y="343"/>
                  </a:cubicBezTo>
                  <a:cubicBezTo>
                    <a:pt x="3193" y="343"/>
                    <a:pt x="3180" y="312"/>
                    <a:pt x="3180" y="312"/>
                  </a:cubicBezTo>
                  <a:cubicBezTo>
                    <a:pt x="3159" y="315"/>
                    <a:pt x="3159" y="315"/>
                    <a:pt x="3159" y="315"/>
                  </a:cubicBezTo>
                  <a:cubicBezTo>
                    <a:pt x="3188" y="287"/>
                    <a:pt x="3188" y="287"/>
                    <a:pt x="3188" y="287"/>
                  </a:cubicBezTo>
                  <a:cubicBezTo>
                    <a:pt x="3188" y="271"/>
                    <a:pt x="3188" y="271"/>
                    <a:pt x="3188" y="271"/>
                  </a:cubicBezTo>
                  <a:cubicBezTo>
                    <a:pt x="3184" y="276"/>
                    <a:pt x="3184" y="276"/>
                    <a:pt x="3184" y="276"/>
                  </a:cubicBezTo>
                  <a:cubicBezTo>
                    <a:pt x="3164" y="293"/>
                    <a:pt x="3164" y="293"/>
                    <a:pt x="3164" y="293"/>
                  </a:cubicBezTo>
                  <a:cubicBezTo>
                    <a:pt x="3164" y="285"/>
                    <a:pt x="3164" y="285"/>
                    <a:pt x="3164" y="285"/>
                  </a:cubicBezTo>
                  <a:cubicBezTo>
                    <a:pt x="3136" y="319"/>
                    <a:pt x="3136" y="319"/>
                    <a:pt x="3136" y="319"/>
                  </a:cubicBezTo>
                  <a:cubicBezTo>
                    <a:pt x="3136" y="319"/>
                    <a:pt x="3137" y="312"/>
                    <a:pt x="3136" y="303"/>
                  </a:cubicBezTo>
                  <a:cubicBezTo>
                    <a:pt x="3124" y="303"/>
                    <a:pt x="3127" y="281"/>
                    <a:pt x="3127" y="281"/>
                  </a:cubicBezTo>
                  <a:cubicBezTo>
                    <a:pt x="3135" y="291"/>
                    <a:pt x="3135" y="291"/>
                    <a:pt x="3135" y="291"/>
                  </a:cubicBezTo>
                  <a:cubicBezTo>
                    <a:pt x="3143" y="272"/>
                    <a:pt x="3143" y="272"/>
                    <a:pt x="3143" y="272"/>
                  </a:cubicBezTo>
                  <a:cubicBezTo>
                    <a:pt x="3137" y="263"/>
                    <a:pt x="3137" y="263"/>
                    <a:pt x="3137" y="263"/>
                  </a:cubicBezTo>
                  <a:cubicBezTo>
                    <a:pt x="3127" y="263"/>
                    <a:pt x="3127" y="263"/>
                    <a:pt x="3127" y="263"/>
                  </a:cubicBezTo>
                  <a:cubicBezTo>
                    <a:pt x="3117" y="241"/>
                    <a:pt x="3117" y="241"/>
                    <a:pt x="3117" y="241"/>
                  </a:cubicBezTo>
                  <a:cubicBezTo>
                    <a:pt x="3117" y="241"/>
                    <a:pt x="3117" y="241"/>
                    <a:pt x="3096" y="247"/>
                  </a:cubicBezTo>
                  <a:cubicBezTo>
                    <a:pt x="3059" y="236"/>
                    <a:pt x="3076" y="216"/>
                    <a:pt x="3076" y="216"/>
                  </a:cubicBezTo>
                  <a:cubicBezTo>
                    <a:pt x="3059" y="217"/>
                    <a:pt x="3059" y="217"/>
                    <a:pt x="3059" y="217"/>
                  </a:cubicBezTo>
                  <a:cubicBezTo>
                    <a:pt x="3059" y="217"/>
                    <a:pt x="3059" y="217"/>
                    <a:pt x="3061" y="209"/>
                  </a:cubicBezTo>
                  <a:cubicBezTo>
                    <a:pt x="3089" y="209"/>
                    <a:pt x="3073" y="183"/>
                    <a:pt x="3073" y="183"/>
                  </a:cubicBezTo>
                  <a:cubicBezTo>
                    <a:pt x="3080" y="173"/>
                    <a:pt x="3080" y="173"/>
                    <a:pt x="3080" y="173"/>
                  </a:cubicBezTo>
                  <a:cubicBezTo>
                    <a:pt x="3077" y="144"/>
                    <a:pt x="3077" y="144"/>
                    <a:pt x="3077" y="144"/>
                  </a:cubicBezTo>
                  <a:cubicBezTo>
                    <a:pt x="3077" y="144"/>
                    <a:pt x="3075" y="149"/>
                    <a:pt x="3049" y="160"/>
                  </a:cubicBezTo>
                  <a:cubicBezTo>
                    <a:pt x="3023" y="143"/>
                    <a:pt x="3024" y="184"/>
                    <a:pt x="3024" y="184"/>
                  </a:cubicBezTo>
                  <a:cubicBezTo>
                    <a:pt x="2997" y="204"/>
                    <a:pt x="2997" y="204"/>
                    <a:pt x="2997" y="204"/>
                  </a:cubicBezTo>
                  <a:cubicBezTo>
                    <a:pt x="3007" y="219"/>
                    <a:pt x="3007" y="219"/>
                    <a:pt x="3007" y="219"/>
                  </a:cubicBezTo>
                  <a:cubicBezTo>
                    <a:pt x="3004" y="225"/>
                    <a:pt x="3004" y="225"/>
                    <a:pt x="3004" y="225"/>
                  </a:cubicBezTo>
                  <a:cubicBezTo>
                    <a:pt x="2988" y="212"/>
                    <a:pt x="2988" y="212"/>
                    <a:pt x="2988" y="212"/>
                  </a:cubicBezTo>
                  <a:cubicBezTo>
                    <a:pt x="2988" y="212"/>
                    <a:pt x="2984" y="196"/>
                    <a:pt x="2973" y="196"/>
                  </a:cubicBezTo>
                  <a:cubicBezTo>
                    <a:pt x="2963" y="196"/>
                    <a:pt x="2971" y="212"/>
                    <a:pt x="2957" y="228"/>
                  </a:cubicBezTo>
                  <a:cubicBezTo>
                    <a:pt x="2932" y="228"/>
                    <a:pt x="2933" y="247"/>
                    <a:pt x="2945" y="249"/>
                  </a:cubicBezTo>
                  <a:cubicBezTo>
                    <a:pt x="2957" y="252"/>
                    <a:pt x="2971" y="244"/>
                    <a:pt x="2971" y="244"/>
                  </a:cubicBezTo>
                  <a:cubicBezTo>
                    <a:pt x="2993" y="259"/>
                    <a:pt x="2993" y="259"/>
                    <a:pt x="2993" y="259"/>
                  </a:cubicBezTo>
                  <a:cubicBezTo>
                    <a:pt x="3011" y="252"/>
                    <a:pt x="3011" y="252"/>
                    <a:pt x="3011" y="252"/>
                  </a:cubicBezTo>
                  <a:cubicBezTo>
                    <a:pt x="3016" y="273"/>
                    <a:pt x="3016" y="273"/>
                    <a:pt x="3016" y="273"/>
                  </a:cubicBezTo>
                  <a:cubicBezTo>
                    <a:pt x="3016" y="295"/>
                    <a:pt x="3016" y="295"/>
                    <a:pt x="3016" y="295"/>
                  </a:cubicBezTo>
                  <a:cubicBezTo>
                    <a:pt x="3033" y="296"/>
                    <a:pt x="3033" y="296"/>
                    <a:pt x="3033" y="296"/>
                  </a:cubicBezTo>
                  <a:cubicBezTo>
                    <a:pt x="3031" y="309"/>
                    <a:pt x="3031" y="309"/>
                    <a:pt x="3031" y="309"/>
                  </a:cubicBezTo>
                  <a:cubicBezTo>
                    <a:pt x="3028" y="311"/>
                    <a:pt x="3028" y="311"/>
                    <a:pt x="3028" y="311"/>
                  </a:cubicBezTo>
                  <a:cubicBezTo>
                    <a:pt x="3004" y="309"/>
                    <a:pt x="3012" y="335"/>
                    <a:pt x="3012" y="335"/>
                  </a:cubicBezTo>
                  <a:cubicBezTo>
                    <a:pt x="3024" y="343"/>
                    <a:pt x="3024" y="343"/>
                    <a:pt x="3024" y="343"/>
                  </a:cubicBezTo>
                  <a:cubicBezTo>
                    <a:pt x="3039" y="340"/>
                    <a:pt x="3039" y="340"/>
                    <a:pt x="3039" y="340"/>
                  </a:cubicBezTo>
                  <a:cubicBezTo>
                    <a:pt x="3039" y="340"/>
                    <a:pt x="3043" y="347"/>
                    <a:pt x="3043" y="351"/>
                  </a:cubicBezTo>
                  <a:cubicBezTo>
                    <a:pt x="3043" y="355"/>
                    <a:pt x="3033" y="357"/>
                    <a:pt x="3033" y="357"/>
                  </a:cubicBezTo>
                  <a:close/>
                  <a:moveTo>
                    <a:pt x="2961" y="431"/>
                  </a:moveTo>
                  <a:cubicBezTo>
                    <a:pt x="2956" y="437"/>
                    <a:pt x="2954" y="423"/>
                    <a:pt x="2957" y="423"/>
                  </a:cubicBezTo>
                  <a:cubicBezTo>
                    <a:pt x="2961" y="423"/>
                    <a:pt x="2965" y="424"/>
                    <a:pt x="2961" y="431"/>
                  </a:cubicBezTo>
                  <a:close/>
                  <a:moveTo>
                    <a:pt x="3058" y="432"/>
                  </a:moveTo>
                  <a:cubicBezTo>
                    <a:pt x="3051" y="431"/>
                    <a:pt x="3039" y="407"/>
                    <a:pt x="3045" y="407"/>
                  </a:cubicBezTo>
                  <a:cubicBezTo>
                    <a:pt x="3051" y="407"/>
                    <a:pt x="3062" y="429"/>
                    <a:pt x="3062" y="429"/>
                  </a:cubicBezTo>
                  <a:cubicBezTo>
                    <a:pt x="3062" y="429"/>
                    <a:pt x="3065" y="433"/>
                    <a:pt x="3058" y="432"/>
                  </a:cubicBezTo>
                  <a:close/>
                  <a:moveTo>
                    <a:pt x="3075" y="269"/>
                  </a:moveTo>
                  <a:cubicBezTo>
                    <a:pt x="3084" y="269"/>
                    <a:pt x="3055" y="246"/>
                    <a:pt x="3079" y="246"/>
                  </a:cubicBezTo>
                  <a:cubicBezTo>
                    <a:pt x="3082" y="246"/>
                    <a:pt x="3085" y="252"/>
                    <a:pt x="3085" y="252"/>
                  </a:cubicBezTo>
                  <a:cubicBezTo>
                    <a:pt x="3085" y="252"/>
                    <a:pt x="3073" y="257"/>
                    <a:pt x="3080" y="262"/>
                  </a:cubicBezTo>
                  <a:cubicBezTo>
                    <a:pt x="3087" y="267"/>
                    <a:pt x="3091" y="268"/>
                    <a:pt x="3091" y="268"/>
                  </a:cubicBezTo>
                  <a:cubicBezTo>
                    <a:pt x="3091" y="268"/>
                    <a:pt x="3063" y="281"/>
                    <a:pt x="3061" y="287"/>
                  </a:cubicBezTo>
                  <a:cubicBezTo>
                    <a:pt x="3059" y="294"/>
                    <a:pt x="3053" y="288"/>
                    <a:pt x="3053" y="288"/>
                  </a:cubicBezTo>
                  <a:cubicBezTo>
                    <a:pt x="3053" y="288"/>
                    <a:pt x="3065" y="269"/>
                    <a:pt x="3075" y="269"/>
                  </a:cubicBezTo>
                  <a:close/>
                  <a:moveTo>
                    <a:pt x="3051" y="295"/>
                  </a:moveTo>
                  <a:cubicBezTo>
                    <a:pt x="3051" y="295"/>
                    <a:pt x="3070" y="299"/>
                    <a:pt x="3059" y="304"/>
                  </a:cubicBezTo>
                  <a:cubicBezTo>
                    <a:pt x="3047" y="309"/>
                    <a:pt x="3044" y="299"/>
                    <a:pt x="3051" y="295"/>
                  </a:cubicBezTo>
                  <a:close/>
                  <a:moveTo>
                    <a:pt x="3049" y="316"/>
                  </a:moveTo>
                  <a:cubicBezTo>
                    <a:pt x="3049" y="311"/>
                    <a:pt x="3059" y="315"/>
                    <a:pt x="3059" y="315"/>
                  </a:cubicBezTo>
                  <a:cubicBezTo>
                    <a:pt x="3055" y="326"/>
                    <a:pt x="3055" y="326"/>
                    <a:pt x="3055" y="326"/>
                  </a:cubicBezTo>
                  <a:cubicBezTo>
                    <a:pt x="3062" y="328"/>
                    <a:pt x="3062" y="328"/>
                    <a:pt x="3062" y="328"/>
                  </a:cubicBezTo>
                  <a:cubicBezTo>
                    <a:pt x="3064" y="344"/>
                    <a:pt x="3064" y="344"/>
                    <a:pt x="3064" y="344"/>
                  </a:cubicBezTo>
                  <a:cubicBezTo>
                    <a:pt x="3053" y="344"/>
                    <a:pt x="3053" y="344"/>
                    <a:pt x="3053" y="344"/>
                  </a:cubicBezTo>
                  <a:cubicBezTo>
                    <a:pt x="3045" y="336"/>
                    <a:pt x="3045" y="336"/>
                    <a:pt x="3045" y="336"/>
                  </a:cubicBezTo>
                  <a:cubicBezTo>
                    <a:pt x="3045" y="336"/>
                    <a:pt x="3049" y="321"/>
                    <a:pt x="3049" y="316"/>
                  </a:cubicBezTo>
                  <a:close/>
                  <a:moveTo>
                    <a:pt x="3045" y="361"/>
                  </a:moveTo>
                  <a:cubicBezTo>
                    <a:pt x="3045" y="361"/>
                    <a:pt x="3056" y="372"/>
                    <a:pt x="3053" y="375"/>
                  </a:cubicBezTo>
                  <a:cubicBezTo>
                    <a:pt x="3049" y="377"/>
                    <a:pt x="3039" y="365"/>
                    <a:pt x="3045" y="361"/>
                  </a:cubicBezTo>
                  <a:close/>
                  <a:moveTo>
                    <a:pt x="3131" y="588"/>
                  </a:moveTo>
                  <a:cubicBezTo>
                    <a:pt x="3141" y="591"/>
                    <a:pt x="3141" y="591"/>
                    <a:pt x="3141" y="591"/>
                  </a:cubicBezTo>
                  <a:cubicBezTo>
                    <a:pt x="3135" y="576"/>
                    <a:pt x="3135" y="576"/>
                    <a:pt x="3135" y="576"/>
                  </a:cubicBezTo>
                  <a:lnTo>
                    <a:pt x="3131" y="588"/>
                  </a:lnTo>
                  <a:close/>
                  <a:moveTo>
                    <a:pt x="2679" y="1491"/>
                  </a:moveTo>
                  <a:cubicBezTo>
                    <a:pt x="2671" y="1483"/>
                    <a:pt x="2671" y="1483"/>
                    <a:pt x="2671" y="1483"/>
                  </a:cubicBezTo>
                  <a:cubicBezTo>
                    <a:pt x="2671" y="1497"/>
                    <a:pt x="2671" y="1497"/>
                    <a:pt x="2671" y="1497"/>
                  </a:cubicBezTo>
                  <a:lnTo>
                    <a:pt x="2679" y="1491"/>
                  </a:lnTo>
                  <a:close/>
                  <a:moveTo>
                    <a:pt x="2623" y="1584"/>
                  </a:moveTo>
                  <a:cubicBezTo>
                    <a:pt x="2623" y="1584"/>
                    <a:pt x="2638" y="1596"/>
                    <a:pt x="2637" y="1585"/>
                  </a:cubicBezTo>
                  <a:cubicBezTo>
                    <a:pt x="2635" y="1575"/>
                    <a:pt x="2623" y="1577"/>
                    <a:pt x="2623" y="1584"/>
                  </a:cubicBezTo>
                  <a:close/>
                  <a:moveTo>
                    <a:pt x="2565" y="1389"/>
                  </a:moveTo>
                  <a:cubicBezTo>
                    <a:pt x="2571" y="1393"/>
                    <a:pt x="2578" y="1413"/>
                    <a:pt x="2578" y="1413"/>
                  </a:cubicBezTo>
                  <a:cubicBezTo>
                    <a:pt x="2583" y="1409"/>
                    <a:pt x="2583" y="1409"/>
                    <a:pt x="2583" y="1409"/>
                  </a:cubicBezTo>
                  <a:cubicBezTo>
                    <a:pt x="2583" y="1409"/>
                    <a:pt x="2593" y="1406"/>
                    <a:pt x="2601" y="1401"/>
                  </a:cubicBezTo>
                  <a:cubicBezTo>
                    <a:pt x="2589" y="1399"/>
                    <a:pt x="2596" y="1370"/>
                    <a:pt x="2596" y="1370"/>
                  </a:cubicBezTo>
                  <a:cubicBezTo>
                    <a:pt x="2596" y="1370"/>
                    <a:pt x="2608" y="1352"/>
                    <a:pt x="2610" y="1346"/>
                  </a:cubicBezTo>
                  <a:cubicBezTo>
                    <a:pt x="2612" y="1340"/>
                    <a:pt x="2603" y="1335"/>
                    <a:pt x="2603" y="1335"/>
                  </a:cubicBezTo>
                  <a:cubicBezTo>
                    <a:pt x="2603" y="1335"/>
                    <a:pt x="2583" y="1334"/>
                    <a:pt x="2581" y="1334"/>
                  </a:cubicBezTo>
                  <a:cubicBezTo>
                    <a:pt x="2581" y="1334"/>
                    <a:pt x="2575" y="1338"/>
                    <a:pt x="2575" y="1347"/>
                  </a:cubicBezTo>
                  <a:cubicBezTo>
                    <a:pt x="2574" y="1357"/>
                    <a:pt x="2583" y="1358"/>
                    <a:pt x="2585" y="1368"/>
                  </a:cubicBezTo>
                  <a:cubicBezTo>
                    <a:pt x="2588" y="1378"/>
                    <a:pt x="2575" y="1377"/>
                    <a:pt x="2575" y="1377"/>
                  </a:cubicBezTo>
                  <a:cubicBezTo>
                    <a:pt x="2575" y="1377"/>
                    <a:pt x="2564" y="1371"/>
                    <a:pt x="2561" y="1371"/>
                  </a:cubicBezTo>
                  <a:cubicBezTo>
                    <a:pt x="2557" y="1372"/>
                    <a:pt x="2559" y="1386"/>
                    <a:pt x="2565" y="1389"/>
                  </a:cubicBezTo>
                  <a:close/>
                  <a:moveTo>
                    <a:pt x="2594" y="1339"/>
                  </a:moveTo>
                  <a:cubicBezTo>
                    <a:pt x="2598" y="1339"/>
                    <a:pt x="2599" y="1348"/>
                    <a:pt x="2593" y="1348"/>
                  </a:cubicBezTo>
                  <a:cubicBezTo>
                    <a:pt x="2587" y="1348"/>
                    <a:pt x="2594" y="1339"/>
                    <a:pt x="2594" y="1339"/>
                  </a:cubicBezTo>
                  <a:close/>
                  <a:moveTo>
                    <a:pt x="2569" y="1361"/>
                  </a:moveTo>
                  <a:cubicBezTo>
                    <a:pt x="2561" y="1348"/>
                    <a:pt x="2561" y="1348"/>
                    <a:pt x="2561" y="1348"/>
                  </a:cubicBezTo>
                  <a:cubicBezTo>
                    <a:pt x="2563" y="1361"/>
                    <a:pt x="2563" y="1361"/>
                    <a:pt x="2563" y="1361"/>
                  </a:cubicBezTo>
                  <a:lnTo>
                    <a:pt x="2569" y="1361"/>
                  </a:lnTo>
                  <a:close/>
                  <a:moveTo>
                    <a:pt x="2684" y="1461"/>
                  </a:moveTo>
                  <a:cubicBezTo>
                    <a:pt x="2687" y="1460"/>
                    <a:pt x="2693" y="1447"/>
                    <a:pt x="2693" y="1447"/>
                  </a:cubicBezTo>
                  <a:cubicBezTo>
                    <a:pt x="2693" y="1447"/>
                    <a:pt x="2679" y="1433"/>
                    <a:pt x="2687" y="1429"/>
                  </a:cubicBezTo>
                  <a:cubicBezTo>
                    <a:pt x="2695" y="1426"/>
                    <a:pt x="2672" y="1427"/>
                    <a:pt x="2672" y="1427"/>
                  </a:cubicBezTo>
                  <a:cubicBezTo>
                    <a:pt x="2664" y="1431"/>
                    <a:pt x="2664" y="1431"/>
                    <a:pt x="2664" y="1431"/>
                  </a:cubicBezTo>
                  <a:cubicBezTo>
                    <a:pt x="2657" y="1419"/>
                    <a:pt x="2657" y="1419"/>
                    <a:pt x="2657" y="1419"/>
                  </a:cubicBezTo>
                  <a:cubicBezTo>
                    <a:pt x="2657" y="1419"/>
                    <a:pt x="2680" y="1417"/>
                    <a:pt x="2677" y="1413"/>
                  </a:cubicBezTo>
                  <a:cubicBezTo>
                    <a:pt x="2673" y="1409"/>
                    <a:pt x="2669" y="1397"/>
                    <a:pt x="2664" y="1397"/>
                  </a:cubicBezTo>
                  <a:cubicBezTo>
                    <a:pt x="2659" y="1398"/>
                    <a:pt x="2659" y="1409"/>
                    <a:pt x="2659" y="1409"/>
                  </a:cubicBezTo>
                  <a:cubicBezTo>
                    <a:pt x="2659" y="1409"/>
                    <a:pt x="2653" y="1397"/>
                    <a:pt x="2651" y="1397"/>
                  </a:cubicBezTo>
                  <a:cubicBezTo>
                    <a:pt x="2648" y="1397"/>
                    <a:pt x="2640" y="1397"/>
                    <a:pt x="2640" y="1397"/>
                  </a:cubicBezTo>
                  <a:cubicBezTo>
                    <a:pt x="2640" y="1397"/>
                    <a:pt x="2621" y="1423"/>
                    <a:pt x="2629" y="1423"/>
                  </a:cubicBezTo>
                  <a:cubicBezTo>
                    <a:pt x="2637" y="1423"/>
                    <a:pt x="2635" y="1413"/>
                    <a:pt x="2639" y="1413"/>
                  </a:cubicBezTo>
                  <a:cubicBezTo>
                    <a:pt x="2642" y="1414"/>
                    <a:pt x="2655" y="1422"/>
                    <a:pt x="2650" y="1426"/>
                  </a:cubicBezTo>
                  <a:cubicBezTo>
                    <a:pt x="2645" y="1430"/>
                    <a:pt x="2635" y="1430"/>
                    <a:pt x="2635" y="1430"/>
                  </a:cubicBezTo>
                  <a:cubicBezTo>
                    <a:pt x="2635" y="1430"/>
                    <a:pt x="2613" y="1441"/>
                    <a:pt x="2620" y="1450"/>
                  </a:cubicBezTo>
                  <a:cubicBezTo>
                    <a:pt x="2627" y="1459"/>
                    <a:pt x="2639" y="1468"/>
                    <a:pt x="2641" y="1457"/>
                  </a:cubicBezTo>
                  <a:cubicBezTo>
                    <a:pt x="2645" y="1435"/>
                    <a:pt x="2645" y="1435"/>
                    <a:pt x="2645" y="1435"/>
                  </a:cubicBezTo>
                  <a:cubicBezTo>
                    <a:pt x="2645" y="1435"/>
                    <a:pt x="2649" y="1441"/>
                    <a:pt x="2655" y="1441"/>
                  </a:cubicBezTo>
                  <a:cubicBezTo>
                    <a:pt x="2662" y="1441"/>
                    <a:pt x="2660" y="1454"/>
                    <a:pt x="2656" y="1456"/>
                  </a:cubicBezTo>
                  <a:cubicBezTo>
                    <a:pt x="2652" y="1458"/>
                    <a:pt x="2657" y="1469"/>
                    <a:pt x="2659" y="1468"/>
                  </a:cubicBezTo>
                  <a:cubicBezTo>
                    <a:pt x="2661" y="1467"/>
                    <a:pt x="2676" y="1455"/>
                    <a:pt x="2679" y="1455"/>
                  </a:cubicBezTo>
                  <a:cubicBezTo>
                    <a:pt x="2683" y="1455"/>
                    <a:pt x="2681" y="1463"/>
                    <a:pt x="2684" y="1461"/>
                  </a:cubicBezTo>
                  <a:close/>
                  <a:moveTo>
                    <a:pt x="2479" y="1293"/>
                  </a:moveTo>
                  <a:cubicBezTo>
                    <a:pt x="2479" y="1293"/>
                    <a:pt x="2478" y="1312"/>
                    <a:pt x="2481" y="1317"/>
                  </a:cubicBezTo>
                  <a:cubicBezTo>
                    <a:pt x="2483" y="1323"/>
                    <a:pt x="2497" y="1319"/>
                    <a:pt x="2497" y="1319"/>
                  </a:cubicBezTo>
                  <a:cubicBezTo>
                    <a:pt x="2511" y="1313"/>
                    <a:pt x="2511" y="1313"/>
                    <a:pt x="2511" y="1313"/>
                  </a:cubicBezTo>
                  <a:cubicBezTo>
                    <a:pt x="2508" y="1304"/>
                    <a:pt x="2508" y="1304"/>
                    <a:pt x="2508" y="1304"/>
                  </a:cubicBezTo>
                  <a:cubicBezTo>
                    <a:pt x="2520" y="1305"/>
                    <a:pt x="2520" y="1305"/>
                    <a:pt x="2520" y="1305"/>
                  </a:cubicBezTo>
                  <a:cubicBezTo>
                    <a:pt x="2531" y="1323"/>
                    <a:pt x="2531" y="1323"/>
                    <a:pt x="2531" y="1323"/>
                  </a:cubicBezTo>
                  <a:cubicBezTo>
                    <a:pt x="2531" y="1323"/>
                    <a:pt x="2539" y="1325"/>
                    <a:pt x="2541" y="1334"/>
                  </a:cubicBezTo>
                  <a:cubicBezTo>
                    <a:pt x="2542" y="1343"/>
                    <a:pt x="2534" y="1343"/>
                    <a:pt x="2534" y="1343"/>
                  </a:cubicBezTo>
                  <a:cubicBezTo>
                    <a:pt x="2534" y="1343"/>
                    <a:pt x="2535" y="1351"/>
                    <a:pt x="2537" y="1350"/>
                  </a:cubicBezTo>
                  <a:cubicBezTo>
                    <a:pt x="2540" y="1349"/>
                    <a:pt x="2561" y="1333"/>
                    <a:pt x="2561" y="1333"/>
                  </a:cubicBezTo>
                  <a:cubicBezTo>
                    <a:pt x="2551" y="1313"/>
                    <a:pt x="2551" y="1313"/>
                    <a:pt x="2551" y="1313"/>
                  </a:cubicBezTo>
                  <a:cubicBezTo>
                    <a:pt x="2551" y="1313"/>
                    <a:pt x="2546" y="1315"/>
                    <a:pt x="2544" y="1315"/>
                  </a:cubicBezTo>
                  <a:cubicBezTo>
                    <a:pt x="2542" y="1315"/>
                    <a:pt x="2530" y="1294"/>
                    <a:pt x="2530" y="1294"/>
                  </a:cubicBezTo>
                  <a:cubicBezTo>
                    <a:pt x="2530" y="1294"/>
                    <a:pt x="2507" y="1284"/>
                    <a:pt x="2503" y="1283"/>
                  </a:cubicBezTo>
                  <a:cubicBezTo>
                    <a:pt x="2500" y="1283"/>
                    <a:pt x="2514" y="1260"/>
                    <a:pt x="2514" y="1258"/>
                  </a:cubicBezTo>
                  <a:cubicBezTo>
                    <a:pt x="2514" y="1256"/>
                    <a:pt x="2507" y="1251"/>
                    <a:pt x="2505" y="1251"/>
                  </a:cubicBezTo>
                  <a:cubicBezTo>
                    <a:pt x="2503" y="1251"/>
                    <a:pt x="2499" y="1258"/>
                    <a:pt x="2493" y="1274"/>
                  </a:cubicBezTo>
                  <a:cubicBezTo>
                    <a:pt x="2486" y="1290"/>
                    <a:pt x="2461" y="1269"/>
                    <a:pt x="2461" y="1269"/>
                  </a:cubicBezTo>
                  <a:cubicBezTo>
                    <a:pt x="2442" y="1267"/>
                    <a:pt x="2479" y="1293"/>
                    <a:pt x="2479" y="1293"/>
                  </a:cubicBezTo>
                  <a:close/>
                  <a:moveTo>
                    <a:pt x="2545" y="1271"/>
                  </a:moveTo>
                  <a:cubicBezTo>
                    <a:pt x="2546" y="1259"/>
                    <a:pt x="2539" y="1255"/>
                    <a:pt x="2539" y="1255"/>
                  </a:cubicBezTo>
                  <a:cubicBezTo>
                    <a:pt x="2539" y="1255"/>
                    <a:pt x="2557" y="1252"/>
                    <a:pt x="2551" y="1244"/>
                  </a:cubicBezTo>
                  <a:cubicBezTo>
                    <a:pt x="2546" y="1236"/>
                    <a:pt x="2537" y="1231"/>
                    <a:pt x="2537" y="1231"/>
                  </a:cubicBezTo>
                  <a:cubicBezTo>
                    <a:pt x="2527" y="1254"/>
                    <a:pt x="2527" y="1254"/>
                    <a:pt x="2527" y="1254"/>
                  </a:cubicBezTo>
                  <a:cubicBezTo>
                    <a:pt x="2527" y="1277"/>
                    <a:pt x="2527" y="1277"/>
                    <a:pt x="2527" y="1277"/>
                  </a:cubicBezTo>
                  <a:cubicBezTo>
                    <a:pt x="2527" y="1277"/>
                    <a:pt x="2545" y="1283"/>
                    <a:pt x="2545" y="1271"/>
                  </a:cubicBezTo>
                  <a:close/>
                  <a:moveTo>
                    <a:pt x="2575" y="1464"/>
                  </a:moveTo>
                  <a:cubicBezTo>
                    <a:pt x="2579" y="1451"/>
                    <a:pt x="2573" y="1446"/>
                    <a:pt x="2573" y="1446"/>
                  </a:cubicBezTo>
                  <a:cubicBezTo>
                    <a:pt x="2573" y="1446"/>
                    <a:pt x="2557" y="1453"/>
                    <a:pt x="2557" y="1464"/>
                  </a:cubicBezTo>
                  <a:cubicBezTo>
                    <a:pt x="2540" y="1467"/>
                    <a:pt x="2533" y="1463"/>
                    <a:pt x="2533" y="1463"/>
                  </a:cubicBezTo>
                  <a:cubicBezTo>
                    <a:pt x="2533" y="1459"/>
                    <a:pt x="2533" y="1459"/>
                    <a:pt x="2533" y="1459"/>
                  </a:cubicBezTo>
                  <a:cubicBezTo>
                    <a:pt x="2533" y="1459"/>
                    <a:pt x="2519" y="1462"/>
                    <a:pt x="2521" y="1487"/>
                  </a:cubicBezTo>
                  <a:cubicBezTo>
                    <a:pt x="2556" y="1490"/>
                    <a:pt x="2556" y="1490"/>
                    <a:pt x="2556" y="1490"/>
                  </a:cubicBezTo>
                  <a:cubicBezTo>
                    <a:pt x="2556" y="1490"/>
                    <a:pt x="2553" y="1495"/>
                    <a:pt x="2555" y="1495"/>
                  </a:cubicBezTo>
                  <a:cubicBezTo>
                    <a:pt x="2557" y="1495"/>
                    <a:pt x="2569" y="1495"/>
                    <a:pt x="2569" y="1495"/>
                  </a:cubicBezTo>
                  <a:cubicBezTo>
                    <a:pt x="2571" y="1482"/>
                    <a:pt x="2571" y="1482"/>
                    <a:pt x="2571" y="1482"/>
                  </a:cubicBezTo>
                  <a:cubicBezTo>
                    <a:pt x="2571" y="1482"/>
                    <a:pt x="2561" y="1464"/>
                    <a:pt x="2575" y="1464"/>
                  </a:cubicBezTo>
                  <a:close/>
                  <a:moveTo>
                    <a:pt x="2489" y="1445"/>
                  </a:moveTo>
                  <a:cubicBezTo>
                    <a:pt x="2495" y="1457"/>
                    <a:pt x="2495" y="1457"/>
                    <a:pt x="2495" y="1457"/>
                  </a:cubicBezTo>
                  <a:cubicBezTo>
                    <a:pt x="2515" y="1457"/>
                    <a:pt x="2515" y="1457"/>
                    <a:pt x="2515" y="1457"/>
                  </a:cubicBezTo>
                  <a:cubicBezTo>
                    <a:pt x="2501" y="1439"/>
                    <a:pt x="2501" y="1439"/>
                    <a:pt x="2501" y="1439"/>
                  </a:cubicBezTo>
                  <a:lnTo>
                    <a:pt x="2489" y="1445"/>
                  </a:lnTo>
                  <a:close/>
                  <a:moveTo>
                    <a:pt x="2521" y="1419"/>
                  </a:moveTo>
                  <a:cubicBezTo>
                    <a:pt x="2530" y="1417"/>
                    <a:pt x="2534" y="1405"/>
                    <a:pt x="2531" y="1397"/>
                  </a:cubicBezTo>
                  <a:cubicBezTo>
                    <a:pt x="2529" y="1390"/>
                    <a:pt x="2520" y="1381"/>
                    <a:pt x="2520" y="1381"/>
                  </a:cubicBezTo>
                  <a:cubicBezTo>
                    <a:pt x="2513" y="1390"/>
                    <a:pt x="2513" y="1390"/>
                    <a:pt x="2513" y="1390"/>
                  </a:cubicBezTo>
                  <a:cubicBezTo>
                    <a:pt x="2513" y="1390"/>
                    <a:pt x="2511" y="1421"/>
                    <a:pt x="2521" y="1419"/>
                  </a:cubicBezTo>
                  <a:close/>
                  <a:moveTo>
                    <a:pt x="2490" y="1419"/>
                  </a:moveTo>
                  <a:cubicBezTo>
                    <a:pt x="2482" y="1429"/>
                    <a:pt x="2482" y="1429"/>
                    <a:pt x="2482" y="1429"/>
                  </a:cubicBezTo>
                  <a:cubicBezTo>
                    <a:pt x="2482" y="1429"/>
                    <a:pt x="2493" y="1430"/>
                    <a:pt x="2503" y="1430"/>
                  </a:cubicBezTo>
                  <a:cubicBezTo>
                    <a:pt x="2513" y="1430"/>
                    <a:pt x="2511" y="1420"/>
                    <a:pt x="2511" y="1420"/>
                  </a:cubicBezTo>
                  <a:cubicBezTo>
                    <a:pt x="2511" y="1420"/>
                    <a:pt x="2499" y="1403"/>
                    <a:pt x="2500" y="1391"/>
                  </a:cubicBezTo>
                  <a:cubicBezTo>
                    <a:pt x="2501" y="1379"/>
                    <a:pt x="2506" y="1385"/>
                    <a:pt x="2506" y="1385"/>
                  </a:cubicBezTo>
                  <a:cubicBezTo>
                    <a:pt x="2506" y="1375"/>
                    <a:pt x="2506" y="1375"/>
                    <a:pt x="2506" y="1375"/>
                  </a:cubicBezTo>
                  <a:cubicBezTo>
                    <a:pt x="2506" y="1375"/>
                    <a:pt x="2493" y="1381"/>
                    <a:pt x="2482" y="1381"/>
                  </a:cubicBezTo>
                  <a:cubicBezTo>
                    <a:pt x="2471" y="1381"/>
                    <a:pt x="2453" y="1363"/>
                    <a:pt x="2453" y="1363"/>
                  </a:cubicBezTo>
                  <a:cubicBezTo>
                    <a:pt x="2439" y="1380"/>
                    <a:pt x="2439" y="1380"/>
                    <a:pt x="2439" y="1380"/>
                  </a:cubicBezTo>
                  <a:cubicBezTo>
                    <a:pt x="2434" y="1419"/>
                    <a:pt x="2490" y="1419"/>
                    <a:pt x="2490" y="1419"/>
                  </a:cubicBezTo>
                  <a:close/>
                  <a:moveTo>
                    <a:pt x="2411" y="1583"/>
                  </a:moveTo>
                  <a:cubicBezTo>
                    <a:pt x="2412" y="1589"/>
                    <a:pt x="2414" y="1600"/>
                    <a:pt x="2417" y="1599"/>
                  </a:cubicBezTo>
                  <a:cubicBezTo>
                    <a:pt x="2421" y="1597"/>
                    <a:pt x="2423" y="1589"/>
                    <a:pt x="2423" y="1589"/>
                  </a:cubicBezTo>
                  <a:cubicBezTo>
                    <a:pt x="2423" y="1589"/>
                    <a:pt x="2413" y="1589"/>
                    <a:pt x="2411" y="1583"/>
                  </a:cubicBezTo>
                  <a:close/>
                  <a:moveTo>
                    <a:pt x="2457" y="1696"/>
                  </a:moveTo>
                  <a:cubicBezTo>
                    <a:pt x="2466" y="1697"/>
                    <a:pt x="2470" y="1687"/>
                    <a:pt x="2470" y="1687"/>
                  </a:cubicBezTo>
                  <a:cubicBezTo>
                    <a:pt x="2463" y="1679"/>
                    <a:pt x="2463" y="1679"/>
                    <a:pt x="2463" y="1679"/>
                  </a:cubicBezTo>
                  <a:cubicBezTo>
                    <a:pt x="2463" y="1679"/>
                    <a:pt x="2449" y="1695"/>
                    <a:pt x="2457" y="1696"/>
                  </a:cubicBezTo>
                  <a:close/>
                  <a:moveTo>
                    <a:pt x="2411" y="1583"/>
                  </a:moveTo>
                  <a:cubicBezTo>
                    <a:pt x="2411" y="1582"/>
                    <a:pt x="2411" y="1581"/>
                    <a:pt x="2411" y="1581"/>
                  </a:cubicBezTo>
                  <a:cubicBezTo>
                    <a:pt x="2411" y="1582"/>
                    <a:pt x="2411" y="1583"/>
                    <a:pt x="2411" y="1583"/>
                  </a:cubicBezTo>
                  <a:close/>
                  <a:moveTo>
                    <a:pt x="2447" y="1732"/>
                  </a:moveTo>
                  <a:cubicBezTo>
                    <a:pt x="2447" y="1732"/>
                    <a:pt x="2437" y="1717"/>
                    <a:pt x="2437" y="1719"/>
                  </a:cubicBezTo>
                  <a:cubicBezTo>
                    <a:pt x="2439" y="1731"/>
                    <a:pt x="2429" y="1746"/>
                    <a:pt x="2429" y="1746"/>
                  </a:cubicBezTo>
                  <a:lnTo>
                    <a:pt x="2447" y="1732"/>
                  </a:lnTo>
                  <a:close/>
                  <a:moveTo>
                    <a:pt x="2335" y="1623"/>
                  </a:moveTo>
                  <a:cubicBezTo>
                    <a:pt x="2347" y="1636"/>
                    <a:pt x="2339" y="1661"/>
                    <a:pt x="2381" y="1661"/>
                  </a:cubicBezTo>
                  <a:cubicBezTo>
                    <a:pt x="2389" y="1669"/>
                    <a:pt x="2385" y="1671"/>
                    <a:pt x="2387" y="1670"/>
                  </a:cubicBezTo>
                  <a:cubicBezTo>
                    <a:pt x="2389" y="1669"/>
                    <a:pt x="2394" y="1663"/>
                    <a:pt x="2394" y="1663"/>
                  </a:cubicBezTo>
                  <a:cubicBezTo>
                    <a:pt x="2425" y="1665"/>
                    <a:pt x="2425" y="1665"/>
                    <a:pt x="2425" y="1665"/>
                  </a:cubicBezTo>
                  <a:cubicBezTo>
                    <a:pt x="2433" y="1653"/>
                    <a:pt x="2433" y="1653"/>
                    <a:pt x="2433" y="1653"/>
                  </a:cubicBezTo>
                  <a:cubicBezTo>
                    <a:pt x="2422" y="1641"/>
                    <a:pt x="2422" y="1641"/>
                    <a:pt x="2422" y="1641"/>
                  </a:cubicBezTo>
                  <a:cubicBezTo>
                    <a:pt x="2413" y="1647"/>
                    <a:pt x="2413" y="1647"/>
                    <a:pt x="2413" y="1647"/>
                  </a:cubicBezTo>
                  <a:cubicBezTo>
                    <a:pt x="2403" y="1645"/>
                    <a:pt x="2403" y="1645"/>
                    <a:pt x="2403" y="1645"/>
                  </a:cubicBezTo>
                  <a:cubicBezTo>
                    <a:pt x="2417" y="1625"/>
                    <a:pt x="2417" y="1625"/>
                    <a:pt x="2417" y="1625"/>
                  </a:cubicBezTo>
                  <a:cubicBezTo>
                    <a:pt x="2417" y="1625"/>
                    <a:pt x="2426" y="1637"/>
                    <a:pt x="2428" y="1637"/>
                  </a:cubicBezTo>
                  <a:cubicBezTo>
                    <a:pt x="2430" y="1637"/>
                    <a:pt x="2455" y="1639"/>
                    <a:pt x="2455" y="1639"/>
                  </a:cubicBezTo>
                  <a:cubicBezTo>
                    <a:pt x="2455" y="1639"/>
                    <a:pt x="2438" y="1627"/>
                    <a:pt x="2447" y="1624"/>
                  </a:cubicBezTo>
                  <a:cubicBezTo>
                    <a:pt x="2455" y="1621"/>
                    <a:pt x="2463" y="1619"/>
                    <a:pt x="2463" y="1619"/>
                  </a:cubicBezTo>
                  <a:cubicBezTo>
                    <a:pt x="2463" y="1619"/>
                    <a:pt x="2460" y="1609"/>
                    <a:pt x="2458" y="1609"/>
                  </a:cubicBezTo>
                  <a:cubicBezTo>
                    <a:pt x="2456" y="1609"/>
                    <a:pt x="2438" y="1620"/>
                    <a:pt x="2431" y="1619"/>
                  </a:cubicBezTo>
                  <a:cubicBezTo>
                    <a:pt x="2425" y="1619"/>
                    <a:pt x="2413" y="1607"/>
                    <a:pt x="2413" y="1607"/>
                  </a:cubicBezTo>
                  <a:cubicBezTo>
                    <a:pt x="2410" y="1622"/>
                    <a:pt x="2410" y="1622"/>
                    <a:pt x="2410" y="1622"/>
                  </a:cubicBezTo>
                  <a:cubicBezTo>
                    <a:pt x="2395" y="1597"/>
                    <a:pt x="2395" y="1597"/>
                    <a:pt x="2395" y="1597"/>
                  </a:cubicBezTo>
                  <a:cubicBezTo>
                    <a:pt x="2398" y="1590"/>
                    <a:pt x="2398" y="1590"/>
                    <a:pt x="2398" y="1590"/>
                  </a:cubicBezTo>
                  <a:cubicBezTo>
                    <a:pt x="2398" y="1590"/>
                    <a:pt x="2357" y="1571"/>
                    <a:pt x="2357" y="1566"/>
                  </a:cubicBezTo>
                  <a:cubicBezTo>
                    <a:pt x="2357" y="1561"/>
                    <a:pt x="2361" y="1559"/>
                    <a:pt x="2361" y="1559"/>
                  </a:cubicBezTo>
                  <a:cubicBezTo>
                    <a:pt x="2361" y="1559"/>
                    <a:pt x="2373" y="1565"/>
                    <a:pt x="2373" y="1561"/>
                  </a:cubicBezTo>
                  <a:cubicBezTo>
                    <a:pt x="2372" y="1556"/>
                    <a:pt x="2372" y="1551"/>
                    <a:pt x="2372" y="1551"/>
                  </a:cubicBezTo>
                  <a:cubicBezTo>
                    <a:pt x="2361" y="1547"/>
                    <a:pt x="2361" y="1547"/>
                    <a:pt x="2361" y="1547"/>
                  </a:cubicBezTo>
                  <a:cubicBezTo>
                    <a:pt x="2361" y="1531"/>
                    <a:pt x="2361" y="1531"/>
                    <a:pt x="2361" y="1531"/>
                  </a:cubicBezTo>
                  <a:cubicBezTo>
                    <a:pt x="2371" y="1535"/>
                    <a:pt x="2371" y="1535"/>
                    <a:pt x="2371" y="1535"/>
                  </a:cubicBezTo>
                  <a:cubicBezTo>
                    <a:pt x="2380" y="1522"/>
                    <a:pt x="2380" y="1522"/>
                    <a:pt x="2380" y="1522"/>
                  </a:cubicBezTo>
                  <a:cubicBezTo>
                    <a:pt x="2387" y="1532"/>
                    <a:pt x="2387" y="1532"/>
                    <a:pt x="2387" y="1532"/>
                  </a:cubicBezTo>
                  <a:cubicBezTo>
                    <a:pt x="2387" y="1532"/>
                    <a:pt x="2385" y="1571"/>
                    <a:pt x="2411" y="1570"/>
                  </a:cubicBezTo>
                  <a:cubicBezTo>
                    <a:pt x="2421" y="1559"/>
                    <a:pt x="2423" y="1563"/>
                    <a:pt x="2423" y="1563"/>
                  </a:cubicBezTo>
                  <a:cubicBezTo>
                    <a:pt x="2431" y="1568"/>
                    <a:pt x="2431" y="1568"/>
                    <a:pt x="2431" y="1568"/>
                  </a:cubicBezTo>
                  <a:cubicBezTo>
                    <a:pt x="2441" y="1557"/>
                    <a:pt x="2441" y="1557"/>
                    <a:pt x="2441" y="1557"/>
                  </a:cubicBezTo>
                  <a:cubicBezTo>
                    <a:pt x="2441" y="1557"/>
                    <a:pt x="2467" y="1547"/>
                    <a:pt x="2485" y="1551"/>
                  </a:cubicBezTo>
                  <a:cubicBezTo>
                    <a:pt x="2495" y="1537"/>
                    <a:pt x="2495" y="1536"/>
                    <a:pt x="2499" y="1536"/>
                  </a:cubicBezTo>
                  <a:cubicBezTo>
                    <a:pt x="2503" y="1536"/>
                    <a:pt x="2499" y="1549"/>
                    <a:pt x="2499" y="1549"/>
                  </a:cubicBezTo>
                  <a:cubicBezTo>
                    <a:pt x="2499" y="1549"/>
                    <a:pt x="2521" y="1578"/>
                    <a:pt x="2519" y="1591"/>
                  </a:cubicBezTo>
                  <a:cubicBezTo>
                    <a:pt x="2526" y="1585"/>
                    <a:pt x="2531" y="1582"/>
                    <a:pt x="2531" y="1582"/>
                  </a:cubicBezTo>
                  <a:cubicBezTo>
                    <a:pt x="2535" y="1589"/>
                    <a:pt x="2535" y="1589"/>
                    <a:pt x="2535" y="1589"/>
                  </a:cubicBezTo>
                  <a:cubicBezTo>
                    <a:pt x="2526" y="1612"/>
                    <a:pt x="2526" y="1612"/>
                    <a:pt x="2526" y="1612"/>
                  </a:cubicBezTo>
                  <a:cubicBezTo>
                    <a:pt x="2517" y="1601"/>
                    <a:pt x="2517" y="1601"/>
                    <a:pt x="2517" y="1601"/>
                  </a:cubicBezTo>
                  <a:cubicBezTo>
                    <a:pt x="2506" y="1609"/>
                    <a:pt x="2506" y="1609"/>
                    <a:pt x="2506" y="1609"/>
                  </a:cubicBezTo>
                  <a:cubicBezTo>
                    <a:pt x="2503" y="1603"/>
                    <a:pt x="2503" y="1603"/>
                    <a:pt x="2503" y="1603"/>
                  </a:cubicBezTo>
                  <a:cubicBezTo>
                    <a:pt x="2503" y="1603"/>
                    <a:pt x="2492" y="1612"/>
                    <a:pt x="2494" y="1612"/>
                  </a:cubicBezTo>
                  <a:cubicBezTo>
                    <a:pt x="2496" y="1612"/>
                    <a:pt x="2509" y="1615"/>
                    <a:pt x="2509" y="1615"/>
                  </a:cubicBezTo>
                  <a:cubicBezTo>
                    <a:pt x="2493" y="1626"/>
                    <a:pt x="2493" y="1626"/>
                    <a:pt x="2493" y="1626"/>
                  </a:cubicBezTo>
                  <a:cubicBezTo>
                    <a:pt x="2485" y="1623"/>
                    <a:pt x="2485" y="1623"/>
                    <a:pt x="2485" y="1623"/>
                  </a:cubicBezTo>
                  <a:cubicBezTo>
                    <a:pt x="2471" y="1631"/>
                    <a:pt x="2471" y="1631"/>
                    <a:pt x="2471" y="1631"/>
                  </a:cubicBezTo>
                  <a:cubicBezTo>
                    <a:pt x="2489" y="1654"/>
                    <a:pt x="2489" y="1654"/>
                    <a:pt x="2489" y="1654"/>
                  </a:cubicBezTo>
                  <a:cubicBezTo>
                    <a:pt x="2489" y="1654"/>
                    <a:pt x="2499" y="1662"/>
                    <a:pt x="2492" y="1681"/>
                  </a:cubicBezTo>
                  <a:cubicBezTo>
                    <a:pt x="2506" y="1691"/>
                    <a:pt x="2501" y="1704"/>
                    <a:pt x="2505" y="1703"/>
                  </a:cubicBezTo>
                  <a:cubicBezTo>
                    <a:pt x="2510" y="1703"/>
                    <a:pt x="2534" y="1694"/>
                    <a:pt x="2530" y="1686"/>
                  </a:cubicBezTo>
                  <a:cubicBezTo>
                    <a:pt x="2526" y="1678"/>
                    <a:pt x="2521" y="1676"/>
                    <a:pt x="2521" y="1674"/>
                  </a:cubicBezTo>
                  <a:cubicBezTo>
                    <a:pt x="2521" y="1672"/>
                    <a:pt x="2521" y="1642"/>
                    <a:pt x="2541" y="1641"/>
                  </a:cubicBezTo>
                  <a:cubicBezTo>
                    <a:pt x="2537" y="1629"/>
                    <a:pt x="2533" y="1629"/>
                    <a:pt x="2537" y="1625"/>
                  </a:cubicBezTo>
                  <a:cubicBezTo>
                    <a:pt x="2541" y="1621"/>
                    <a:pt x="2556" y="1616"/>
                    <a:pt x="2556" y="1616"/>
                  </a:cubicBezTo>
                  <a:cubicBezTo>
                    <a:pt x="2535" y="1611"/>
                    <a:pt x="2535" y="1611"/>
                    <a:pt x="2535" y="1611"/>
                  </a:cubicBezTo>
                  <a:cubicBezTo>
                    <a:pt x="2538" y="1601"/>
                    <a:pt x="2538" y="1601"/>
                    <a:pt x="2538" y="1601"/>
                  </a:cubicBezTo>
                  <a:cubicBezTo>
                    <a:pt x="2538" y="1593"/>
                    <a:pt x="2538" y="1593"/>
                    <a:pt x="2538" y="1593"/>
                  </a:cubicBezTo>
                  <a:cubicBezTo>
                    <a:pt x="2545" y="1581"/>
                    <a:pt x="2545" y="1581"/>
                    <a:pt x="2545" y="1581"/>
                  </a:cubicBezTo>
                  <a:cubicBezTo>
                    <a:pt x="2545" y="1581"/>
                    <a:pt x="2559" y="1604"/>
                    <a:pt x="2561" y="1602"/>
                  </a:cubicBezTo>
                  <a:cubicBezTo>
                    <a:pt x="2563" y="1600"/>
                    <a:pt x="2581" y="1571"/>
                    <a:pt x="2581" y="1571"/>
                  </a:cubicBezTo>
                  <a:cubicBezTo>
                    <a:pt x="2581" y="1571"/>
                    <a:pt x="2608" y="1563"/>
                    <a:pt x="2609" y="1569"/>
                  </a:cubicBezTo>
                  <a:cubicBezTo>
                    <a:pt x="2609" y="1574"/>
                    <a:pt x="2619" y="1539"/>
                    <a:pt x="2619" y="1539"/>
                  </a:cubicBezTo>
                  <a:cubicBezTo>
                    <a:pt x="2611" y="1530"/>
                    <a:pt x="2611" y="1530"/>
                    <a:pt x="2611" y="1530"/>
                  </a:cubicBezTo>
                  <a:cubicBezTo>
                    <a:pt x="2573" y="1543"/>
                    <a:pt x="2573" y="1543"/>
                    <a:pt x="2573" y="1543"/>
                  </a:cubicBezTo>
                  <a:cubicBezTo>
                    <a:pt x="2573" y="1543"/>
                    <a:pt x="2590" y="1568"/>
                    <a:pt x="2581" y="1566"/>
                  </a:cubicBezTo>
                  <a:cubicBezTo>
                    <a:pt x="2573" y="1564"/>
                    <a:pt x="2553" y="1555"/>
                    <a:pt x="2558" y="1546"/>
                  </a:cubicBezTo>
                  <a:cubicBezTo>
                    <a:pt x="2563" y="1537"/>
                    <a:pt x="2578" y="1531"/>
                    <a:pt x="2578" y="1531"/>
                  </a:cubicBezTo>
                  <a:cubicBezTo>
                    <a:pt x="2578" y="1531"/>
                    <a:pt x="2581" y="1513"/>
                    <a:pt x="2576" y="1512"/>
                  </a:cubicBezTo>
                  <a:cubicBezTo>
                    <a:pt x="2571" y="1511"/>
                    <a:pt x="2571" y="1522"/>
                    <a:pt x="2563" y="1523"/>
                  </a:cubicBezTo>
                  <a:cubicBezTo>
                    <a:pt x="2554" y="1523"/>
                    <a:pt x="2553" y="1516"/>
                    <a:pt x="2553" y="1516"/>
                  </a:cubicBezTo>
                  <a:cubicBezTo>
                    <a:pt x="2553" y="1516"/>
                    <a:pt x="2545" y="1540"/>
                    <a:pt x="2533" y="1536"/>
                  </a:cubicBezTo>
                  <a:cubicBezTo>
                    <a:pt x="2521" y="1532"/>
                    <a:pt x="2517" y="1523"/>
                    <a:pt x="2523" y="1523"/>
                  </a:cubicBezTo>
                  <a:cubicBezTo>
                    <a:pt x="2529" y="1523"/>
                    <a:pt x="2538" y="1519"/>
                    <a:pt x="2538" y="1519"/>
                  </a:cubicBezTo>
                  <a:cubicBezTo>
                    <a:pt x="2528" y="1511"/>
                    <a:pt x="2528" y="1511"/>
                    <a:pt x="2528" y="1511"/>
                  </a:cubicBezTo>
                  <a:cubicBezTo>
                    <a:pt x="2528" y="1511"/>
                    <a:pt x="2535" y="1503"/>
                    <a:pt x="2529" y="1499"/>
                  </a:cubicBezTo>
                  <a:cubicBezTo>
                    <a:pt x="2523" y="1496"/>
                    <a:pt x="2519" y="1501"/>
                    <a:pt x="2519" y="1501"/>
                  </a:cubicBezTo>
                  <a:cubicBezTo>
                    <a:pt x="2515" y="1495"/>
                    <a:pt x="2515" y="1495"/>
                    <a:pt x="2515" y="1495"/>
                  </a:cubicBezTo>
                  <a:cubicBezTo>
                    <a:pt x="2515" y="1495"/>
                    <a:pt x="2518" y="1512"/>
                    <a:pt x="2509" y="1511"/>
                  </a:cubicBezTo>
                  <a:cubicBezTo>
                    <a:pt x="2499" y="1511"/>
                    <a:pt x="2487" y="1497"/>
                    <a:pt x="2487" y="1497"/>
                  </a:cubicBezTo>
                  <a:cubicBezTo>
                    <a:pt x="2479" y="1501"/>
                    <a:pt x="2479" y="1501"/>
                    <a:pt x="2479" y="1501"/>
                  </a:cubicBezTo>
                  <a:cubicBezTo>
                    <a:pt x="2475" y="1496"/>
                    <a:pt x="2475" y="1496"/>
                    <a:pt x="2475" y="1496"/>
                  </a:cubicBezTo>
                  <a:cubicBezTo>
                    <a:pt x="2475" y="1496"/>
                    <a:pt x="2467" y="1509"/>
                    <a:pt x="2465" y="1509"/>
                  </a:cubicBezTo>
                  <a:cubicBezTo>
                    <a:pt x="2463" y="1509"/>
                    <a:pt x="2439" y="1500"/>
                    <a:pt x="2449" y="1495"/>
                  </a:cubicBezTo>
                  <a:cubicBezTo>
                    <a:pt x="2458" y="1491"/>
                    <a:pt x="2461" y="1493"/>
                    <a:pt x="2461" y="1493"/>
                  </a:cubicBezTo>
                  <a:cubicBezTo>
                    <a:pt x="2461" y="1493"/>
                    <a:pt x="2460" y="1475"/>
                    <a:pt x="2469" y="1475"/>
                  </a:cubicBezTo>
                  <a:cubicBezTo>
                    <a:pt x="2477" y="1475"/>
                    <a:pt x="2474" y="1486"/>
                    <a:pt x="2478" y="1483"/>
                  </a:cubicBezTo>
                  <a:cubicBezTo>
                    <a:pt x="2482" y="1479"/>
                    <a:pt x="2491" y="1468"/>
                    <a:pt x="2491" y="1468"/>
                  </a:cubicBezTo>
                  <a:cubicBezTo>
                    <a:pt x="2491" y="1468"/>
                    <a:pt x="2481" y="1445"/>
                    <a:pt x="2471" y="1445"/>
                  </a:cubicBezTo>
                  <a:cubicBezTo>
                    <a:pt x="2462" y="1445"/>
                    <a:pt x="2469" y="1429"/>
                    <a:pt x="2469" y="1429"/>
                  </a:cubicBezTo>
                  <a:cubicBezTo>
                    <a:pt x="2469" y="1429"/>
                    <a:pt x="2452" y="1419"/>
                    <a:pt x="2443" y="1419"/>
                  </a:cubicBezTo>
                  <a:cubicBezTo>
                    <a:pt x="2435" y="1420"/>
                    <a:pt x="2402" y="1395"/>
                    <a:pt x="2402" y="1395"/>
                  </a:cubicBezTo>
                  <a:cubicBezTo>
                    <a:pt x="2402" y="1395"/>
                    <a:pt x="2369" y="1398"/>
                    <a:pt x="2368" y="1403"/>
                  </a:cubicBezTo>
                  <a:cubicBezTo>
                    <a:pt x="2354" y="1404"/>
                    <a:pt x="2349" y="1403"/>
                    <a:pt x="2349" y="1403"/>
                  </a:cubicBezTo>
                  <a:cubicBezTo>
                    <a:pt x="2349" y="1403"/>
                    <a:pt x="2351" y="1422"/>
                    <a:pt x="2333" y="1427"/>
                  </a:cubicBezTo>
                  <a:cubicBezTo>
                    <a:pt x="2335" y="1442"/>
                    <a:pt x="2338" y="1461"/>
                    <a:pt x="2338" y="1461"/>
                  </a:cubicBezTo>
                  <a:cubicBezTo>
                    <a:pt x="2332" y="1464"/>
                    <a:pt x="2332" y="1464"/>
                    <a:pt x="2332" y="1464"/>
                  </a:cubicBezTo>
                  <a:cubicBezTo>
                    <a:pt x="2333" y="1478"/>
                    <a:pt x="2333" y="1478"/>
                    <a:pt x="2333" y="1478"/>
                  </a:cubicBezTo>
                  <a:cubicBezTo>
                    <a:pt x="2333" y="1478"/>
                    <a:pt x="2313" y="1533"/>
                    <a:pt x="2351" y="1540"/>
                  </a:cubicBezTo>
                  <a:cubicBezTo>
                    <a:pt x="2352" y="1550"/>
                    <a:pt x="2352" y="1560"/>
                    <a:pt x="2352" y="1560"/>
                  </a:cubicBezTo>
                  <a:cubicBezTo>
                    <a:pt x="2341" y="1545"/>
                    <a:pt x="2341" y="1545"/>
                    <a:pt x="2341" y="1545"/>
                  </a:cubicBezTo>
                  <a:cubicBezTo>
                    <a:pt x="2341" y="1545"/>
                    <a:pt x="2305" y="1553"/>
                    <a:pt x="2299" y="1594"/>
                  </a:cubicBezTo>
                  <a:cubicBezTo>
                    <a:pt x="2321" y="1597"/>
                    <a:pt x="2321" y="1597"/>
                    <a:pt x="2321" y="1597"/>
                  </a:cubicBezTo>
                  <a:cubicBezTo>
                    <a:pt x="2321" y="1597"/>
                    <a:pt x="2324" y="1621"/>
                    <a:pt x="2335" y="1623"/>
                  </a:cubicBezTo>
                  <a:close/>
                  <a:moveTo>
                    <a:pt x="2397" y="1645"/>
                  </a:moveTo>
                  <a:cubicBezTo>
                    <a:pt x="2403" y="1649"/>
                    <a:pt x="2384" y="1655"/>
                    <a:pt x="2384" y="1655"/>
                  </a:cubicBezTo>
                  <a:cubicBezTo>
                    <a:pt x="2382" y="1653"/>
                    <a:pt x="2392" y="1641"/>
                    <a:pt x="2397" y="1645"/>
                  </a:cubicBezTo>
                  <a:close/>
                  <a:moveTo>
                    <a:pt x="2490" y="1641"/>
                  </a:moveTo>
                  <a:cubicBezTo>
                    <a:pt x="2487" y="1645"/>
                    <a:pt x="2484" y="1633"/>
                    <a:pt x="2484" y="1633"/>
                  </a:cubicBezTo>
                  <a:cubicBezTo>
                    <a:pt x="2485" y="1628"/>
                    <a:pt x="2493" y="1638"/>
                    <a:pt x="2490" y="1641"/>
                  </a:cubicBezTo>
                  <a:close/>
                  <a:moveTo>
                    <a:pt x="2727" y="1266"/>
                  </a:moveTo>
                  <a:cubicBezTo>
                    <a:pt x="2732" y="1267"/>
                    <a:pt x="2735" y="1273"/>
                    <a:pt x="2735" y="1273"/>
                  </a:cubicBezTo>
                  <a:cubicBezTo>
                    <a:pt x="2735" y="1273"/>
                    <a:pt x="2745" y="1271"/>
                    <a:pt x="2752" y="1264"/>
                  </a:cubicBezTo>
                  <a:cubicBezTo>
                    <a:pt x="2733" y="1263"/>
                    <a:pt x="2746" y="1248"/>
                    <a:pt x="2746" y="1248"/>
                  </a:cubicBezTo>
                  <a:cubicBezTo>
                    <a:pt x="2759" y="1247"/>
                    <a:pt x="2759" y="1247"/>
                    <a:pt x="2759" y="1247"/>
                  </a:cubicBezTo>
                  <a:cubicBezTo>
                    <a:pt x="2761" y="1237"/>
                    <a:pt x="2761" y="1237"/>
                    <a:pt x="2761" y="1237"/>
                  </a:cubicBezTo>
                  <a:cubicBezTo>
                    <a:pt x="2736" y="1238"/>
                    <a:pt x="2736" y="1238"/>
                    <a:pt x="2736" y="1238"/>
                  </a:cubicBezTo>
                  <a:cubicBezTo>
                    <a:pt x="2736" y="1249"/>
                    <a:pt x="2721" y="1265"/>
                    <a:pt x="2727" y="1266"/>
                  </a:cubicBezTo>
                  <a:close/>
                  <a:moveTo>
                    <a:pt x="2623" y="1369"/>
                  </a:moveTo>
                  <a:cubicBezTo>
                    <a:pt x="2629" y="1376"/>
                    <a:pt x="2629" y="1376"/>
                    <a:pt x="2629" y="1376"/>
                  </a:cubicBezTo>
                  <a:cubicBezTo>
                    <a:pt x="2649" y="1345"/>
                    <a:pt x="2649" y="1345"/>
                    <a:pt x="2649" y="1345"/>
                  </a:cubicBezTo>
                  <a:cubicBezTo>
                    <a:pt x="2659" y="1349"/>
                    <a:pt x="2659" y="1349"/>
                    <a:pt x="2659" y="1349"/>
                  </a:cubicBezTo>
                  <a:cubicBezTo>
                    <a:pt x="2665" y="1347"/>
                    <a:pt x="2665" y="1347"/>
                    <a:pt x="2665" y="1347"/>
                  </a:cubicBezTo>
                  <a:cubicBezTo>
                    <a:pt x="2671" y="1360"/>
                    <a:pt x="2671" y="1360"/>
                    <a:pt x="2671" y="1360"/>
                  </a:cubicBezTo>
                  <a:cubicBezTo>
                    <a:pt x="2671" y="1360"/>
                    <a:pt x="2675" y="1348"/>
                    <a:pt x="2677" y="1348"/>
                  </a:cubicBezTo>
                  <a:cubicBezTo>
                    <a:pt x="2679" y="1348"/>
                    <a:pt x="2691" y="1345"/>
                    <a:pt x="2691" y="1345"/>
                  </a:cubicBezTo>
                  <a:cubicBezTo>
                    <a:pt x="2691" y="1345"/>
                    <a:pt x="2699" y="1359"/>
                    <a:pt x="2701" y="1359"/>
                  </a:cubicBezTo>
                  <a:cubicBezTo>
                    <a:pt x="2703" y="1359"/>
                    <a:pt x="2705" y="1351"/>
                    <a:pt x="2705" y="1351"/>
                  </a:cubicBezTo>
                  <a:cubicBezTo>
                    <a:pt x="2694" y="1343"/>
                    <a:pt x="2694" y="1343"/>
                    <a:pt x="2694" y="1343"/>
                  </a:cubicBezTo>
                  <a:cubicBezTo>
                    <a:pt x="2711" y="1327"/>
                    <a:pt x="2711" y="1327"/>
                    <a:pt x="2711" y="1327"/>
                  </a:cubicBezTo>
                  <a:cubicBezTo>
                    <a:pt x="2711" y="1327"/>
                    <a:pt x="2712" y="1319"/>
                    <a:pt x="2722" y="1318"/>
                  </a:cubicBezTo>
                  <a:cubicBezTo>
                    <a:pt x="2732" y="1317"/>
                    <a:pt x="2735" y="1323"/>
                    <a:pt x="2735" y="1323"/>
                  </a:cubicBezTo>
                  <a:cubicBezTo>
                    <a:pt x="2751" y="1319"/>
                    <a:pt x="2751" y="1319"/>
                    <a:pt x="2751" y="1319"/>
                  </a:cubicBezTo>
                  <a:cubicBezTo>
                    <a:pt x="2740" y="1304"/>
                    <a:pt x="2740" y="1304"/>
                    <a:pt x="2740" y="1304"/>
                  </a:cubicBezTo>
                  <a:cubicBezTo>
                    <a:pt x="2740" y="1304"/>
                    <a:pt x="2739" y="1295"/>
                    <a:pt x="2736" y="1292"/>
                  </a:cubicBezTo>
                  <a:cubicBezTo>
                    <a:pt x="2733" y="1289"/>
                    <a:pt x="2737" y="1297"/>
                    <a:pt x="2725" y="1305"/>
                  </a:cubicBezTo>
                  <a:cubicBezTo>
                    <a:pt x="2707" y="1305"/>
                    <a:pt x="2687" y="1323"/>
                    <a:pt x="2687" y="1323"/>
                  </a:cubicBezTo>
                  <a:cubicBezTo>
                    <a:pt x="2687" y="1323"/>
                    <a:pt x="2687" y="1323"/>
                    <a:pt x="2680" y="1319"/>
                  </a:cubicBezTo>
                  <a:cubicBezTo>
                    <a:pt x="2673" y="1314"/>
                    <a:pt x="2692" y="1297"/>
                    <a:pt x="2692" y="1297"/>
                  </a:cubicBezTo>
                  <a:cubicBezTo>
                    <a:pt x="2655" y="1307"/>
                    <a:pt x="2655" y="1307"/>
                    <a:pt x="2655" y="1307"/>
                  </a:cubicBezTo>
                  <a:cubicBezTo>
                    <a:pt x="2659" y="1319"/>
                    <a:pt x="2659" y="1319"/>
                    <a:pt x="2659" y="1319"/>
                  </a:cubicBezTo>
                  <a:cubicBezTo>
                    <a:pt x="2659" y="1319"/>
                    <a:pt x="2615" y="1353"/>
                    <a:pt x="2613" y="1364"/>
                  </a:cubicBezTo>
                  <a:cubicBezTo>
                    <a:pt x="2612" y="1375"/>
                    <a:pt x="2622" y="1385"/>
                    <a:pt x="2622" y="1385"/>
                  </a:cubicBezTo>
                  <a:lnTo>
                    <a:pt x="2623" y="1369"/>
                  </a:lnTo>
                  <a:close/>
                  <a:moveTo>
                    <a:pt x="680" y="2164"/>
                  </a:moveTo>
                  <a:cubicBezTo>
                    <a:pt x="680" y="2167"/>
                    <a:pt x="685" y="2183"/>
                    <a:pt x="720" y="2202"/>
                  </a:cubicBezTo>
                  <a:cubicBezTo>
                    <a:pt x="769" y="2203"/>
                    <a:pt x="797" y="2236"/>
                    <a:pt x="795" y="2243"/>
                  </a:cubicBezTo>
                  <a:cubicBezTo>
                    <a:pt x="794" y="2251"/>
                    <a:pt x="784" y="2234"/>
                    <a:pt x="773" y="2231"/>
                  </a:cubicBezTo>
                  <a:cubicBezTo>
                    <a:pt x="763" y="2229"/>
                    <a:pt x="751" y="2244"/>
                    <a:pt x="749" y="2251"/>
                  </a:cubicBezTo>
                  <a:cubicBezTo>
                    <a:pt x="746" y="2257"/>
                    <a:pt x="760" y="2257"/>
                    <a:pt x="760" y="2257"/>
                  </a:cubicBezTo>
                  <a:cubicBezTo>
                    <a:pt x="757" y="2266"/>
                    <a:pt x="757" y="2266"/>
                    <a:pt x="757" y="2266"/>
                  </a:cubicBezTo>
                  <a:cubicBezTo>
                    <a:pt x="734" y="2264"/>
                    <a:pt x="734" y="2264"/>
                    <a:pt x="734" y="2264"/>
                  </a:cubicBezTo>
                  <a:cubicBezTo>
                    <a:pt x="734" y="2264"/>
                    <a:pt x="717" y="2296"/>
                    <a:pt x="705" y="2296"/>
                  </a:cubicBezTo>
                  <a:cubicBezTo>
                    <a:pt x="693" y="2296"/>
                    <a:pt x="697" y="2285"/>
                    <a:pt x="690" y="2281"/>
                  </a:cubicBezTo>
                  <a:cubicBezTo>
                    <a:pt x="683" y="2277"/>
                    <a:pt x="672" y="2289"/>
                    <a:pt x="672" y="2289"/>
                  </a:cubicBezTo>
                  <a:cubicBezTo>
                    <a:pt x="742" y="2365"/>
                    <a:pt x="742" y="2365"/>
                    <a:pt x="742" y="2365"/>
                  </a:cubicBezTo>
                  <a:cubicBezTo>
                    <a:pt x="775" y="2337"/>
                    <a:pt x="775" y="2337"/>
                    <a:pt x="775" y="2337"/>
                  </a:cubicBezTo>
                  <a:cubicBezTo>
                    <a:pt x="775" y="2337"/>
                    <a:pt x="777" y="2341"/>
                    <a:pt x="780" y="2343"/>
                  </a:cubicBezTo>
                  <a:cubicBezTo>
                    <a:pt x="783" y="2345"/>
                    <a:pt x="789" y="2333"/>
                    <a:pt x="789" y="2333"/>
                  </a:cubicBezTo>
                  <a:cubicBezTo>
                    <a:pt x="780" y="2324"/>
                    <a:pt x="780" y="2324"/>
                    <a:pt x="780" y="2324"/>
                  </a:cubicBezTo>
                  <a:cubicBezTo>
                    <a:pt x="800" y="2309"/>
                    <a:pt x="800" y="2309"/>
                    <a:pt x="800" y="2309"/>
                  </a:cubicBezTo>
                  <a:cubicBezTo>
                    <a:pt x="800" y="2309"/>
                    <a:pt x="813" y="2313"/>
                    <a:pt x="822" y="2313"/>
                  </a:cubicBezTo>
                  <a:cubicBezTo>
                    <a:pt x="831" y="2313"/>
                    <a:pt x="821" y="2299"/>
                    <a:pt x="821" y="2299"/>
                  </a:cubicBezTo>
                  <a:cubicBezTo>
                    <a:pt x="821" y="2299"/>
                    <a:pt x="835" y="2303"/>
                    <a:pt x="843" y="2302"/>
                  </a:cubicBezTo>
                  <a:cubicBezTo>
                    <a:pt x="850" y="2301"/>
                    <a:pt x="845" y="2288"/>
                    <a:pt x="845" y="2288"/>
                  </a:cubicBezTo>
                  <a:cubicBezTo>
                    <a:pt x="821" y="2261"/>
                    <a:pt x="821" y="2261"/>
                    <a:pt x="821" y="2261"/>
                  </a:cubicBezTo>
                  <a:cubicBezTo>
                    <a:pt x="829" y="2245"/>
                    <a:pt x="829" y="2245"/>
                    <a:pt x="829" y="2245"/>
                  </a:cubicBezTo>
                  <a:cubicBezTo>
                    <a:pt x="845" y="2256"/>
                    <a:pt x="845" y="2256"/>
                    <a:pt x="845" y="2256"/>
                  </a:cubicBezTo>
                  <a:cubicBezTo>
                    <a:pt x="861" y="2256"/>
                    <a:pt x="861" y="2256"/>
                    <a:pt x="861" y="2256"/>
                  </a:cubicBezTo>
                  <a:cubicBezTo>
                    <a:pt x="861" y="2256"/>
                    <a:pt x="864" y="2265"/>
                    <a:pt x="865" y="2277"/>
                  </a:cubicBezTo>
                  <a:cubicBezTo>
                    <a:pt x="867" y="2289"/>
                    <a:pt x="877" y="2285"/>
                    <a:pt x="887" y="2273"/>
                  </a:cubicBezTo>
                  <a:cubicBezTo>
                    <a:pt x="883" y="2259"/>
                    <a:pt x="865" y="2239"/>
                    <a:pt x="865" y="2239"/>
                  </a:cubicBezTo>
                  <a:cubicBezTo>
                    <a:pt x="877" y="2227"/>
                    <a:pt x="877" y="2227"/>
                    <a:pt x="877" y="2227"/>
                  </a:cubicBezTo>
                  <a:cubicBezTo>
                    <a:pt x="879" y="2233"/>
                    <a:pt x="879" y="2233"/>
                    <a:pt x="879" y="2233"/>
                  </a:cubicBezTo>
                  <a:cubicBezTo>
                    <a:pt x="899" y="2231"/>
                    <a:pt x="899" y="2231"/>
                    <a:pt x="899" y="2231"/>
                  </a:cubicBezTo>
                  <a:cubicBezTo>
                    <a:pt x="899" y="2213"/>
                    <a:pt x="899" y="2213"/>
                    <a:pt x="899" y="2213"/>
                  </a:cubicBezTo>
                  <a:cubicBezTo>
                    <a:pt x="915" y="2241"/>
                    <a:pt x="915" y="2241"/>
                    <a:pt x="915" y="2241"/>
                  </a:cubicBezTo>
                  <a:cubicBezTo>
                    <a:pt x="935" y="2222"/>
                    <a:pt x="935" y="2222"/>
                    <a:pt x="935" y="2222"/>
                  </a:cubicBezTo>
                  <a:cubicBezTo>
                    <a:pt x="942" y="2233"/>
                    <a:pt x="942" y="2233"/>
                    <a:pt x="942" y="2233"/>
                  </a:cubicBezTo>
                  <a:cubicBezTo>
                    <a:pt x="942" y="2233"/>
                    <a:pt x="958" y="2223"/>
                    <a:pt x="963" y="2223"/>
                  </a:cubicBezTo>
                  <a:cubicBezTo>
                    <a:pt x="967" y="2223"/>
                    <a:pt x="973" y="2181"/>
                    <a:pt x="973" y="2181"/>
                  </a:cubicBezTo>
                  <a:cubicBezTo>
                    <a:pt x="962" y="2177"/>
                    <a:pt x="962" y="2177"/>
                    <a:pt x="962" y="2177"/>
                  </a:cubicBezTo>
                  <a:cubicBezTo>
                    <a:pt x="962" y="2177"/>
                    <a:pt x="965" y="2164"/>
                    <a:pt x="969" y="2165"/>
                  </a:cubicBezTo>
                  <a:cubicBezTo>
                    <a:pt x="972" y="2167"/>
                    <a:pt x="973" y="2178"/>
                    <a:pt x="973" y="2178"/>
                  </a:cubicBezTo>
                  <a:cubicBezTo>
                    <a:pt x="989" y="2187"/>
                    <a:pt x="989" y="2187"/>
                    <a:pt x="989" y="2187"/>
                  </a:cubicBezTo>
                  <a:cubicBezTo>
                    <a:pt x="989" y="2173"/>
                    <a:pt x="989" y="2173"/>
                    <a:pt x="989" y="2173"/>
                  </a:cubicBezTo>
                  <a:cubicBezTo>
                    <a:pt x="989" y="2173"/>
                    <a:pt x="990" y="2178"/>
                    <a:pt x="998" y="2178"/>
                  </a:cubicBezTo>
                  <a:cubicBezTo>
                    <a:pt x="1006" y="2178"/>
                    <a:pt x="1015" y="2151"/>
                    <a:pt x="1016" y="2150"/>
                  </a:cubicBezTo>
                  <a:cubicBezTo>
                    <a:pt x="1016" y="2149"/>
                    <a:pt x="1015" y="2148"/>
                    <a:pt x="1009" y="2140"/>
                  </a:cubicBezTo>
                  <a:cubicBezTo>
                    <a:pt x="1009" y="2121"/>
                    <a:pt x="993" y="2099"/>
                    <a:pt x="990" y="2097"/>
                  </a:cubicBezTo>
                  <a:cubicBezTo>
                    <a:pt x="987" y="2095"/>
                    <a:pt x="973" y="2113"/>
                    <a:pt x="967" y="2107"/>
                  </a:cubicBezTo>
                  <a:cubicBezTo>
                    <a:pt x="962" y="2101"/>
                    <a:pt x="996" y="2084"/>
                    <a:pt x="996" y="2084"/>
                  </a:cubicBezTo>
                  <a:cubicBezTo>
                    <a:pt x="1006" y="2090"/>
                    <a:pt x="1006" y="2090"/>
                    <a:pt x="1006" y="2090"/>
                  </a:cubicBezTo>
                  <a:cubicBezTo>
                    <a:pt x="1006" y="2090"/>
                    <a:pt x="1019" y="2082"/>
                    <a:pt x="1011" y="2077"/>
                  </a:cubicBezTo>
                  <a:cubicBezTo>
                    <a:pt x="1003" y="2073"/>
                    <a:pt x="1008" y="2043"/>
                    <a:pt x="1008" y="2043"/>
                  </a:cubicBezTo>
                  <a:cubicBezTo>
                    <a:pt x="997" y="2030"/>
                    <a:pt x="997" y="2030"/>
                    <a:pt x="997" y="2030"/>
                  </a:cubicBezTo>
                  <a:cubicBezTo>
                    <a:pt x="1006" y="2030"/>
                    <a:pt x="1006" y="2030"/>
                    <a:pt x="1006" y="2030"/>
                  </a:cubicBezTo>
                  <a:cubicBezTo>
                    <a:pt x="1006" y="2030"/>
                    <a:pt x="1018" y="2049"/>
                    <a:pt x="1025" y="2045"/>
                  </a:cubicBezTo>
                  <a:cubicBezTo>
                    <a:pt x="1031" y="2041"/>
                    <a:pt x="1038" y="2029"/>
                    <a:pt x="1044" y="2037"/>
                  </a:cubicBezTo>
                  <a:cubicBezTo>
                    <a:pt x="1050" y="2046"/>
                    <a:pt x="1071" y="2052"/>
                    <a:pt x="1071" y="2052"/>
                  </a:cubicBezTo>
                  <a:cubicBezTo>
                    <a:pt x="1103" y="2027"/>
                    <a:pt x="1103" y="2027"/>
                    <a:pt x="1103" y="2027"/>
                  </a:cubicBezTo>
                  <a:cubicBezTo>
                    <a:pt x="1103" y="2027"/>
                    <a:pt x="1103" y="2011"/>
                    <a:pt x="1105" y="2009"/>
                  </a:cubicBezTo>
                  <a:cubicBezTo>
                    <a:pt x="1107" y="2006"/>
                    <a:pt x="1113" y="2008"/>
                    <a:pt x="1111" y="1993"/>
                  </a:cubicBezTo>
                  <a:cubicBezTo>
                    <a:pt x="1093" y="1993"/>
                    <a:pt x="1067" y="2024"/>
                    <a:pt x="1045" y="2029"/>
                  </a:cubicBezTo>
                  <a:cubicBezTo>
                    <a:pt x="1024" y="2035"/>
                    <a:pt x="1025" y="2010"/>
                    <a:pt x="1025" y="2010"/>
                  </a:cubicBezTo>
                  <a:cubicBezTo>
                    <a:pt x="1025" y="2010"/>
                    <a:pt x="1033" y="2007"/>
                    <a:pt x="1034" y="2003"/>
                  </a:cubicBezTo>
                  <a:cubicBezTo>
                    <a:pt x="1035" y="1999"/>
                    <a:pt x="1028" y="1989"/>
                    <a:pt x="1028" y="1987"/>
                  </a:cubicBezTo>
                  <a:cubicBezTo>
                    <a:pt x="1028" y="1985"/>
                    <a:pt x="1049" y="1986"/>
                    <a:pt x="1049" y="1986"/>
                  </a:cubicBezTo>
                  <a:cubicBezTo>
                    <a:pt x="1049" y="1986"/>
                    <a:pt x="1051" y="1972"/>
                    <a:pt x="1050" y="1969"/>
                  </a:cubicBezTo>
                  <a:cubicBezTo>
                    <a:pt x="1049" y="1967"/>
                    <a:pt x="1051" y="1972"/>
                    <a:pt x="1069" y="1967"/>
                  </a:cubicBezTo>
                  <a:cubicBezTo>
                    <a:pt x="1069" y="1947"/>
                    <a:pt x="1096" y="1939"/>
                    <a:pt x="1096" y="1939"/>
                  </a:cubicBezTo>
                  <a:cubicBezTo>
                    <a:pt x="1096" y="1939"/>
                    <a:pt x="1107" y="1934"/>
                    <a:pt x="1101" y="1926"/>
                  </a:cubicBezTo>
                  <a:cubicBezTo>
                    <a:pt x="1077" y="1927"/>
                    <a:pt x="1081" y="1908"/>
                    <a:pt x="1081" y="1908"/>
                  </a:cubicBezTo>
                  <a:cubicBezTo>
                    <a:pt x="1103" y="1869"/>
                    <a:pt x="1103" y="1869"/>
                    <a:pt x="1103" y="1869"/>
                  </a:cubicBezTo>
                  <a:cubicBezTo>
                    <a:pt x="1103" y="1869"/>
                    <a:pt x="1091" y="1862"/>
                    <a:pt x="1091" y="1855"/>
                  </a:cubicBezTo>
                  <a:cubicBezTo>
                    <a:pt x="1091" y="1849"/>
                    <a:pt x="1095" y="1843"/>
                    <a:pt x="1095" y="1843"/>
                  </a:cubicBezTo>
                  <a:cubicBezTo>
                    <a:pt x="1089" y="1835"/>
                    <a:pt x="1089" y="1835"/>
                    <a:pt x="1089" y="1835"/>
                  </a:cubicBezTo>
                  <a:cubicBezTo>
                    <a:pt x="1089" y="1835"/>
                    <a:pt x="1089" y="1835"/>
                    <a:pt x="1085" y="1835"/>
                  </a:cubicBezTo>
                  <a:cubicBezTo>
                    <a:pt x="1068" y="1807"/>
                    <a:pt x="1050" y="1811"/>
                    <a:pt x="1050" y="1811"/>
                  </a:cubicBezTo>
                  <a:cubicBezTo>
                    <a:pt x="1061" y="1823"/>
                    <a:pt x="1042" y="1833"/>
                    <a:pt x="1042" y="1833"/>
                  </a:cubicBezTo>
                  <a:cubicBezTo>
                    <a:pt x="1042" y="1833"/>
                    <a:pt x="1029" y="1835"/>
                    <a:pt x="1026" y="1835"/>
                  </a:cubicBezTo>
                  <a:cubicBezTo>
                    <a:pt x="1023" y="1835"/>
                    <a:pt x="1020" y="1844"/>
                    <a:pt x="1017" y="1848"/>
                  </a:cubicBezTo>
                  <a:cubicBezTo>
                    <a:pt x="1015" y="1852"/>
                    <a:pt x="969" y="1872"/>
                    <a:pt x="953" y="1887"/>
                  </a:cubicBezTo>
                  <a:cubicBezTo>
                    <a:pt x="939" y="1887"/>
                    <a:pt x="949" y="1895"/>
                    <a:pt x="936" y="1908"/>
                  </a:cubicBezTo>
                  <a:cubicBezTo>
                    <a:pt x="911" y="1909"/>
                    <a:pt x="921" y="1913"/>
                    <a:pt x="907" y="1921"/>
                  </a:cubicBezTo>
                  <a:cubicBezTo>
                    <a:pt x="888" y="1920"/>
                    <a:pt x="883" y="1922"/>
                    <a:pt x="871" y="1931"/>
                  </a:cubicBezTo>
                  <a:cubicBezTo>
                    <a:pt x="852" y="1935"/>
                    <a:pt x="845" y="1951"/>
                    <a:pt x="843" y="1953"/>
                  </a:cubicBezTo>
                  <a:cubicBezTo>
                    <a:pt x="841" y="1955"/>
                    <a:pt x="822" y="1955"/>
                    <a:pt x="822" y="1955"/>
                  </a:cubicBezTo>
                  <a:cubicBezTo>
                    <a:pt x="811" y="1970"/>
                    <a:pt x="811" y="1970"/>
                    <a:pt x="811" y="1970"/>
                  </a:cubicBezTo>
                  <a:cubicBezTo>
                    <a:pt x="811" y="1970"/>
                    <a:pt x="814" y="1973"/>
                    <a:pt x="818" y="1992"/>
                  </a:cubicBezTo>
                  <a:cubicBezTo>
                    <a:pt x="837" y="1999"/>
                    <a:pt x="839" y="2034"/>
                    <a:pt x="839" y="2034"/>
                  </a:cubicBezTo>
                  <a:cubicBezTo>
                    <a:pt x="839" y="2034"/>
                    <a:pt x="837" y="2041"/>
                    <a:pt x="829" y="2032"/>
                  </a:cubicBezTo>
                  <a:cubicBezTo>
                    <a:pt x="829" y="2021"/>
                    <a:pt x="823" y="2011"/>
                    <a:pt x="807" y="2003"/>
                  </a:cubicBezTo>
                  <a:cubicBezTo>
                    <a:pt x="806" y="1988"/>
                    <a:pt x="787" y="1975"/>
                    <a:pt x="787" y="1975"/>
                  </a:cubicBezTo>
                  <a:cubicBezTo>
                    <a:pt x="787" y="1975"/>
                    <a:pt x="779" y="1989"/>
                    <a:pt x="779" y="1991"/>
                  </a:cubicBezTo>
                  <a:cubicBezTo>
                    <a:pt x="779" y="1993"/>
                    <a:pt x="790" y="2010"/>
                    <a:pt x="790" y="2010"/>
                  </a:cubicBezTo>
                  <a:cubicBezTo>
                    <a:pt x="790" y="2010"/>
                    <a:pt x="781" y="2015"/>
                    <a:pt x="781" y="2019"/>
                  </a:cubicBezTo>
                  <a:cubicBezTo>
                    <a:pt x="782" y="2022"/>
                    <a:pt x="794" y="2024"/>
                    <a:pt x="796" y="2031"/>
                  </a:cubicBezTo>
                  <a:cubicBezTo>
                    <a:pt x="798" y="2037"/>
                    <a:pt x="797" y="2045"/>
                    <a:pt x="787" y="2045"/>
                  </a:cubicBezTo>
                  <a:cubicBezTo>
                    <a:pt x="776" y="2045"/>
                    <a:pt x="768" y="2025"/>
                    <a:pt x="768" y="2025"/>
                  </a:cubicBezTo>
                  <a:cubicBezTo>
                    <a:pt x="758" y="2031"/>
                    <a:pt x="758" y="2031"/>
                    <a:pt x="758" y="2031"/>
                  </a:cubicBezTo>
                  <a:cubicBezTo>
                    <a:pt x="758" y="2031"/>
                    <a:pt x="751" y="2023"/>
                    <a:pt x="761" y="2023"/>
                  </a:cubicBezTo>
                  <a:cubicBezTo>
                    <a:pt x="770" y="2023"/>
                    <a:pt x="773" y="2008"/>
                    <a:pt x="773" y="2008"/>
                  </a:cubicBezTo>
                  <a:cubicBezTo>
                    <a:pt x="761" y="2011"/>
                    <a:pt x="761" y="2011"/>
                    <a:pt x="761" y="2011"/>
                  </a:cubicBezTo>
                  <a:cubicBezTo>
                    <a:pt x="764" y="2003"/>
                    <a:pt x="764" y="2003"/>
                    <a:pt x="764" y="2003"/>
                  </a:cubicBezTo>
                  <a:cubicBezTo>
                    <a:pt x="759" y="1994"/>
                    <a:pt x="759" y="1994"/>
                    <a:pt x="759" y="1994"/>
                  </a:cubicBezTo>
                  <a:cubicBezTo>
                    <a:pt x="741" y="2006"/>
                    <a:pt x="741" y="2006"/>
                    <a:pt x="741" y="2006"/>
                  </a:cubicBezTo>
                  <a:cubicBezTo>
                    <a:pt x="719" y="1989"/>
                    <a:pt x="719" y="1989"/>
                    <a:pt x="719" y="1989"/>
                  </a:cubicBezTo>
                  <a:cubicBezTo>
                    <a:pt x="703" y="2026"/>
                    <a:pt x="703" y="2026"/>
                    <a:pt x="703" y="2026"/>
                  </a:cubicBezTo>
                  <a:cubicBezTo>
                    <a:pt x="703" y="2026"/>
                    <a:pt x="721" y="2032"/>
                    <a:pt x="713" y="2039"/>
                  </a:cubicBezTo>
                  <a:cubicBezTo>
                    <a:pt x="705" y="2045"/>
                    <a:pt x="696" y="2031"/>
                    <a:pt x="696" y="2031"/>
                  </a:cubicBezTo>
                  <a:cubicBezTo>
                    <a:pt x="685" y="2042"/>
                    <a:pt x="685" y="2042"/>
                    <a:pt x="685" y="2042"/>
                  </a:cubicBezTo>
                  <a:cubicBezTo>
                    <a:pt x="692" y="2055"/>
                    <a:pt x="692" y="2055"/>
                    <a:pt x="692" y="2055"/>
                  </a:cubicBezTo>
                  <a:cubicBezTo>
                    <a:pt x="692" y="2055"/>
                    <a:pt x="674" y="2083"/>
                    <a:pt x="676" y="2084"/>
                  </a:cubicBezTo>
                  <a:cubicBezTo>
                    <a:pt x="678" y="2085"/>
                    <a:pt x="693" y="2125"/>
                    <a:pt x="699" y="2125"/>
                  </a:cubicBezTo>
                  <a:cubicBezTo>
                    <a:pt x="706" y="2125"/>
                    <a:pt x="713" y="2147"/>
                    <a:pt x="713" y="2147"/>
                  </a:cubicBezTo>
                  <a:cubicBezTo>
                    <a:pt x="706" y="2160"/>
                    <a:pt x="706" y="2160"/>
                    <a:pt x="706" y="2160"/>
                  </a:cubicBezTo>
                  <a:cubicBezTo>
                    <a:pt x="706" y="2160"/>
                    <a:pt x="699" y="2152"/>
                    <a:pt x="697" y="2151"/>
                  </a:cubicBezTo>
                  <a:cubicBezTo>
                    <a:pt x="695" y="2151"/>
                    <a:pt x="697" y="2159"/>
                    <a:pt x="689" y="2159"/>
                  </a:cubicBezTo>
                  <a:cubicBezTo>
                    <a:pt x="681" y="2159"/>
                    <a:pt x="689" y="2152"/>
                    <a:pt x="672" y="2141"/>
                  </a:cubicBezTo>
                  <a:cubicBezTo>
                    <a:pt x="649" y="2142"/>
                    <a:pt x="663" y="2161"/>
                    <a:pt x="663" y="2161"/>
                  </a:cubicBezTo>
                  <a:cubicBezTo>
                    <a:pt x="663" y="2161"/>
                    <a:pt x="680" y="2161"/>
                    <a:pt x="680" y="2164"/>
                  </a:cubicBezTo>
                  <a:close/>
                  <a:moveTo>
                    <a:pt x="1013" y="2013"/>
                  </a:moveTo>
                  <a:cubicBezTo>
                    <a:pt x="1019" y="2013"/>
                    <a:pt x="1029" y="2016"/>
                    <a:pt x="1019" y="2020"/>
                  </a:cubicBezTo>
                  <a:cubicBezTo>
                    <a:pt x="1009" y="2024"/>
                    <a:pt x="1013" y="2013"/>
                    <a:pt x="1013" y="2013"/>
                  </a:cubicBezTo>
                  <a:close/>
                  <a:moveTo>
                    <a:pt x="865" y="2214"/>
                  </a:moveTo>
                  <a:cubicBezTo>
                    <a:pt x="859" y="2215"/>
                    <a:pt x="854" y="2197"/>
                    <a:pt x="854" y="2197"/>
                  </a:cubicBezTo>
                  <a:cubicBezTo>
                    <a:pt x="859" y="2196"/>
                    <a:pt x="872" y="2213"/>
                    <a:pt x="865" y="2214"/>
                  </a:cubicBezTo>
                  <a:close/>
                  <a:moveTo>
                    <a:pt x="847" y="2034"/>
                  </a:moveTo>
                  <a:cubicBezTo>
                    <a:pt x="853" y="2035"/>
                    <a:pt x="853" y="2035"/>
                    <a:pt x="853" y="2035"/>
                  </a:cubicBezTo>
                  <a:cubicBezTo>
                    <a:pt x="852" y="2048"/>
                    <a:pt x="852" y="2048"/>
                    <a:pt x="852" y="2048"/>
                  </a:cubicBezTo>
                  <a:cubicBezTo>
                    <a:pt x="852" y="2048"/>
                    <a:pt x="846" y="2039"/>
                    <a:pt x="847" y="2034"/>
                  </a:cubicBezTo>
                  <a:close/>
                  <a:moveTo>
                    <a:pt x="672" y="2109"/>
                  </a:moveTo>
                  <a:cubicBezTo>
                    <a:pt x="677" y="2117"/>
                    <a:pt x="677" y="2117"/>
                    <a:pt x="677" y="2117"/>
                  </a:cubicBezTo>
                  <a:cubicBezTo>
                    <a:pt x="681" y="2108"/>
                    <a:pt x="681" y="2108"/>
                    <a:pt x="681" y="2108"/>
                  </a:cubicBezTo>
                  <a:lnTo>
                    <a:pt x="672" y="2109"/>
                  </a:lnTo>
                  <a:close/>
                  <a:moveTo>
                    <a:pt x="1016" y="2149"/>
                  </a:moveTo>
                  <a:cubicBezTo>
                    <a:pt x="1016" y="2149"/>
                    <a:pt x="1016" y="2150"/>
                    <a:pt x="1016" y="2150"/>
                  </a:cubicBezTo>
                  <a:cubicBezTo>
                    <a:pt x="1016" y="2150"/>
                    <a:pt x="1016" y="2149"/>
                    <a:pt x="1016" y="2149"/>
                  </a:cubicBezTo>
                  <a:close/>
                  <a:moveTo>
                    <a:pt x="1257" y="1379"/>
                  </a:moveTo>
                  <a:cubicBezTo>
                    <a:pt x="1254" y="1386"/>
                    <a:pt x="1254" y="1386"/>
                    <a:pt x="1254" y="1386"/>
                  </a:cubicBezTo>
                  <a:cubicBezTo>
                    <a:pt x="1265" y="1387"/>
                    <a:pt x="1265" y="1387"/>
                    <a:pt x="1265" y="1387"/>
                  </a:cubicBezTo>
                  <a:lnTo>
                    <a:pt x="1257" y="1379"/>
                  </a:lnTo>
                  <a:close/>
                  <a:moveTo>
                    <a:pt x="1113" y="1394"/>
                  </a:moveTo>
                  <a:cubicBezTo>
                    <a:pt x="1109" y="1402"/>
                    <a:pt x="1109" y="1402"/>
                    <a:pt x="1109" y="1402"/>
                  </a:cubicBezTo>
                  <a:cubicBezTo>
                    <a:pt x="1119" y="1403"/>
                    <a:pt x="1119" y="1403"/>
                    <a:pt x="1119" y="1403"/>
                  </a:cubicBezTo>
                  <a:lnTo>
                    <a:pt x="1113" y="1394"/>
                  </a:lnTo>
                  <a:close/>
                  <a:moveTo>
                    <a:pt x="1013" y="2245"/>
                  </a:moveTo>
                  <a:cubicBezTo>
                    <a:pt x="1005" y="2244"/>
                    <a:pt x="1005" y="2244"/>
                    <a:pt x="1005" y="2244"/>
                  </a:cubicBezTo>
                  <a:cubicBezTo>
                    <a:pt x="997" y="2247"/>
                    <a:pt x="997" y="2247"/>
                    <a:pt x="997" y="2247"/>
                  </a:cubicBezTo>
                  <a:cubicBezTo>
                    <a:pt x="1014" y="2265"/>
                    <a:pt x="1014" y="2265"/>
                    <a:pt x="1014" y="2265"/>
                  </a:cubicBezTo>
                  <a:cubicBezTo>
                    <a:pt x="1018" y="2253"/>
                    <a:pt x="1018" y="2253"/>
                    <a:pt x="1018" y="2253"/>
                  </a:cubicBezTo>
                  <a:cubicBezTo>
                    <a:pt x="1027" y="2251"/>
                    <a:pt x="1027" y="2251"/>
                    <a:pt x="1027" y="2251"/>
                  </a:cubicBezTo>
                  <a:cubicBezTo>
                    <a:pt x="1021" y="2239"/>
                    <a:pt x="1021" y="2239"/>
                    <a:pt x="1021" y="2239"/>
                  </a:cubicBezTo>
                  <a:cubicBezTo>
                    <a:pt x="1021" y="2239"/>
                    <a:pt x="1022" y="2245"/>
                    <a:pt x="1013" y="2245"/>
                  </a:cubicBezTo>
                  <a:close/>
                  <a:moveTo>
                    <a:pt x="70" y="2250"/>
                  </a:moveTo>
                  <a:cubicBezTo>
                    <a:pt x="80" y="2250"/>
                    <a:pt x="80" y="2250"/>
                    <a:pt x="80" y="2250"/>
                  </a:cubicBezTo>
                  <a:cubicBezTo>
                    <a:pt x="75" y="2238"/>
                    <a:pt x="75" y="2238"/>
                    <a:pt x="75" y="2238"/>
                  </a:cubicBezTo>
                  <a:lnTo>
                    <a:pt x="70" y="2250"/>
                  </a:lnTo>
                  <a:close/>
                  <a:moveTo>
                    <a:pt x="455" y="2516"/>
                  </a:moveTo>
                  <a:cubicBezTo>
                    <a:pt x="467" y="2517"/>
                    <a:pt x="469" y="2508"/>
                    <a:pt x="469" y="2508"/>
                  </a:cubicBezTo>
                  <a:cubicBezTo>
                    <a:pt x="465" y="2496"/>
                    <a:pt x="465" y="2496"/>
                    <a:pt x="465" y="2496"/>
                  </a:cubicBezTo>
                  <a:cubicBezTo>
                    <a:pt x="465" y="2496"/>
                    <a:pt x="461" y="2503"/>
                    <a:pt x="457" y="2506"/>
                  </a:cubicBezTo>
                  <a:cubicBezTo>
                    <a:pt x="453" y="2509"/>
                    <a:pt x="451" y="2501"/>
                    <a:pt x="440" y="2497"/>
                  </a:cubicBezTo>
                  <a:cubicBezTo>
                    <a:pt x="429" y="2492"/>
                    <a:pt x="429" y="2511"/>
                    <a:pt x="429" y="2511"/>
                  </a:cubicBezTo>
                  <a:cubicBezTo>
                    <a:pt x="429" y="2511"/>
                    <a:pt x="436" y="2505"/>
                    <a:pt x="441" y="2506"/>
                  </a:cubicBezTo>
                  <a:cubicBezTo>
                    <a:pt x="447" y="2507"/>
                    <a:pt x="444" y="2515"/>
                    <a:pt x="455" y="2516"/>
                  </a:cubicBezTo>
                  <a:close/>
                  <a:moveTo>
                    <a:pt x="483" y="1957"/>
                  </a:moveTo>
                  <a:cubicBezTo>
                    <a:pt x="483" y="1949"/>
                    <a:pt x="472" y="1954"/>
                    <a:pt x="473" y="1958"/>
                  </a:cubicBezTo>
                  <a:cubicBezTo>
                    <a:pt x="473" y="1958"/>
                    <a:pt x="483" y="1966"/>
                    <a:pt x="483" y="1957"/>
                  </a:cubicBezTo>
                  <a:close/>
                  <a:moveTo>
                    <a:pt x="454" y="2993"/>
                  </a:moveTo>
                  <a:cubicBezTo>
                    <a:pt x="454" y="2993"/>
                    <a:pt x="467" y="2993"/>
                    <a:pt x="467" y="3000"/>
                  </a:cubicBezTo>
                  <a:cubicBezTo>
                    <a:pt x="467" y="3007"/>
                    <a:pt x="473" y="2985"/>
                    <a:pt x="473" y="2985"/>
                  </a:cubicBezTo>
                  <a:cubicBezTo>
                    <a:pt x="473" y="2985"/>
                    <a:pt x="455" y="2987"/>
                    <a:pt x="454" y="2993"/>
                  </a:cubicBezTo>
                  <a:close/>
                  <a:moveTo>
                    <a:pt x="9" y="2279"/>
                  </a:moveTo>
                  <a:cubicBezTo>
                    <a:pt x="18" y="2277"/>
                    <a:pt x="18" y="2277"/>
                    <a:pt x="18" y="2277"/>
                  </a:cubicBezTo>
                  <a:cubicBezTo>
                    <a:pt x="18" y="2277"/>
                    <a:pt x="21" y="2292"/>
                    <a:pt x="28" y="2292"/>
                  </a:cubicBezTo>
                  <a:cubicBezTo>
                    <a:pt x="35" y="2292"/>
                    <a:pt x="36" y="2286"/>
                    <a:pt x="36" y="2286"/>
                  </a:cubicBezTo>
                  <a:cubicBezTo>
                    <a:pt x="42" y="2291"/>
                    <a:pt x="42" y="2291"/>
                    <a:pt x="42" y="2291"/>
                  </a:cubicBezTo>
                  <a:cubicBezTo>
                    <a:pt x="46" y="2287"/>
                    <a:pt x="46" y="2287"/>
                    <a:pt x="46" y="2287"/>
                  </a:cubicBezTo>
                  <a:cubicBezTo>
                    <a:pt x="46" y="2287"/>
                    <a:pt x="16" y="2269"/>
                    <a:pt x="10" y="2269"/>
                  </a:cubicBezTo>
                  <a:cubicBezTo>
                    <a:pt x="4" y="2269"/>
                    <a:pt x="0" y="2281"/>
                    <a:pt x="9" y="2279"/>
                  </a:cubicBezTo>
                  <a:close/>
                  <a:moveTo>
                    <a:pt x="528" y="2951"/>
                  </a:moveTo>
                  <a:cubicBezTo>
                    <a:pt x="528" y="2941"/>
                    <a:pt x="528" y="2941"/>
                    <a:pt x="528" y="2941"/>
                  </a:cubicBezTo>
                  <a:cubicBezTo>
                    <a:pt x="521" y="2950"/>
                    <a:pt x="521" y="2950"/>
                    <a:pt x="521" y="2950"/>
                  </a:cubicBezTo>
                  <a:lnTo>
                    <a:pt x="528" y="2951"/>
                  </a:lnTo>
                  <a:close/>
                  <a:moveTo>
                    <a:pt x="429" y="3046"/>
                  </a:moveTo>
                  <a:cubicBezTo>
                    <a:pt x="429" y="3046"/>
                    <a:pt x="436" y="3047"/>
                    <a:pt x="446" y="3045"/>
                  </a:cubicBezTo>
                  <a:cubicBezTo>
                    <a:pt x="456" y="3044"/>
                    <a:pt x="444" y="3036"/>
                    <a:pt x="443" y="3029"/>
                  </a:cubicBezTo>
                  <a:cubicBezTo>
                    <a:pt x="443" y="3021"/>
                    <a:pt x="448" y="3023"/>
                    <a:pt x="449" y="3019"/>
                  </a:cubicBezTo>
                  <a:cubicBezTo>
                    <a:pt x="451" y="3016"/>
                    <a:pt x="453" y="3013"/>
                    <a:pt x="437" y="3011"/>
                  </a:cubicBezTo>
                  <a:cubicBezTo>
                    <a:pt x="437" y="3011"/>
                    <a:pt x="437" y="3011"/>
                    <a:pt x="431" y="3011"/>
                  </a:cubicBezTo>
                  <a:cubicBezTo>
                    <a:pt x="424" y="3012"/>
                    <a:pt x="421" y="3031"/>
                    <a:pt x="421" y="3031"/>
                  </a:cubicBezTo>
                  <a:cubicBezTo>
                    <a:pt x="429" y="3036"/>
                    <a:pt x="429" y="3036"/>
                    <a:pt x="429" y="3036"/>
                  </a:cubicBezTo>
                  <a:lnTo>
                    <a:pt x="429" y="3046"/>
                  </a:lnTo>
                  <a:close/>
                  <a:moveTo>
                    <a:pt x="686" y="2353"/>
                  </a:moveTo>
                  <a:cubicBezTo>
                    <a:pt x="686" y="2361"/>
                    <a:pt x="695" y="2364"/>
                    <a:pt x="701" y="2359"/>
                  </a:cubicBezTo>
                  <a:cubicBezTo>
                    <a:pt x="701" y="2359"/>
                    <a:pt x="703" y="2353"/>
                    <a:pt x="699" y="2353"/>
                  </a:cubicBezTo>
                  <a:cubicBezTo>
                    <a:pt x="694" y="2353"/>
                    <a:pt x="697" y="2335"/>
                    <a:pt x="697" y="2335"/>
                  </a:cubicBezTo>
                  <a:cubicBezTo>
                    <a:pt x="697" y="2335"/>
                    <a:pt x="691" y="2332"/>
                    <a:pt x="686" y="2335"/>
                  </a:cubicBezTo>
                  <a:cubicBezTo>
                    <a:pt x="681" y="2339"/>
                    <a:pt x="691" y="2342"/>
                    <a:pt x="691" y="2342"/>
                  </a:cubicBezTo>
                  <a:cubicBezTo>
                    <a:pt x="691" y="2342"/>
                    <a:pt x="686" y="2346"/>
                    <a:pt x="686" y="2353"/>
                  </a:cubicBezTo>
                  <a:close/>
                  <a:moveTo>
                    <a:pt x="469" y="2922"/>
                  </a:moveTo>
                  <a:cubicBezTo>
                    <a:pt x="476" y="2929"/>
                    <a:pt x="476" y="2929"/>
                    <a:pt x="476" y="2929"/>
                  </a:cubicBezTo>
                  <a:cubicBezTo>
                    <a:pt x="467" y="2935"/>
                    <a:pt x="467" y="2935"/>
                    <a:pt x="467" y="2935"/>
                  </a:cubicBezTo>
                  <a:cubicBezTo>
                    <a:pt x="467" y="2935"/>
                    <a:pt x="480" y="2976"/>
                    <a:pt x="495" y="2980"/>
                  </a:cubicBezTo>
                  <a:cubicBezTo>
                    <a:pt x="505" y="2967"/>
                    <a:pt x="505" y="2967"/>
                    <a:pt x="505" y="2967"/>
                  </a:cubicBezTo>
                  <a:cubicBezTo>
                    <a:pt x="492" y="2951"/>
                    <a:pt x="492" y="2951"/>
                    <a:pt x="492" y="2951"/>
                  </a:cubicBezTo>
                  <a:cubicBezTo>
                    <a:pt x="505" y="2936"/>
                    <a:pt x="505" y="2936"/>
                    <a:pt x="505" y="2936"/>
                  </a:cubicBezTo>
                  <a:cubicBezTo>
                    <a:pt x="505" y="2936"/>
                    <a:pt x="495" y="2929"/>
                    <a:pt x="499" y="2927"/>
                  </a:cubicBezTo>
                  <a:cubicBezTo>
                    <a:pt x="502" y="2925"/>
                    <a:pt x="504" y="2935"/>
                    <a:pt x="513" y="2933"/>
                  </a:cubicBezTo>
                  <a:cubicBezTo>
                    <a:pt x="523" y="2931"/>
                    <a:pt x="545" y="2900"/>
                    <a:pt x="545" y="2900"/>
                  </a:cubicBezTo>
                  <a:cubicBezTo>
                    <a:pt x="549" y="2909"/>
                    <a:pt x="549" y="2909"/>
                    <a:pt x="549" y="2909"/>
                  </a:cubicBezTo>
                  <a:cubicBezTo>
                    <a:pt x="563" y="2891"/>
                    <a:pt x="563" y="2891"/>
                    <a:pt x="563" y="2891"/>
                  </a:cubicBezTo>
                  <a:cubicBezTo>
                    <a:pt x="563" y="2891"/>
                    <a:pt x="559" y="2887"/>
                    <a:pt x="562" y="2884"/>
                  </a:cubicBezTo>
                  <a:cubicBezTo>
                    <a:pt x="565" y="2881"/>
                    <a:pt x="573" y="2879"/>
                    <a:pt x="573" y="2881"/>
                  </a:cubicBezTo>
                  <a:cubicBezTo>
                    <a:pt x="573" y="2883"/>
                    <a:pt x="572" y="2887"/>
                    <a:pt x="574" y="2887"/>
                  </a:cubicBezTo>
                  <a:cubicBezTo>
                    <a:pt x="576" y="2887"/>
                    <a:pt x="583" y="2878"/>
                    <a:pt x="583" y="2878"/>
                  </a:cubicBezTo>
                  <a:cubicBezTo>
                    <a:pt x="568" y="2867"/>
                    <a:pt x="568" y="2867"/>
                    <a:pt x="568" y="2867"/>
                  </a:cubicBezTo>
                  <a:cubicBezTo>
                    <a:pt x="551" y="2885"/>
                    <a:pt x="551" y="2885"/>
                    <a:pt x="551" y="2885"/>
                  </a:cubicBezTo>
                  <a:cubicBezTo>
                    <a:pt x="551" y="2885"/>
                    <a:pt x="541" y="2874"/>
                    <a:pt x="531" y="2875"/>
                  </a:cubicBezTo>
                  <a:cubicBezTo>
                    <a:pt x="521" y="2875"/>
                    <a:pt x="539" y="2864"/>
                    <a:pt x="535" y="2857"/>
                  </a:cubicBezTo>
                  <a:cubicBezTo>
                    <a:pt x="532" y="2849"/>
                    <a:pt x="521" y="2840"/>
                    <a:pt x="521" y="2840"/>
                  </a:cubicBezTo>
                  <a:cubicBezTo>
                    <a:pt x="521" y="2840"/>
                    <a:pt x="534" y="2886"/>
                    <a:pt x="491" y="2874"/>
                  </a:cubicBezTo>
                  <a:cubicBezTo>
                    <a:pt x="497" y="2887"/>
                    <a:pt x="496" y="2903"/>
                    <a:pt x="485" y="2904"/>
                  </a:cubicBezTo>
                  <a:cubicBezTo>
                    <a:pt x="473" y="2905"/>
                    <a:pt x="469" y="2922"/>
                    <a:pt x="469" y="2922"/>
                  </a:cubicBezTo>
                  <a:close/>
                  <a:moveTo>
                    <a:pt x="495" y="2931"/>
                  </a:moveTo>
                  <a:cubicBezTo>
                    <a:pt x="496" y="2938"/>
                    <a:pt x="488" y="2929"/>
                    <a:pt x="488" y="2929"/>
                  </a:cubicBezTo>
                  <a:cubicBezTo>
                    <a:pt x="487" y="2924"/>
                    <a:pt x="495" y="2925"/>
                    <a:pt x="495" y="2931"/>
                  </a:cubicBezTo>
                  <a:close/>
                  <a:moveTo>
                    <a:pt x="626" y="2344"/>
                  </a:moveTo>
                  <a:cubicBezTo>
                    <a:pt x="631" y="2341"/>
                    <a:pt x="649" y="2336"/>
                    <a:pt x="643" y="2329"/>
                  </a:cubicBezTo>
                  <a:cubicBezTo>
                    <a:pt x="637" y="2323"/>
                    <a:pt x="627" y="2321"/>
                    <a:pt x="627" y="2321"/>
                  </a:cubicBezTo>
                  <a:cubicBezTo>
                    <a:pt x="613" y="2329"/>
                    <a:pt x="613" y="2329"/>
                    <a:pt x="613" y="2329"/>
                  </a:cubicBezTo>
                  <a:cubicBezTo>
                    <a:pt x="613" y="2337"/>
                    <a:pt x="621" y="2347"/>
                    <a:pt x="626" y="2344"/>
                  </a:cubicBezTo>
                  <a:close/>
                  <a:moveTo>
                    <a:pt x="703" y="2261"/>
                  </a:moveTo>
                  <a:cubicBezTo>
                    <a:pt x="711" y="2248"/>
                    <a:pt x="711" y="2248"/>
                    <a:pt x="711" y="2248"/>
                  </a:cubicBezTo>
                  <a:cubicBezTo>
                    <a:pt x="711" y="2248"/>
                    <a:pt x="713" y="2260"/>
                    <a:pt x="723" y="2257"/>
                  </a:cubicBezTo>
                  <a:cubicBezTo>
                    <a:pt x="733" y="2255"/>
                    <a:pt x="741" y="2242"/>
                    <a:pt x="741" y="2242"/>
                  </a:cubicBezTo>
                  <a:cubicBezTo>
                    <a:pt x="741" y="2242"/>
                    <a:pt x="734" y="2225"/>
                    <a:pt x="729" y="2225"/>
                  </a:cubicBezTo>
                  <a:cubicBezTo>
                    <a:pt x="725" y="2224"/>
                    <a:pt x="699" y="2245"/>
                    <a:pt x="693" y="2245"/>
                  </a:cubicBezTo>
                  <a:cubicBezTo>
                    <a:pt x="685" y="2245"/>
                    <a:pt x="703" y="2261"/>
                    <a:pt x="703" y="2261"/>
                  </a:cubicBezTo>
                  <a:close/>
                  <a:moveTo>
                    <a:pt x="541" y="2857"/>
                  </a:moveTo>
                  <a:cubicBezTo>
                    <a:pt x="550" y="2860"/>
                    <a:pt x="550" y="2860"/>
                    <a:pt x="550" y="2860"/>
                  </a:cubicBezTo>
                  <a:cubicBezTo>
                    <a:pt x="550" y="2860"/>
                    <a:pt x="566" y="2847"/>
                    <a:pt x="556" y="2846"/>
                  </a:cubicBezTo>
                  <a:cubicBezTo>
                    <a:pt x="546" y="2845"/>
                    <a:pt x="541" y="2857"/>
                    <a:pt x="541" y="2857"/>
                  </a:cubicBezTo>
                  <a:close/>
                  <a:moveTo>
                    <a:pt x="517" y="2477"/>
                  </a:moveTo>
                  <a:cubicBezTo>
                    <a:pt x="533" y="2476"/>
                    <a:pt x="533" y="2476"/>
                    <a:pt x="533" y="2476"/>
                  </a:cubicBezTo>
                  <a:cubicBezTo>
                    <a:pt x="533" y="2476"/>
                    <a:pt x="539" y="2488"/>
                    <a:pt x="547" y="2488"/>
                  </a:cubicBezTo>
                  <a:cubicBezTo>
                    <a:pt x="541" y="2473"/>
                    <a:pt x="542" y="2470"/>
                    <a:pt x="544" y="2470"/>
                  </a:cubicBezTo>
                  <a:cubicBezTo>
                    <a:pt x="546" y="2470"/>
                    <a:pt x="561" y="2491"/>
                    <a:pt x="561" y="2491"/>
                  </a:cubicBezTo>
                  <a:cubicBezTo>
                    <a:pt x="551" y="2492"/>
                    <a:pt x="551" y="2492"/>
                    <a:pt x="551" y="2492"/>
                  </a:cubicBezTo>
                  <a:cubicBezTo>
                    <a:pt x="551" y="2492"/>
                    <a:pt x="569" y="2513"/>
                    <a:pt x="565" y="2527"/>
                  </a:cubicBezTo>
                  <a:cubicBezTo>
                    <a:pt x="562" y="2542"/>
                    <a:pt x="547" y="2545"/>
                    <a:pt x="547" y="2545"/>
                  </a:cubicBezTo>
                  <a:cubicBezTo>
                    <a:pt x="547" y="2545"/>
                    <a:pt x="545" y="2581"/>
                    <a:pt x="563" y="2581"/>
                  </a:cubicBezTo>
                  <a:cubicBezTo>
                    <a:pt x="564" y="2584"/>
                    <a:pt x="581" y="2595"/>
                    <a:pt x="577" y="2595"/>
                  </a:cubicBezTo>
                  <a:cubicBezTo>
                    <a:pt x="574" y="2595"/>
                    <a:pt x="565" y="2588"/>
                    <a:pt x="565" y="2588"/>
                  </a:cubicBezTo>
                  <a:cubicBezTo>
                    <a:pt x="537" y="2604"/>
                    <a:pt x="537" y="2604"/>
                    <a:pt x="537" y="2604"/>
                  </a:cubicBezTo>
                  <a:cubicBezTo>
                    <a:pt x="537" y="2604"/>
                    <a:pt x="555" y="2636"/>
                    <a:pt x="552" y="2645"/>
                  </a:cubicBezTo>
                  <a:cubicBezTo>
                    <a:pt x="549" y="2655"/>
                    <a:pt x="537" y="2688"/>
                    <a:pt x="537" y="2688"/>
                  </a:cubicBezTo>
                  <a:cubicBezTo>
                    <a:pt x="537" y="2688"/>
                    <a:pt x="542" y="2703"/>
                    <a:pt x="523" y="2714"/>
                  </a:cubicBezTo>
                  <a:cubicBezTo>
                    <a:pt x="531" y="2723"/>
                    <a:pt x="538" y="2734"/>
                    <a:pt x="538" y="2734"/>
                  </a:cubicBezTo>
                  <a:cubicBezTo>
                    <a:pt x="533" y="2751"/>
                    <a:pt x="533" y="2751"/>
                    <a:pt x="533" y="2751"/>
                  </a:cubicBezTo>
                  <a:cubicBezTo>
                    <a:pt x="541" y="2767"/>
                    <a:pt x="541" y="2767"/>
                    <a:pt x="541" y="2767"/>
                  </a:cubicBezTo>
                  <a:cubicBezTo>
                    <a:pt x="541" y="2767"/>
                    <a:pt x="541" y="2803"/>
                    <a:pt x="556" y="2812"/>
                  </a:cubicBezTo>
                  <a:cubicBezTo>
                    <a:pt x="571" y="2821"/>
                    <a:pt x="589" y="2809"/>
                    <a:pt x="596" y="2810"/>
                  </a:cubicBezTo>
                  <a:cubicBezTo>
                    <a:pt x="603" y="2811"/>
                    <a:pt x="586" y="2833"/>
                    <a:pt x="586" y="2833"/>
                  </a:cubicBezTo>
                  <a:cubicBezTo>
                    <a:pt x="587" y="2853"/>
                    <a:pt x="594" y="2859"/>
                    <a:pt x="594" y="2857"/>
                  </a:cubicBezTo>
                  <a:cubicBezTo>
                    <a:pt x="594" y="2855"/>
                    <a:pt x="607" y="2836"/>
                    <a:pt x="607" y="2836"/>
                  </a:cubicBezTo>
                  <a:cubicBezTo>
                    <a:pt x="607" y="2836"/>
                    <a:pt x="599" y="2821"/>
                    <a:pt x="605" y="2819"/>
                  </a:cubicBezTo>
                  <a:cubicBezTo>
                    <a:pt x="611" y="2818"/>
                    <a:pt x="607" y="2824"/>
                    <a:pt x="615" y="2824"/>
                  </a:cubicBezTo>
                  <a:cubicBezTo>
                    <a:pt x="622" y="2824"/>
                    <a:pt x="629" y="2807"/>
                    <a:pt x="629" y="2807"/>
                  </a:cubicBezTo>
                  <a:cubicBezTo>
                    <a:pt x="608" y="2779"/>
                    <a:pt x="608" y="2779"/>
                    <a:pt x="608" y="2779"/>
                  </a:cubicBezTo>
                  <a:cubicBezTo>
                    <a:pt x="608" y="2779"/>
                    <a:pt x="621" y="2775"/>
                    <a:pt x="617" y="2767"/>
                  </a:cubicBezTo>
                  <a:cubicBezTo>
                    <a:pt x="614" y="2758"/>
                    <a:pt x="605" y="2738"/>
                    <a:pt x="605" y="2729"/>
                  </a:cubicBezTo>
                  <a:cubicBezTo>
                    <a:pt x="605" y="2721"/>
                    <a:pt x="625" y="2687"/>
                    <a:pt x="625" y="2687"/>
                  </a:cubicBezTo>
                  <a:cubicBezTo>
                    <a:pt x="625" y="2687"/>
                    <a:pt x="642" y="2685"/>
                    <a:pt x="642" y="2674"/>
                  </a:cubicBezTo>
                  <a:cubicBezTo>
                    <a:pt x="642" y="2663"/>
                    <a:pt x="616" y="2663"/>
                    <a:pt x="629" y="2641"/>
                  </a:cubicBezTo>
                  <a:cubicBezTo>
                    <a:pt x="615" y="2628"/>
                    <a:pt x="610" y="2625"/>
                    <a:pt x="610" y="2625"/>
                  </a:cubicBezTo>
                  <a:cubicBezTo>
                    <a:pt x="610" y="2625"/>
                    <a:pt x="611" y="2614"/>
                    <a:pt x="602" y="2611"/>
                  </a:cubicBezTo>
                  <a:cubicBezTo>
                    <a:pt x="593" y="2607"/>
                    <a:pt x="586" y="2592"/>
                    <a:pt x="593" y="2592"/>
                  </a:cubicBezTo>
                  <a:cubicBezTo>
                    <a:pt x="601" y="2592"/>
                    <a:pt x="601" y="2601"/>
                    <a:pt x="612" y="2601"/>
                  </a:cubicBezTo>
                  <a:cubicBezTo>
                    <a:pt x="623" y="2601"/>
                    <a:pt x="617" y="2584"/>
                    <a:pt x="624" y="2588"/>
                  </a:cubicBezTo>
                  <a:cubicBezTo>
                    <a:pt x="631" y="2592"/>
                    <a:pt x="622" y="2605"/>
                    <a:pt x="622" y="2605"/>
                  </a:cubicBezTo>
                  <a:cubicBezTo>
                    <a:pt x="622" y="2605"/>
                    <a:pt x="647" y="2609"/>
                    <a:pt x="646" y="2599"/>
                  </a:cubicBezTo>
                  <a:cubicBezTo>
                    <a:pt x="645" y="2588"/>
                    <a:pt x="631" y="2577"/>
                    <a:pt x="631" y="2566"/>
                  </a:cubicBezTo>
                  <a:cubicBezTo>
                    <a:pt x="631" y="2555"/>
                    <a:pt x="637" y="2553"/>
                    <a:pt x="637" y="2553"/>
                  </a:cubicBezTo>
                  <a:cubicBezTo>
                    <a:pt x="633" y="2547"/>
                    <a:pt x="633" y="2547"/>
                    <a:pt x="633" y="2547"/>
                  </a:cubicBezTo>
                  <a:cubicBezTo>
                    <a:pt x="644" y="2539"/>
                    <a:pt x="644" y="2539"/>
                    <a:pt x="644" y="2539"/>
                  </a:cubicBezTo>
                  <a:cubicBezTo>
                    <a:pt x="644" y="2539"/>
                    <a:pt x="647" y="2557"/>
                    <a:pt x="647" y="2555"/>
                  </a:cubicBezTo>
                  <a:cubicBezTo>
                    <a:pt x="647" y="2553"/>
                    <a:pt x="665" y="2519"/>
                    <a:pt x="664" y="2515"/>
                  </a:cubicBezTo>
                  <a:cubicBezTo>
                    <a:pt x="663" y="2510"/>
                    <a:pt x="673" y="2507"/>
                    <a:pt x="673" y="2507"/>
                  </a:cubicBezTo>
                  <a:cubicBezTo>
                    <a:pt x="673" y="2507"/>
                    <a:pt x="670" y="2495"/>
                    <a:pt x="670" y="2493"/>
                  </a:cubicBezTo>
                  <a:cubicBezTo>
                    <a:pt x="670" y="2491"/>
                    <a:pt x="695" y="2462"/>
                    <a:pt x="685" y="2459"/>
                  </a:cubicBezTo>
                  <a:cubicBezTo>
                    <a:pt x="674" y="2457"/>
                    <a:pt x="661" y="2461"/>
                    <a:pt x="661" y="2461"/>
                  </a:cubicBezTo>
                  <a:cubicBezTo>
                    <a:pt x="658" y="2445"/>
                    <a:pt x="658" y="2445"/>
                    <a:pt x="658" y="2445"/>
                  </a:cubicBezTo>
                  <a:cubicBezTo>
                    <a:pt x="641" y="2443"/>
                    <a:pt x="641" y="2443"/>
                    <a:pt x="641" y="2443"/>
                  </a:cubicBezTo>
                  <a:cubicBezTo>
                    <a:pt x="641" y="2443"/>
                    <a:pt x="636" y="2433"/>
                    <a:pt x="641" y="2433"/>
                  </a:cubicBezTo>
                  <a:cubicBezTo>
                    <a:pt x="647" y="2433"/>
                    <a:pt x="667" y="2437"/>
                    <a:pt x="667" y="2437"/>
                  </a:cubicBezTo>
                  <a:cubicBezTo>
                    <a:pt x="667" y="2437"/>
                    <a:pt x="671" y="2454"/>
                    <a:pt x="681" y="2451"/>
                  </a:cubicBezTo>
                  <a:cubicBezTo>
                    <a:pt x="691" y="2449"/>
                    <a:pt x="700" y="2428"/>
                    <a:pt x="700" y="2428"/>
                  </a:cubicBezTo>
                  <a:cubicBezTo>
                    <a:pt x="700" y="2428"/>
                    <a:pt x="703" y="2419"/>
                    <a:pt x="707" y="2419"/>
                  </a:cubicBezTo>
                  <a:cubicBezTo>
                    <a:pt x="710" y="2419"/>
                    <a:pt x="711" y="2410"/>
                    <a:pt x="707" y="2410"/>
                  </a:cubicBezTo>
                  <a:cubicBezTo>
                    <a:pt x="704" y="2410"/>
                    <a:pt x="701" y="2421"/>
                    <a:pt x="698" y="2422"/>
                  </a:cubicBezTo>
                  <a:cubicBezTo>
                    <a:pt x="695" y="2423"/>
                    <a:pt x="671" y="2404"/>
                    <a:pt x="671" y="2404"/>
                  </a:cubicBezTo>
                  <a:cubicBezTo>
                    <a:pt x="671" y="2404"/>
                    <a:pt x="662" y="2421"/>
                    <a:pt x="659" y="2416"/>
                  </a:cubicBezTo>
                  <a:cubicBezTo>
                    <a:pt x="655" y="2411"/>
                    <a:pt x="666" y="2403"/>
                    <a:pt x="661" y="2399"/>
                  </a:cubicBezTo>
                  <a:cubicBezTo>
                    <a:pt x="657" y="2396"/>
                    <a:pt x="644" y="2391"/>
                    <a:pt x="647" y="2387"/>
                  </a:cubicBezTo>
                  <a:cubicBezTo>
                    <a:pt x="649" y="2383"/>
                    <a:pt x="674" y="2373"/>
                    <a:pt x="666" y="2363"/>
                  </a:cubicBezTo>
                  <a:cubicBezTo>
                    <a:pt x="658" y="2353"/>
                    <a:pt x="661" y="2348"/>
                    <a:pt x="652" y="2348"/>
                  </a:cubicBezTo>
                  <a:cubicBezTo>
                    <a:pt x="643" y="2348"/>
                    <a:pt x="631" y="2381"/>
                    <a:pt x="631" y="2381"/>
                  </a:cubicBezTo>
                  <a:cubicBezTo>
                    <a:pt x="631" y="2381"/>
                    <a:pt x="641" y="2388"/>
                    <a:pt x="639" y="2388"/>
                  </a:cubicBezTo>
                  <a:cubicBezTo>
                    <a:pt x="636" y="2388"/>
                    <a:pt x="622" y="2401"/>
                    <a:pt x="622" y="2404"/>
                  </a:cubicBezTo>
                  <a:cubicBezTo>
                    <a:pt x="622" y="2407"/>
                    <a:pt x="597" y="2409"/>
                    <a:pt x="597" y="2409"/>
                  </a:cubicBezTo>
                  <a:cubicBezTo>
                    <a:pt x="587" y="2397"/>
                    <a:pt x="587" y="2397"/>
                    <a:pt x="587" y="2397"/>
                  </a:cubicBezTo>
                  <a:cubicBezTo>
                    <a:pt x="597" y="2383"/>
                    <a:pt x="597" y="2383"/>
                    <a:pt x="597" y="2383"/>
                  </a:cubicBezTo>
                  <a:cubicBezTo>
                    <a:pt x="611" y="2381"/>
                    <a:pt x="611" y="2381"/>
                    <a:pt x="611" y="2381"/>
                  </a:cubicBezTo>
                  <a:cubicBezTo>
                    <a:pt x="603" y="2363"/>
                    <a:pt x="603" y="2363"/>
                    <a:pt x="603" y="2363"/>
                  </a:cubicBezTo>
                  <a:cubicBezTo>
                    <a:pt x="575" y="2407"/>
                    <a:pt x="575" y="2407"/>
                    <a:pt x="575" y="2407"/>
                  </a:cubicBezTo>
                  <a:cubicBezTo>
                    <a:pt x="565" y="2409"/>
                    <a:pt x="565" y="2409"/>
                    <a:pt x="565" y="2409"/>
                  </a:cubicBezTo>
                  <a:cubicBezTo>
                    <a:pt x="561" y="2427"/>
                    <a:pt x="561" y="2427"/>
                    <a:pt x="561" y="2427"/>
                  </a:cubicBezTo>
                  <a:cubicBezTo>
                    <a:pt x="549" y="2415"/>
                    <a:pt x="549" y="2415"/>
                    <a:pt x="549" y="2415"/>
                  </a:cubicBezTo>
                  <a:cubicBezTo>
                    <a:pt x="562" y="2404"/>
                    <a:pt x="562" y="2404"/>
                    <a:pt x="562" y="2404"/>
                  </a:cubicBezTo>
                  <a:cubicBezTo>
                    <a:pt x="513" y="2409"/>
                    <a:pt x="513" y="2409"/>
                    <a:pt x="513" y="2409"/>
                  </a:cubicBezTo>
                  <a:cubicBezTo>
                    <a:pt x="513" y="2409"/>
                    <a:pt x="504" y="2433"/>
                    <a:pt x="498" y="2433"/>
                  </a:cubicBezTo>
                  <a:cubicBezTo>
                    <a:pt x="491" y="2439"/>
                    <a:pt x="487" y="2454"/>
                    <a:pt x="487" y="2454"/>
                  </a:cubicBezTo>
                  <a:cubicBezTo>
                    <a:pt x="487" y="2454"/>
                    <a:pt x="515" y="2461"/>
                    <a:pt x="517" y="2477"/>
                  </a:cubicBezTo>
                  <a:close/>
                  <a:moveTo>
                    <a:pt x="558" y="2617"/>
                  </a:moveTo>
                  <a:cubicBezTo>
                    <a:pt x="558" y="2617"/>
                    <a:pt x="567" y="2624"/>
                    <a:pt x="567" y="2629"/>
                  </a:cubicBezTo>
                  <a:cubicBezTo>
                    <a:pt x="567" y="2635"/>
                    <a:pt x="555" y="2621"/>
                    <a:pt x="558" y="2617"/>
                  </a:cubicBezTo>
                  <a:close/>
                  <a:moveTo>
                    <a:pt x="637" y="2523"/>
                  </a:moveTo>
                  <a:cubicBezTo>
                    <a:pt x="637" y="2523"/>
                    <a:pt x="644" y="2517"/>
                    <a:pt x="650" y="2521"/>
                  </a:cubicBezTo>
                  <a:cubicBezTo>
                    <a:pt x="656" y="2524"/>
                    <a:pt x="639" y="2525"/>
                    <a:pt x="641" y="2530"/>
                  </a:cubicBezTo>
                  <a:cubicBezTo>
                    <a:pt x="643" y="2535"/>
                    <a:pt x="630" y="2531"/>
                    <a:pt x="630" y="2531"/>
                  </a:cubicBezTo>
                  <a:cubicBezTo>
                    <a:pt x="630" y="2520"/>
                    <a:pt x="637" y="2523"/>
                    <a:pt x="637" y="2523"/>
                  </a:cubicBezTo>
                  <a:close/>
                  <a:moveTo>
                    <a:pt x="582" y="2787"/>
                  </a:moveTo>
                  <a:cubicBezTo>
                    <a:pt x="574" y="2787"/>
                    <a:pt x="575" y="2777"/>
                    <a:pt x="582" y="2777"/>
                  </a:cubicBezTo>
                  <a:cubicBezTo>
                    <a:pt x="589" y="2777"/>
                    <a:pt x="589" y="2786"/>
                    <a:pt x="582" y="2787"/>
                  </a:cubicBezTo>
                  <a:close/>
                  <a:moveTo>
                    <a:pt x="574" y="2504"/>
                  </a:moveTo>
                  <a:cubicBezTo>
                    <a:pt x="585" y="2504"/>
                    <a:pt x="585" y="2504"/>
                    <a:pt x="585" y="2504"/>
                  </a:cubicBezTo>
                  <a:cubicBezTo>
                    <a:pt x="581" y="2515"/>
                    <a:pt x="581" y="2515"/>
                    <a:pt x="581" y="2515"/>
                  </a:cubicBezTo>
                  <a:cubicBezTo>
                    <a:pt x="581" y="2515"/>
                    <a:pt x="587" y="2525"/>
                    <a:pt x="595" y="2524"/>
                  </a:cubicBezTo>
                  <a:cubicBezTo>
                    <a:pt x="602" y="2523"/>
                    <a:pt x="617" y="2512"/>
                    <a:pt x="615" y="2519"/>
                  </a:cubicBezTo>
                  <a:cubicBezTo>
                    <a:pt x="614" y="2525"/>
                    <a:pt x="608" y="2529"/>
                    <a:pt x="608" y="2529"/>
                  </a:cubicBezTo>
                  <a:cubicBezTo>
                    <a:pt x="608" y="2529"/>
                    <a:pt x="613" y="2537"/>
                    <a:pt x="607" y="2538"/>
                  </a:cubicBezTo>
                  <a:cubicBezTo>
                    <a:pt x="601" y="2539"/>
                    <a:pt x="597" y="2535"/>
                    <a:pt x="597" y="2535"/>
                  </a:cubicBezTo>
                  <a:cubicBezTo>
                    <a:pt x="597" y="2535"/>
                    <a:pt x="595" y="2539"/>
                    <a:pt x="585" y="2539"/>
                  </a:cubicBezTo>
                  <a:cubicBezTo>
                    <a:pt x="575" y="2538"/>
                    <a:pt x="574" y="2528"/>
                    <a:pt x="574" y="2528"/>
                  </a:cubicBezTo>
                  <a:cubicBezTo>
                    <a:pt x="573" y="2515"/>
                    <a:pt x="573" y="2515"/>
                    <a:pt x="573" y="2515"/>
                  </a:cubicBezTo>
                  <a:lnTo>
                    <a:pt x="574" y="2504"/>
                  </a:lnTo>
                  <a:close/>
                  <a:moveTo>
                    <a:pt x="1362" y="4632"/>
                  </a:moveTo>
                  <a:cubicBezTo>
                    <a:pt x="1352" y="4621"/>
                    <a:pt x="1352" y="4621"/>
                    <a:pt x="1352" y="4621"/>
                  </a:cubicBezTo>
                  <a:cubicBezTo>
                    <a:pt x="1350" y="4626"/>
                    <a:pt x="1354" y="4639"/>
                    <a:pt x="1354" y="4639"/>
                  </a:cubicBezTo>
                  <a:lnTo>
                    <a:pt x="1362" y="4632"/>
                  </a:lnTo>
                  <a:close/>
                  <a:moveTo>
                    <a:pt x="1216" y="4958"/>
                  </a:moveTo>
                  <a:cubicBezTo>
                    <a:pt x="1216" y="4958"/>
                    <a:pt x="1252" y="4946"/>
                    <a:pt x="1261" y="4946"/>
                  </a:cubicBezTo>
                  <a:cubicBezTo>
                    <a:pt x="1270" y="4946"/>
                    <a:pt x="1291" y="4967"/>
                    <a:pt x="1291" y="4967"/>
                  </a:cubicBezTo>
                  <a:cubicBezTo>
                    <a:pt x="1305" y="4949"/>
                    <a:pt x="1305" y="4949"/>
                    <a:pt x="1305" y="4949"/>
                  </a:cubicBezTo>
                  <a:cubicBezTo>
                    <a:pt x="1310" y="4958"/>
                    <a:pt x="1310" y="4958"/>
                    <a:pt x="1310" y="4958"/>
                  </a:cubicBezTo>
                  <a:cubicBezTo>
                    <a:pt x="1340" y="4923"/>
                    <a:pt x="1340" y="4923"/>
                    <a:pt x="1340" y="4923"/>
                  </a:cubicBezTo>
                  <a:cubicBezTo>
                    <a:pt x="1340" y="4912"/>
                    <a:pt x="1340" y="4912"/>
                    <a:pt x="1340" y="4912"/>
                  </a:cubicBezTo>
                  <a:cubicBezTo>
                    <a:pt x="1354" y="4903"/>
                    <a:pt x="1354" y="4903"/>
                    <a:pt x="1354" y="4903"/>
                  </a:cubicBezTo>
                  <a:cubicBezTo>
                    <a:pt x="1354" y="4903"/>
                    <a:pt x="1351" y="4891"/>
                    <a:pt x="1349" y="4881"/>
                  </a:cubicBezTo>
                  <a:cubicBezTo>
                    <a:pt x="1347" y="4876"/>
                    <a:pt x="1345" y="4872"/>
                    <a:pt x="1343" y="4871"/>
                  </a:cubicBezTo>
                  <a:cubicBezTo>
                    <a:pt x="1337" y="4866"/>
                    <a:pt x="1334" y="4854"/>
                    <a:pt x="1334" y="4854"/>
                  </a:cubicBezTo>
                  <a:cubicBezTo>
                    <a:pt x="1316" y="4854"/>
                    <a:pt x="1316" y="4854"/>
                    <a:pt x="1316" y="4854"/>
                  </a:cubicBezTo>
                  <a:cubicBezTo>
                    <a:pt x="1316" y="4854"/>
                    <a:pt x="1317" y="4872"/>
                    <a:pt x="1308" y="4872"/>
                  </a:cubicBezTo>
                  <a:cubicBezTo>
                    <a:pt x="1299" y="4872"/>
                    <a:pt x="1291" y="4868"/>
                    <a:pt x="1291" y="4868"/>
                  </a:cubicBezTo>
                  <a:cubicBezTo>
                    <a:pt x="1274" y="4876"/>
                    <a:pt x="1274" y="4876"/>
                    <a:pt x="1274" y="4876"/>
                  </a:cubicBezTo>
                  <a:cubicBezTo>
                    <a:pt x="1288" y="4849"/>
                    <a:pt x="1288" y="4849"/>
                    <a:pt x="1288" y="4849"/>
                  </a:cubicBezTo>
                  <a:cubicBezTo>
                    <a:pt x="1288" y="4849"/>
                    <a:pt x="1299" y="4854"/>
                    <a:pt x="1299" y="4849"/>
                  </a:cubicBezTo>
                  <a:cubicBezTo>
                    <a:pt x="1299" y="4845"/>
                    <a:pt x="1308" y="4806"/>
                    <a:pt x="1308" y="4806"/>
                  </a:cubicBezTo>
                  <a:cubicBezTo>
                    <a:pt x="1296" y="4791"/>
                    <a:pt x="1296" y="4791"/>
                    <a:pt x="1296" y="4791"/>
                  </a:cubicBezTo>
                  <a:cubicBezTo>
                    <a:pt x="1296" y="4791"/>
                    <a:pt x="1311" y="4788"/>
                    <a:pt x="1305" y="4783"/>
                  </a:cubicBezTo>
                  <a:cubicBezTo>
                    <a:pt x="1299" y="4779"/>
                    <a:pt x="1291" y="4768"/>
                    <a:pt x="1291" y="4768"/>
                  </a:cubicBezTo>
                  <a:cubicBezTo>
                    <a:pt x="1297" y="4762"/>
                    <a:pt x="1297" y="4762"/>
                    <a:pt x="1297" y="4762"/>
                  </a:cubicBezTo>
                  <a:cubicBezTo>
                    <a:pt x="1294" y="4751"/>
                    <a:pt x="1294" y="4751"/>
                    <a:pt x="1294" y="4751"/>
                  </a:cubicBezTo>
                  <a:cubicBezTo>
                    <a:pt x="1279" y="4736"/>
                    <a:pt x="1279" y="4736"/>
                    <a:pt x="1279" y="4736"/>
                  </a:cubicBezTo>
                  <a:cubicBezTo>
                    <a:pt x="1283" y="4719"/>
                    <a:pt x="1283" y="4719"/>
                    <a:pt x="1283" y="4719"/>
                  </a:cubicBezTo>
                  <a:cubicBezTo>
                    <a:pt x="1283" y="4719"/>
                    <a:pt x="1288" y="4688"/>
                    <a:pt x="1294" y="4697"/>
                  </a:cubicBezTo>
                  <a:cubicBezTo>
                    <a:pt x="1300" y="4707"/>
                    <a:pt x="1305" y="4717"/>
                    <a:pt x="1305" y="4717"/>
                  </a:cubicBezTo>
                  <a:cubicBezTo>
                    <a:pt x="1317" y="4717"/>
                    <a:pt x="1317" y="4717"/>
                    <a:pt x="1317" y="4717"/>
                  </a:cubicBezTo>
                  <a:cubicBezTo>
                    <a:pt x="1323" y="4726"/>
                    <a:pt x="1323" y="4726"/>
                    <a:pt x="1323" y="4726"/>
                  </a:cubicBezTo>
                  <a:cubicBezTo>
                    <a:pt x="1348" y="4737"/>
                    <a:pt x="1348" y="4737"/>
                    <a:pt x="1348" y="4737"/>
                  </a:cubicBezTo>
                  <a:cubicBezTo>
                    <a:pt x="1348" y="4737"/>
                    <a:pt x="1343" y="4737"/>
                    <a:pt x="1343" y="4750"/>
                  </a:cubicBezTo>
                  <a:cubicBezTo>
                    <a:pt x="1343" y="4762"/>
                    <a:pt x="1349" y="4773"/>
                    <a:pt x="1349" y="4773"/>
                  </a:cubicBezTo>
                  <a:cubicBezTo>
                    <a:pt x="1354" y="4791"/>
                    <a:pt x="1354" y="4791"/>
                    <a:pt x="1354" y="4791"/>
                  </a:cubicBezTo>
                  <a:cubicBezTo>
                    <a:pt x="1359" y="4791"/>
                    <a:pt x="1359" y="4791"/>
                    <a:pt x="1359" y="4791"/>
                  </a:cubicBezTo>
                  <a:cubicBezTo>
                    <a:pt x="1340" y="4840"/>
                    <a:pt x="1340" y="4840"/>
                    <a:pt x="1340" y="4840"/>
                  </a:cubicBezTo>
                  <a:cubicBezTo>
                    <a:pt x="1354" y="4843"/>
                    <a:pt x="1354" y="4843"/>
                    <a:pt x="1354" y="4843"/>
                  </a:cubicBezTo>
                  <a:cubicBezTo>
                    <a:pt x="1354" y="4843"/>
                    <a:pt x="1360" y="4864"/>
                    <a:pt x="1368" y="4880"/>
                  </a:cubicBezTo>
                  <a:cubicBezTo>
                    <a:pt x="1375" y="4868"/>
                    <a:pt x="1375" y="4868"/>
                    <a:pt x="1375" y="4868"/>
                  </a:cubicBezTo>
                  <a:cubicBezTo>
                    <a:pt x="1373" y="4851"/>
                    <a:pt x="1373" y="4851"/>
                    <a:pt x="1373" y="4851"/>
                  </a:cubicBezTo>
                  <a:cubicBezTo>
                    <a:pt x="1373" y="4851"/>
                    <a:pt x="1381" y="4856"/>
                    <a:pt x="1385" y="4852"/>
                  </a:cubicBezTo>
                  <a:cubicBezTo>
                    <a:pt x="1389" y="4848"/>
                    <a:pt x="1382" y="4839"/>
                    <a:pt x="1382" y="4839"/>
                  </a:cubicBezTo>
                  <a:cubicBezTo>
                    <a:pt x="1383" y="4811"/>
                    <a:pt x="1383" y="4811"/>
                    <a:pt x="1383" y="4811"/>
                  </a:cubicBezTo>
                  <a:cubicBezTo>
                    <a:pt x="1383" y="4811"/>
                    <a:pt x="1397" y="4805"/>
                    <a:pt x="1398" y="4784"/>
                  </a:cubicBezTo>
                  <a:cubicBezTo>
                    <a:pt x="1399" y="4763"/>
                    <a:pt x="1380" y="4764"/>
                    <a:pt x="1380" y="4764"/>
                  </a:cubicBezTo>
                  <a:cubicBezTo>
                    <a:pt x="1379" y="4743"/>
                    <a:pt x="1379" y="4743"/>
                    <a:pt x="1379" y="4743"/>
                  </a:cubicBezTo>
                  <a:cubicBezTo>
                    <a:pt x="1379" y="4743"/>
                    <a:pt x="1376" y="4735"/>
                    <a:pt x="1375" y="4729"/>
                  </a:cubicBezTo>
                  <a:cubicBezTo>
                    <a:pt x="1374" y="4723"/>
                    <a:pt x="1380" y="4711"/>
                    <a:pt x="1380" y="4711"/>
                  </a:cubicBezTo>
                  <a:cubicBezTo>
                    <a:pt x="1358" y="4681"/>
                    <a:pt x="1358" y="4681"/>
                    <a:pt x="1358" y="4681"/>
                  </a:cubicBezTo>
                  <a:cubicBezTo>
                    <a:pt x="1352" y="4653"/>
                    <a:pt x="1352" y="4653"/>
                    <a:pt x="1352" y="4653"/>
                  </a:cubicBezTo>
                  <a:cubicBezTo>
                    <a:pt x="1331" y="4633"/>
                    <a:pt x="1331" y="4633"/>
                    <a:pt x="1331" y="4633"/>
                  </a:cubicBezTo>
                  <a:cubicBezTo>
                    <a:pt x="1305" y="4625"/>
                    <a:pt x="1305" y="4625"/>
                    <a:pt x="1305" y="4625"/>
                  </a:cubicBezTo>
                  <a:cubicBezTo>
                    <a:pt x="1305" y="4625"/>
                    <a:pt x="1301" y="4634"/>
                    <a:pt x="1289" y="4634"/>
                  </a:cubicBezTo>
                  <a:cubicBezTo>
                    <a:pt x="1277" y="4634"/>
                    <a:pt x="1259" y="4626"/>
                    <a:pt x="1259" y="4626"/>
                  </a:cubicBezTo>
                  <a:cubicBezTo>
                    <a:pt x="1259" y="4626"/>
                    <a:pt x="1258" y="4633"/>
                    <a:pt x="1247" y="4633"/>
                  </a:cubicBezTo>
                  <a:cubicBezTo>
                    <a:pt x="1236" y="4633"/>
                    <a:pt x="1218" y="4654"/>
                    <a:pt x="1175" y="4677"/>
                  </a:cubicBezTo>
                  <a:cubicBezTo>
                    <a:pt x="1177" y="4635"/>
                    <a:pt x="1215" y="4604"/>
                    <a:pt x="1253" y="4591"/>
                  </a:cubicBezTo>
                  <a:cubicBezTo>
                    <a:pt x="1291" y="4578"/>
                    <a:pt x="1284" y="4551"/>
                    <a:pt x="1278" y="4514"/>
                  </a:cubicBezTo>
                  <a:cubicBezTo>
                    <a:pt x="1257" y="4476"/>
                    <a:pt x="1243" y="4489"/>
                    <a:pt x="1243" y="4496"/>
                  </a:cubicBezTo>
                  <a:cubicBezTo>
                    <a:pt x="1243" y="4503"/>
                    <a:pt x="1250" y="4519"/>
                    <a:pt x="1250" y="4519"/>
                  </a:cubicBezTo>
                  <a:cubicBezTo>
                    <a:pt x="1231" y="4515"/>
                    <a:pt x="1231" y="4515"/>
                    <a:pt x="1231" y="4515"/>
                  </a:cubicBezTo>
                  <a:cubicBezTo>
                    <a:pt x="1231" y="4515"/>
                    <a:pt x="1235" y="4504"/>
                    <a:pt x="1237" y="4498"/>
                  </a:cubicBezTo>
                  <a:cubicBezTo>
                    <a:pt x="1239" y="4492"/>
                    <a:pt x="1219" y="4474"/>
                    <a:pt x="1219" y="4474"/>
                  </a:cubicBezTo>
                  <a:cubicBezTo>
                    <a:pt x="1215" y="4456"/>
                    <a:pt x="1215" y="4456"/>
                    <a:pt x="1215" y="4456"/>
                  </a:cubicBezTo>
                  <a:cubicBezTo>
                    <a:pt x="1199" y="4456"/>
                    <a:pt x="1199" y="4456"/>
                    <a:pt x="1199" y="4456"/>
                  </a:cubicBezTo>
                  <a:cubicBezTo>
                    <a:pt x="1198" y="4410"/>
                    <a:pt x="1150" y="4393"/>
                    <a:pt x="1150" y="4393"/>
                  </a:cubicBezTo>
                  <a:cubicBezTo>
                    <a:pt x="1162" y="4346"/>
                    <a:pt x="1162" y="4346"/>
                    <a:pt x="1162" y="4346"/>
                  </a:cubicBezTo>
                  <a:cubicBezTo>
                    <a:pt x="1162" y="4346"/>
                    <a:pt x="1144" y="4331"/>
                    <a:pt x="1144" y="4336"/>
                  </a:cubicBezTo>
                  <a:cubicBezTo>
                    <a:pt x="1144" y="4341"/>
                    <a:pt x="1128" y="4340"/>
                    <a:pt x="1128" y="4340"/>
                  </a:cubicBezTo>
                  <a:cubicBezTo>
                    <a:pt x="1125" y="4319"/>
                    <a:pt x="1125" y="4319"/>
                    <a:pt x="1125" y="4319"/>
                  </a:cubicBezTo>
                  <a:cubicBezTo>
                    <a:pt x="1125" y="4319"/>
                    <a:pt x="1135" y="4300"/>
                    <a:pt x="1135" y="4297"/>
                  </a:cubicBezTo>
                  <a:cubicBezTo>
                    <a:pt x="1135" y="4294"/>
                    <a:pt x="1126" y="4289"/>
                    <a:pt x="1126" y="4289"/>
                  </a:cubicBezTo>
                  <a:cubicBezTo>
                    <a:pt x="1126" y="4289"/>
                    <a:pt x="1130" y="4280"/>
                    <a:pt x="1135" y="4269"/>
                  </a:cubicBezTo>
                  <a:cubicBezTo>
                    <a:pt x="1140" y="4258"/>
                    <a:pt x="1111" y="4227"/>
                    <a:pt x="1111" y="4227"/>
                  </a:cubicBezTo>
                  <a:cubicBezTo>
                    <a:pt x="1096" y="4228"/>
                    <a:pt x="1096" y="4228"/>
                    <a:pt x="1096" y="4228"/>
                  </a:cubicBezTo>
                  <a:cubicBezTo>
                    <a:pt x="1096" y="4228"/>
                    <a:pt x="1078" y="4202"/>
                    <a:pt x="1078" y="4207"/>
                  </a:cubicBezTo>
                  <a:cubicBezTo>
                    <a:pt x="1078" y="4212"/>
                    <a:pt x="1070" y="4218"/>
                    <a:pt x="1036" y="4222"/>
                  </a:cubicBezTo>
                  <a:cubicBezTo>
                    <a:pt x="1012" y="4203"/>
                    <a:pt x="988" y="4197"/>
                    <a:pt x="988" y="4197"/>
                  </a:cubicBezTo>
                  <a:cubicBezTo>
                    <a:pt x="988" y="4197"/>
                    <a:pt x="976" y="4199"/>
                    <a:pt x="955" y="4199"/>
                  </a:cubicBezTo>
                  <a:cubicBezTo>
                    <a:pt x="939" y="4186"/>
                    <a:pt x="921" y="4191"/>
                    <a:pt x="921" y="4191"/>
                  </a:cubicBezTo>
                  <a:cubicBezTo>
                    <a:pt x="921" y="4191"/>
                    <a:pt x="912" y="4202"/>
                    <a:pt x="881" y="4221"/>
                  </a:cubicBezTo>
                  <a:cubicBezTo>
                    <a:pt x="828" y="4212"/>
                    <a:pt x="821" y="4245"/>
                    <a:pt x="821" y="4245"/>
                  </a:cubicBezTo>
                  <a:cubicBezTo>
                    <a:pt x="747" y="4243"/>
                    <a:pt x="747" y="4243"/>
                    <a:pt x="747" y="4243"/>
                  </a:cubicBezTo>
                  <a:cubicBezTo>
                    <a:pt x="716" y="4224"/>
                    <a:pt x="716" y="4224"/>
                    <a:pt x="716" y="4224"/>
                  </a:cubicBezTo>
                  <a:cubicBezTo>
                    <a:pt x="716" y="4224"/>
                    <a:pt x="716" y="4253"/>
                    <a:pt x="716" y="4256"/>
                  </a:cubicBezTo>
                  <a:cubicBezTo>
                    <a:pt x="716" y="4259"/>
                    <a:pt x="704" y="4289"/>
                    <a:pt x="704" y="4289"/>
                  </a:cubicBezTo>
                  <a:cubicBezTo>
                    <a:pt x="704" y="4289"/>
                    <a:pt x="705" y="4284"/>
                    <a:pt x="692" y="4295"/>
                  </a:cubicBezTo>
                  <a:cubicBezTo>
                    <a:pt x="679" y="4306"/>
                    <a:pt x="693" y="4313"/>
                    <a:pt x="693" y="4313"/>
                  </a:cubicBezTo>
                  <a:cubicBezTo>
                    <a:pt x="693" y="4313"/>
                    <a:pt x="690" y="4315"/>
                    <a:pt x="672" y="4337"/>
                  </a:cubicBezTo>
                  <a:cubicBezTo>
                    <a:pt x="634" y="4339"/>
                    <a:pt x="637" y="4321"/>
                    <a:pt x="628" y="4321"/>
                  </a:cubicBezTo>
                  <a:cubicBezTo>
                    <a:pt x="619" y="4321"/>
                    <a:pt x="589" y="4333"/>
                    <a:pt x="589" y="4333"/>
                  </a:cubicBezTo>
                  <a:cubicBezTo>
                    <a:pt x="582" y="4329"/>
                    <a:pt x="582" y="4329"/>
                    <a:pt x="582" y="4329"/>
                  </a:cubicBezTo>
                  <a:cubicBezTo>
                    <a:pt x="582" y="4329"/>
                    <a:pt x="524" y="4403"/>
                    <a:pt x="521" y="4403"/>
                  </a:cubicBezTo>
                  <a:cubicBezTo>
                    <a:pt x="520" y="4403"/>
                    <a:pt x="520" y="4400"/>
                    <a:pt x="519" y="4395"/>
                  </a:cubicBezTo>
                  <a:cubicBezTo>
                    <a:pt x="511" y="4409"/>
                    <a:pt x="502" y="4429"/>
                    <a:pt x="502" y="4439"/>
                  </a:cubicBezTo>
                  <a:cubicBezTo>
                    <a:pt x="503" y="4458"/>
                    <a:pt x="497" y="4503"/>
                    <a:pt x="460" y="4523"/>
                  </a:cubicBezTo>
                  <a:cubicBezTo>
                    <a:pt x="449" y="4562"/>
                    <a:pt x="449" y="4562"/>
                    <a:pt x="449" y="4562"/>
                  </a:cubicBezTo>
                  <a:cubicBezTo>
                    <a:pt x="409" y="4560"/>
                    <a:pt x="409" y="4560"/>
                    <a:pt x="409" y="4560"/>
                  </a:cubicBezTo>
                  <a:cubicBezTo>
                    <a:pt x="355" y="4594"/>
                    <a:pt x="355" y="4594"/>
                    <a:pt x="355" y="4594"/>
                  </a:cubicBezTo>
                  <a:cubicBezTo>
                    <a:pt x="355" y="4594"/>
                    <a:pt x="325" y="4570"/>
                    <a:pt x="320" y="4570"/>
                  </a:cubicBezTo>
                  <a:cubicBezTo>
                    <a:pt x="315" y="4570"/>
                    <a:pt x="281" y="4596"/>
                    <a:pt x="281" y="4596"/>
                  </a:cubicBezTo>
                  <a:cubicBezTo>
                    <a:pt x="291" y="4606"/>
                    <a:pt x="291" y="4606"/>
                    <a:pt x="291" y="4606"/>
                  </a:cubicBezTo>
                  <a:cubicBezTo>
                    <a:pt x="283" y="4616"/>
                    <a:pt x="283" y="4616"/>
                    <a:pt x="283" y="4616"/>
                  </a:cubicBezTo>
                  <a:cubicBezTo>
                    <a:pt x="316" y="4651"/>
                    <a:pt x="316" y="4651"/>
                    <a:pt x="316" y="4651"/>
                  </a:cubicBezTo>
                  <a:cubicBezTo>
                    <a:pt x="325" y="4639"/>
                    <a:pt x="325" y="4639"/>
                    <a:pt x="325" y="4639"/>
                  </a:cubicBezTo>
                  <a:cubicBezTo>
                    <a:pt x="325" y="4639"/>
                    <a:pt x="345" y="4658"/>
                    <a:pt x="379" y="4653"/>
                  </a:cubicBezTo>
                  <a:cubicBezTo>
                    <a:pt x="387" y="4663"/>
                    <a:pt x="382" y="4662"/>
                    <a:pt x="382" y="4662"/>
                  </a:cubicBezTo>
                  <a:cubicBezTo>
                    <a:pt x="382" y="4662"/>
                    <a:pt x="329" y="4689"/>
                    <a:pt x="322" y="4709"/>
                  </a:cubicBezTo>
                  <a:cubicBezTo>
                    <a:pt x="309" y="4714"/>
                    <a:pt x="305" y="4715"/>
                    <a:pt x="305" y="4715"/>
                  </a:cubicBezTo>
                  <a:cubicBezTo>
                    <a:pt x="295" y="4721"/>
                    <a:pt x="295" y="4721"/>
                    <a:pt x="295" y="4721"/>
                  </a:cubicBezTo>
                  <a:cubicBezTo>
                    <a:pt x="295" y="4721"/>
                    <a:pt x="257" y="4720"/>
                    <a:pt x="253" y="4713"/>
                  </a:cubicBezTo>
                  <a:cubicBezTo>
                    <a:pt x="250" y="4705"/>
                    <a:pt x="241" y="4711"/>
                    <a:pt x="241" y="4711"/>
                  </a:cubicBezTo>
                  <a:cubicBezTo>
                    <a:pt x="215" y="4752"/>
                    <a:pt x="215" y="4752"/>
                    <a:pt x="215" y="4752"/>
                  </a:cubicBezTo>
                  <a:cubicBezTo>
                    <a:pt x="205" y="4750"/>
                    <a:pt x="205" y="4750"/>
                    <a:pt x="205" y="4750"/>
                  </a:cubicBezTo>
                  <a:cubicBezTo>
                    <a:pt x="193" y="4764"/>
                    <a:pt x="193" y="4764"/>
                    <a:pt x="193" y="4764"/>
                  </a:cubicBezTo>
                  <a:cubicBezTo>
                    <a:pt x="172" y="4765"/>
                    <a:pt x="172" y="4765"/>
                    <a:pt x="172" y="4765"/>
                  </a:cubicBezTo>
                  <a:cubicBezTo>
                    <a:pt x="175" y="4779"/>
                    <a:pt x="175" y="4779"/>
                    <a:pt x="175" y="4779"/>
                  </a:cubicBezTo>
                  <a:cubicBezTo>
                    <a:pt x="173" y="4786"/>
                    <a:pt x="173" y="4786"/>
                    <a:pt x="173" y="4786"/>
                  </a:cubicBezTo>
                  <a:cubicBezTo>
                    <a:pt x="173" y="4786"/>
                    <a:pt x="207" y="4842"/>
                    <a:pt x="228" y="4843"/>
                  </a:cubicBezTo>
                  <a:cubicBezTo>
                    <a:pt x="243" y="4868"/>
                    <a:pt x="250" y="4873"/>
                    <a:pt x="250" y="4879"/>
                  </a:cubicBezTo>
                  <a:cubicBezTo>
                    <a:pt x="250" y="4885"/>
                    <a:pt x="270" y="4895"/>
                    <a:pt x="270" y="4895"/>
                  </a:cubicBezTo>
                  <a:cubicBezTo>
                    <a:pt x="286" y="4897"/>
                    <a:pt x="286" y="4897"/>
                    <a:pt x="286" y="4897"/>
                  </a:cubicBezTo>
                  <a:cubicBezTo>
                    <a:pt x="286" y="4897"/>
                    <a:pt x="300" y="4936"/>
                    <a:pt x="302" y="4959"/>
                  </a:cubicBezTo>
                  <a:cubicBezTo>
                    <a:pt x="307" y="4966"/>
                    <a:pt x="309" y="4969"/>
                    <a:pt x="309" y="4970"/>
                  </a:cubicBezTo>
                  <a:cubicBezTo>
                    <a:pt x="316" y="4967"/>
                    <a:pt x="316" y="4967"/>
                    <a:pt x="316" y="4967"/>
                  </a:cubicBezTo>
                  <a:cubicBezTo>
                    <a:pt x="316" y="4967"/>
                    <a:pt x="370" y="4966"/>
                    <a:pt x="371" y="4968"/>
                  </a:cubicBezTo>
                  <a:cubicBezTo>
                    <a:pt x="371" y="4970"/>
                    <a:pt x="386" y="4989"/>
                    <a:pt x="386" y="4989"/>
                  </a:cubicBezTo>
                  <a:cubicBezTo>
                    <a:pt x="393" y="4989"/>
                    <a:pt x="393" y="4989"/>
                    <a:pt x="393" y="4989"/>
                  </a:cubicBezTo>
                  <a:cubicBezTo>
                    <a:pt x="421" y="5024"/>
                    <a:pt x="421" y="5024"/>
                    <a:pt x="421" y="5024"/>
                  </a:cubicBezTo>
                  <a:cubicBezTo>
                    <a:pt x="421" y="5024"/>
                    <a:pt x="460" y="5042"/>
                    <a:pt x="469" y="5039"/>
                  </a:cubicBezTo>
                  <a:cubicBezTo>
                    <a:pt x="479" y="5037"/>
                    <a:pt x="498" y="5010"/>
                    <a:pt x="498" y="5010"/>
                  </a:cubicBezTo>
                  <a:cubicBezTo>
                    <a:pt x="498" y="5010"/>
                    <a:pt x="497" y="5025"/>
                    <a:pt x="500" y="5025"/>
                  </a:cubicBezTo>
                  <a:cubicBezTo>
                    <a:pt x="503" y="5025"/>
                    <a:pt x="518" y="5021"/>
                    <a:pt x="518" y="5026"/>
                  </a:cubicBezTo>
                  <a:cubicBezTo>
                    <a:pt x="518" y="5031"/>
                    <a:pt x="519" y="5043"/>
                    <a:pt x="519" y="5043"/>
                  </a:cubicBezTo>
                  <a:cubicBezTo>
                    <a:pt x="519" y="5043"/>
                    <a:pt x="521" y="5031"/>
                    <a:pt x="528" y="5031"/>
                  </a:cubicBezTo>
                  <a:cubicBezTo>
                    <a:pt x="535" y="5031"/>
                    <a:pt x="543" y="5047"/>
                    <a:pt x="543" y="5040"/>
                  </a:cubicBezTo>
                  <a:cubicBezTo>
                    <a:pt x="543" y="5033"/>
                    <a:pt x="541" y="5024"/>
                    <a:pt x="541" y="5021"/>
                  </a:cubicBezTo>
                  <a:cubicBezTo>
                    <a:pt x="541" y="5017"/>
                    <a:pt x="549" y="5001"/>
                    <a:pt x="553" y="5002"/>
                  </a:cubicBezTo>
                  <a:cubicBezTo>
                    <a:pt x="558" y="5003"/>
                    <a:pt x="562" y="5039"/>
                    <a:pt x="562" y="5039"/>
                  </a:cubicBezTo>
                  <a:cubicBezTo>
                    <a:pt x="562" y="5039"/>
                    <a:pt x="565" y="4965"/>
                    <a:pt x="617" y="4960"/>
                  </a:cubicBezTo>
                  <a:cubicBezTo>
                    <a:pt x="630" y="4931"/>
                    <a:pt x="619" y="4925"/>
                    <a:pt x="619" y="4925"/>
                  </a:cubicBezTo>
                  <a:cubicBezTo>
                    <a:pt x="619" y="4925"/>
                    <a:pt x="603" y="4904"/>
                    <a:pt x="597" y="4904"/>
                  </a:cubicBezTo>
                  <a:cubicBezTo>
                    <a:pt x="591" y="4904"/>
                    <a:pt x="615" y="4879"/>
                    <a:pt x="615" y="4879"/>
                  </a:cubicBezTo>
                  <a:cubicBezTo>
                    <a:pt x="631" y="4878"/>
                    <a:pt x="631" y="4878"/>
                    <a:pt x="631" y="4878"/>
                  </a:cubicBezTo>
                  <a:cubicBezTo>
                    <a:pt x="680" y="4815"/>
                    <a:pt x="680" y="4815"/>
                    <a:pt x="680" y="4815"/>
                  </a:cubicBezTo>
                  <a:cubicBezTo>
                    <a:pt x="691" y="4827"/>
                    <a:pt x="691" y="4827"/>
                    <a:pt x="691" y="4827"/>
                  </a:cubicBezTo>
                  <a:cubicBezTo>
                    <a:pt x="705" y="4827"/>
                    <a:pt x="705" y="4827"/>
                    <a:pt x="705" y="4827"/>
                  </a:cubicBezTo>
                  <a:cubicBezTo>
                    <a:pt x="705" y="4827"/>
                    <a:pt x="753" y="4879"/>
                    <a:pt x="757" y="4901"/>
                  </a:cubicBezTo>
                  <a:cubicBezTo>
                    <a:pt x="747" y="4924"/>
                    <a:pt x="747" y="4927"/>
                    <a:pt x="747" y="4927"/>
                  </a:cubicBezTo>
                  <a:cubicBezTo>
                    <a:pt x="747" y="4927"/>
                    <a:pt x="770" y="4932"/>
                    <a:pt x="772" y="4961"/>
                  </a:cubicBezTo>
                  <a:cubicBezTo>
                    <a:pt x="807" y="4997"/>
                    <a:pt x="807" y="4997"/>
                    <a:pt x="807" y="4997"/>
                  </a:cubicBezTo>
                  <a:cubicBezTo>
                    <a:pt x="807" y="4997"/>
                    <a:pt x="822" y="4980"/>
                    <a:pt x="830" y="4982"/>
                  </a:cubicBezTo>
                  <a:cubicBezTo>
                    <a:pt x="838" y="4984"/>
                    <a:pt x="853" y="5021"/>
                    <a:pt x="853" y="5021"/>
                  </a:cubicBezTo>
                  <a:cubicBezTo>
                    <a:pt x="856" y="5028"/>
                    <a:pt x="856" y="5028"/>
                    <a:pt x="856" y="5028"/>
                  </a:cubicBezTo>
                  <a:cubicBezTo>
                    <a:pt x="856" y="5028"/>
                    <a:pt x="841" y="5052"/>
                    <a:pt x="842" y="5068"/>
                  </a:cubicBezTo>
                  <a:cubicBezTo>
                    <a:pt x="843" y="5084"/>
                    <a:pt x="865" y="5109"/>
                    <a:pt x="866" y="5107"/>
                  </a:cubicBezTo>
                  <a:cubicBezTo>
                    <a:pt x="867" y="5105"/>
                    <a:pt x="879" y="5093"/>
                    <a:pt x="879" y="5093"/>
                  </a:cubicBezTo>
                  <a:cubicBezTo>
                    <a:pt x="892" y="5103"/>
                    <a:pt x="892" y="5103"/>
                    <a:pt x="892" y="5103"/>
                  </a:cubicBezTo>
                  <a:cubicBezTo>
                    <a:pt x="892" y="5103"/>
                    <a:pt x="907" y="5095"/>
                    <a:pt x="919" y="5094"/>
                  </a:cubicBezTo>
                  <a:cubicBezTo>
                    <a:pt x="926" y="5083"/>
                    <a:pt x="929" y="5083"/>
                    <a:pt x="929" y="5083"/>
                  </a:cubicBezTo>
                  <a:cubicBezTo>
                    <a:pt x="929" y="5083"/>
                    <a:pt x="938" y="5101"/>
                    <a:pt x="949" y="5099"/>
                  </a:cubicBezTo>
                  <a:cubicBezTo>
                    <a:pt x="961" y="5097"/>
                    <a:pt x="982" y="5073"/>
                    <a:pt x="981" y="5059"/>
                  </a:cubicBezTo>
                  <a:cubicBezTo>
                    <a:pt x="985" y="5051"/>
                    <a:pt x="985" y="5051"/>
                    <a:pt x="985" y="5051"/>
                  </a:cubicBezTo>
                  <a:cubicBezTo>
                    <a:pt x="1001" y="5070"/>
                    <a:pt x="1001" y="5070"/>
                    <a:pt x="1001" y="5070"/>
                  </a:cubicBezTo>
                  <a:cubicBezTo>
                    <a:pt x="1001" y="5070"/>
                    <a:pt x="1010" y="5062"/>
                    <a:pt x="1016" y="5062"/>
                  </a:cubicBezTo>
                  <a:cubicBezTo>
                    <a:pt x="1018" y="5062"/>
                    <a:pt x="1022" y="5063"/>
                    <a:pt x="1026" y="5064"/>
                  </a:cubicBezTo>
                  <a:cubicBezTo>
                    <a:pt x="1025" y="5059"/>
                    <a:pt x="1026" y="5055"/>
                    <a:pt x="1026" y="5055"/>
                  </a:cubicBezTo>
                  <a:cubicBezTo>
                    <a:pt x="1048" y="5055"/>
                    <a:pt x="1048" y="5055"/>
                    <a:pt x="1048" y="5055"/>
                  </a:cubicBezTo>
                  <a:cubicBezTo>
                    <a:pt x="1048" y="5055"/>
                    <a:pt x="1046" y="5067"/>
                    <a:pt x="1056" y="5078"/>
                  </a:cubicBezTo>
                  <a:cubicBezTo>
                    <a:pt x="1066" y="5089"/>
                    <a:pt x="1091" y="5088"/>
                    <a:pt x="1091" y="5088"/>
                  </a:cubicBezTo>
                  <a:cubicBezTo>
                    <a:pt x="1090" y="5097"/>
                    <a:pt x="1090" y="5097"/>
                    <a:pt x="1090" y="5097"/>
                  </a:cubicBezTo>
                  <a:cubicBezTo>
                    <a:pt x="1108" y="5120"/>
                    <a:pt x="1108" y="5120"/>
                    <a:pt x="1108" y="5120"/>
                  </a:cubicBezTo>
                  <a:cubicBezTo>
                    <a:pt x="1136" y="5096"/>
                    <a:pt x="1136" y="5096"/>
                    <a:pt x="1136" y="5096"/>
                  </a:cubicBezTo>
                  <a:cubicBezTo>
                    <a:pt x="1147" y="5096"/>
                    <a:pt x="1147" y="5096"/>
                    <a:pt x="1147" y="5096"/>
                  </a:cubicBezTo>
                  <a:cubicBezTo>
                    <a:pt x="1190" y="5054"/>
                    <a:pt x="1190" y="5054"/>
                    <a:pt x="1190" y="5054"/>
                  </a:cubicBezTo>
                  <a:cubicBezTo>
                    <a:pt x="1190" y="5054"/>
                    <a:pt x="1198" y="5006"/>
                    <a:pt x="1198" y="5002"/>
                  </a:cubicBezTo>
                  <a:cubicBezTo>
                    <a:pt x="1198" y="4998"/>
                    <a:pt x="1190" y="4992"/>
                    <a:pt x="1190" y="4980"/>
                  </a:cubicBezTo>
                  <a:cubicBezTo>
                    <a:pt x="1190" y="4968"/>
                    <a:pt x="1216" y="4958"/>
                    <a:pt x="1216" y="4958"/>
                  </a:cubicBezTo>
                  <a:close/>
                  <a:moveTo>
                    <a:pt x="1212" y="4935"/>
                  </a:moveTo>
                  <a:cubicBezTo>
                    <a:pt x="1212" y="4935"/>
                    <a:pt x="1227" y="4939"/>
                    <a:pt x="1219" y="4945"/>
                  </a:cubicBezTo>
                  <a:cubicBezTo>
                    <a:pt x="1211" y="4952"/>
                    <a:pt x="1212" y="4935"/>
                    <a:pt x="1212" y="4935"/>
                  </a:cubicBezTo>
                  <a:close/>
                  <a:moveTo>
                    <a:pt x="1266" y="4538"/>
                  </a:moveTo>
                  <a:cubicBezTo>
                    <a:pt x="1263" y="4546"/>
                    <a:pt x="1261" y="4531"/>
                    <a:pt x="1261" y="4531"/>
                  </a:cubicBezTo>
                  <a:cubicBezTo>
                    <a:pt x="1269" y="4531"/>
                    <a:pt x="1269" y="4530"/>
                    <a:pt x="1266" y="4538"/>
                  </a:cubicBezTo>
                  <a:close/>
                  <a:moveTo>
                    <a:pt x="1031" y="4647"/>
                  </a:moveTo>
                  <a:cubicBezTo>
                    <a:pt x="1024" y="4653"/>
                    <a:pt x="1022" y="4670"/>
                    <a:pt x="1022" y="4670"/>
                  </a:cubicBezTo>
                  <a:cubicBezTo>
                    <a:pt x="1022" y="4670"/>
                    <a:pt x="1037" y="4662"/>
                    <a:pt x="1036" y="4670"/>
                  </a:cubicBezTo>
                  <a:cubicBezTo>
                    <a:pt x="1034" y="4677"/>
                    <a:pt x="1030" y="4699"/>
                    <a:pt x="1030" y="4699"/>
                  </a:cubicBezTo>
                  <a:cubicBezTo>
                    <a:pt x="1011" y="4711"/>
                    <a:pt x="1011" y="4711"/>
                    <a:pt x="1011" y="4711"/>
                  </a:cubicBezTo>
                  <a:cubicBezTo>
                    <a:pt x="1019" y="4720"/>
                    <a:pt x="1019" y="4720"/>
                    <a:pt x="1019" y="4720"/>
                  </a:cubicBezTo>
                  <a:cubicBezTo>
                    <a:pt x="1010" y="4731"/>
                    <a:pt x="1010" y="4731"/>
                    <a:pt x="1010" y="4731"/>
                  </a:cubicBezTo>
                  <a:cubicBezTo>
                    <a:pt x="1010" y="4761"/>
                    <a:pt x="1010" y="4761"/>
                    <a:pt x="1010" y="4761"/>
                  </a:cubicBezTo>
                  <a:cubicBezTo>
                    <a:pt x="979" y="4774"/>
                    <a:pt x="979" y="4774"/>
                    <a:pt x="979" y="4774"/>
                  </a:cubicBezTo>
                  <a:cubicBezTo>
                    <a:pt x="970" y="4753"/>
                    <a:pt x="970" y="4753"/>
                    <a:pt x="970" y="4753"/>
                  </a:cubicBezTo>
                  <a:cubicBezTo>
                    <a:pt x="961" y="4753"/>
                    <a:pt x="961" y="4753"/>
                    <a:pt x="961" y="4753"/>
                  </a:cubicBezTo>
                  <a:cubicBezTo>
                    <a:pt x="961" y="4753"/>
                    <a:pt x="933" y="4756"/>
                    <a:pt x="913" y="4756"/>
                  </a:cubicBezTo>
                  <a:cubicBezTo>
                    <a:pt x="906" y="4756"/>
                    <a:pt x="900" y="4753"/>
                    <a:pt x="896" y="4750"/>
                  </a:cubicBezTo>
                  <a:cubicBezTo>
                    <a:pt x="901" y="4746"/>
                    <a:pt x="901" y="4746"/>
                    <a:pt x="901" y="4746"/>
                  </a:cubicBezTo>
                  <a:cubicBezTo>
                    <a:pt x="899" y="4733"/>
                    <a:pt x="899" y="4733"/>
                    <a:pt x="899" y="4733"/>
                  </a:cubicBezTo>
                  <a:cubicBezTo>
                    <a:pt x="899" y="4733"/>
                    <a:pt x="895" y="4723"/>
                    <a:pt x="895" y="4711"/>
                  </a:cubicBezTo>
                  <a:cubicBezTo>
                    <a:pt x="895" y="4699"/>
                    <a:pt x="915" y="4687"/>
                    <a:pt x="922" y="4668"/>
                  </a:cubicBezTo>
                  <a:cubicBezTo>
                    <a:pt x="930" y="4650"/>
                    <a:pt x="922" y="4631"/>
                    <a:pt x="922" y="4631"/>
                  </a:cubicBezTo>
                  <a:cubicBezTo>
                    <a:pt x="921" y="4631"/>
                    <a:pt x="921" y="4631"/>
                    <a:pt x="921" y="4631"/>
                  </a:cubicBezTo>
                  <a:cubicBezTo>
                    <a:pt x="921" y="4608"/>
                    <a:pt x="921" y="4608"/>
                    <a:pt x="921" y="4608"/>
                  </a:cubicBezTo>
                  <a:cubicBezTo>
                    <a:pt x="921" y="4608"/>
                    <a:pt x="921" y="4597"/>
                    <a:pt x="924" y="4591"/>
                  </a:cubicBezTo>
                  <a:cubicBezTo>
                    <a:pt x="927" y="4585"/>
                    <a:pt x="927" y="4570"/>
                    <a:pt x="927" y="4570"/>
                  </a:cubicBezTo>
                  <a:cubicBezTo>
                    <a:pt x="927" y="4570"/>
                    <a:pt x="944" y="4569"/>
                    <a:pt x="951" y="4566"/>
                  </a:cubicBezTo>
                  <a:cubicBezTo>
                    <a:pt x="952" y="4571"/>
                    <a:pt x="953" y="4577"/>
                    <a:pt x="951" y="4579"/>
                  </a:cubicBezTo>
                  <a:cubicBezTo>
                    <a:pt x="948" y="4584"/>
                    <a:pt x="951" y="4597"/>
                    <a:pt x="951" y="4597"/>
                  </a:cubicBezTo>
                  <a:cubicBezTo>
                    <a:pt x="965" y="4585"/>
                    <a:pt x="965" y="4585"/>
                    <a:pt x="965" y="4585"/>
                  </a:cubicBezTo>
                  <a:cubicBezTo>
                    <a:pt x="965" y="4585"/>
                    <a:pt x="976" y="4604"/>
                    <a:pt x="985" y="4604"/>
                  </a:cubicBezTo>
                  <a:cubicBezTo>
                    <a:pt x="994" y="4604"/>
                    <a:pt x="1042" y="4574"/>
                    <a:pt x="1045" y="4591"/>
                  </a:cubicBezTo>
                  <a:cubicBezTo>
                    <a:pt x="1048" y="4608"/>
                    <a:pt x="1028" y="4624"/>
                    <a:pt x="1028" y="4624"/>
                  </a:cubicBezTo>
                  <a:cubicBezTo>
                    <a:pt x="1028" y="4624"/>
                    <a:pt x="1039" y="4640"/>
                    <a:pt x="1031" y="4647"/>
                  </a:cubicBezTo>
                  <a:close/>
                  <a:moveTo>
                    <a:pt x="1064" y="4187"/>
                  </a:moveTo>
                  <a:cubicBezTo>
                    <a:pt x="1069" y="4153"/>
                    <a:pt x="1069" y="4153"/>
                    <a:pt x="1069" y="4153"/>
                  </a:cubicBezTo>
                  <a:cubicBezTo>
                    <a:pt x="1049" y="4152"/>
                    <a:pt x="1049" y="4152"/>
                    <a:pt x="1049" y="4152"/>
                  </a:cubicBezTo>
                  <a:cubicBezTo>
                    <a:pt x="1049" y="4152"/>
                    <a:pt x="1044" y="4142"/>
                    <a:pt x="1037" y="4142"/>
                  </a:cubicBezTo>
                  <a:cubicBezTo>
                    <a:pt x="1030" y="4142"/>
                    <a:pt x="1020" y="4158"/>
                    <a:pt x="1020" y="4158"/>
                  </a:cubicBezTo>
                  <a:cubicBezTo>
                    <a:pt x="1019" y="4171"/>
                    <a:pt x="1056" y="4163"/>
                    <a:pt x="1056" y="4163"/>
                  </a:cubicBezTo>
                  <a:cubicBezTo>
                    <a:pt x="1056" y="4163"/>
                    <a:pt x="1056" y="4169"/>
                    <a:pt x="1056" y="4176"/>
                  </a:cubicBezTo>
                  <a:cubicBezTo>
                    <a:pt x="1056" y="4183"/>
                    <a:pt x="1064" y="4187"/>
                    <a:pt x="1064" y="4187"/>
                  </a:cubicBezTo>
                  <a:close/>
                  <a:moveTo>
                    <a:pt x="1405" y="2282"/>
                  </a:moveTo>
                  <a:cubicBezTo>
                    <a:pt x="1415" y="2276"/>
                    <a:pt x="1418" y="2263"/>
                    <a:pt x="1406" y="2262"/>
                  </a:cubicBezTo>
                  <a:cubicBezTo>
                    <a:pt x="1399" y="2261"/>
                    <a:pt x="1399" y="2271"/>
                    <a:pt x="1399" y="2271"/>
                  </a:cubicBezTo>
                  <a:cubicBezTo>
                    <a:pt x="1399" y="2271"/>
                    <a:pt x="1396" y="2288"/>
                    <a:pt x="1405" y="2282"/>
                  </a:cubicBezTo>
                  <a:close/>
                  <a:moveTo>
                    <a:pt x="1423" y="2213"/>
                  </a:moveTo>
                  <a:cubicBezTo>
                    <a:pt x="1419" y="2208"/>
                    <a:pt x="1403" y="2217"/>
                    <a:pt x="1407" y="2224"/>
                  </a:cubicBezTo>
                  <a:cubicBezTo>
                    <a:pt x="1407" y="2224"/>
                    <a:pt x="1426" y="2217"/>
                    <a:pt x="1423" y="2213"/>
                  </a:cubicBezTo>
                  <a:close/>
                  <a:moveTo>
                    <a:pt x="1871" y="1440"/>
                  </a:moveTo>
                  <a:cubicBezTo>
                    <a:pt x="1879" y="1439"/>
                    <a:pt x="1878" y="1428"/>
                    <a:pt x="1872" y="1428"/>
                  </a:cubicBezTo>
                  <a:cubicBezTo>
                    <a:pt x="1865" y="1428"/>
                    <a:pt x="1865" y="1440"/>
                    <a:pt x="1871" y="1440"/>
                  </a:cubicBezTo>
                  <a:close/>
                  <a:moveTo>
                    <a:pt x="933" y="8350"/>
                  </a:moveTo>
                  <a:cubicBezTo>
                    <a:pt x="944" y="8351"/>
                    <a:pt x="944" y="8351"/>
                    <a:pt x="944" y="8351"/>
                  </a:cubicBezTo>
                  <a:cubicBezTo>
                    <a:pt x="940" y="8341"/>
                    <a:pt x="940" y="8341"/>
                    <a:pt x="940" y="8341"/>
                  </a:cubicBezTo>
                  <a:lnTo>
                    <a:pt x="933" y="8350"/>
                  </a:lnTo>
                  <a:close/>
                  <a:moveTo>
                    <a:pt x="1741" y="8021"/>
                  </a:moveTo>
                  <a:cubicBezTo>
                    <a:pt x="1741" y="8021"/>
                    <a:pt x="1741" y="8021"/>
                    <a:pt x="1741" y="8020"/>
                  </a:cubicBezTo>
                  <a:cubicBezTo>
                    <a:pt x="1740" y="8021"/>
                    <a:pt x="1741" y="8021"/>
                    <a:pt x="1741" y="8021"/>
                  </a:cubicBezTo>
                  <a:close/>
                  <a:moveTo>
                    <a:pt x="1319" y="3409"/>
                  </a:moveTo>
                  <a:cubicBezTo>
                    <a:pt x="1319" y="3408"/>
                    <a:pt x="1319" y="3408"/>
                    <a:pt x="1319" y="3408"/>
                  </a:cubicBezTo>
                  <a:cubicBezTo>
                    <a:pt x="1319" y="3408"/>
                    <a:pt x="1319" y="3408"/>
                    <a:pt x="1319" y="3409"/>
                  </a:cubicBezTo>
                  <a:close/>
                  <a:moveTo>
                    <a:pt x="4657" y="6435"/>
                  </a:moveTo>
                  <a:cubicBezTo>
                    <a:pt x="4660" y="6397"/>
                    <a:pt x="4660" y="6397"/>
                    <a:pt x="4660" y="6397"/>
                  </a:cubicBezTo>
                  <a:cubicBezTo>
                    <a:pt x="4660" y="6397"/>
                    <a:pt x="4672" y="6384"/>
                    <a:pt x="4671" y="6374"/>
                  </a:cubicBezTo>
                  <a:cubicBezTo>
                    <a:pt x="4671" y="6364"/>
                    <a:pt x="4656" y="6334"/>
                    <a:pt x="4656" y="6334"/>
                  </a:cubicBezTo>
                  <a:cubicBezTo>
                    <a:pt x="4660" y="6255"/>
                    <a:pt x="4660" y="6255"/>
                    <a:pt x="4660" y="6255"/>
                  </a:cubicBezTo>
                  <a:cubicBezTo>
                    <a:pt x="4660" y="6255"/>
                    <a:pt x="4653" y="6223"/>
                    <a:pt x="4645" y="6219"/>
                  </a:cubicBezTo>
                  <a:cubicBezTo>
                    <a:pt x="4644" y="6215"/>
                    <a:pt x="4644" y="6201"/>
                    <a:pt x="4644" y="6201"/>
                  </a:cubicBezTo>
                  <a:cubicBezTo>
                    <a:pt x="4644" y="6201"/>
                    <a:pt x="4614" y="6151"/>
                    <a:pt x="4557" y="6111"/>
                  </a:cubicBezTo>
                  <a:cubicBezTo>
                    <a:pt x="4517" y="6070"/>
                    <a:pt x="4467" y="6029"/>
                    <a:pt x="4437" y="6022"/>
                  </a:cubicBezTo>
                  <a:cubicBezTo>
                    <a:pt x="4407" y="6015"/>
                    <a:pt x="4376" y="6016"/>
                    <a:pt x="4376" y="6016"/>
                  </a:cubicBezTo>
                  <a:cubicBezTo>
                    <a:pt x="4312" y="5986"/>
                    <a:pt x="4312" y="5986"/>
                    <a:pt x="4312" y="5986"/>
                  </a:cubicBezTo>
                  <a:cubicBezTo>
                    <a:pt x="4299" y="5986"/>
                    <a:pt x="4299" y="5986"/>
                    <a:pt x="4299" y="5986"/>
                  </a:cubicBezTo>
                  <a:cubicBezTo>
                    <a:pt x="4297" y="5999"/>
                    <a:pt x="4297" y="5999"/>
                    <a:pt x="4297" y="5999"/>
                  </a:cubicBezTo>
                  <a:cubicBezTo>
                    <a:pt x="4262" y="5997"/>
                    <a:pt x="4262" y="5997"/>
                    <a:pt x="4262" y="5997"/>
                  </a:cubicBezTo>
                  <a:cubicBezTo>
                    <a:pt x="4253" y="5983"/>
                    <a:pt x="4253" y="5983"/>
                    <a:pt x="4253" y="5983"/>
                  </a:cubicBezTo>
                  <a:cubicBezTo>
                    <a:pt x="4250" y="5989"/>
                    <a:pt x="4250" y="5989"/>
                    <a:pt x="4250" y="5989"/>
                  </a:cubicBezTo>
                  <a:cubicBezTo>
                    <a:pt x="4209" y="5988"/>
                    <a:pt x="4209" y="5988"/>
                    <a:pt x="4209" y="5988"/>
                  </a:cubicBezTo>
                  <a:cubicBezTo>
                    <a:pt x="4209" y="5981"/>
                    <a:pt x="4209" y="5981"/>
                    <a:pt x="4209" y="5981"/>
                  </a:cubicBezTo>
                  <a:cubicBezTo>
                    <a:pt x="4185" y="5980"/>
                    <a:pt x="4185" y="5980"/>
                    <a:pt x="4185" y="5980"/>
                  </a:cubicBezTo>
                  <a:cubicBezTo>
                    <a:pt x="4180" y="5975"/>
                    <a:pt x="4180" y="5975"/>
                    <a:pt x="4180" y="5975"/>
                  </a:cubicBezTo>
                  <a:cubicBezTo>
                    <a:pt x="4180" y="5975"/>
                    <a:pt x="4159" y="5969"/>
                    <a:pt x="4159" y="5990"/>
                  </a:cubicBezTo>
                  <a:cubicBezTo>
                    <a:pt x="4139" y="5988"/>
                    <a:pt x="4113" y="5987"/>
                    <a:pt x="4113" y="5987"/>
                  </a:cubicBezTo>
                  <a:cubicBezTo>
                    <a:pt x="4110" y="5979"/>
                    <a:pt x="4110" y="5979"/>
                    <a:pt x="4110" y="5979"/>
                  </a:cubicBezTo>
                  <a:cubicBezTo>
                    <a:pt x="4079" y="6012"/>
                    <a:pt x="4079" y="6012"/>
                    <a:pt x="4079" y="6012"/>
                  </a:cubicBezTo>
                  <a:cubicBezTo>
                    <a:pt x="4079" y="6032"/>
                    <a:pt x="4079" y="6032"/>
                    <a:pt x="4079" y="6032"/>
                  </a:cubicBezTo>
                  <a:cubicBezTo>
                    <a:pt x="4079" y="6032"/>
                    <a:pt x="4068" y="6061"/>
                    <a:pt x="4063" y="6061"/>
                  </a:cubicBezTo>
                  <a:cubicBezTo>
                    <a:pt x="4059" y="6061"/>
                    <a:pt x="4062" y="6089"/>
                    <a:pt x="4062" y="6089"/>
                  </a:cubicBezTo>
                  <a:cubicBezTo>
                    <a:pt x="4051" y="6091"/>
                    <a:pt x="4051" y="6091"/>
                    <a:pt x="4051" y="6091"/>
                  </a:cubicBezTo>
                  <a:cubicBezTo>
                    <a:pt x="4051" y="6091"/>
                    <a:pt x="4029" y="6098"/>
                    <a:pt x="4029" y="6123"/>
                  </a:cubicBezTo>
                  <a:cubicBezTo>
                    <a:pt x="4013" y="6116"/>
                    <a:pt x="4011" y="6107"/>
                    <a:pt x="4011" y="6107"/>
                  </a:cubicBezTo>
                  <a:cubicBezTo>
                    <a:pt x="3967" y="6109"/>
                    <a:pt x="3967" y="6109"/>
                    <a:pt x="3967" y="6109"/>
                  </a:cubicBezTo>
                  <a:cubicBezTo>
                    <a:pt x="3943" y="6067"/>
                    <a:pt x="3943" y="6067"/>
                    <a:pt x="3943" y="6067"/>
                  </a:cubicBezTo>
                  <a:cubicBezTo>
                    <a:pt x="3943" y="6059"/>
                    <a:pt x="3943" y="6059"/>
                    <a:pt x="3943" y="6059"/>
                  </a:cubicBezTo>
                  <a:cubicBezTo>
                    <a:pt x="3943" y="6059"/>
                    <a:pt x="3918" y="6044"/>
                    <a:pt x="3916" y="6044"/>
                  </a:cubicBezTo>
                  <a:cubicBezTo>
                    <a:pt x="3914" y="6044"/>
                    <a:pt x="3893" y="6043"/>
                    <a:pt x="3893" y="6043"/>
                  </a:cubicBezTo>
                  <a:cubicBezTo>
                    <a:pt x="3889" y="6038"/>
                    <a:pt x="3889" y="6038"/>
                    <a:pt x="3889" y="6038"/>
                  </a:cubicBezTo>
                  <a:cubicBezTo>
                    <a:pt x="3889" y="6038"/>
                    <a:pt x="3880" y="6043"/>
                    <a:pt x="3878" y="6043"/>
                  </a:cubicBezTo>
                  <a:cubicBezTo>
                    <a:pt x="3876" y="6043"/>
                    <a:pt x="3871" y="6037"/>
                    <a:pt x="3871" y="6037"/>
                  </a:cubicBezTo>
                  <a:cubicBezTo>
                    <a:pt x="3895" y="6020"/>
                    <a:pt x="3895" y="6020"/>
                    <a:pt x="3895" y="6020"/>
                  </a:cubicBezTo>
                  <a:cubicBezTo>
                    <a:pt x="3893" y="6009"/>
                    <a:pt x="3893" y="6009"/>
                    <a:pt x="3893" y="6009"/>
                  </a:cubicBezTo>
                  <a:cubicBezTo>
                    <a:pt x="3893" y="6009"/>
                    <a:pt x="3921" y="5955"/>
                    <a:pt x="3998" y="5895"/>
                  </a:cubicBezTo>
                  <a:cubicBezTo>
                    <a:pt x="4021" y="5897"/>
                    <a:pt x="4018" y="5893"/>
                    <a:pt x="4018" y="5893"/>
                  </a:cubicBezTo>
                  <a:cubicBezTo>
                    <a:pt x="4021" y="5834"/>
                    <a:pt x="4021" y="5834"/>
                    <a:pt x="4021" y="5834"/>
                  </a:cubicBezTo>
                  <a:cubicBezTo>
                    <a:pt x="4025" y="5827"/>
                    <a:pt x="4025" y="5827"/>
                    <a:pt x="4025" y="5827"/>
                  </a:cubicBezTo>
                  <a:cubicBezTo>
                    <a:pt x="4007" y="5759"/>
                    <a:pt x="4007" y="5759"/>
                    <a:pt x="4007" y="5759"/>
                  </a:cubicBezTo>
                  <a:cubicBezTo>
                    <a:pt x="3988" y="5733"/>
                    <a:pt x="3988" y="5733"/>
                    <a:pt x="3988" y="5733"/>
                  </a:cubicBezTo>
                  <a:cubicBezTo>
                    <a:pt x="3988" y="5733"/>
                    <a:pt x="3987" y="5702"/>
                    <a:pt x="3967" y="5685"/>
                  </a:cubicBezTo>
                  <a:cubicBezTo>
                    <a:pt x="3963" y="5653"/>
                    <a:pt x="3955" y="5649"/>
                    <a:pt x="3953" y="5646"/>
                  </a:cubicBezTo>
                  <a:cubicBezTo>
                    <a:pt x="3950" y="5643"/>
                    <a:pt x="3950" y="5630"/>
                    <a:pt x="3950" y="5630"/>
                  </a:cubicBezTo>
                  <a:cubicBezTo>
                    <a:pt x="3950" y="5630"/>
                    <a:pt x="3929" y="5604"/>
                    <a:pt x="3929" y="5602"/>
                  </a:cubicBezTo>
                  <a:cubicBezTo>
                    <a:pt x="3928" y="5600"/>
                    <a:pt x="3927" y="5589"/>
                    <a:pt x="3927" y="5589"/>
                  </a:cubicBezTo>
                  <a:cubicBezTo>
                    <a:pt x="3913" y="5582"/>
                    <a:pt x="3913" y="5582"/>
                    <a:pt x="3913" y="5582"/>
                  </a:cubicBezTo>
                  <a:cubicBezTo>
                    <a:pt x="3911" y="5577"/>
                    <a:pt x="3911" y="5577"/>
                    <a:pt x="3911" y="5577"/>
                  </a:cubicBezTo>
                  <a:cubicBezTo>
                    <a:pt x="3903" y="5585"/>
                    <a:pt x="3903" y="5585"/>
                    <a:pt x="3903" y="5585"/>
                  </a:cubicBezTo>
                  <a:cubicBezTo>
                    <a:pt x="3891" y="5586"/>
                    <a:pt x="3891" y="5586"/>
                    <a:pt x="3891" y="5586"/>
                  </a:cubicBezTo>
                  <a:cubicBezTo>
                    <a:pt x="3891" y="5586"/>
                    <a:pt x="3886" y="5567"/>
                    <a:pt x="3863" y="5565"/>
                  </a:cubicBezTo>
                  <a:cubicBezTo>
                    <a:pt x="3857" y="5559"/>
                    <a:pt x="3827" y="5518"/>
                    <a:pt x="3827" y="5518"/>
                  </a:cubicBezTo>
                  <a:cubicBezTo>
                    <a:pt x="3804" y="5515"/>
                    <a:pt x="3804" y="5515"/>
                    <a:pt x="3804" y="5515"/>
                  </a:cubicBezTo>
                  <a:cubicBezTo>
                    <a:pt x="3804" y="5515"/>
                    <a:pt x="3769" y="5471"/>
                    <a:pt x="3749" y="5467"/>
                  </a:cubicBezTo>
                  <a:cubicBezTo>
                    <a:pt x="3735" y="5444"/>
                    <a:pt x="3721" y="5412"/>
                    <a:pt x="3721" y="5412"/>
                  </a:cubicBezTo>
                  <a:cubicBezTo>
                    <a:pt x="3702" y="5412"/>
                    <a:pt x="3702" y="5412"/>
                    <a:pt x="3702" y="5412"/>
                  </a:cubicBezTo>
                  <a:cubicBezTo>
                    <a:pt x="3701" y="5419"/>
                    <a:pt x="3701" y="5419"/>
                    <a:pt x="3701" y="5419"/>
                  </a:cubicBezTo>
                  <a:cubicBezTo>
                    <a:pt x="3683" y="5419"/>
                    <a:pt x="3683" y="5419"/>
                    <a:pt x="3683" y="5419"/>
                  </a:cubicBezTo>
                  <a:cubicBezTo>
                    <a:pt x="3677" y="5425"/>
                    <a:pt x="3677" y="5425"/>
                    <a:pt x="3677" y="5425"/>
                  </a:cubicBezTo>
                  <a:cubicBezTo>
                    <a:pt x="3634" y="5425"/>
                    <a:pt x="3634" y="5425"/>
                    <a:pt x="3634" y="5425"/>
                  </a:cubicBezTo>
                  <a:cubicBezTo>
                    <a:pt x="3634" y="5425"/>
                    <a:pt x="3628" y="5435"/>
                    <a:pt x="3617" y="5435"/>
                  </a:cubicBezTo>
                  <a:cubicBezTo>
                    <a:pt x="3605" y="5435"/>
                    <a:pt x="3608" y="5429"/>
                    <a:pt x="3608" y="5429"/>
                  </a:cubicBezTo>
                  <a:cubicBezTo>
                    <a:pt x="3590" y="5426"/>
                    <a:pt x="3590" y="5426"/>
                    <a:pt x="3590" y="5426"/>
                  </a:cubicBezTo>
                  <a:cubicBezTo>
                    <a:pt x="3571" y="5405"/>
                    <a:pt x="3571" y="5405"/>
                    <a:pt x="3571" y="5405"/>
                  </a:cubicBezTo>
                  <a:cubicBezTo>
                    <a:pt x="3565" y="5414"/>
                    <a:pt x="3565" y="5414"/>
                    <a:pt x="3565" y="5414"/>
                  </a:cubicBezTo>
                  <a:cubicBezTo>
                    <a:pt x="3551" y="5414"/>
                    <a:pt x="3551" y="5414"/>
                    <a:pt x="3551" y="5414"/>
                  </a:cubicBezTo>
                  <a:cubicBezTo>
                    <a:pt x="3551" y="5414"/>
                    <a:pt x="3539" y="5427"/>
                    <a:pt x="3537" y="5419"/>
                  </a:cubicBezTo>
                  <a:cubicBezTo>
                    <a:pt x="3535" y="5412"/>
                    <a:pt x="3563" y="5403"/>
                    <a:pt x="3563" y="5403"/>
                  </a:cubicBezTo>
                  <a:cubicBezTo>
                    <a:pt x="3571" y="5396"/>
                    <a:pt x="3571" y="5396"/>
                    <a:pt x="3571" y="5396"/>
                  </a:cubicBezTo>
                  <a:cubicBezTo>
                    <a:pt x="3599" y="5418"/>
                    <a:pt x="3599" y="5418"/>
                    <a:pt x="3599" y="5418"/>
                  </a:cubicBezTo>
                  <a:cubicBezTo>
                    <a:pt x="3611" y="5420"/>
                    <a:pt x="3611" y="5420"/>
                    <a:pt x="3611" y="5420"/>
                  </a:cubicBezTo>
                  <a:cubicBezTo>
                    <a:pt x="3614" y="5412"/>
                    <a:pt x="3614" y="5412"/>
                    <a:pt x="3614" y="5412"/>
                  </a:cubicBezTo>
                  <a:cubicBezTo>
                    <a:pt x="3662" y="5413"/>
                    <a:pt x="3662" y="5413"/>
                    <a:pt x="3662" y="5413"/>
                  </a:cubicBezTo>
                  <a:cubicBezTo>
                    <a:pt x="3665" y="5406"/>
                    <a:pt x="3665" y="5406"/>
                    <a:pt x="3665" y="5406"/>
                  </a:cubicBezTo>
                  <a:cubicBezTo>
                    <a:pt x="3673" y="5413"/>
                    <a:pt x="3673" y="5413"/>
                    <a:pt x="3673" y="5413"/>
                  </a:cubicBezTo>
                  <a:cubicBezTo>
                    <a:pt x="3673" y="5413"/>
                    <a:pt x="3703" y="5394"/>
                    <a:pt x="3705" y="5394"/>
                  </a:cubicBezTo>
                  <a:cubicBezTo>
                    <a:pt x="3707" y="5394"/>
                    <a:pt x="3731" y="5395"/>
                    <a:pt x="3731" y="5395"/>
                  </a:cubicBezTo>
                  <a:cubicBezTo>
                    <a:pt x="3801" y="5478"/>
                    <a:pt x="3801" y="5478"/>
                    <a:pt x="3801" y="5478"/>
                  </a:cubicBezTo>
                  <a:cubicBezTo>
                    <a:pt x="3820" y="5479"/>
                    <a:pt x="3820" y="5479"/>
                    <a:pt x="3820" y="5479"/>
                  </a:cubicBezTo>
                  <a:cubicBezTo>
                    <a:pt x="3824" y="5487"/>
                    <a:pt x="3824" y="5487"/>
                    <a:pt x="3824" y="5487"/>
                  </a:cubicBezTo>
                  <a:cubicBezTo>
                    <a:pt x="3827" y="5478"/>
                    <a:pt x="3827" y="5478"/>
                    <a:pt x="3827" y="5478"/>
                  </a:cubicBezTo>
                  <a:cubicBezTo>
                    <a:pt x="3827" y="5478"/>
                    <a:pt x="3859" y="5470"/>
                    <a:pt x="3866" y="5469"/>
                  </a:cubicBezTo>
                  <a:cubicBezTo>
                    <a:pt x="3873" y="5469"/>
                    <a:pt x="3916" y="5481"/>
                    <a:pt x="3918" y="5503"/>
                  </a:cubicBezTo>
                  <a:cubicBezTo>
                    <a:pt x="3901" y="5523"/>
                    <a:pt x="3901" y="5528"/>
                    <a:pt x="3901" y="5528"/>
                  </a:cubicBezTo>
                  <a:cubicBezTo>
                    <a:pt x="3908" y="5530"/>
                    <a:pt x="3908" y="5530"/>
                    <a:pt x="3908" y="5530"/>
                  </a:cubicBezTo>
                  <a:cubicBezTo>
                    <a:pt x="3925" y="5505"/>
                    <a:pt x="3925" y="5505"/>
                    <a:pt x="3925" y="5505"/>
                  </a:cubicBezTo>
                  <a:cubicBezTo>
                    <a:pt x="3925" y="5505"/>
                    <a:pt x="3909" y="5450"/>
                    <a:pt x="3894" y="5441"/>
                  </a:cubicBezTo>
                  <a:cubicBezTo>
                    <a:pt x="3887" y="5430"/>
                    <a:pt x="3846" y="5375"/>
                    <a:pt x="3846" y="5375"/>
                  </a:cubicBezTo>
                  <a:cubicBezTo>
                    <a:pt x="3846" y="5375"/>
                    <a:pt x="3786" y="5295"/>
                    <a:pt x="3778" y="5266"/>
                  </a:cubicBezTo>
                  <a:cubicBezTo>
                    <a:pt x="3770" y="5237"/>
                    <a:pt x="3750" y="5190"/>
                    <a:pt x="3750" y="5173"/>
                  </a:cubicBezTo>
                  <a:cubicBezTo>
                    <a:pt x="3750" y="5155"/>
                    <a:pt x="3759" y="5119"/>
                    <a:pt x="3803" y="5125"/>
                  </a:cubicBezTo>
                  <a:cubicBezTo>
                    <a:pt x="3817" y="5114"/>
                    <a:pt x="3816" y="5106"/>
                    <a:pt x="3816" y="5106"/>
                  </a:cubicBezTo>
                  <a:cubicBezTo>
                    <a:pt x="3769" y="5080"/>
                    <a:pt x="3769" y="5080"/>
                    <a:pt x="3769" y="5080"/>
                  </a:cubicBezTo>
                  <a:cubicBezTo>
                    <a:pt x="3769" y="5080"/>
                    <a:pt x="3719" y="5084"/>
                    <a:pt x="3720" y="5040"/>
                  </a:cubicBezTo>
                  <a:cubicBezTo>
                    <a:pt x="3721" y="5037"/>
                    <a:pt x="3728" y="5033"/>
                    <a:pt x="3728" y="5033"/>
                  </a:cubicBezTo>
                  <a:cubicBezTo>
                    <a:pt x="3728" y="5033"/>
                    <a:pt x="3670" y="5016"/>
                    <a:pt x="3671" y="4979"/>
                  </a:cubicBezTo>
                  <a:cubicBezTo>
                    <a:pt x="3671" y="4975"/>
                    <a:pt x="3662" y="4976"/>
                    <a:pt x="3662" y="4976"/>
                  </a:cubicBezTo>
                  <a:cubicBezTo>
                    <a:pt x="3659" y="4941"/>
                    <a:pt x="3659" y="4941"/>
                    <a:pt x="3659" y="4941"/>
                  </a:cubicBezTo>
                  <a:cubicBezTo>
                    <a:pt x="3637" y="4909"/>
                    <a:pt x="3637" y="4909"/>
                    <a:pt x="3637" y="4909"/>
                  </a:cubicBezTo>
                  <a:cubicBezTo>
                    <a:pt x="3637" y="4909"/>
                    <a:pt x="3641" y="4887"/>
                    <a:pt x="3615" y="4885"/>
                  </a:cubicBezTo>
                  <a:cubicBezTo>
                    <a:pt x="3615" y="4883"/>
                    <a:pt x="3602" y="4870"/>
                    <a:pt x="3602" y="4870"/>
                  </a:cubicBezTo>
                  <a:cubicBezTo>
                    <a:pt x="3609" y="4855"/>
                    <a:pt x="3609" y="4855"/>
                    <a:pt x="3609" y="4855"/>
                  </a:cubicBezTo>
                  <a:cubicBezTo>
                    <a:pt x="3581" y="4827"/>
                    <a:pt x="3581" y="4827"/>
                    <a:pt x="3581" y="4827"/>
                  </a:cubicBezTo>
                  <a:cubicBezTo>
                    <a:pt x="3543" y="4818"/>
                    <a:pt x="3543" y="4818"/>
                    <a:pt x="3543" y="4818"/>
                  </a:cubicBezTo>
                  <a:cubicBezTo>
                    <a:pt x="3543" y="4818"/>
                    <a:pt x="3541" y="4795"/>
                    <a:pt x="3513" y="4793"/>
                  </a:cubicBezTo>
                  <a:cubicBezTo>
                    <a:pt x="3495" y="4773"/>
                    <a:pt x="3495" y="4768"/>
                    <a:pt x="3495" y="4768"/>
                  </a:cubicBezTo>
                  <a:cubicBezTo>
                    <a:pt x="3427" y="4746"/>
                    <a:pt x="3427" y="4746"/>
                    <a:pt x="3427" y="4746"/>
                  </a:cubicBezTo>
                  <a:cubicBezTo>
                    <a:pt x="3397" y="4746"/>
                    <a:pt x="3397" y="4746"/>
                    <a:pt x="3397" y="4746"/>
                  </a:cubicBezTo>
                  <a:cubicBezTo>
                    <a:pt x="3365" y="4717"/>
                    <a:pt x="3365" y="4717"/>
                    <a:pt x="3365" y="4717"/>
                  </a:cubicBezTo>
                  <a:cubicBezTo>
                    <a:pt x="3347" y="4715"/>
                    <a:pt x="3347" y="4715"/>
                    <a:pt x="3347" y="4715"/>
                  </a:cubicBezTo>
                  <a:cubicBezTo>
                    <a:pt x="3347" y="4715"/>
                    <a:pt x="3336" y="4701"/>
                    <a:pt x="3334" y="4701"/>
                  </a:cubicBezTo>
                  <a:cubicBezTo>
                    <a:pt x="3332" y="4701"/>
                    <a:pt x="3327" y="4731"/>
                    <a:pt x="3327" y="4731"/>
                  </a:cubicBezTo>
                  <a:cubicBezTo>
                    <a:pt x="3320" y="4731"/>
                    <a:pt x="3320" y="4731"/>
                    <a:pt x="3320" y="4731"/>
                  </a:cubicBezTo>
                  <a:cubicBezTo>
                    <a:pt x="3318" y="4704"/>
                    <a:pt x="3318" y="4704"/>
                    <a:pt x="3318" y="4704"/>
                  </a:cubicBezTo>
                  <a:cubicBezTo>
                    <a:pt x="3323" y="4698"/>
                    <a:pt x="3323" y="4698"/>
                    <a:pt x="3323" y="4698"/>
                  </a:cubicBezTo>
                  <a:cubicBezTo>
                    <a:pt x="3304" y="4676"/>
                    <a:pt x="3304" y="4676"/>
                    <a:pt x="3304" y="4676"/>
                  </a:cubicBezTo>
                  <a:cubicBezTo>
                    <a:pt x="3304" y="4676"/>
                    <a:pt x="3301" y="4667"/>
                    <a:pt x="3318" y="4667"/>
                  </a:cubicBezTo>
                  <a:cubicBezTo>
                    <a:pt x="3314" y="4664"/>
                    <a:pt x="3312" y="4655"/>
                    <a:pt x="3305" y="4653"/>
                  </a:cubicBezTo>
                  <a:cubicBezTo>
                    <a:pt x="3297" y="4651"/>
                    <a:pt x="3256" y="4609"/>
                    <a:pt x="3256" y="4609"/>
                  </a:cubicBezTo>
                  <a:cubicBezTo>
                    <a:pt x="3255" y="4575"/>
                    <a:pt x="3255" y="4575"/>
                    <a:pt x="3255" y="4575"/>
                  </a:cubicBezTo>
                  <a:cubicBezTo>
                    <a:pt x="3255" y="4575"/>
                    <a:pt x="3231" y="4528"/>
                    <a:pt x="3230" y="4515"/>
                  </a:cubicBezTo>
                  <a:cubicBezTo>
                    <a:pt x="3229" y="4503"/>
                    <a:pt x="3237" y="4498"/>
                    <a:pt x="3237" y="4498"/>
                  </a:cubicBezTo>
                  <a:cubicBezTo>
                    <a:pt x="3237" y="4498"/>
                    <a:pt x="3229" y="4491"/>
                    <a:pt x="3229" y="4483"/>
                  </a:cubicBezTo>
                  <a:cubicBezTo>
                    <a:pt x="3228" y="4476"/>
                    <a:pt x="3235" y="4469"/>
                    <a:pt x="3235" y="4465"/>
                  </a:cubicBezTo>
                  <a:cubicBezTo>
                    <a:pt x="3235" y="4461"/>
                    <a:pt x="3224" y="4454"/>
                    <a:pt x="3224" y="4454"/>
                  </a:cubicBezTo>
                  <a:cubicBezTo>
                    <a:pt x="3222" y="4439"/>
                    <a:pt x="3222" y="4439"/>
                    <a:pt x="3222" y="4439"/>
                  </a:cubicBezTo>
                  <a:cubicBezTo>
                    <a:pt x="3209" y="4439"/>
                    <a:pt x="3209" y="4439"/>
                    <a:pt x="3209" y="4439"/>
                  </a:cubicBezTo>
                  <a:cubicBezTo>
                    <a:pt x="3198" y="4399"/>
                    <a:pt x="3198" y="4399"/>
                    <a:pt x="3198" y="4399"/>
                  </a:cubicBezTo>
                  <a:cubicBezTo>
                    <a:pt x="3187" y="4399"/>
                    <a:pt x="3187" y="4399"/>
                    <a:pt x="3187" y="4399"/>
                  </a:cubicBezTo>
                  <a:cubicBezTo>
                    <a:pt x="3188" y="4379"/>
                    <a:pt x="3188" y="4379"/>
                    <a:pt x="3188" y="4379"/>
                  </a:cubicBezTo>
                  <a:cubicBezTo>
                    <a:pt x="3168" y="4356"/>
                    <a:pt x="3168" y="4356"/>
                    <a:pt x="3168" y="4356"/>
                  </a:cubicBezTo>
                  <a:cubicBezTo>
                    <a:pt x="3171" y="4345"/>
                    <a:pt x="3171" y="4345"/>
                    <a:pt x="3171" y="4345"/>
                  </a:cubicBezTo>
                  <a:cubicBezTo>
                    <a:pt x="3171" y="4345"/>
                    <a:pt x="3159" y="4329"/>
                    <a:pt x="3156" y="4313"/>
                  </a:cubicBezTo>
                  <a:cubicBezTo>
                    <a:pt x="3153" y="4297"/>
                    <a:pt x="3168" y="4295"/>
                    <a:pt x="3168" y="4295"/>
                  </a:cubicBezTo>
                  <a:cubicBezTo>
                    <a:pt x="3155" y="4275"/>
                    <a:pt x="3155" y="4275"/>
                    <a:pt x="3155" y="4275"/>
                  </a:cubicBezTo>
                  <a:cubicBezTo>
                    <a:pt x="3155" y="4275"/>
                    <a:pt x="3151" y="4253"/>
                    <a:pt x="3138" y="4245"/>
                  </a:cubicBezTo>
                  <a:cubicBezTo>
                    <a:pt x="3133" y="4238"/>
                    <a:pt x="3135" y="4212"/>
                    <a:pt x="3135" y="4212"/>
                  </a:cubicBezTo>
                  <a:cubicBezTo>
                    <a:pt x="3135" y="4212"/>
                    <a:pt x="3145" y="4203"/>
                    <a:pt x="3144" y="4195"/>
                  </a:cubicBezTo>
                  <a:cubicBezTo>
                    <a:pt x="3143" y="4187"/>
                    <a:pt x="3117" y="4163"/>
                    <a:pt x="3116" y="4153"/>
                  </a:cubicBezTo>
                  <a:cubicBezTo>
                    <a:pt x="3115" y="4143"/>
                    <a:pt x="3133" y="4123"/>
                    <a:pt x="3131" y="4114"/>
                  </a:cubicBezTo>
                  <a:cubicBezTo>
                    <a:pt x="3128" y="4105"/>
                    <a:pt x="3122" y="4063"/>
                    <a:pt x="3122" y="4063"/>
                  </a:cubicBezTo>
                  <a:cubicBezTo>
                    <a:pt x="3114" y="4061"/>
                    <a:pt x="3114" y="4061"/>
                    <a:pt x="3114" y="4061"/>
                  </a:cubicBezTo>
                  <a:cubicBezTo>
                    <a:pt x="3114" y="4044"/>
                    <a:pt x="3114" y="4044"/>
                    <a:pt x="3114" y="4044"/>
                  </a:cubicBezTo>
                  <a:cubicBezTo>
                    <a:pt x="3101" y="4023"/>
                    <a:pt x="3101" y="4023"/>
                    <a:pt x="3101" y="4023"/>
                  </a:cubicBezTo>
                  <a:cubicBezTo>
                    <a:pt x="3108" y="4018"/>
                    <a:pt x="3108" y="4018"/>
                    <a:pt x="3108" y="4018"/>
                  </a:cubicBezTo>
                  <a:cubicBezTo>
                    <a:pt x="3108" y="4018"/>
                    <a:pt x="3100" y="3995"/>
                    <a:pt x="3095" y="3992"/>
                  </a:cubicBezTo>
                  <a:cubicBezTo>
                    <a:pt x="3089" y="3989"/>
                    <a:pt x="3069" y="3969"/>
                    <a:pt x="3069" y="3969"/>
                  </a:cubicBezTo>
                  <a:cubicBezTo>
                    <a:pt x="3051" y="3969"/>
                    <a:pt x="3051" y="3969"/>
                    <a:pt x="3051" y="3969"/>
                  </a:cubicBezTo>
                  <a:cubicBezTo>
                    <a:pt x="3051" y="3969"/>
                    <a:pt x="3045" y="3985"/>
                    <a:pt x="3040" y="3975"/>
                  </a:cubicBezTo>
                  <a:cubicBezTo>
                    <a:pt x="3035" y="3966"/>
                    <a:pt x="3050" y="3965"/>
                    <a:pt x="3050" y="3965"/>
                  </a:cubicBezTo>
                  <a:cubicBezTo>
                    <a:pt x="3036" y="3943"/>
                    <a:pt x="3036" y="3943"/>
                    <a:pt x="3036" y="3943"/>
                  </a:cubicBezTo>
                  <a:cubicBezTo>
                    <a:pt x="3037" y="3914"/>
                    <a:pt x="3037" y="3914"/>
                    <a:pt x="3037" y="3914"/>
                  </a:cubicBezTo>
                  <a:cubicBezTo>
                    <a:pt x="3003" y="3913"/>
                    <a:pt x="3003" y="3913"/>
                    <a:pt x="3003" y="3913"/>
                  </a:cubicBezTo>
                  <a:cubicBezTo>
                    <a:pt x="3009" y="3929"/>
                    <a:pt x="3009" y="3929"/>
                    <a:pt x="3009" y="3929"/>
                  </a:cubicBezTo>
                  <a:cubicBezTo>
                    <a:pt x="3009" y="3929"/>
                    <a:pt x="3029" y="3931"/>
                    <a:pt x="3029" y="3937"/>
                  </a:cubicBezTo>
                  <a:cubicBezTo>
                    <a:pt x="3029" y="3944"/>
                    <a:pt x="3029" y="3959"/>
                    <a:pt x="3021" y="3957"/>
                  </a:cubicBezTo>
                  <a:cubicBezTo>
                    <a:pt x="3013" y="3955"/>
                    <a:pt x="2996" y="3933"/>
                    <a:pt x="2996" y="3933"/>
                  </a:cubicBezTo>
                  <a:cubicBezTo>
                    <a:pt x="2995" y="3919"/>
                    <a:pt x="2995" y="3919"/>
                    <a:pt x="2995" y="3919"/>
                  </a:cubicBezTo>
                  <a:cubicBezTo>
                    <a:pt x="2995" y="3919"/>
                    <a:pt x="2968" y="3899"/>
                    <a:pt x="2956" y="3879"/>
                  </a:cubicBezTo>
                  <a:cubicBezTo>
                    <a:pt x="2944" y="3859"/>
                    <a:pt x="2937" y="3853"/>
                    <a:pt x="2938" y="3847"/>
                  </a:cubicBezTo>
                  <a:cubicBezTo>
                    <a:pt x="2939" y="3840"/>
                    <a:pt x="2914" y="3819"/>
                    <a:pt x="2914" y="3819"/>
                  </a:cubicBezTo>
                  <a:cubicBezTo>
                    <a:pt x="2915" y="3807"/>
                    <a:pt x="2915" y="3807"/>
                    <a:pt x="2915" y="3807"/>
                  </a:cubicBezTo>
                  <a:cubicBezTo>
                    <a:pt x="2903" y="3790"/>
                    <a:pt x="2903" y="3790"/>
                    <a:pt x="2903" y="3790"/>
                  </a:cubicBezTo>
                  <a:cubicBezTo>
                    <a:pt x="2901" y="3775"/>
                    <a:pt x="2901" y="3775"/>
                    <a:pt x="2901" y="3775"/>
                  </a:cubicBezTo>
                  <a:cubicBezTo>
                    <a:pt x="2883" y="3769"/>
                    <a:pt x="2883" y="3769"/>
                    <a:pt x="2883" y="3769"/>
                  </a:cubicBezTo>
                  <a:cubicBezTo>
                    <a:pt x="2879" y="3747"/>
                    <a:pt x="2879" y="3747"/>
                    <a:pt x="2879" y="3747"/>
                  </a:cubicBezTo>
                  <a:cubicBezTo>
                    <a:pt x="2859" y="3746"/>
                    <a:pt x="2859" y="3746"/>
                    <a:pt x="2859" y="3746"/>
                  </a:cubicBezTo>
                  <a:cubicBezTo>
                    <a:pt x="2859" y="3746"/>
                    <a:pt x="2845" y="3729"/>
                    <a:pt x="2843" y="3729"/>
                  </a:cubicBezTo>
                  <a:cubicBezTo>
                    <a:pt x="2841" y="3729"/>
                    <a:pt x="2824" y="3729"/>
                    <a:pt x="2824" y="3729"/>
                  </a:cubicBezTo>
                  <a:cubicBezTo>
                    <a:pt x="2816" y="3741"/>
                    <a:pt x="2816" y="3741"/>
                    <a:pt x="2816" y="3741"/>
                  </a:cubicBezTo>
                  <a:cubicBezTo>
                    <a:pt x="2804" y="3731"/>
                    <a:pt x="2804" y="3731"/>
                    <a:pt x="2804" y="3731"/>
                  </a:cubicBezTo>
                  <a:cubicBezTo>
                    <a:pt x="2783" y="3728"/>
                    <a:pt x="2783" y="3728"/>
                    <a:pt x="2783" y="3728"/>
                  </a:cubicBezTo>
                  <a:cubicBezTo>
                    <a:pt x="2763" y="3715"/>
                    <a:pt x="2763" y="3715"/>
                    <a:pt x="2763" y="3715"/>
                  </a:cubicBezTo>
                  <a:cubicBezTo>
                    <a:pt x="2759" y="3703"/>
                    <a:pt x="2759" y="3703"/>
                    <a:pt x="2759" y="3703"/>
                  </a:cubicBezTo>
                  <a:cubicBezTo>
                    <a:pt x="2724" y="3683"/>
                    <a:pt x="2724" y="3683"/>
                    <a:pt x="2724" y="3683"/>
                  </a:cubicBezTo>
                  <a:cubicBezTo>
                    <a:pt x="2715" y="3682"/>
                    <a:pt x="2715" y="3682"/>
                    <a:pt x="2715" y="3682"/>
                  </a:cubicBezTo>
                  <a:cubicBezTo>
                    <a:pt x="2715" y="3682"/>
                    <a:pt x="2711" y="3667"/>
                    <a:pt x="2704" y="3667"/>
                  </a:cubicBezTo>
                  <a:cubicBezTo>
                    <a:pt x="2697" y="3668"/>
                    <a:pt x="2691" y="3681"/>
                    <a:pt x="2691" y="3681"/>
                  </a:cubicBezTo>
                  <a:cubicBezTo>
                    <a:pt x="2679" y="3669"/>
                    <a:pt x="2679" y="3669"/>
                    <a:pt x="2679" y="3669"/>
                  </a:cubicBezTo>
                  <a:cubicBezTo>
                    <a:pt x="2679" y="3669"/>
                    <a:pt x="2677" y="3687"/>
                    <a:pt x="2671" y="3682"/>
                  </a:cubicBezTo>
                  <a:cubicBezTo>
                    <a:pt x="2665" y="3677"/>
                    <a:pt x="2672" y="3665"/>
                    <a:pt x="2672" y="3665"/>
                  </a:cubicBezTo>
                  <a:cubicBezTo>
                    <a:pt x="2649" y="3635"/>
                    <a:pt x="2649" y="3635"/>
                    <a:pt x="2649" y="3635"/>
                  </a:cubicBezTo>
                  <a:cubicBezTo>
                    <a:pt x="2635" y="3632"/>
                    <a:pt x="2635" y="3632"/>
                    <a:pt x="2635" y="3632"/>
                  </a:cubicBezTo>
                  <a:cubicBezTo>
                    <a:pt x="2627" y="3625"/>
                    <a:pt x="2627" y="3625"/>
                    <a:pt x="2627" y="3625"/>
                  </a:cubicBezTo>
                  <a:cubicBezTo>
                    <a:pt x="2618" y="3634"/>
                    <a:pt x="2618" y="3634"/>
                    <a:pt x="2618" y="3634"/>
                  </a:cubicBezTo>
                  <a:cubicBezTo>
                    <a:pt x="2611" y="3626"/>
                    <a:pt x="2611" y="3626"/>
                    <a:pt x="2611" y="3626"/>
                  </a:cubicBezTo>
                  <a:cubicBezTo>
                    <a:pt x="2604" y="3626"/>
                    <a:pt x="2604" y="3626"/>
                    <a:pt x="2604" y="3626"/>
                  </a:cubicBezTo>
                  <a:cubicBezTo>
                    <a:pt x="2599" y="3632"/>
                    <a:pt x="2599" y="3632"/>
                    <a:pt x="2599" y="3632"/>
                  </a:cubicBezTo>
                  <a:cubicBezTo>
                    <a:pt x="2592" y="3625"/>
                    <a:pt x="2592" y="3625"/>
                    <a:pt x="2592" y="3625"/>
                  </a:cubicBezTo>
                  <a:cubicBezTo>
                    <a:pt x="2572" y="3625"/>
                    <a:pt x="2572" y="3625"/>
                    <a:pt x="2572" y="3625"/>
                  </a:cubicBezTo>
                  <a:cubicBezTo>
                    <a:pt x="2553" y="3645"/>
                    <a:pt x="2553" y="3645"/>
                    <a:pt x="2553" y="3645"/>
                  </a:cubicBezTo>
                  <a:cubicBezTo>
                    <a:pt x="2547" y="3665"/>
                    <a:pt x="2547" y="3665"/>
                    <a:pt x="2547" y="3665"/>
                  </a:cubicBezTo>
                  <a:cubicBezTo>
                    <a:pt x="2535" y="3665"/>
                    <a:pt x="2535" y="3665"/>
                    <a:pt x="2535" y="3665"/>
                  </a:cubicBezTo>
                  <a:cubicBezTo>
                    <a:pt x="2535" y="3665"/>
                    <a:pt x="2540" y="3665"/>
                    <a:pt x="2540" y="3671"/>
                  </a:cubicBezTo>
                  <a:cubicBezTo>
                    <a:pt x="2540" y="3677"/>
                    <a:pt x="2532" y="3690"/>
                    <a:pt x="2532" y="3690"/>
                  </a:cubicBezTo>
                  <a:cubicBezTo>
                    <a:pt x="2505" y="3689"/>
                    <a:pt x="2505" y="3689"/>
                    <a:pt x="2505" y="3689"/>
                  </a:cubicBezTo>
                  <a:cubicBezTo>
                    <a:pt x="2471" y="3707"/>
                    <a:pt x="2471" y="3707"/>
                    <a:pt x="2471" y="3707"/>
                  </a:cubicBezTo>
                  <a:cubicBezTo>
                    <a:pt x="2471" y="3707"/>
                    <a:pt x="2456" y="3716"/>
                    <a:pt x="2445" y="3707"/>
                  </a:cubicBezTo>
                  <a:cubicBezTo>
                    <a:pt x="2433" y="3697"/>
                    <a:pt x="2421" y="3680"/>
                    <a:pt x="2421" y="3680"/>
                  </a:cubicBezTo>
                  <a:cubicBezTo>
                    <a:pt x="2375" y="3681"/>
                    <a:pt x="2375" y="3681"/>
                    <a:pt x="2375" y="3681"/>
                  </a:cubicBezTo>
                  <a:cubicBezTo>
                    <a:pt x="2369" y="3684"/>
                    <a:pt x="2369" y="3684"/>
                    <a:pt x="2369" y="3684"/>
                  </a:cubicBezTo>
                  <a:cubicBezTo>
                    <a:pt x="2366" y="3679"/>
                    <a:pt x="2366" y="3679"/>
                    <a:pt x="2366" y="3679"/>
                  </a:cubicBezTo>
                  <a:cubicBezTo>
                    <a:pt x="2343" y="3678"/>
                    <a:pt x="2343" y="3678"/>
                    <a:pt x="2343" y="3678"/>
                  </a:cubicBezTo>
                  <a:cubicBezTo>
                    <a:pt x="2343" y="3678"/>
                    <a:pt x="2336" y="3665"/>
                    <a:pt x="2333" y="3665"/>
                  </a:cubicBezTo>
                  <a:cubicBezTo>
                    <a:pt x="2331" y="3665"/>
                    <a:pt x="2330" y="3675"/>
                    <a:pt x="2306" y="3673"/>
                  </a:cubicBezTo>
                  <a:cubicBezTo>
                    <a:pt x="2282" y="3672"/>
                    <a:pt x="2283" y="3665"/>
                    <a:pt x="2283" y="3665"/>
                  </a:cubicBezTo>
                  <a:cubicBezTo>
                    <a:pt x="2283" y="3665"/>
                    <a:pt x="2236" y="3666"/>
                    <a:pt x="2233" y="3650"/>
                  </a:cubicBezTo>
                  <a:cubicBezTo>
                    <a:pt x="2216" y="3649"/>
                    <a:pt x="2206" y="3649"/>
                    <a:pt x="2206" y="3649"/>
                  </a:cubicBezTo>
                  <a:cubicBezTo>
                    <a:pt x="2206" y="3649"/>
                    <a:pt x="2202" y="3655"/>
                    <a:pt x="2197" y="3656"/>
                  </a:cubicBezTo>
                  <a:cubicBezTo>
                    <a:pt x="2193" y="3657"/>
                    <a:pt x="2188" y="3641"/>
                    <a:pt x="2189" y="3636"/>
                  </a:cubicBezTo>
                  <a:cubicBezTo>
                    <a:pt x="2189" y="3631"/>
                    <a:pt x="2210" y="3617"/>
                    <a:pt x="2215" y="3627"/>
                  </a:cubicBezTo>
                  <a:cubicBezTo>
                    <a:pt x="2221" y="3638"/>
                    <a:pt x="2221" y="3636"/>
                    <a:pt x="2221" y="3636"/>
                  </a:cubicBezTo>
                  <a:cubicBezTo>
                    <a:pt x="2221" y="3636"/>
                    <a:pt x="2234" y="3614"/>
                    <a:pt x="2245" y="3642"/>
                  </a:cubicBezTo>
                  <a:cubicBezTo>
                    <a:pt x="2269" y="3647"/>
                    <a:pt x="2275" y="3641"/>
                    <a:pt x="2275" y="3641"/>
                  </a:cubicBezTo>
                  <a:cubicBezTo>
                    <a:pt x="2311" y="3663"/>
                    <a:pt x="2311" y="3663"/>
                    <a:pt x="2311" y="3663"/>
                  </a:cubicBezTo>
                  <a:cubicBezTo>
                    <a:pt x="2319" y="3661"/>
                    <a:pt x="2319" y="3661"/>
                    <a:pt x="2319" y="3661"/>
                  </a:cubicBezTo>
                  <a:cubicBezTo>
                    <a:pt x="2321" y="3651"/>
                    <a:pt x="2321" y="3651"/>
                    <a:pt x="2321" y="3651"/>
                  </a:cubicBezTo>
                  <a:cubicBezTo>
                    <a:pt x="2339" y="3653"/>
                    <a:pt x="2339" y="3653"/>
                    <a:pt x="2339" y="3653"/>
                  </a:cubicBezTo>
                  <a:cubicBezTo>
                    <a:pt x="2339" y="3653"/>
                    <a:pt x="2361" y="3641"/>
                    <a:pt x="2355" y="3633"/>
                  </a:cubicBezTo>
                  <a:cubicBezTo>
                    <a:pt x="2357" y="3635"/>
                    <a:pt x="2361" y="3638"/>
                    <a:pt x="2361" y="3638"/>
                  </a:cubicBezTo>
                  <a:cubicBezTo>
                    <a:pt x="2391" y="3634"/>
                    <a:pt x="2391" y="3634"/>
                    <a:pt x="2391" y="3634"/>
                  </a:cubicBezTo>
                  <a:cubicBezTo>
                    <a:pt x="2391" y="3627"/>
                    <a:pt x="2391" y="3627"/>
                    <a:pt x="2391" y="3627"/>
                  </a:cubicBezTo>
                  <a:cubicBezTo>
                    <a:pt x="2417" y="3626"/>
                    <a:pt x="2417" y="3626"/>
                    <a:pt x="2417" y="3626"/>
                  </a:cubicBezTo>
                  <a:cubicBezTo>
                    <a:pt x="2422" y="3610"/>
                    <a:pt x="2422" y="3610"/>
                    <a:pt x="2422" y="3610"/>
                  </a:cubicBezTo>
                  <a:cubicBezTo>
                    <a:pt x="2421" y="3587"/>
                    <a:pt x="2421" y="3587"/>
                    <a:pt x="2421" y="3587"/>
                  </a:cubicBezTo>
                  <a:cubicBezTo>
                    <a:pt x="2435" y="3588"/>
                    <a:pt x="2435" y="3588"/>
                    <a:pt x="2435" y="3588"/>
                  </a:cubicBezTo>
                  <a:cubicBezTo>
                    <a:pt x="2500" y="3523"/>
                    <a:pt x="2500" y="3523"/>
                    <a:pt x="2500" y="3523"/>
                  </a:cubicBezTo>
                  <a:cubicBezTo>
                    <a:pt x="2539" y="3523"/>
                    <a:pt x="2539" y="3523"/>
                    <a:pt x="2539" y="3523"/>
                  </a:cubicBezTo>
                  <a:cubicBezTo>
                    <a:pt x="2539" y="3523"/>
                    <a:pt x="2543" y="3542"/>
                    <a:pt x="2561" y="3539"/>
                  </a:cubicBezTo>
                  <a:cubicBezTo>
                    <a:pt x="2563" y="3541"/>
                    <a:pt x="2563" y="3547"/>
                    <a:pt x="2563" y="3547"/>
                  </a:cubicBezTo>
                  <a:cubicBezTo>
                    <a:pt x="2569" y="3537"/>
                    <a:pt x="2569" y="3537"/>
                    <a:pt x="2569" y="3537"/>
                  </a:cubicBezTo>
                  <a:cubicBezTo>
                    <a:pt x="2572" y="3545"/>
                    <a:pt x="2572" y="3545"/>
                    <a:pt x="2572" y="3545"/>
                  </a:cubicBezTo>
                  <a:cubicBezTo>
                    <a:pt x="2572" y="3545"/>
                    <a:pt x="2580" y="3524"/>
                    <a:pt x="2606" y="3524"/>
                  </a:cubicBezTo>
                  <a:cubicBezTo>
                    <a:pt x="2632" y="3509"/>
                    <a:pt x="2667" y="3485"/>
                    <a:pt x="2673" y="3475"/>
                  </a:cubicBezTo>
                  <a:cubicBezTo>
                    <a:pt x="2656" y="3465"/>
                    <a:pt x="2641" y="3448"/>
                    <a:pt x="2635" y="3437"/>
                  </a:cubicBezTo>
                  <a:cubicBezTo>
                    <a:pt x="2629" y="3427"/>
                    <a:pt x="2603" y="3433"/>
                    <a:pt x="2603" y="3433"/>
                  </a:cubicBezTo>
                  <a:cubicBezTo>
                    <a:pt x="2575" y="3419"/>
                    <a:pt x="2575" y="3419"/>
                    <a:pt x="2575" y="3419"/>
                  </a:cubicBezTo>
                  <a:cubicBezTo>
                    <a:pt x="2575" y="3409"/>
                    <a:pt x="2575" y="3409"/>
                    <a:pt x="2575" y="3409"/>
                  </a:cubicBezTo>
                  <a:cubicBezTo>
                    <a:pt x="2568" y="3403"/>
                    <a:pt x="2568" y="3403"/>
                    <a:pt x="2568" y="3403"/>
                  </a:cubicBezTo>
                  <a:cubicBezTo>
                    <a:pt x="2568" y="3403"/>
                    <a:pt x="2566" y="3417"/>
                    <a:pt x="2559" y="3413"/>
                  </a:cubicBezTo>
                  <a:cubicBezTo>
                    <a:pt x="2553" y="3408"/>
                    <a:pt x="2573" y="3388"/>
                    <a:pt x="2573" y="3388"/>
                  </a:cubicBezTo>
                  <a:cubicBezTo>
                    <a:pt x="2572" y="3361"/>
                    <a:pt x="2572" y="3361"/>
                    <a:pt x="2572" y="3361"/>
                  </a:cubicBezTo>
                  <a:cubicBezTo>
                    <a:pt x="2572" y="3361"/>
                    <a:pt x="2582" y="3363"/>
                    <a:pt x="2580" y="3357"/>
                  </a:cubicBezTo>
                  <a:cubicBezTo>
                    <a:pt x="2578" y="3351"/>
                    <a:pt x="2568" y="3341"/>
                    <a:pt x="2568" y="3341"/>
                  </a:cubicBezTo>
                  <a:cubicBezTo>
                    <a:pt x="2564" y="3349"/>
                    <a:pt x="2564" y="3349"/>
                    <a:pt x="2564" y="3349"/>
                  </a:cubicBezTo>
                  <a:cubicBezTo>
                    <a:pt x="2545" y="3348"/>
                    <a:pt x="2545" y="3348"/>
                    <a:pt x="2545" y="3348"/>
                  </a:cubicBezTo>
                  <a:cubicBezTo>
                    <a:pt x="2545" y="3342"/>
                    <a:pt x="2545" y="3342"/>
                    <a:pt x="2545" y="3342"/>
                  </a:cubicBezTo>
                  <a:cubicBezTo>
                    <a:pt x="2517" y="3341"/>
                    <a:pt x="2517" y="3341"/>
                    <a:pt x="2517" y="3341"/>
                  </a:cubicBezTo>
                  <a:cubicBezTo>
                    <a:pt x="2497" y="3361"/>
                    <a:pt x="2497" y="3361"/>
                    <a:pt x="2497" y="3361"/>
                  </a:cubicBezTo>
                  <a:cubicBezTo>
                    <a:pt x="2481" y="3362"/>
                    <a:pt x="2481" y="3362"/>
                    <a:pt x="2481" y="3362"/>
                  </a:cubicBezTo>
                  <a:cubicBezTo>
                    <a:pt x="2455" y="3379"/>
                    <a:pt x="2455" y="3379"/>
                    <a:pt x="2455" y="3379"/>
                  </a:cubicBezTo>
                  <a:cubicBezTo>
                    <a:pt x="2439" y="3379"/>
                    <a:pt x="2439" y="3379"/>
                    <a:pt x="2439" y="3379"/>
                  </a:cubicBezTo>
                  <a:cubicBezTo>
                    <a:pt x="2426" y="3391"/>
                    <a:pt x="2426" y="3391"/>
                    <a:pt x="2426" y="3391"/>
                  </a:cubicBezTo>
                  <a:cubicBezTo>
                    <a:pt x="2413" y="3391"/>
                    <a:pt x="2413" y="3391"/>
                    <a:pt x="2413" y="3391"/>
                  </a:cubicBezTo>
                  <a:cubicBezTo>
                    <a:pt x="2405" y="3403"/>
                    <a:pt x="2405" y="3403"/>
                    <a:pt x="2405" y="3403"/>
                  </a:cubicBezTo>
                  <a:cubicBezTo>
                    <a:pt x="2405" y="3403"/>
                    <a:pt x="2376" y="3416"/>
                    <a:pt x="2372" y="3410"/>
                  </a:cubicBezTo>
                  <a:cubicBezTo>
                    <a:pt x="2368" y="3404"/>
                    <a:pt x="2387" y="3394"/>
                    <a:pt x="2395" y="3394"/>
                  </a:cubicBezTo>
                  <a:cubicBezTo>
                    <a:pt x="2403" y="3384"/>
                    <a:pt x="2453" y="3343"/>
                    <a:pt x="2460" y="3343"/>
                  </a:cubicBezTo>
                  <a:cubicBezTo>
                    <a:pt x="2467" y="3343"/>
                    <a:pt x="2473" y="3337"/>
                    <a:pt x="2473" y="3337"/>
                  </a:cubicBezTo>
                  <a:cubicBezTo>
                    <a:pt x="2473" y="3337"/>
                    <a:pt x="2476" y="3344"/>
                    <a:pt x="2479" y="3345"/>
                  </a:cubicBezTo>
                  <a:cubicBezTo>
                    <a:pt x="2481" y="3345"/>
                    <a:pt x="2503" y="3345"/>
                    <a:pt x="2503" y="3345"/>
                  </a:cubicBezTo>
                  <a:cubicBezTo>
                    <a:pt x="2513" y="3332"/>
                    <a:pt x="2513" y="3332"/>
                    <a:pt x="2513" y="3332"/>
                  </a:cubicBezTo>
                  <a:cubicBezTo>
                    <a:pt x="2557" y="3332"/>
                    <a:pt x="2557" y="3332"/>
                    <a:pt x="2557" y="3332"/>
                  </a:cubicBezTo>
                  <a:cubicBezTo>
                    <a:pt x="2559" y="3327"/>
                    <a:pt x="2559" y="3327"/>
                    <a:pt x="2559" y="3327"/>
                  </a:cubicBezTo>
                  <a:cubicBezTo>
                    <a:pt x="2598" y="3329"/>
                    <a:pt x="2598" y="3329"/>
                    <a:pt x="2598" y="3329"/>
                  </a:cubicBezTo>
                  <a:cubicBezTo>
                    <a:pt x="2598" y="3329"/>
                    <a:pt x="2601" y="3342"/>
                    <a:pt x="2612" y="3335"/>
                  </a:cubicBezTo>
                  <a:cubicBezTo>
                    <a:pt x="2615" y="3321"/>
                    <a:pt x="2615" y="3309"/>
                    <a:pt x="2615" y="3309"/>
                  </a:cubicBezTo>
                  <a:cubicBezTo>
                    <a:pt x="2615" y="3309"/>
                    <a:pt x="2644" y="3299"/>
                    <a:pt x="2660" y="3272"/>
                  </a:cubicBezTo>
                  <a:cubicBezTo>
                    <a:pt x="2679" y="3271"/>
                    <a:pt x="2699" y="3261"/>
                    <a:pt x="2700" y="3243"/>
                  </a:cubicBezTo>
                  <a:cubicBezTo>
                    <a:pt x="2714" y="3232"/>
                    <a:pt x="2721" y="3225"/>
                    <a:pt x="2719" y="3219"/>
                  </a:cubicBezTo>
                  <a:cubicBezTo>
                    <a:pt x="2716" y="3213"/>
                    <a:pt x="2706" y="3213"/>
                    <a:pt x="2705" y="3207"/>
                  </a:cubicBezTo>
                  <a:cubicBezTo>
                    <a:pt x="2705" y="3201"/>
                    <a:pt x="2708" y="3188"/>
                    <a:pt x="2724" y="3188"/>
                  </a:cubicBezTo>
                  <a:cubicBezTo>
                    <a:pt x="2739" y="3175"/>
                    <a:pt x="2739" y="3172"/>
                    <a:pt x="2739" y="3166"/>
                  </a:cubicBezTo>
                  <a:cubicBezTo>
                    <a:pt x="2739" y="3160"/>
                    <a:pt x="2733" y="3157"/>
                    <a:pt x="2733" y="3153"/>
                  </a:cubicBezTo>
                  <a:cubicBezTo>
                    <a:pt x="2733" y="3148"/>
                    <a:pt x="2739" y="3119"/>
                    <a:pt x="2761" y="3117"/>
                  </a:cubicBezTo>
                  <a:cubicBezTo>
                    <a:pt x="2775" y="3108"/>
                    <a:pt x="2769" y="3103"/>
                    <a:pt x="2781" y="3103"/>
                  </a:cubicBezTo>
                  <a:cubicBezTo>
                    <a:pt x="2791" y="3095"/>
                    <a:pt x="2833" y="3049"/>
                    <a:pt x="2835" y="3038"/>
                  </a:cubicBezTo>
                  <a:cubicBezTo>
                    <a:pt x="2838" y="3027"/>
                    <a:pt x="2841" y="3019"/>
                    <a:pt x="2843" y="3019"/>
                  </a:cubicBezTo>
                  <a:cubicBezTo>
                    <a:pt x="2846" y="3019"/>
                    <a:pt x="2845" y="2970"/>
                    <a:pt x="2845" y="2970"/>
                  </a:cubicBezTo>
                  <a:cubicBezTo>
                    <a:pt x="2851" y="2967"/>
                    <a:pt x="2851" y="2967"/>
                    <a:pt x="2851" y="2967"/>
                  </a:cubicBezTo>
                  <a:cubicBezTo>
                    <a:pt x="2851" y="2967"/>
                    <a:pt x="2853" y="2943"/>
                    <a:pt x="2870" y="2925"/>
                  </a:cubicBezTo>
                  <a:cubicBezTo>
                    <a:pt x="2887" y="2907"/>
                    <a:pt x="2890" y="2905"/>
                    <a:pt x="2890" y="2899"/>
                  </a:cubicBezTo>
                  <a:cubicBezTo>
                    <a:pt x="2890" y="2894"/>
                    <a:pt x="2909" y="2871"/>
                    <a:pt x="2909" y="2865"/>
                  </a:cubicBezTo>
                  <a:cubicBezTo>
                    <a:pt x="2909" y="2858"/>
                    <a:pt x="2912" y="2850"/>
                    <a:pt x="2912" y="2850"/>
                  </a:cubicBezTo>
                  <a:cubicBezTo>
                    <a:pt x="2900" y="2849"/>
                    <a:pt x="2900" y="2849"/>
                    <a:pt x="2900" y="2849"/>
                  </a:cubicBezTo>
                  <a:cubicBezTo>
                    <a:pt x="2895" y="2805"/>
                    <a:pt x="2895" y="2805"/>
                    <a:pt x="2895" y="2805"/>
                  </a:cubicBezTo>
                  <a:cubicBezTo>
                    <a:pt x="2895" y="2805"/>
                    <a:pt x="2908" y="2793"/>
                    <a:pt x="2907" y="2783"/>
                  </a:cubicBezTo>
                  <a:cubicBezTo>
                    <a:pt x="2907" y="2774"/>
                    <a:pt x="2919" y="2768"/>
                    <a:pt x="2919" y="2760"/>
                  </a:cubicBezTo>
                  <a:cubicBezTo>
                    <a:pt x="2919" y="2752"/>
                    <a:pt x="2954" y="2699"/>
                    <a:pt x="2968" y="2694"/>
                  </a:cubicBezTo>
                  <a:cubicBezTo>
                    <a:pt x="2970" y="2687"/>
                    <a:pt x="2970" y="2687"/>
                    <a:pt x="2970" y="2687"/>
                  </a:cubicBezTo>
                  <a:cubicBezTo>
                    <a:pt x="2982" y="2687"/>
                    <a:pt x="2982" y="2687"/>
                    <a:pt x="2982" y="2687"/>
                  </a:cubicBezTo>
                  <a:cubicBezTo>
                    <a:pt x="2993" y="2675"/>
                    <a:pt x="2993" y="2675"/>
                    <a:pt x="2993" y="2675"/>
                  </a:cubicBezTo>
                  <a:cubicBezTo>
                    <a:pt x="2993" y="2655"/>
                    <a:pt x="2993" y="2655"/>
                    <a:pt x="2993" y="2655"/>
                  </a:cubicBezTo>
                  <a:cubicBezTo>
                    <a:pt x="3005" y="2655"/>
                    <a:pt x="3005" y="2655"/>
                    <a:pt x="3005" y="2655"/>
                  </a:cubicBezTo>
                  <a:cubicBezTo>
                    <a:pt x="3021" y="2641"/>
                    <a:pt x="3021" y="2641"/>
                    <a:pt x="3021" y="2641"/>
                  </a:cubicBezTo>
                  <a:cubicBezTo>
                    <a:pt x="3018" y="2632"/>
                    <a:pt x="3018" y="2632"/>
                    <a:pt x="3018" y="2632"/>
                  </a:cubicBezTo>
                  <a:cubicBezTo>
                    <a:pt x="3034" y="2616"/>
                    <a:pt x="3034" y="2616"/>
                    <a:pt x="3034" y="2616"/>
                  </a:cubicBezTo>
                  <a:cubicBezTo>
                    <a:pt x="3022" y="2609"/>
                    <a:pt x="3022" y="2609"/>
                    <a:pt x="3022" y="2609"/>
                  </a:cubicBezTo>
                  <a:cubicBezTo>
                    <a:pt x="3022" y="2609"/>
                    <a:pt x="3036" y="2600"/>
                    <a:pt x="3034" y="2593"/>
                  </a:cubicBezTo>
                  <a:cubicBezTo>
                    <a:pt x="3032" y="2587"/>
                    <a:pt x="3015" y="2569"/>
                    <a:pt x="3015" y="2569"/>
                  </a:cubicBezTo>
                  <a:cubicBezTo>
                    <a:pt x="3015" y="2548"/>
                    <a:pt x="3015" y="2548"/>
                    <a:pt x="3015" y="2548"/>
                  </a:cubicBezTo>
                  <a:cubicBezTo>
                    <a:pt x="3007" y="2543"/>
                    <a:pt x="3007" y="2543"/>
                    <a:pt x="3007" y="2543"/>
                  </a:cubicBezTo>
                  <a:cubicBezTo>
                    <a:pt x="3008" y="2509"/>
                    <a:pt x="3008" y="2509"/>
                    <a:pt x="3008" y="2509"/>
                  </a:cubicBezTo>
                  <a:cubicBezTo>
                    <a:pt x="3008" y="2509"/>
                    <a:pt x="2991" y="2497"/>
                    <a:pt x="2989" y="2498"/>
                  </a:cubicBezTo>
                  <a:cubicBezTo>
                    <a:pt x="2985" y="2496"/>
                    <a:pt x="2963" y="2463"/>
                    <a:pt x="2963" y="2463"/>
                  </a:cubicBezTo>
                  <a:cubicBezTo>
                    <a:pt x="2936" y="2459"/>
                    <a:pt x="2936" y="2459"/>
                    <a:pt x="2936" y="2459"/>
                  </a:cubicBezTo>
                  <a:cubicBezTo>
                    <a:pt x="2928" y="2449"/>
                    <a:pt x="2928" y="2449"/>
                    <a:pt x="2928" y="2449"/>
                  </a:cubicBezTo>
                  <a:cubicBezTo>
                    <a:pt x="2897" y="2447"/>
                    <a:pt x="2897" y="2447"/>
                    <a:pt x="2897" y="2447"/>
                  </a:cubicBezTo>
                  <a:cubicBezTo>
                    <a:pt x="2894" y="2441"/>
                    <a:pt x="2894" y="2441"/>
                    <a:pt x="2894" y="2441"/>
                  </a:cubicBezTo>
                  <a:cubicBezTo>
                    <a:pt x="2883" y="2446"/>
                    <a:pt x="2883" y="2446"/>
                    <a:pt x="2883" y="2446"/>
                  </a:cubicBezTo>
                  <a:cubicBezTo>
                    <a:pt x="2877" y="2439"/>
                    <a:pt x="2877" y="2439"/>
                    <a:pt x="2877" y="2439"/>
                  </a:cubicBezTo>
                  <a:cubicBezTo>
                    <a:pt x="2845" y="2463"/>
                    <a:pt x="2845" y="2463"/>
                    <a:pt x="2845" y="2463"/>
                  </a:cubicBezTo>
                  <a:cubicBezTo>
                    <a:pt x="2824" y="2459"/>
                    <a:pt x="2824" y="2459"/>
                    <a:pt x="2824" y="2459"/>
                  </a:cubicBezTo>
                  <a:cubicBezTo>
                    <a:pt x="2819" y="2451"/>
                    <a:pt x="2819" y="2451"/>
                    <a:pt x="2819" y="2451"/>
                  </a:cubicBezTo>
                  <a:cubicBezTo>
                    <a:pt x="2812" y="2457"/>
                    <a:pt x="2812" y="2457"/>
                    <a:pt x="2812" y="2457"/>
                  </a:cubicBezTo>
                  <a:cubicBezTo>
                    <a:pt x="2797" y="2444"/>
                    <a:pt x="2797" y="2444"/>
                    <a:pt x="2797" y="2444"/>
                  </a:cubicBezTo>
                  <a:cubicBezTo>
                    <a:pt x="2777" y="2460"/>
                    <a:pt x="2777" y="2460"/>
                    <a:pt x="2777" y="2460"/>
                  </a:cubicBezTo>
                  <a:cubicBezTo>
                    <a:pt x="2768" y="2455"/>
                    <a:pt x="2768" y="2455"/>
                    <a:pt x="2768" y="2455"/>
                  </a:cubicBezTo>
                  <a:cubicBezTo>
                    <a:pt x="2768" y="2455"/>
                    <a:pt x="2741" y="2476"/>
                    <a:pt x="2720" y="2456"/>
                  </a:cubicBezTo>
                  <a:cubicBezTo>
                    <a:pt x="2712" y="2459"/>
                    <a:pt x="2705" y="2444"/>
                    <a:pt x="2703" y="2467"/>
                  </a:cubicBezTo>
                  <a:cubicBezTo>
                    <a:pt x="2700" y="2468"/>
                    <a:pt x="2687" y="2459"/>
                    <a:pt x="2680" y="2458"/>
                  </a:cubicBezTo>
                  <a:cubicBezTo>
                    <a:pt x="2673" y="2457"/>
                    <a:pt x="2663" y="2451"/>
                    <a:pt x="2649" y="2451"/>
                  </a:cubicBezTo>
                  <a:cubicBezTo>
                    <a:pt x="2636" y="2451"/>
                    <a:pt x="2603" y="2444"/>
                    <a:pt x="2595" y="2443"/>
                  </a:cubicBezTo>
                  <a:cubicBezTo>
                    <a:pt x="2586" y="2443"/>
                    <a:pt x="2566" y="2435"/>
                    <a:pt x="2555" y="2432"/>
                  </a:cubicBezTo>
                  <a:cubicBezTo>
                    <a:pt x="2545" y="2429"/>
                    <a:pt x="2512" y="2441"/>
                    <a:pt x="2490" y="2455"/>
                  </a:cubicBezTo>
                  <a:cubicBezTo>
                    <a:pt x="2459" y="2453"/>
                    <a:pt x="2445" y="2463"/>
                    <a:pt x="2369" y="2415"/>
                  </a:cubicBezTo>
                  <a:cubicBezTo>
                    <a:pt x="2324" y="2406"/>
                    <a:pt x="2293" y="2417"/>
                    <a:pt x="2290" y="2424"/>
                  </a:cubicBezTo>
                  <a:cubicBezTo>
                    <a:pt x="2287" y="2431"/>
                    <a:pt x="2270" y="2425"/>
                    <a:pt x="2270" y="2425"/>
                  </a:cubicBezTo>
                  <a:cubicBezTo>
                    <a:pt x="2275" y="2432"/>
                    <a:pt x="2275" y="2432"/>
                    <a:pt x="2275" y="2432"/>
                  </a:cubicBezTo>
                  <a:cubicBezTo>
                    <a:pt x="2254" y="2453"/>
                    <a:pt x="2254" y="2453"/>
                    <a:pt x="2254" y="2453"/>
                  </a:cubicBezTo>
                  <a:cubicBezTo>
                    <a:pt x="2221" y="2456"/>
                    <a:pt x="2221" y="2456"/>
                    <a:pt x="2221" y="2456"/>
                  </a:cubicBezTo>
                  <a:cubicBezTo>
                    <a:pt x="2221" y="2456"/>
                    <a:pt x="2233" y="2474"/>
                    <a:pt x="2223" y="2474"/>
                  </a:cubicBezTo>
                  <a:cubicBezTo>
                    <a:pt x="2212" y="2474"/>
                    <a:pt x="2211" y="2478"/>
                    <a:pt x="2216" y="2462"/>
                  </a:cubicBezTo>
                  <a:cubicBezTo>
                    <a:pt x="2208" y="2445"/>
                    <a:pt x="2201" y="2453"/>
                    <a:pt x="2180" y="2453"/>
                  </a:cubicBezTo>
                  <a:cubicBezTo>
                    <a:pt x="2177" y="2462"/>
                    <a:pt x="2169" y="2465"/>
                    <a:pt x="2163" y="2465"/>
                  </a:cubicBezTo>
                  <a:cubicBezTo>
                    <a:pt x="2156" y="2465"/>
                    <a:pt x="2124" y="2497"/>
                    <a:pt x="2124" y="2497"/>
                  </a:cubicBezTo>
                  <a:cubicBezTo>
                    <a:pt x="2124" y="2497"/>
                    <a:pt x="2111" y="2503"/>
                    <a:pt x="2087" y="2501"/>
                  </a:cubicBezTo>
                  <a:cubicBezTo>
                    <a:pt x="2063" y="2500"/>
                    <a:pt x="2063" y="2495"/>
                    <a:pt x="2063" y="2495"/>
                  </a:cubicBezTo>
                  <a:cubicBezTo>
                    <a:pt x="2041" y="2495"/>
                    <a:pt x="2041" y="2495"/>
                    <a:pt x="2041" y="2495"/>
                  </a:cubicBezTo>
                  <a:cubicBezTo>
                    <a:pt x="2041" y="2495"/>
                    <a:pt x="2022" y="2500"/>
                    <a:pt x="2015" y="2500"/>
                  </a:cubicBezTo>
                  <a:cubicBezTo>
                    <a:pt x="2009" y="2500"/>
                    <a:pt x="2015" y="2512"/>
                    <a:pt x="2015" y="2512"/>
                  </a:cubicBezTo>
                  <a:cubicBezTo>
                    <a:pt x="2029" y="2513"/>
                    <a:pt x="2029" y="2513"/>
                    <a:pt x="2029" y="2513"/>
                  </a:cubicBezTo>
                  <a:cubicBezTo>
                    <a:pt x="2029" y="2513"/>
                    <a:pt x="1998" y="2541"/>
                    <a:pt x="1998" y="2551"/>
                  </a:cubicBezTo>
                  <a:cubicBezTo>
                    <a:pt x="1985" y="2553"/>
                    <a:pt x="1982" y="2550"/>
                    <a:pt x="1982" y="2550"/>
                  </a:cubicBezTo>
                  <a:cubicBezTo>
                    <a:pt x="1982" y="2550"/>
                    <a:pt x="1980" y="2577"/>
                    <a:pt x="1965" y="2573"/>
                  </a:cubicBezTo>
                  <a:cubicBezTo>
                    <a:pt x="1951" y="2568"/>
                    <a:pt x="1949" y="2557"/>
                    <a:pt x="1949" y="2557"/>
                  </a:cubicBezTo>
                  <a:cubicBezTo>
                    <a:pt x="1981" y="2513"/>
                    <a:pt x="1981" y="2513"/>
                    <a:pt x="1981" y="2513"/>
                  </a:cubicBezTo>
                  <a:cubicBezTo>
                    <a:pt x="2004" y="2510"/>
                    <a:pt x="2004" y="2510"/>
                    <a:pt x="2004" y="2510"/>
                  </a:cubicBezTo>
                  <a:cubicBezTo>
                    <a:pt x="2002" y="2491"/>
                    <a:pt x="2002" y="2491"/>
                    <a:pt x="2002" y="2491"/>
                  </a:cubicBezTo>
                  <a:cubicBezTo>
                    <a:pt x="2051" y="2436"/>
                    <a:pt x="2051" y="2436"/>
                    <a:pt x="2051" y="2436"/>
                  </a:cubicBezTo>
                  <a:cubicBezTo>
                    <a:pt x="2023" y="2433"/>
                    <a:pt x="2023" y="2433"/>
                    <a:pt x="2023" y="2433"/>
                  </a:cubicBezTo>
                  <a:cubicBezTo>
                    <a:pt x="2001" y="2446"/>
                    <a:pt x="2001" y="2446"/>
                    <a:pt x="2001" y="2446"/>
                  </a:cubicBezTo>
                  <a:cubicBezTo>
                    <a:pt x="1976" y="2446"/>
                    <a:pt x="1976" y="2446"/>
                    <a:pt x="1976" y="2446"/>
                  </a:cubicBezTo>
                  <a:cubicBezTo>
                    <a:pt x="1976" y="2437"/>
                    <a:pt x="1976" y="2437"/>
                    <a:pt x="1976" y="2437"/>
                  </a:cubicBezTo>
                  <a:cubicBezTo>
                    <a:pt x="2007" y="2403"/>
                    <a:pt x="2007" y="2403"/>
                    <a:pt x="2007" y="2403"/>
                  </a:cubicBezTo>
                  <a:cubicBezTo>
                    <a:pt x="2027" y="2403"/>
                    <a:pt x="2027" y="2403"/>
                    <a:pt x="2027" y="2403"/>
                  </a:cubicBezTo>
                  <a:cubicBezTo>
                    <a:pt x="2027" y="2403"/>
                    <a:pt x="2033" y="2395"/>
                    <a:pt x="2038" y="2396"/>
                  </a:cubicBezTo>
                  <a:cubicBezTo>
                    <a:pt x="2043" y="2397"/>
                    <a:pt x="2033" y="2411"/>
                    <a:pt x="2033" y="2411"/>
                  </a:cubicBezTo>
                  <a:cubicBezTo>
                    <a:pt x="2033" y="2429"/>
                    <a:pt x="2033" y="2429"/>
                    <a:pt x="2033" y="2429"/>
                  </a:cubicBezTo>
                  <a:cubicBezTo>
                    <a:pt x="2062" y="2428"/>
                    <a:pt x="2062" y="2428"/>
                    <a:pt x="2062" y="2428"/>
                  </a:cubicBezTo>
                  <a:cubicBezTo>
                    <a:pt x="2062" y="2428"/>
                    <a:pt x="2093" y="2371"/>
                    <a:pt x="2102" y="2369"/>
                  </a:cubicBezTo>
                  <a:cubicBezTo>
                    <a:pt x="2111" y="2359"/>
                    <a:pt x="2151" y="2326"/>
                    <a:pt x="2149" y="2305"/>
                  </a:cubicBezTo>
                  <a:cubicBezTo>
                    <a:pt x="2148" y="2302"/>
                    <a:pt x="2137" y="2305"/>
                    <a:pt x="2137" y="2305"/>
                  </a:cubicBezTo>
                  <a:cubicBezTo>
                    <a:pt x="2137" y="2305"/>
                    <a:pt x="2119" y="2336"/>
                    <a:pt x="2099" y="2336"/>
                  </a:cubicBezTo>
                  <a:cubicBezTo>
                    <a:pt x="2080" y="2336"/>
                    <a:pt x="2063" y="2311"/>
                    <a:pt x="2063" y="2311"/>
                  </a:cubicBezTo>
                  <a:cubicBezTo>
                    <a:pt x="2026" y="2340"/>
                    <a:pt x="2026" y="2340"/>
                    <a:pt x="2026" y="2340"/>
                  </a:cubicBezTo>
                  <a:cubicBezTo>
                    <a:pt x="2026" y="2340"/>
                    <a:pt x="2001" y="2318"/>
                    <a:pt x="2000" y="2316"/>
                  </a:cubicBezTo>
                  <a:cubicBezTo>
                    <a:pt x="1999" y="2314"/>
                    <a:pt x="2032" y="2296"/>
                    <a:pt x="2042" y="2310"/>
                  </a:cubicBezTo>
                  <a:cubicBezTo>
                    <a:pt x="2044" y="2302"/>
                    <a:pt x="2044" y="2302"/>
                    <a:pt x="2044" y="2302"/>
                  </a:cubicBezTo>
                  <a:cubicBezTo>
                    <a:pt x="2044" y="2302"/>
                    <a:pt x="2040" y="2298"/>
                    <a:pt x="2040" y="2295"/>
                  </a:cubicBezTo>
                  <a:cubicBezTo>
                    <a:pt x="2040" y="2291"/>
                    <a:pt x="2051" y="2280"/>
                    <a:pt x="2051" y="2271"/>
                  </a:cubicBezTo>
                  <a:cubicBezTo>
                    <a:pt x="2051" y="2263"/>
                    <a:pt x="2050" y="2265"/>
                    <a:pt x="2047" y="2255"/>
                  </a:cubicBezTo>
                  <a:cubicBezTo>
                    <a:pt x="2045" y="2245"/>
                    <a:pt x="2047" y="2219"/>
                    <a:pt x="2094" y="2223"/>
                  </a:cubicBezTo>
                  <a:cubicBezTo>
                    <a:pt x="2094" y="2223"/>
                    <a:pt x="2095" y="2210"/>
                    <a:pt x="2116" y="2210"/>
                  </a:cubicBezTo>
                  <a:cubicBezTo>
                    <a:pt x="2115" y="2208"/>
                    <a:pt x="2115" y="2164"/>
                    <a:pt x="2159" y="2166"/>
                  </a:cubicBezTo>
                  <a:cubicBezTo>
                    <a:pt x="2159" y="2162"/>
                    <a:pt x="2201" y="2139"/>
                    <a:pt x="2199" y="2133"/>
                  </a:cubicBezTo>
                  <a:cubicBezTo>
                    <a:pt x="2197" y="2127"/>
                    <a:pt x="2212" y="2130"/>
                    <a:pt x="2212" y="2130"/>
                  </a:cubicBezTo>
                  <a:cubicBezTo>
                    <a:pt x="2262" y="2097"/>
                    <a:pt x="2262" y="2097"/>
                    <a:pt x="2262" y="2097"/>
                  </a:cubicBezTo>
                  <a:cubicBezTo>
                    <a:pt x="2314" y="2024"/>
                    <a:pt x="2314" y="2024"/>
                    <a:pt x="2314" y="2024"/>
                  </a:cubicBezTo>
                  <a:cubicBezTo>
                    <a:pt x="2314" y="2024"/>
                    <a:pt x="2378" y="1999"/>
                    <a:pt x="2393" y="1999"/>
                  </a:cubicBezTo>
                  <a:cubicBezTo>
                    <a:pt x="2405" y="1984"/>
                    <a:pt x="2423" y="1959"/>
                    <a:pt x="2435" y="1959"/>
                  </a:cubicBezTo>
                  <a:cubicBezTo>
                    <a:pt x="2442" y="1951"/>
                    <a:pt x="2444" y="1905"/>
                    <a:pt x="2465" y="1899"/>
                  </a:cubicBezTo>
                  <a:cubicBezTo>
                    <a:pt x="2462" y="1894"/>
                    <a:pt x="2461" y="1881"/>
                    <a:pt x="2461" y="1881"/>
                  </a:cubicBezTo>
                  <a:cubicBezTo>
                    <a:pt x="2437" y="1877"/>
                    <a:pt x="2437" y="1877"/>
                    <a:pt x="2437" y="1877"/>
                  </a:cubicBezTo>
                  <a:cubicBezTo>
                    <a:pt x="2428" y="1852"/>
                    <a:pt x="2428" y="1852"/>
                    <a:pt x="2428" y="1852"/>
                  </a:cubicBezTo>
                  <a:cubicBezTo>
                    <a:pt x="2457" y="1815"/>
                    <a:pt x="2457" y="1815"/>
                    <a:pt x="2457" y="1815"/>
                  </a:cubicBezTo>
                  <a:cubicBezTo>
                    <a:pt x="2461" y="1797"/>
                    <a:pt x="2461" y="1797"/>
                    <a:pt x="2461" y="1797"/>
                  </a:cubicBezTo>
                  <a:cubicBezTo>
                    <a:pt x="2471" y="1785"/>
                    <a:pt x="2471" y="1785"/>
                    <a:pt x="2471" y="1785"/>
                  </a:cubicBezTo>
                  <a:cubicBezTo>
                    <a:pt x="2478" y="1754"/>
                    <a:pt x="2478" y="1754"/>
                    <a:pt x="2478" y="1754"/>
                  </a:cubicBezTo>
                  <a:cubicBezTo>
                    <a:pt x="2432" y="1756"/>
                    <a:pt x="2432" y="1756"/>
                    <a:pt x="2432" y="1756"/>
                  </a:cubicBezTo>
                  <a:cubicBezTo>
                    <a:pt x="2432" y="1763"/>
                    <a:pt x="2432" y="1763"/>
                    <a:pt x="2432" y="1763"/>
                  </a:cubicBezTo>
                  <a:cubicBezTo>
                    <a:pt x="2415" y="1762"/>
                    <a:pt x="2415" y="1762"/>
                    <a:pt x="2415" y="1762"/>
                  </a:cubicBezTo>
                  <a:cubicBezTo>
                    <a:pt x="2414" y="1751"/>
                    <a:pt x="2414" y="1751"/>
                    <a:pt x="2414" y="1751"/>
                  </a:cubicBezTo>
                  <a:cubicBezTo>
                    <a:pt x="2393" y="1747"/>
                    <a:pt x="2393" y="1747"/>
                    <a:pt x="2393" y="1747"/>
                  </a:cubicBezTo>
                  <a:cubicBezTo>
                    <a:pt x="2390" y="1753"/>
                    <a:pt x="2390" y="1753"/>
                    <a:pt x="2390" y="1753"/>
                  </a:cubicBezTo>
                  <a:cubicBezTo>
                    <a:pt x="2381" y="1755"/>
                    <a:pt x="2381" y="1755"/>
                    <a:pt x="2381" y="1755"/>
                  </a:cubicBezTo>
                  <a:cubicBezTo>
                    <a:pt x="2381" y="1746"/>
                    <a:pt x="2381" y="1746"/>
                    <a:pt x="2381" y="1746"/>
                  </a:cubicBezTo>
                  <a:cubicBezTo>
                    <a:pt x="2365" y="1745"/>
                    <a:pt x="2365" y="1745"/>
                    <a:pt x="2365" y="1745"/>
                  </a:cubicBezTo>
                  <a:cubicBezTo>
                    <a:pt x="2365" y="1753"/>
                    <a:pt x="2365" y="1753"/>
                    <a:pt x="2365" y="1753"/>
                  </a:cubicBezTo>
                  <a:cubicBezTo>
                    <a:pt x="2338" y="1755"/>
                    <a:pt x="2338" y="1755"/>
                    <a:pt x="2338" y="1755"/>
                  </a:cubicBezTo>
                  <a:cubicBezTo>
                    <a:pt x="2327" y="1732"/>
                    <a:pt x="2327" y="1732"/>
                    <a:pt x="2327" y="1732"/>
                  </a:cubicBezTo>
                  <a:cubicBezTo>
                    <a:pt x="2305" y="1754"/>
                    <a:pt x="2305" y="1754"/>
                    <a:pt x="2305" y="1754"/>
                  </a:cubicBezTo>
                  <a:cubicBezTo>
                    <a:pt x="2338" y="1781"/>
                    <a:pt x="2338" y="1781"/>
                    <a:pt x="2338" y="1781"/>
                  </a:cubicBezTo>
                  <a:cubicBezTo>
                    <a:pt x="2325" y="1791"/>
                    <a:pt x="2325" y="1791"/>
                    <a:pt x="2325" y="1791"/>
                  </a:cubicBezTo>
                  <a:cubicBezTo>
                    <a:pt x="2325" y="1791"/>
                    <a:pt x="2299" y="1775"/>
                    <a:pt x="2287" y="1775"/>
                  </a:cubicBezTo>
                  <a:cubicBezTo>
                    <a:pt x="2275" y="1775"/>
                    <a:pt x="2260" y="1786"/>
                    <a:pt x="2250" y="1781"/>
                  </a:cubicBezTo>
                  <a:cubicBezTo>
                    <a:pt x="2249" y="1771"/>
                    <a:pt x="2253" y="1769"/>
                    <a:pt x="2253" y="1769"/>
                  </a:cubicBezTo>
                  <a:cubicBezTo>
                    <a:pt x="2201" y="1769"/>
                    <a:pt x="2201" y="1769"/>
                    <a:pt x="2201" y="1769"/>
                  </a:cubicBezTo>
                  <a:cubicBezTo>
                    <a:pt x="2146" y="1805"/>
                    <a:pt x="2146" y="1805"/>
                    <a:pt x="2146" y="1805"/>
                  </a:cubicBezTo>
                  <a:cubicBezTo>
                    <a:pt x="2139" y="1798"/>
                    <a:pt x="2139" y="1798"/>
                    <a:pt x="2139" y="1798"/>
                  </a:cubicBezTo>
                  <a:cubicBezTo>
                    <a:pt x="2125" y="1803"/>
                    <a:pt x="2125" y="1803"/>
                    <a:pt x="2125" y="1803"/>
                  </a:cubicBezTo>
                  <a:cubicBezTo>
                    <a:pt x="2093" y="1803"/>
                    <a:pt x="2093" y="1803"/>
                    <a:pt x="2093" y="1803"/>
                  </a:cubicBezTo>
                  <a:cubicBezTo>
                    <a:pt x="2085" y="1809"/>
                    <a:pt x="2085" y="1809"/>
                    <a:pt x="2085" y="1809"/>
                  </a:cubicBezTo>
                  <a:cubicBezTo>
                    <a:pt x="2082" y="1799"/>
                    <a:pt x="2082" y="1799"/>
                    <a:pt x="2082" y="1799"/>
                  </a:cubicBezTo>
                  <a:cubicBezTo>
                    <a:pt x="2082" y="1799"/>
                    <a:pt x="2062" y="1802"/>
                    <a:pt x="2055" y="1802"/>
                  </a:cubicBezTo>
                  <a:cubicBezTo>
                    <a:pt x="2047" y="1802"/>
                    <a:pt x="2045" y="1777"/>
                    <a:pt x="2045" y="1777"/>
                  </a:cubicBezTo>
                  <a:cubicBezTo>
                    <a:pt x="2045" y="1777"/>
                    <a:pt x="2035" y="1775"/>
                    <a:pt x="2019" y="1804"/>
                  </a:cubicBezTo>
                  <a:cubicBezTo>
                    <a:pt x="2007" y="1807"/>
                    <a:pt x="2007" y="1807"/>
                    <a:pt x="2007" y="1807"/>
                  </a:cubicBezTo>
                  <a:cubicBezTo>
                    <a:pt x="2006" y="1799"/>
                    <a:pt x="2006" y="1799"/>
                    <a:pt x="2006" y="1799"/>
                  </a:cubicBezTo>
                  <a:cubicBezTo>
                    <a:pt x="1981" y="1798"/>
                    <a:pt x="1981" y="1798"/>
                    <a:pt x="1981" y="1798"/>
                  </a:cubicBezTo>
                  <a:cubicBezTo>
                    <a:pt x="1981" y="1798"/>
                    <a:pt x="1984" y="1816"/>
                    <a:pt x="1973" y="1815"/>
                  </a:cubicBezTo>
                  <a:cubicBezTo>
                    <a:pt x="1961" y="1813"/>
                    <a:pt x="1958" y="1802"/>
                    <a:pt x="1958" y="1802"/>
                  </a:cubicBezTo>
                  <a:cubicBezTo>
                    <a:pt x="1958" y="1802"/>
                    <a:pt x="1957" y="1815"/>
                    <a:pt x="1950" y="1815"/>
                  </a:cubicBezTo>
                  <a:cubicBezTo>
                    <a:pt x="1943" y="1815"/>
                    <a:pt x="1937" y="1823"/>
                    <a:pt x="1937" y="1823"/>
                  </a:cubicBezTo>
                  <a:cubicBezTo>
                    <a:pt x="1919" y="1810"/>
                    <a:pt x="1919" y="1810"/>
                    <a:pt x="1919" y="1810"/>
                  </a:cubicBezTo>
                  <a:cubicBezTo>
                    <a:pt x="1919" y="1810"/>
                    <a:pt x="1904" y="1820"/>
                    <a:pt x="1903" y="1815"/>
                  </a:cubicBezTo>
                  <a:cubicBezTo>
                    <a:pt x="1901" y="1809"/>
                    <a:pt x="1908" y="1803"/>
                    <a:pt x="1908" y="1803"/>
                  </a:cubicBezTo>
                  <a:cubicBezTo>
                    <a:pt x="1905" y="1797"/>
                    <a:pt x="1905" y="1797"/>
                    <a:pt x="1905" y="1797"/>
                  </a:cubicBezTo>
                  <a:cubicBezTo>
                    <a:pt x="1905" y="1797"/>
                    <a:pt x="1891" y="1799"/>
                    <a:pt x="1892" y="1814"/>
                  </a:cubicBezTo>
                  <a:cubicBezTo>
                    <a:pt x="1892" y="1814"/>
                    <a:pt x="1879" y="1836"/>
                    <a:pt x="1867" y="1839"/>
                  </a:cubicBezTo>
                  <a:cubicBezTo>
                    <a:pt x="1866" y="1846"/>
                    <a:pt x="1861" y="1858"/>
                    <a:pt x="1861" y="1858"/>
                  </a:cubicBezTo>
                  <a:cubicBezTo>
                    <a:pt x="1847" y="1871"/>
                    <a:pt x="1847" y="1871"/>
                    <a:pt x="1847" y="1871"/>
                  </a:cubicBezTo>
                  <a:cubicBezTo>
                    <a:pt x="1843" y="1863"/>
                    <a:pt x="1843" y="1863"/>
                    <a:pt x="1843" y="1863"/>
                  </a:cubicBezTo>
                  <a:cubicBezTo>
                    <a:pt x="1843" y="1863"/>
                    <a:pt x="1857" y="1844"/>
                    <a:pt x="1856" y="1839"/>
                  </a:cubicBezTo>
                  <a:cubicBezTo>
                    <a:pt x="1855" y="1835"/>
                    <a:pt x="1868" y="1827"/>
                    <a:pt x="1868" y="1827"/>
                  </a:cubicBezTo>
                  <a:cubicBezTo>
                    <a:pt x="1859" y="1802"/>
                    <a:pt x="1859" y="1802"/>
                    <a:pt x="1859" y="1802"/>
                  </a:cubicBezTo>
                  <a:cubicBezTo>
                    <a:pt x="1815" y="1781"/>
                    <a:pt x="1815" y="1781"/>
                    <a:pt x="1815" y="1781"/>
                  </a:cubicBezTo>
                  <a:cubicBezTo>
                    <a:pt x="1801" y="1786"/>
                    <a:pt x="1801" y="1786"/>
                    <a:pt x="1801" y="1786"/>
                  </a:cubicBezTo>
                  <a:cubicBezTo>
                    <a:pt x="1794" y="1779"/>
                    <a:pt x="1794" y="1779"/>
                    <a:pt x="1794" y="1779"/>
                  </a:cubicBezTo>
                  <a:cubicBezTo>
                    <a:pt x="1794" y="1779"/>
                    <a:pt x="1785" y="1801"/>
                    <a:pt x="1785" y="1804"/>
                  </a:cubicBezTo>
                  <a:cubicBezTo>
                    <a:pt x="1785" y="1807"/>
                    <a:pt x="1791" y="1820"/>
                    <a:pt x="1787" y="1821"/>
                  </a:cubicBezTo>
                  <a:cubicBezTo>
                    <a:pt x="1784" y="1821"/>
                    <a:pt x="1768" y="1825"/>
                    <a:pt x="1768" y="1825"/>
                  </a:cubicBezTo>
                  <a:cubicBezTo>
                    <a:pt x="1768" y="1825"/>
                    <a:pt x="1755" y="1841"/>
                    <a:pt x="1755" y="1849"/>
                  </a:cubicBezTo>
                  <a:cubicBezTo>
                    <a:pt x="1747" y="1857"/>
                    <a:pt x="1726" y="1873"/>
                    <a:pt x="1726" y="1873"/>
                  </a:cubicBezTo>
                  <a:cubicBezTo>
                    <a:pt x="1720" y="1868"/>
                    <a:pt x="1720" y="1868"/>
                    <a:pt x="1720" y="1868"/>
                  </a:cubicBezTo>
                  <a:cubicBezTo>
                    <a:pt x="1765" y="1816"/>
                    <a:pt x="1765" y="1816"/>
                    <a:pt x="1765" y="1816"/>
                  </a:cubicBezTo>
                  <a:cubicBezTo>
                    <a:pt x="1762" y="1799"/>
                    <a:pt x="1762" y="1799"/>
                    <a:pt x="1762" y="1799"/>
                  </a:cubicBezTo>
                  <a:cubicBezTo>
                    <a:pt x="1753" y="1802"/>
                    <a:pt x="1753" y="1802"/>
                    <a:pt x="1753" y="1802"/>
                  </a:cubicBezTo>
                  <a:cubicBezTo>
                    <a:pt x="1734" y="1787"/>
                    <a:pt x="1734" y="1787"/>
                    <a:pt x="1734" y="1787"/>
                  </a:cubicBezTo>
                  <a:cubicBezTo>
                    <a:pt x="1730" y="1791"/>
                    <a:pt x="1730" y="1791"/>
                    <a:pt x="1730" y="1791"/>
                  </a:cubicBezTo>
                  <a:cubicBezTo>
                    <a:pt x="1729" y="1779"/>
                    <a:pt x="1729" y="1779"/>
                    <a:pt x="1729" y="1779"/>
                  </a:cubicBezTo>
                  <a:cubicBezTo>
                    <a:pt x="1729" y="1779"/>
                    <a:pt x="1711" y="1773"/>
                    <a:pt x="1711" y="1767"/>
                  </a:cubicBezTo>
                  <a:cubicBezTo>
                    <a:pt x="1712" y="1764"/>
                    <a:pt x="1703" y="1765"/>
                    <a:pt x="1703" y="1765"/>
                  </a:cubicBezTo>
                  <a:cubicBezTo>
                    <a:pt x="1711" y="1782"/>
                    <a:pt x="1711" y="1782"/>
                    <a:pt x="1711" y="1782"/>
                  </a:cubicBezTo>
                  <a:cubicBezTo>
                    <a:pt x="1699" y="1787"/>
                    <a:pt x="1699" y="1787"/>
                    <a:pt x="1699" y="1787"/>
                  </a:cubicBezTo>
                  <a:cubicBezTo>
                    <a:pt x="1699" y="1793"/>
                    <a:pt x="1699" y="1793"/>
                    <a:pt x="1699" y="1793"/>
                  </a:cubicBezTo>
                  <a:cubicBezTo>
                    <a:pt x="1699" y="1793"/>
                    <a:pt x="1711" y="1807"/>
                    <a:pt x="1709" y="1809"/>
                  </a:cubicBezTo>
                  <a:cubicBezTo>
                    <a:pt x="1707" y="1811"/>
                    <a:pt x="1691" y="1795"/>
                    <a:pt x="1691" y="1795"/>
                  </a:cubicBezTo>
                  <a:cubicBezTo>
                    <a:pt x="1690" y="1767"/>
                    <a:pt x="1690" y="1767"/>
                    <a:pt x="1690" y="1767"/>
                  </a:cubicBezTo>
                  <a:cubicBezTo>
                    <a:pt x="1690" y="1767"/>
                    <a:pt x="1665" y="1765"/>
                    <a:pt x="1663" y="1751"/>
                  </a:cubicBezTo>
                  <a:cubicBezTo>
                    <a:pt x="1655" y="1761"/>
                    <a:pt x="1655" y="1761"/>
                    <a:pt x="1655" y="1761"/>
                  </a:cubicBezTo>
                  <a:cubicBezTo>
                    <a:pt x="1651" y="1750"/>
                    <a:pt x="1651" y="1750"/>
                    <a:pt x="1651" y="1750"/>
                  </a:cubicBezTo>
                  <a:cubicBezTo>
                    <a:pt x="1639" y="1750"/>
                    <a:pt x="1639" y="1750"/>
                    <a:pt x="1639" y="1750"/>
                  </a:cubicBezTo>
                  <a:cubicBezTo>
                    <a:pt x="1629" y="1755"/>
                    <a:pt x="1629" y="1755"/>
                    <a:pt x="1629" y="1755"/>
                  </a:cubicBezTo>
                  <a:cubicBezTo>
                    <a:pt x="1611" y="1741"/>
                    <a:pt x="1611" y="1741"/>
                    <a:pt x="1611" y="1741"/>
                  </a:cubicBezTo>
                  <a:cubicBezTo>
                    <a:pt x="1611" y="1741"/>
                    <a:pt x="1605" y="1794"/>
                    <a:pt x="1590" y="1805"/>
                  </a:cubicBezTo>
                  <a:cubicBezTo>
                    <a:pt x="1572" y="1807"/>
                    <a:pt x="1572" y="1807"/>
                    <a:pt x="1572" y="1807"/>
                  </a:cubicBezTo>
                  <a:cubicBezTo>
                    <a:pt x="1572" y="1807"/>
                    <a:pt x="1558" y="1822"/>
                    <a:pt x="1559" y="1837"/>
                  </a:cubicBezTo>
                  <a:cubicBezTo>
                    <a:pt x="1561" y="1851"/>
                    <a:pt x="1580" y="1866"/>
                    <a:pt x="1580" y="1866"/>
                  </a:cubicBezTo>
                  <a:cubicBezTo>
                    <a:pt x="1580" y="1866"/>
                    <a:pt x="1563" y="1887"/>
                    <a:pt x="1563" y="1891"/>
                  </a:cubicBezTo>
                  <a:cubicBezTo>
                    <a:pt x="1563" y="1895"/>
                    <a:pt x="1577" y="1905"/>
                    <a:pt x="1570" y="1907"/>
                  </a:cubicBezTo>
                  <a:cubicBezTo>
                    <a:pt x="1563" y="1909"/>
                    <a:pt x="1551" y="1895"/>
                    <a:pt x="1551" y="1895"/>
                  </a:cubicBezTo>
                  <a:cubicBezTo>
                    <a:pt x="1544" y="1919"/>
                    <a:pt x="1544" y="1919"/>
                    <a:pt x="1544" y="1919"/>
                  </a:cubicBezTo>
                  <a:cubicBezTo>
                    <a:pt x="1544" y="1919"/>
                    <a:pt x="1537" y="1913"/>
                    <a:pt x="1531" y="1913"/>
                  </a:cubicBezTo>
                  <a:cubicBezTo>
                    <a:pt x="1524" y="1913"/>
                    <a:pt x="1518" y="1923"/>
                    <a:pt x="1518" y="1923"/>
                  </a:cubicBezTo>
                  <a:cubicBezTo>
                    <a:pt x="1541" y="1930"/>
                    <a:pt x="1541" y="1930"/>
                    <a:pt x="1541" y="1930"/>
                  </a:cubicBezTo>
                  <a:cubicBezTo>
                    <a:pt x="1541" y="1930"/>
                    <a:pt x="1536" y="1938"/>
                    <a:pt x="1535" y="1941"/>
                  </a:cubicBezTo>
                  <a:cubicBezTo>
                    <a:pt x="1535" y="1943"/>
                    <a:pt x="1556" y="2003"/>
                    <a:pt x="1556" y="2003"/>
                  </a:cubicBezTo>
                  <a:cubicBezTo>
                    <a:pt x="1556" y="2003"/>
                    <a:pt x="1536" y="1999"/>
                    <a:pt x="1536" y="2015"/>
                  </a:cubicBezTo>
                  <a:cubicBezTo>
                    <a:pt x="1532" y="2017"/>
                    <a:pt x="1516" y="2000"/>
                    <a:pt x="1516" y="2000"/>
                  </a:cubicBezTo>
                  <a:cubicBezTo>
                    <a:pt x="1507" y="2005"/>
                    <a:pt x="1507" y="2005"/>
                    <a:pt x="1507" y="2005"/>
                  </a:cubicBezTo>
                  <a:cubicBezTo>
                    <a:pt x="1498" y="1996"/>
                    <a:pt x="1498" y="1996"/>
                    <a:pt x="1498" y="1996"/>
                  </a:cubicBezTo>
                  <a:cubicBezTo>
                    <a:pt x="1485" y="2003"/>
                    <a:pt x="1485" y="2003"/>
                    <a:pt x="1485" y="2003"/>
                  </a:cubicBezTo>
                  <a:cubicBezTo>
                    <a:pt x="1493" y="2019"/>
                    <a:pt x="1493" y="2019"/>
                    <a:pt x="1493" y="2019"/>
                  </a:cubicBezTo>
                  <a:cubicBezTo>
                    <a:pt x="1479" y="2025"/>
                    <a:pt x="1479" y="2025"/>
                    <a:pt x="1479" y="2025"/>
                  </a:cubicBezTo>
                  <a:cubicBezTo>
                    <a:pt x="1479" y="2025"/>
                    <a:pt x="1468" y="2009"/>
                    <a:pt x="1453" y="2008"/>
                  </a:cubicBezTo>
                  <a:cubicBezTo>
                    <a:pt x="1447" y="2006"/>
                    <a:pt x="1446" y="1997"/>
                    <a:pt x="1446" y="1997"/>
                  </a:cubicBezTo>
                  <a:cubicBezTo>
                    <a:pt x="1431" y="2023"/>
                    <a:pt x="1431" y="2023"/>
                    <a:pt x="1431" y="2023"/>
                  </a:cubicBezTo>
                  <a:cubicBezTo>
                    <a:pt x="1443" y="2029"/>
                    <a:pt x="1443" y="2029"/>
                    <a:pt x="1443" y="2029"/>
                  </a:cubicBezTo>
                  <a:cubicBezTo>
                    <a:pt x="1443" y="2029"/>
                    <a:pt x="1474" y="2073"/>
                    <a:pt x="1473" y="2081"/>
                  </a:cubicBezTo>
                  <a:cubicBezTo>
                    <a:pt x="1483" y="2086"/>
                    <a:pt x="1491" y="2091"/>
                    <a:pt x="1491" y="2091"/>
                  </a:cubicBezTo>
                  <a:cubicBezTo>
                    <a:pt x="1479" y="2095"/>
                    <a:pt x="1479" y="2095"/>
                    <a:pt x="1479" y="2095"/>
                  </a:cubicBezTo>
                  <a:cubicBezTo>
                    <a:pt x="1479" y="2108"/>
                    <a:pt x="1479" y="2108"/>
                    <a:pt x="1479" y="2108"/>
                  </a:cubicBezTo>
                  <a:cubicBezTo>
                    <a:pt x="1485" y="2108"/>
                    <a:pt x="1485" y="2108"/>
                    <a:pt x="1485" y="2108"/>
                  </a:cubicBezTo>
                  <a:cubicBezTo>
                    <a:pt x="1485" y="2108"/>
                    <a:pt x="1490" y="2135"/>
                    <a:pt x="1483" y="2137"/>
                  </a:cubicBezTo>
                  <a:cubicBezTo>
                    <a:pt x="1475" y="2138"/>
                    <a:pt x="1459" y="2139"/>
                    <a:pt x="1459" y="2131"/>
                  </a:cubicBezTo>
                  <a:cubicBezTo>
                    <a:pt x="1458" y="2126"/>
                    <a:pt x="1452" y="2135"/>
                    <a:pt x="1452" y="2135"/>
                  </a:cubicBezTo>
                  <a:cubicBezTo>
                    <a:pt x="1424" y="2110"/>
                    <a:pt x="1424" y="2110"/>
                    <a:pt x="1424" y="2110"/>
                  </a:cubicBezTo>
                  <a:cubicBezTo>
                    <a:pt x="1424" y="2110"/>
                    <a:pt x="1398" y="2128"/>
                    <a:pt x="1422" y="2149"/>
                  </a:cubicBezTo>
                  <a:cubicBezTo>
                    <a:pt x="1418" y="2152"/>
                    <a:pt x="1411" y="2154"/>
                    <a:pt x="1411" y="2154"/>
                  </a:cubicBezTo>
                  <a:cubicBezTo>
                    <a:pt x="1414" y="2166"/>
                    <a:pt x="1414" y="2166"/>
                    <a:pt x="1414" y="2166"/>
                  </a:cubicBezTo>
                  <a:cubicBezTo>
                    <a:pt x="1429" y="2167"/>
                    <a:pt x="1429" y="2167"/>
                    <a:pt x="1429" y="2167"/>
                  </a:cubicBezTo>
                  <a:cubicBezTo>
                    <a:pt x="1429" y="2174"/>
                    <a:pt x="1429" y="2174"/>
                    <a:pt x="1429" y="2174"/>
                  </a:cubicBezTo>
                  <a:cubicBezTo>
                    <a:pt x="1414" y="2176"/>
                    <a:pt x="1414" y="2176"/>
                    <a:pt x="1414" y="2176"/>
                  </a:cubicBezTo>
                  <a:cubicBezTo>
                    <a:pt x="1414" y="2176"/>
                    <a:pt x="1409" y="2191"/>
                    <a:pt x="1415" y="2191"/>
                  </a:cubicBezTo>
                  <a:cubicBezTo>
                    <a:pt x="1421" y="2191"/>
                    <a:pt x="1424" y="2184"/>
                    <a:pt x="1424" y="2184"/>
                  </a:cubicBezTo>
                  <a:cubicBezTo>
                    <a:pt x="1433" y="2194"/>
                    <a:pt x="1433" y="2194"/>
                    <a:pt x="1433" y="2194"/>
                  </a:cubicBezTo>
                  <a:cubicBezTo>
                    <a:pt x="1446" y="2181"/>
                    <a:pt x="1446" y="2181"/>
                    <a:pt x="1446" y="2181"/>
                  </a:cubicBezTo>
                  <a:cubicBezTo>
                    <a:pt x="1446" y="2181"/>
                    <a:pt x="1441" y="2181"/>
                    <a:pt x="1441" y="2175"/>
                  </a:cubicBezTo>
                  <a:cubicBezTo>
                    <a:pt x="1441" y="2169"/>
                    <a:pt x="1455" y="2174"/>
                    <a:pt x="1455" y="2174"/>
                  </a:cubicBezTo>
                  <a:cubicBezTo>
                    <a:pt x="1457" y="2187"/>
                    <a:pt x="1457" y="2187"/>
                    <a:pt x="1457" y="2187"/>
                  </a:cubicBezTo>
                  <a:cubicBezTo>
                    <a:pt x="1457" y="2187"/>
                    <a:pt x="1472" y="2189"/>
                    <a:pt x="1473" y="2211"/>
                  </a:cubicBezTo>
                  <a:cubicBezTo>
                    <a:pt x="1473" y="2211"/>
                    <a:pt x="1513" y="2209"/>
                    <a:pt x="1513" y="2230"/>
                  </a:cubicBezTo>
                  <a:cubicBezTo>
                    <a:pt x="1506" y="2231"/>
                    <a:pt x="1506" y="2231"/>
                    <a:pt x="1506" y="2231"/>
                  </a:cubicBezTo>
                  <a:cubicBezTo>
                    <a:pt x="1514" y="2242"/>
                    <a:pt x="1514" y="2242"/>
                    <a:pt x="1514" y="2242"/>
                  </a:cubicBezTo>
                  <a:cubicBezTo>
                    <a:pt x="1513" y="2253"/>
                    <a:pt x="1513" y="2253"/>
                    <a:pt x="1513" y="2253"/>
                  </a:cubicBezTo>
                  <a:cubicBezTo>
                    <a:pt x="1513" y="2253"/>
                    <a:pt x="1468" y="2251"/>
                    <a:pt x="1466" y="2249"/>
                  </a:cubicBezTo>
                  <a:cubicBezTo>
                    <a:pt x="1464" y="2248"/>
                    <a:pt x="1454" y="2231"/>
                    <a:pt x="1454" y="2231"/>
                  </a:cubicBezTo>
                  <a:cubicBezTo>
                    <a:pt x="1433" y="2245"/>
                    <a:pt x="1433" y="2245"/>
                    <a:pt x="1433" y="2245"/>
                  </a:cubicBezTo>
                  <a:cubicBezTo>
                    <a:pt x="1433" y="2245"/>
                    <a:pt x="1449" y="2267"/>
                    <a:pt x="1467" y="2266"/>
                  </a:cubicBezTo>
                  <a:cubicBezTo>
                    <a:pt x="1471" y="2271"/>
                    <a:pt x="1473" y="2279"/>
                    <a:pt x="1473" y="2279"/>
                  </a:cubicBezTo>
                  <a:cubicBezTo>
                    <a:pt x="1502" y="2289"/>
                    <a:pt x="1502" y="2289"/>
                    <a:pt x="1502" y="2289"/>
                  </a:cubicBezTo>
                  <a:cubicBezTo>
                    <a:pt x="1502" y="2289"/>
                    <a:pt x="1509" y="2300"/>
                    <a:pt x="1503" y="2300"/>
                  </a:cubicBezTo>
                  <a:cubicBezTo>
                    <a:pt x="1496" y="2300"/>
                    <a:pt x="1471" y="2290"/>
                    <a:pt x="1471" y="2290"/>
                  </a:cubicBezTo>
                  <a:cubicBezTo>
                    <a:pt x="1450" y="2265"/>
                    <a:pt x="1450" y="2265"/>
                    <a:pt x="1450" y="2265"/>
                  </a:cubicBezTo>
                  <a:cubicBezTo>
                    <a:pt x="1436" y="2265"/>
                    <a:pt x="1436" y="2265"/>
                    <a:pt x="1436" y="2265"/>
                  </a:cubicBezTo>
                  <a:cubicBezTo>
                    <a:pt x="1436" y="2265"/>
                    <a:pt x="1437" y="2257"/>
                    <a:pt x="1429" y="2257"/>
                  </a:cubicBezTo>
                  <a:cubicBezTo>
                    <a:pt x="1421" y="2257"/>
                    <a:pt x="1410" y="2294"/>
                    <a:pt x="1410" y="2294"/>
                  </a:cubicBezTo>
                  <a:cubicBezTo>
                    <a:pt x="1405" y="2290"/>
                    <a:pt x="1405" y="2290"/>
                    <a:pt x="1405" y="2290"/>
                  </a:cubicBezTo>
                  <a:cubicBezTo>
                    <a:pt x="1405" y="2290"/>
                    <a:pt x="1368" y="2290"/>
                    <a:pt x="1369" y="2276"/>
                  </a:cubicBezTo>
                  <a:cubicBezTo>
                    <a:pt x="1369" y="2262"/>
                    <a:pt x="1367" y="2252"/>
                    <a:pt x="1367" y="2252"/>
                  </a:cubicBezTo>
                  <a:cubicBezTo>
                    <a:pt x="1367" y="2252"/>
                    <a:pt x="1361" y="2244"/>
                    <a:pt x="1347" y="2244"/>
                  </a:cubicBezTo>
                  <a:cubicBezTo>
                    <a:pt x="1333" y="2244"/>
                    <a:pt x="1324" y="2259"/>
                    <a:pt x="1324" y="2266"/>
                  </a:cubicBezTo>
                  <a:cubicBezTo>
                    <a:pt x="1324" y="2273"/>
                    <a:pt x="1320" y="2273"/>
                    <a:pt x="1320" y="2273"/>
                  </a:cubicBezTo>
                  <a:cubicBezTo>
                    <a:pt x="1320" y="2273"/>
                    <a:pt x="1328" y="2282"/>
                    <a:pt x="1328" y="2289"/>
                  </a:cubicBezTo>
                  <a:cubicBezTo>
                    <a:pt x="1328" y="2295"/>
                    <a:pt x="1321" y="2305"/>
                    <a:pt x="1329" y="2310"/>
                  </a:cubicBezTo>
                  <a:cubicBezTo>
                    <a:pt x="1337" y="2315"/>
                    <a:pt x="1339" y="2319"/>
                    <a:pt x="1341" y="2316"/>
                  </a:cubicBezTo>
                  <a:cubicBezTo>
                    <a:pt x="1343" y="2313"/>
                    <a:pt x="1331" y="2301"/>
                    <a:pt x="1331" y="2296"/>
                  </a:cubicBezTo>
                  <a:cubicBezTo>
                    <a:pt x="1331" y="2291"/>
                    <a:pt x="1335" y="2286"/>
                    <a:pt x="1341" y="2299"/>
                  </a:cubicBezTo>
                  <a:cubicBezTo>
                    <a:pt x="1347" y="2311"/>
                    <a:pt x="1362" y="2317"/>
                    <a:pt x="1337" y="2338"/>
                  </a:cubicBezTo>
                  <a:cubicBezTo>
                    <a:pt x="1335" y="2340"/>
                    <a:pt x="1346" y="2351"/>
                    <a:pt x="1342" y="2351"/>
                  </a:cubicBezTo>
                  <a:cubicBezTo>
                    <a:pt x="1338" y="2351"/>
                    <a:pt x="1317" y="2340"/>
                    <a:pt x="1317" y="2323"/>
                  </a:cubicBezTo>
                  <a:cubicBezTo>
                    <a:pt x="1317" y="2317"/>
                    <a:pt x="1323" y="2316"/>
                    <a:pt x="1323" y="2316"/>
                  </a:cubicBezTo>
                  <a:cubicBezTo>
                    <a:pt x="1323" y="2316"/>
                    <a:pt x="1305" y="2299"/>
                    <a:pt x="1305" y="2294"/>
                  </a:cubicBezTo>
                  <a:cubicBezTo>
                    <a:pt x="1305" y="2289"/>
                    <a:pt x="1314" y="2287"/>
                    <a:pt x="1311" y="2282"/>
                  </a:cubicBezTo>
                  <a:cubicBezTo>
                    <a:pt x="1309" y="2277"/>
                    <a:pt x="1253" y="2287"/>
                    <a:pt x="1253" y="2287"/>
                  </a:cubicBezTo>
                  <a:cubicBezTo>
                    <a:pt x="1253" y="2287"/>
                    <a:pt x="1245" y="2314"/>
                    <a:pt x="1257" y="2324"/>
                  </a:cubicBezTo>
                  <a:cubicBezTo>
                    <a:pt x="1255" y="2328"/>
                    <a:pt x="1253" y="2349"/>
                    <a:pt x="1253" y="2349"/>
                  </a:cubicBezTo>
                  <a:cubicBezTo>
                    <a:pt x="1253" y="2349"/>
                    <a:pt x="1249" y="2367"/>
                    <a:pt x="1258" y="2367"/>
                  </a:cubicBezTo>
                  <a:cubicBezTo>
                    <a:pt x="1261" y="2372"/>
                    <a:pt x="1255" y="2377"/>
                    <a:pt x="1250" y="2376"/>
                  </a:cubicBezTo>
                  <a:cubicBezTo>
                    <a:pt x="1245" y="2375"/>
                    <a:pt x="1255" y="2387"/>
                    <a:pt x="1255" y="2387"/>
                  </a:cubicBezTo>
                  <a:cubicBezTo>
                    <a:pt x="1265" y="2373"/>
                    <a:pt x="1265" y="2373"/>
                    <a:pt x="1265" y="2373"/>
                  </a:cubicBezTo>
                  <a:cubicBezTo>
                    <a:pt x="1265" y="2373"/>
                    <a:pt x="1268" y="2383"/>
                    <a:pt x="1299" y="2382"/>
                  </a:cubicBezTo>
                  <a:cubicBezTo>
                    <a:pt x="1311" y="2403"/>
                    <a:pt x="1311" y="2403"/>
                    <a:pt x="1311" y="2403"/>
                  </a:cubicBezTo>
                  <a:cubicBezTo>
                    <a:pt x="1292" y="2404"/>
                    <a:pt x="1292" y="2404"/>
                    <a:pt x="1292" y="2404"/>
                  </a:cubicBezTo>
                  <a:cubicBezTo>
                    <a:pt x="1292" y="2404"/>
                    <a:pt x="1287" y="2393"/>
                    <a:pt x="1278" y="2393"/>
                  </a:cubicBezTo>
                  <a:cubicBezTo>
                    <a:pt x="1269" y="2393"/>
                    <a:pt x="1259" y="2409"/>
                    <a:pt x="1258" y="2419"/>
                  </a:cubicBezTo>
                  <a:cubicBezTo>
                    <a:pt x="1250" y="2429"/>
                    <a:pt x="1249" y="2446"/>
                    <a:pt x="1249" y="2446"/>
                  </a:cubicBezTo>
                  <a:cubicBezTo>
                    <a:pt x="1249" y="2446"/>
                    <a:pt x="1282" y="2447"/>
                    <a:pt x="1283" y="2476"/>
                  </a:cubicBezTo>
                  <a:cubicBezTo>
                    <a:pt x="1297" y="2493"/>
                    <a:pt x="1297" y="2493"/>
                    <a:pt x="1297" y="2493"/>
                  </a:cubicBezTo>
                  <a:cubicBezTo>
                    <a:pt x="1289" y="2514"/>
                    <a:pt x="1289" y="2514"/>
                    <a:pt x="1289" y="2514"/>
                  </a:cubicBezTo>
                  <a:cubicBezTo>
                    <a:pt x="1289" y="2514"/>
                    <a:pt x="1253" y="2482"/>
                    <a:pt x="1249" y="2482"/>
                  </a:cubicBezTo>
                  <a:cubicBezTo>
                    <a:pt x="1244" y="2482"/>
                    <a:pt x="1225" y="2485"/>
                    <a:pt x="1227" y="2530"/>
                  </a:cubicBezTo>
                  <a:cubicBezTo>
                    <a:pt x="1219" y="2555"/>
                    <a:pt x="1217" y="2582"/>
                    <a:pt x="1231" y="2585"/>
                  </a:cubicBezTo>
                  <a:cubicBezTo>
                    <a:pt x="1245" y="2587"/>
                    <a:pt x="1247" y="2587"/>
                    <a:pt x="1247" y="2587"/>
                  </a:cubicBezTo>
                  <a:cubicBezTo>
                    <a:pt x="1245" y="2601"/>
                    <a:pt x="1245" y="2601"/>
                    <a:pt x="1245" y="2601"/>
                  </a:cubicBezTo>
                  <a:cubicBezTo>
                    <a:pt x="1240" y="2603"/>
                    <a:pt x="1240" y="2603"/>
                    <a:pt x="1240" y="2603"/>
                  </a:cubicBezTo>
                  <a:cubicBezTo>
                    <a:pt x="1247" y="2615"/>
                    <a:pt x="1247" y="2615"/>
                    <a:pt x="1247" y="2615"/>
                  </a:cubicBezTo>
                  <a:cubicBezTo>
                    <a:pt x="1247" y="2615"/>
                    <a:pt x="1222" y="2630"/>
                    <a:pt x="1263" y="2659"/>
                  </a:cubicBezTo>
                  <a:cubicBezTo>
                    <a:pt x="1295" y="2643"/>
                    <a:pt x="1312" y="2629"/>
                    <a:pt x="1312" y="2629"/>
                  </a:cubicBezTo>
                  <a:cubicBezTo>
                    <a:pt x="1337" y="2619"/>
                    <a:pt x="1337" y="2619"/>
                    <a:pt x="1337" y="2619"/>
                  </a:cubicBezTo>
                  <a:cubicBezTo>
                    <a:pt x="1338" y="2632"/>
                    <a:pt x="1338" y="2632"/>
                    <a:pt x="1338" y="2632"/>
                  </a:cubicBezTo>
                  <a:cubicBezTo>
                    <a:pt x="1338" y="2632"/>
                    <a:pt x="1325" y="2631"/>
                    <a:pt x="1325" y="2639"/>
                  </a:cubicBezTo>
                  <a:cubicBezTo>
                    <a:pt x="1325" y="2646"/>
                    <a:pt x="1337" y="2648"/>
                    <a:pt x="1337" y="2648"/>
                  </a:cubicBezTo>
                  <a:cubicBezTo>
                    <a:pt x="1337" y="2648"/>
                    <a:pt x="1342" y="2677"/>
                    <a:pt x="1323" y="2659"/>
                  </a:cubicBezTo>
                  <a:cubicBezTo>
                    <a:pt x="1321" y="2660"/>
                    <a:pt x="1320" y="2655"/>
                    <a:pt x="1320" y="2655"/>
                  </a:cubicBezTo>
                  <a:cubicBezTo>
                    <a:pt x="1320" y="2655"/>
                    <a:pt x="1287" y="2683"/>
                    <a:pt x="1287" y="2693"/>
                  </a:cubicBezTo>
                  <a:cubicBezTo>
                    <a:pt x="1283" y="2697"/>
                    <a:pt x="1284" y="2695"/>
                    <a:pt x="1283" y="2697"/>
                  </a:cubicBezTo>
                  <a:cubicBezTo>
                    <a:pt x="1281" y="2698"/>
                    <a:pt x="1282" y="2705"/>
                    <a:pt x="1282" y="2705"/>
                  </a:cubicBezTo>
                  <a:cubicBezTo>
                    <a:pt x="1282" y="2705"/>
                    <a:pt x="1256" y="2707"/>
                    <a:pt x="1250" y="2717"/>
                  </a:cubicBezTo>
                  <a:cubicBezTo>
                    <a:pt x="1233" y="2719"/>
                    <a:pt x="1223" y="2728"/>
                    <a:pt x="1219" y="2731"/>
                  </a:cubicBezTo>
                  <a:cubicBezTo>
                    <a:pt x="1215" y="2733"/>
                    <a:pt x="1206" y="2729"/>
                    <a:pt x="1206" y="2729"/>
                  </a:cubicBezTo>
                  <a:cubicBezTo>
                    <a:pt x="1206" y="2718"/>
                    <a:pt x="1206" y="2718"/>
                    <a:pt x="1206" y="2718"/>
                  </a:cubicBezTo>
                  <a:cubicBezTo>
                    <a:pt x="1197" y="2711"/>
                    <a:pt x="1197" y="2711"/>
                    <a:pt x="1197" y="2711"/>
                  </a:cubicBezTo>
                  <a:cubicBezTo>
                    <a:pt x="1197" y="2711"/>
                    <a:pt x="1193" y="2724"/>
                    <a:pt x="1187" y="2717"/>
                  </a:cubicBezTo>
                  <a:cubicBezTo>
                    <a:pt x="1180" y="2709"/>
                    <a:pt x="1201" y="2689"/>
                    <a:pt x="1201" y="2689"/>
                  </a:cubicBezTo>
                  <a:cubicBezTo>
                    <a:pt x="1201" y="2689"/>
                    <a:pt x="1192" y="2673"/>
                    <a:pt x="1176" y="2671"/>
                  </a:cubicBezTo>
                  <a:cubicBezTo>
                    <a:pt x="1168" y="2665"/>
                    <a:pt x="1168" y="2665"/>
                    <a:pt x="1168" y="2665"/>
                  </a:cubicBezTo>
                  <a:cubicBezTo>
                    <a:pt x="1168" y="2665"/>
                    <a:pt x="1154" y="2672"/>
                    <a:pt x="1156" y="2693"/>
                  </a:cubicBezTo>
                  <a:cubicBezTo>
                    <a:pt x="1147" y="2696"/>
                    <a:pt x="1135" y="2711"/>
                    <a:pt x="1135" y="2711"/>
                  </a:cubicBezTo>
                  <a:cubicBezTo>
                    <a:pt x="1133" y="2702"/>
                    <a:pt x="1133" y="2702"/>
                    <a:pt x="1133" y="2702"/>
                  </a:cubicBezTo>
                  <a:cubicBezTo>
                    <a:pt x="1144" y="2690"/>
                    <a:pt x="1144" y="2690"/>
                    <a:pt x="1144" y="2690"/>
                  </a:cubicBezTo>
                  <a:cubicBezTo>
                    <a:pt x="1143" y="2680"/>
                    <a:pt x="1143" y="2680"/>
                    <a:pt x="1143" y="2680"/>
                  </a:cubicBezTo>
                  <a:cubicBezTo>
                    <a:pt x="1120" y="2674"/>
                    <a:pt x="1120" y="2674"/>
                    <a:pt x="1120" y="2674"/>
                  </a:cubicBezTo>
                  <a:cubicBezTo>
                    <a:pt x="1119" y="2655"/>
                    <a:pt x="1119" y="2655"/>
                    <a:pt x="1119" y="2655"/>
                  </a:cubicBezTo>
                  <a:cubicBezTo>
                    <a:pt x="1119" y="2655"/>
                    <a:pt x="1104" y="2643"/>
                    <a:pt x="1104" y="2640"/>
                  </a:cubicBezTo>
                  <a:cubicBezTo>
                    <a:pt x="1104" y="2637"/>
                    <a:pt x="1115" y="2626"/>
                    <a:pt x="1113" y="2620"/>
                  </a:cubicBezTo>
                  <a:cubicBezTo>
                    <a:pt x="1112" y="2614"/>
                    <a:pt x="1093" y="2605"/>
                    <a:pt x="1093" y="2605"/>
                  </a:cubicBezTo>
                  <a:cubicBezTo>
                    <a:pt x="1093" y="2605"/>
                    <a:pt x="1109" y="2574"/>
                    <a:pt x="1105" y="2549"/>
                  </a:cubicBezTo>
                  <a:cubicBezTo>
                    <a:pt x="1105" y="2549"/>
                    <a:pt x="1101" y="2547"/>
                    <a:pt x="1101" y="2539"/>
                  </a:cubicBezTo>
                  <a:cubicBezTo>
                    <a:pt x="1101" y="2532"/>
                    <a:pt x="1107" y="2499"/>
                    <a:pt x="1107" y="2497"/>
                  </a:cubicBezTo>
                  <a:cubicBezTo>
                    <a:pt x="1107" y="2495"/>
                    <a:pt x="1100" y="2489"/>
                    <a:pt x="1100" y="2489"/>
                  </a:cubicBezTo>
                  <a:cubicBezTo>
                    <a:pt x="1107" y="2481"/>
                    <a:pt x="1107" y="2481"/>
                    <a:pt x="1107" y="2481"/>
                  </a:cubicBezTo>
                  <a:cubicBezTo>
                    <a:pt x="1107" y="2481"/>
                    <a:pt x="1093" y="2469"/>
                    <a:pt x="1092" y="2451"/>
                  </a:cubicBezTo>
                  <a:cubicBezTo>
                    <a:pt x="1087" y="2447"/>
                    <a:pt x="1084" y="2444"/>
                    <a:pt x="1084" y="2444"/>
                  </a:cubicBezTo>
                  <a:cubicBezTo>
                    <a:pt x="1065" y="2439"/>
                    <a:pt x="1065" y="2439"/>
                    <a:pt x="1065" y="2439"/>
                  </a:cubicBezTo>
                  <a:cubicBezTo>
                    <a:pt x="1065" y="2439"/>
                    <a:pt x="1061" y="2406"/>
                    <a:pt x="1041" y="2399"/>
                  </a:cubicBezTo>
                  <a:cubicBezTo>
                    <a:pt x="1039" y="2391"/>
                    <a:pt x="1038" y="2389"/>
                    <a:pt x="1038" y="2389"/>
                  </a:cubicBezTo>
                  <a:cubicBezTo>
                    <a:pt x="1009" y="2391"/>
                    <a:pt x="1009" y="2391"/>
                    <a:pt x="1009" y="2391"/>
                  </a:cubicBezTo>
                  <a:cubicBezTo>
                    <a:pt x="1013" y="2403"/>
                    <a:pt x="1013" y="2403"/>
                    <a:pt x="1013" y="2403"/>
                  </a:cubicBezTo>
                  <a:cubicBezTo>
                    <a:pt x="1013" y="2403"/>
                    <a:pt x="1003" y="2421"/>
                    <a:pt x="1001" y="2421"/>
                  </a:cubicBezTo>
                  <a:cubicBezTo>
                    <a:pt x="999" y="2421"/>
                    <a:pt x="988" y="2421"/>
                    <a:pt x="988" y="2421"/>
                  </a:cubicBezTo>
                  <a:cubicBezTo>
                    <a:pt x="977" y="2435"/>
                    <a:pt x="977" y="2435"/>
                    <a:pt x="977" y="2435"/>
                  </a:cubicBezTo>
                  <a:cubicBezTo>
                    <a:pt x="990" y="2453"/>
                    <a:pt x="990" y="2453"/>
                    <a:pt x="990" y="2453"/>
                  </a:cubicBezTo>
                  <a:cubicBezTo>
                    <a:pt x="989" y="2475"/>
                    <a:pt x="989" y="2475"/>
                    <a:pt x="989" y="2475"/>
                  </a:cubicBezTo>
                  <a:cubicBezTo>
                    <a:pt x="1005" y="2477"/>
                    <a:pt x="1005" y="2477"/>
                    <a:pt x="1005" y="2477"/>
                  </a:cubicBezTo>
                  <a:cubicBezTo>
                    <a:pt x="1007" y="2490"/>
                    <a:pt x="1007" y="2490"/>
                    <a:pt x="1007" y="2490"/>
                  </a:cubicBezTo>
                  <a:cubicBezTo>
                    <a:pt x="989" y="2493"/>
                    <a:pt x="989" y="2493"/>
                    <a:pt x="989" y="2493"/>
                  </a:cubicBezTo>
                  <a:cubicBezTo>
                    <a:pt x="989" y="2493"/>
                    <a:pt x="1005" y="2536"/>
                    <a:pt x="1013" y="2535"/>
                  </a:cubicBezTo>
                  <a:cubicBezTo>
                    <a:pt x="1011" y="2545"/>
                    <a:pt x="1011" y="2545"/>
                    <a:pt x="1011" y="2545"/>
                  </a:cubicBezTo>
                  <a:cubicBezTo>
                    <a:pt x="987" y="2518"/>
                    <a:pt x="987" y="2518"/>
                    <a:pt x="987" y="2518"/>
                  </a:cubicBezTo>
                  <a:cubicBezTo>
                    <a:pt x="988" y="2528"/>
                    <a:pt x="988" y="2528"/>
                    <a:pt x="988" y="2528"/>
                  </a:cubicBezTo>
                  <a:cubicBezTo>
                    <a:pt x="976" y="2523"/>
                    <a:pt x="976" y="2523"/>
                    <a:pt x="976" y="2523"/>
                  </a:cubicBezTo>
                  <a:cubicBezTo>
                    <a:pt x="972" y="2529"/>
                    <a:pt x="972" y="2529"/>
                    <a:pt x="972" y="2529"/>
                  </a:cubicBezTo>
                  <a:cubicBezTo>
                    <a:pt x="963" y="2530"/>
                    <a:pt x="963" y="2530"/>
                    <a:pt x="963" y="2530"/>
                  </a:cubicBezTo>
                  <a:cubicBezTo>
                    <a:pt x="932" y="2501"/>
                    <a:pt x="932" y="2501"/>
                    <a:pt x="932" y="2501"/>
                  </a:cubicBezTo>
                  <a:cubicBezTo>
                    <a:pt x="918" y="2501"/>
                    <a:pt x="918" y="2501"/>
                    <a:pt x="918" y="2501"/>
                  </a:cubicBezTo>
                  <a:cubicBezTo>
                    <a:pt x="915" y="2482"/>
                    <a:pt x="915" y="2482"/>
                    <a:pt x="915" y="2482"/>
                  </a:cubicBezTo>
                  <a:cubicBezTo>
                    <a:pt x="893" y="2455"/>
                    <a:pt x="893" y="2455"/>
                    <a:pt x="893" y="2455"/>
                  </a:cubicBezTo>
                  <a:cubicBezTo>
                    <a:pt x="893" y="2455"/>
                    <a:pt x="885" y="2496"/>
                    <a:pt x="877" y="2495"/>
                  </a:cubicBezTo>
                  <a:cubicBezTo>
                    <a:pt x="869" y="2495"/>
                    <a:pt x="910" y="2509"/>
                    <a:pt x="908" y="2523"/>
                  </a:cubicBezTo>
                  <a:cubicBezTo>
                    <a:pt x="908" y="2523"/>
                    <a:pt x="925" y="2534"/>
                    <a:pt x="917" y="2537"/>
                  </a:cubicBezTo>
                  <a:cubicBezTo>
                    <a:pt x="909" y="2539"/>
                    <a:pt x="905" y="2525"/>
                    <a:pt x="905" y="2525"/>
                  </a:cubicBezTo>
                  <a:cubicBezTo>
                    <a:pt x="905" y="2525"/>
                    <a:pt x="894" y="2533"/>
                    <a:pt x="891" y="2531"/>
                  </a:cubicBezTo>
                  <a:cubicBezTo>
                    <a:pt x="889" y="2528"/>
                    <a:pt x="885" y="2517"/>
                    <a:pt x="880" y="2514"/>
                  </a:cubicBezTo>
                  <a:cubicBezTo>
                    <a:pt x="875" y="2511"/>
                    <a:pt x="874" y="2526"/>
                    <a:pt x="878" y="2526"/>
                  </a:cubicBezTo>
                  <a:cubicBezTo>
                    <a:pt x="882" y="2526"/>
                    <a:pt x="885" y="2529"/>
                    <a:pt x="885" y="2529"/>
                  </a:cubicBezTo>
                  <a:cubicBezTo>
                    <a:pt x="886" y="2546"/>
                    <a:pt x="886" y="2546"/>
                    <a:pt x="886" y="2546"/>
                  </a:cubicBezTo>
                  <a:cubicBezTo>
                    <a:pt x="886" y="2546"/>
                    <a:pt x="906" y="2572"/>
                    <a:pt x="901" y="2572"/>
                  </a:cubicBezTo>
                  <a:cubicBezTo>
                    <a:pt x="897" y="2572"/>
                    <a:pt x="891" y="2562"/>
                    <a:pt x="891" y="2562"/>
                  </a:cubicBezTo>
                  <a:cubicBezTo>
                    <a:pt x="891" y="2562"/>
                    <a:pt x="897" y="2577"/>
                    <a:pt x="891" y="2577"/>
                  </a:cubicBezTo>
                  <a:cubicBezTo>
                    <a:pt x="885" y="2577"/>
                    <a:pt x="863" y="2539"/>
                    <a:pt x="863" y="2539"/>
                  </a:cubicBezTo>
                  <a:cubicBezTo>
                    <a:pt x="854" y="2538"/>
                    <a:pt x="854" y="2538"/>
                    <a:pt x="854" y="2538"/>
                  </a:cubicBezTo>
                  <a:cubicBezTo>
                    <a:pt x="854" y="2524"/>
                    <a:pt x="854" y="2524"/>
                    <a:pt x="854" y="2524"/>
                  </a:cubicBezTo>
                  <a:cubicBezTo>
                    <a:pt x="854" y="2524"/>
                    <a:pt x="825" y="2529"/>
                    <a:pt x="838" y="2553"/>
                  </a:cubicBezTo>
                  <a:cubicBezTo>
                    <a:pt x="835" y="2560"/>
                    <a:pt x="841" y="2563"/>
                    <a:pt x="827" y="2557"/>
                  </a:cubicBezTo>
                  <a:cubicBezTo>
                    <a:pt x="812" y="2550"/>
                    <a:pt x="817" y="2567"/>
                    <a:pt x="817" y="2567"/>
                  </a:cubicBezTo>
                  <a:cubicBezTo>
                    <a:pt x="821" y="2574"/>
                    <a:pt x="821" y="2574"/>
                    <a:pt x="821" y="2574"/>
                  </a:cubicBezTo>
                  <a:cubicBezTo>
                    <a:pt x="821" y="2574"/>
                    <a:pt x="815" y="2594"/>
                    <a:pt x="819" y="2594"/>
                  </a:cubicBezTo>
                  <a:cubicBezTo>
                    <a:pt x="822" y="2594"/>
                    <a:pt x="830" y="2581"/>
                    <a:pt x="839" y="2592"/>
                  </a:cubicBezTo>
                  <a:cubicBezTo>
                    <a:pt x="847" y="2603"/>
                    <a:pt x="841" y="2614"/>
                    <a:pt x="841" y="2614"/>
                  </a:cubicBezTo>
                  <a:cubicBezTo>
                    <a:pt x="841" y="2614"/>
                    <a:pt x="859" y="2644"/>
                    <a:pt x="884" y="2642"/>
                  </a:cubicBezTo>
                  <a:cubicBezTo>
                    <a:pt x="889" y="2649"/>
                    <a:pt x="903" y="2659"/>
                    <a:pt x="908" y="2657"/>
                  </a:cubicBezTo>
                  <a:cubicBezTo>
                    <a:pt x="913" y="2656"/>
                    <a:pt x="925" y="2647"/>
                    <a:pt x="921" y="2639"/>
                  </a:cubicBezTo>
                  <a:cubicBezTo>
                    <a:pt x="917" y="2631"/>
                    <a:pt x="916" y="2631"/>
                    <a:pt x="916" y="2624"/>
                  </a:cubicBezTo>
                  <a:cubicBezTo>
                    <a:pt x="916" y="2617"/>
                    <a:pt x="936" y="2611"/>
                    <a:pt x="936" y="2611"/>
                  </a:cubicBezTo>
                  <a:cubicBezTo>
                    <a:pt x="933" y="2622"/>
                    <a:pt x="933" y="2622"/>
                    <a:pt x="933" y="2622"/>
                  </a:cubicBezTo>
                  <a:cubicBezTo>
                    <a:pt x="936" y="2630"/>
                    <a:pt x="936" y="2630"/>
                    <a:pt x="936" y="2630"/>
                  </a:cubicBezTo>
                  <a:cubicBezTo>
                    <a:pt x="946" y="2617"/>
                    <a:pt x="946" y="2617"/>
                    <a:pt x="946" y="2617"/>
                  </a:cubicBezTo>
                  <a:cubicBezTo>
                    <a:pt x="946" y="2617"/>
                    <a:pt x="948" y="2639"/>
                    <a:pt x="962" y="2638"/>
                  </a:cubicBezTo>
                  <a:cubicBezTo>
                    <a:pt x="965" y="2639"/>
                    <a:pt x="958" y="2653"/>
                    <a:pt x="958" y="2653"/>
                  </a:cubicBezTo>
                  <a:cubicBezTo>
                    <a:pt x="958" y="2653"/>
                    <a:pt x="976" y="2653"/>
                    <a:pt x="981" y="2645"/>
                  </a:cubicBezTo>
                  <a:cubicBezTo>
                    <a:pt x="986" y="2647"/>
                    <a:pt x="983" y="2655"/>
                    <a:pt x="975" y="2655"/>
                  </a:cubicBezTo>
                  <a:cubicBezTo>
                    <a:pt x="967" y="2655"/>
                    <a:pt x="951" y="2669"/>
                    <a:pt x="951" y="2679"/>
                  </a:cubicBezTo>
                  <a:cubicBezTo>
                    <a:pt x="951" y="2688"/>
                    <a:pt x="961" y="2690"/>
                    <a:pt x="961" y="2690"/>
                  </a:cubicBezTo>
                  <a:cubicBezTo>
                    <a:pt x="961" y="2690"/>
                    <a:pt x="964" y="2732"/>
                    <a:pt x="992" y="2734"/>
                  </a:cubicBezTo>
                  <a:cubicBezTo>
                    <a:pt x="992" y="2739"/>
                    <a:pt x="1005" y="2767"/>
                    <a:pt x="1013" y="2768"/>
                  </a:cubicBezTo>
                  <a:cubicBezTo>
                    <a:pt x="1022" y="2769"/>
                    <a:pt x="1034" y="2749"/>
                    <a:pt x="1037" y="2757"/>
                  </a:cubicBezTo>
                  <a:cubicBezTo>
                    <a:pt x="1041" y="2764"/>
                    <a:pt x="1009" y="2789"/>
                    <a:pt x="1023" y="2789"/>
                  </a:cubicBezTo>
                  <a:cubicBezTo>
                    <a:pt x="1035" y="2785"/>
                    <a:pt x="1061" y="2773"/>
                    <a:pt x="1065" y="2775"/>
                  </a:cubicBezTo>
                  <a:cubicBezTo>
                    <a:pt x="1068" y="2777"/>
                    <a:pt x="1051" y="2796"/>
                    <a:pt x="1051" y="2796"/>
                  </a:cubicBezTo>
                  <a:cubicBezTo>
                    <a:pt x="1065" y="2811"/>
                    <a:pt x="1065" y="2811"/>
                    <a:pt x="1065" y="2811"/>
                  </a:cubicBezTo>
                  <a:cubicBezTo>
                    <a:pt x="1083" y="2789"/>
                    <a:pt x="1083" y="2789"/>
                    <a:pt x="1083" y="2789"/>
                  </a:cubicBezTo>
                  <a:cubicBezTo>
                    <a:pt x="1079" y="2783"/>
                    <a:pt x="1079" y="2783"/>
                    <a:pt x="1079" y="2783"/>
                  </a:cubicBezTo>
                  <a:cubicBezTo>
                    <a:pt x="1079" y="2783"/>
                    <a:pt x="1085" y="2766"/>
                    <a:pt x="1101" y="2766"/>
                  </a:cubicBezTo>
                  <a:cubicBezTo>
                    <a:pt x="1116" y="2766"/>
                    <a:pt x="1112" y="2800"/>
                    <a:pt x="1112" y="2800"/>
                  </a:cubicBezTo>
                  <a:cubicBezTo>
                    <a:pt x="1125" y="2814"/>
                    <a:pt x="1125" y="2814"/>
                    <a:pt x="1125" y="2814"/>
                  </a:cubicBezTo>
                  <a:cubicBezTo>
                    <a:pt x="1157" y="2759"/>
                    <a:pt x="1157" y="2759"/>
                    <a:pt x="1157" y="2759"/>
                  </a:cubicBezTo>
                  <a:cubicBezTo>
                    <a:pt x="1157" y="2759"/>
                    <a:pt x="1169" y="2787"/>
                    <a:pt x="1173" y="2787"/>
                  </a:cubicBezTo>
                  <a:cubicBezTo>
                    <a:pt x="1177" y="2786"/>
                    <a:pt x="1201" y="2779"/>
                    <a:pt x="1201" y="2779"/>
                  </a:cubicBezTo>
                  <a:cubicBezTo>
                    <a:pt x="1201" y="2779"/>
                    <a:pt x="1135" y="2824"/>
                    <a:pt x="1165" y="2825"/>
                  </a:cubicBezTo>
                  <a:cubicBezTo>
                    <a:pt x="1167" y="2826"/>
                    <a:pt x="1153" y="2843"/>
                    <a:pt x="1153" y="2843"/>
                  </a:cubicBezTo>
                  <a:cubicBezTo>
                    <a:pt x="1162" y="2849"/>
                    <a:pt x="1162" y="2849"/>
                    <a:pt x="1162" y="2849"/>
                  </a:cubicBezTo>
                  <a:cubicBezTo>
                    <a:pt x="1162" y="2849"/>
                    <a:pt x="1122" y="2875"/>
                    <a:pt x="1157" y="2891"/>
                  </a:cubicBezTo>
                  <a:cubicBezTo>
                    <a:pt x="1203" y="2877"/>
                    <a:pt x="1216" y="2853"/>
                    <a:pt x="1225" y="2831"/>
                  </a:cubicBezTo>
                  <a:cubicBezTo>
                    <a:pt x="1244" y="2827"/>
                    <a:pt x="1246" y="2829"/>
                    <a:pt x="1246" y="2829"/>
                  </a:cubicBezTo>
                  <a:cubicBezTo>
                    <a:pt x="1259" y="2801"/>
                    <a:pt x="1259" y="2801"/>
                    <a:pt x="1259" y="2801"/>
                  </a:cubicBezTo>
                  <a:cubicBezTo>
                    <a:pt x="1254" y="2790"/>
                    <a:pt x="1254" y="2790"/>
                    <a:pt x="1254" y="2790"/>
                  </a:cubicBezTo>
                  <a:cubicBezTo>
                    <a:pt x="1254" y="2790"/>
                    <a:pt x="1307" y="2783"/>
                    <a:pt x="1313" y="2749"/>
                  </a:cubicBezTo>
                  <a:cubicBezTo>
                    <a:pt x="1319" y="2747"/>
                    <a:pt x="1327" y="2747"/>
                    <a:pt x="1327" y="2747"/>
                  </a:cubicBezTo>
                  <a:cubicBezTo>
                    <a:pt x="1327" y="2747"/>
                    <a:pt x="1333" y="2764"/>
                    <a:pt x="1299" y="2787"/>
                  </a:cubicBezTo>
                  <a:cubicBezTo>
                    <a:pt x="1299" y="2807"/>
                    <a:pt x="1317" y="2809"/>
                    <a:pt x="1317" y="2809"/>
                  </a:cubicBezTo>
                  <a:cubicBezTo>
                    <a:pt x="1317" y="2817"/>
                    <a:pt x="1317" y="2817"/>
                    <a:pt x="1317" y="2817"/>
                  </a:cubicBezTo>
                  <a:cubicBezTo>
                    <a:pt x="1286" y="2820"/>
                    <a:pt x="1286" y="2820"/>
                    <a:pt x="1286" y="2820"/>
                  </a:cubicBezTo>
                  <a:cubicBezTo>
                    <a:pt x="1286" y="2820"/>
                    <a:pt x="1279" y="2844"/>
                    <a:pt x="1264" y="2843"/>
                  </a:cubicBezTo>
                  <a:cubicBezTo>
                    <a:pt x="1253" y="2852"/>
                    <a:pt x="1250" y="2861"/>
                    <a:pt x="1250" y="2861"/>
                  </a:cubicBezTo>
                  <a:cubicBezTo>
                    <a:pt x="1250" y="2861"/>
                    <a:pt x="1269" y="2885"/>
                    <a:pt x="1277" y="2885"/>
                  </a:cubicBezTo>
                  <a:cubicBezTo>
                    <a:pt x="1285" y="2885"/>
                    <a:pt x="1307" y="2872"/>
                    <a:pt x="1306" y="2879"/>
                  </a:cubicBezTo>
                  <a:cubicBezTo>
                    <a:pt x="1305" y="2887"/>
                    <a:pt x="1301" y="2896"/>
                    <a:pt x="1301" y="2896"/>
                  </a:cubicBezTo>
                  <a:cubicBezTo>
                    <a:pt x="1301" y="2896"/>
                    <a:pt x="1307" y="2917"/>
                    <a:pt x="1319" y="2916"/>
                  </a:cubicBezTo>
                  <a:cubicBezTo>
                    <a:pt x="1323" y="2917"/>
                    <a:pt x="1327" y="2931"/>
                    <a:pt x="1324" y="2931"/>
                  </a:cubicBezTo>
                  <a:cubicBezTo>
                    <a:pt x="1321" y="2931"/>
                    <a:pt x="1311" y="2923"/>
                    <a:pt x="1303" y="2923"/>
                  </a:cubicBezTo>
                  <a:cubicBezTo>
                    <a:pt x="1296" y="2923"/>
                    <a:pt x="1287" y="2899"/>
                    <a:pt x="1285" y="2899"/>
                  </a:cubicBezTo>
                  <a:cubicBezTo>
                    <a:pt x="1283" y="2899"/>
                    <a:pt x="1243" y="2897"/>
                    <a:pt x="1243" y="2897"/>
                  </a:cubicBezTo>
                  <a:cubicBezTo>
                    <a:pt x="1243" y="2897"/>
                    <a:pt x="1228" y="2902"/>
                    <a:pt x="1229" y="2937"/>
                  </a:cubicBezTo>
                  <a:cubicBezTo>
                    <a:pt x="1215" y="2964"/>
                    <a:pt x="1214" y="2966"/>
                    <a:pt x="1213" y="2966"/>
                  </a:cubicBezTo>
                  <a:cubicBezTo>
                    <a:pt x="1217" y="2974"/>
                    <a:pt x="1217" y="2974"/>
                    <a:pt x="1217" y="2974"/>
                  </a:cubicBezTo>
                  <a:cubicBezTo>
                    <a:pt x="1213" y="2978"/>
                    <a:pt x="1213" y="2978"/>
                    <a:pt x="1213" y="2978"/>
                  </a:cubicBezTo>
                  <a:cubicBezTo>
                    <a:pt x="1209" y="2971"/>
                    <a:pt x="1209" y="2971"/>
                    <a:pt x="1209" y="2971"/>
                  </a:cubicBezTo>
                  <a:cubicBezTo>
                    <a:pt x="1193" y="2984"/>
                    <a:pt x="1193" y="2984"/>
                    <a:pt x="1193" y="2984"/>
                  </a:cubicBezTo>
                  <a:cubicBezTo>
                    <a:pt x="1193" y="2984"/>
                    <a:pt x="1200" y="2999"/>
                    <a:pt x="1211" y="2999"/>
                  </a:cubicBezTo>
                  <a:cubicBezTo>
                    <a:pt x="1223" y="2998"/>
                    <a:pt x="1276" y="2984"/>
                    <a:pt x="1276" y="2984"/>
                  </a:cubicBezTo>
                  <a:cubicBezTo>
                    <a:pt x="1275" y="2994"/>
                    <a:pt x="1275" y="2994"/>
                    <a:pt x="1275" y="2994"/>
                  </a:cubicBezTo>
                  <a:cubicBezTo>
                    <a:pt x="1252" y="3009"/>
                    <a:pt x="1252" y="3009"/>
                    <a:pt x="1252" y="3009"/>
                  </a:cubicBezTo>
                  <a:cubicBezTo>
                    <a:pt x="1252" y="3009"/>
                    <a:pt x="1271" y="3012"/>
                    <a:pt x="1269" y="3015"/>
                  </a:cubicBezTo>
                  <a:cubicBezTo>
                    <a:pt x="1267" y="3017"/>
                    <a:pt x="1227" y="3027"/>
                    <a:pt x="1227" y="3027"/>
                  </a:cubicBezTo>
                  <a:cubicBezTo>
                    <a:pt x="1227" y="3027"/>
                    <a:pt x="1218" y="3051"/>
                    <a:pt x="1209" y="3051"/>
                  </a:cubicBezTo>
                  <a:cubicBezTo>
                    <a:pt x="1209" y="3055"/>
                    <a:pt x="1211" y="3085"/>
                    <a:pt x="1203" y="3083"/>
                  </a:cubicBezTo>
                  <a:cubicBezTo>
                    <a:pt x="1195" y="3081"/>
                    <a:pt x="1186" y="3062"/>
                    <a:pt x="1178" y="3063"/>
                  </a:cubicBezTo>
                  <a:cubicBezTo>
                    <a:pt x="1170" y="3063"/>
                    <a:pt x="1149" y="3075"/>
                    <a:pt x="1149" y="3075"/>
                  </a:cubicBezTo>
                  <a:cubicBezTo>
                    <a:pt x="1093" y="3075"/>
                    <a:pt x="1093" y="3075"/>
                    <a:pt x="1093" y="3075"/>
                  </a:cubicBezTo>
                  <a:cubicBezTo>
                    <a:pt x="1073" y="3081"/>
                    <a:pt x="1073" y="3081"/>
                    <a:pt x="1073" y="3081"/>
                  </a:cubicBezTo>
                  <a:cubicBezTo>
                    <a:pt x="1077" y="3091"/>
                    <a:pt x="1077" y="3091"/>
                    <a:pt x="1077" y="3091"/>
                  </a:cubicBezTo>
                  <a:cubicBezTo>
                    <a:pt x="1067" y="3092"/>
                    <a:pt x="1067" y="3092"/>
                    <a:pt x="1067" y="3092"/>
                  </a:cubicBezTo>
                  <a:cubicBezTo>
                    <a:pt x="1055" y="3103"/>
                    <a:pt x="1055" y="3103"/>
                    <a:pt x="1055" y="3103"/>
                  </a:cubicBezTo>
                  <a:cubicBezTo>
                    <a:pt x="1055" y="3103"/>
                    <a:pt x="1059" y="3150"/>
                    <a:pt x="1141" y="3131"/>
                  </a:cubicBezTo>
                  <a:cubicBezTo>
                    <a:pt x="1167" y="3147"/>
                    <a:pt x="1173" y="3148"/>
                    <a:pt x="1173" y="3148"/>
                  </a:cubicBezTo>
                  <a:cubicBezTo>
                    <a:pt x="1186" y="3141"/>
                    <a:pt x="1186" y="3141"/>
                    <a:pt x="1186" y="3141"/>
                  </a:cubicBezTo>
                  <a:cubicBezTo>
                    <a:pt x="1186" y="3141"/>
                    <a:pt x="1191" y="3162"/>
                    <a:pt x="1157" y="3163"/>
                  </a:cubicBezTo>
                  <a:cubicBezTo>
                    <a:pt x="1158" y="3170"/>
                    <a:pt x="1157" y="3183"/>
                    <a:pt x="1157" y="3183"/>
                  </a:cubicBezTo>
                  <a:cubicBezTo>
                    <a:pt x="1157" y="3183"/>
                    <a:pt x="1173" y="3191"/>
                    <a:pt x="1171" y="3201"/>
                  </a:cubicBezTo>
                  <a:cubicBezTo>
                    <a:pt x="1171" y="3204"/>
                    <a:pt x="1211" y="3251"/>
                    <a:pt x="1256" y="3244"/>
                  </a:cubicBezTo>
                  <a:cubicBezTo>
                    <a:pt x="1256" y="3244"/>
                    <a:pt x="1263" y="3231"/>
                    <a:pt x="1267" y="3234"/>
                  </a:cubicBezTo>
                  <a:cubicBezTo>
                    <a:pt x="1271" y="3237"/>
                    <a:pt x="1259" y="3249"/>
                    <a:pt x="1259" y="3249"/>
                  </a:cubicBezTo>
                  <a:cubicBezTo>
                    <a:pt x="1266" y="3257"/>
                    <a:pt x="1266" y="3257"/>
                    <a:pt x="1266" y="3257"/>
                  </a:cubicBezTo>
                  <a:cubicBezTo>
                    <a:pt x="1287" y="3261"/>
                    <a:pt x="1287" y="3261"/>
                    <a:pt x="1287" y="3261"/>
                  </a:cubicBezTo>
                  <a:cubicBezTo>
                    <a:pt x="1287" y="3261"/>
                    <a:pt x="1284" y="3275"/>
                    <a:pt x="1299" y="3275"/>
                  </a:cubicBezTo>
                  <a:cubicBezTo>
                    <a:pt x="1315" y="3275"/>
                    <a:pt x="1371" y="3229"/>
                    <a:pt x="1371" y="3224"/>
                  </a:cubicBezTo>
                  <a:cubicBezTo>
                    <a:pt x="1371" y="3219"/>
                    <a:pt x="1373" y="3211"/>
                    <a:pt x="1373" y="3211"/>
                  </a:cubicBezTo>
                  <a:cubicBezTo>
                    <a:pt x="1413" y="3175"/>
                    <a:pt x="1413" y="3175"/>
                    <a:pt x="1413" y="3175"/>
                  </a:cubicBezTo>
                  <a:cubicBezTo>
                    <a:pt x="1423" y="3173"/>
                    <a:pt x="1423" y="3173"/>
                    <a:pt x="1423" y="3173"/>
                  </a:cubicBezTo>
                  <a:cubicBezTo>
                    <a:pt x="1447" y="3152"/>
                    <a:pt x="1447" y="3152"/>
                    <a:pt x="1447" y="3152"/>
                  </a:cubicBezTo>
                  <a:cubicBezTo>
                    <a:pt x="1447" y="3152"/>
                    <a:pt x="1443" y="3140"/>
                    <a:pt x="1458" y="3140"/>
                  </a:cubicBezTo>
                  <a:cubicBezTo>
                    <a:pt x="1458" y="3140"/>
                    <a:pt x="1467" y="3116"/>
                    <a:pt x="1474" y="3133"/>
                  </a:cubicBezTo>
                  <a:cubicBezTo>
                    <a:pt x="1491" y="3119"/>
                    <a:pt x="1491" y="3119"/>
                    <a:pt x="1491" y="3119"/>
                  </a:cubicBezTo>
                  <a:cubicBezTo>
                    <a:pt x="1505" y="3141"/>
                    <a:pt x="1505" y="3141"/>
                    <a:pt x="1505" y="3141"/>
                  </a:cubicBezTo>
                  <a:cubicBezTo>
                    <a:pt x="1491" y="3158"/>
                    <a:pt x="1491" y="3158"/>
                    <a:pt x="1491" y="3158"/>
                  </a:cubicBezTo>
                  <a:cubicBezTo>
                    <a:pt x="1485" y="3150"/>
                    <a:pt x="1485" y="3150"/>
                    <a:pt x="1485" y="3150"/>
                  </a:cubicBezTo>
                  <a:cubicBezTo>
                    <a:pt x="1485" y="3150"/>
                    <a:pt x="1462" y="3163"/>
                    <a:pt x="1461" y="3167"/>
                  </a:cubicBezTo>
                  <a:cubicBezTo>
                    <a:pt x="1461" y="3171"/>
                    <a:pt x="1467" y="3176"/>
                    <a:pt x="1467" y="3176"/>
                  </a:cubicBezTo>
                  <a:cubicBezTo>
                    <a:pt x="1457" y="3189"/>
                    <a:pt x="1457" y="3189"/>
                    <a:pt x="1457" y="3189"/>
                  </a:cubicBezTo>
                  <a:cubicBezTo>
                    <a:pt x="1457" y="3189"/>
                    <a:pt x="1457" y="3177"/>
                    <a:pt x="1436" y="3212"/>
                  </a:cubicBezTo>
                  <a:cubicBezTo>
                    <a:pt x="1427" y="3205"/>
                    <a:pt x="1428" y="3199"/>
                    <a:pt x="1428" y="3199"/>
                  </a:cubicBezTo>
                  <a:cubicBezTo>
                    <a:pt x="1420" y="3208"/>
                    <a:pt x="1420" y="3208"/>
                    <a:pt x="1420" y="3208"/>
                  </a:cubicBezTo>
                  <a:cubicBezTo>
                    <a:pt x="1429" y="3225"/>
                    <a:pt x="1429" y="3225"/>
                    <a:pt x="1429" y="3225"/>
                  </a:cubicBezTo>
                  <a:cubicBezTo>
                    <a:pt x="1429" y="3225"/>
                    <a:pt x="1417" y="3234"/>
                    <a:pt x="1417" y="3249"/>
                  </a:cubicBezTo>
                  <a:cubicBezTo>
                    <a:pt x="1408" y="3259"/>
                    <a:pt x="1394" y="3285"/>
                    <a:pt x="1394" y="3285"/>
                  </a:cubicBezTo>
                  <a:cubicBezTo>
                    <a:pt x="1394" y="3285"/>
                    <a:pt x="1399" y="3294"/>
                    <a:pt x="1402" y="3294"/>
                  </a:cubicBezTo>
                  <a:cubicBezTo>
                    <a:pt x="1405" y="3294"/>
                    <a:pt x="1415" y="3282"/>
                    <a:pt x="1415" y="3282"/>
                  </a:cubicBezTo>
                  <a:cubicBezTo>
                    <a:pt x="1425" y="3297"/>
                    <a:pt x="1425" y="3297"/>
                    <a:pt x="1425" y="3297"/>
                  </a:cubicBezTo>
                  <a:cubicBezTo>
                    <a:pt x="1425" y="3297"/>
                    <a:pt x="1421" y="3313"/>
                    <a:pt x="1397" y="3313"/>
                  </a:cubicBezTo>
                  <a:cubicBezTo>
                    <a:pt x="1393" y="3316"/>
                    <a:pt x="1369" y="3336"/>
                    <a:pt x="1369" y="3336"/>
                  </a:cubicBezTo>
                  <a:cubicBezTo>
                    <a:pt x="1354" y="3336"/>
                    <a:pt x="1354" y="3336"/>
                    <a:pt x="1354" y="3336"/>
                  </a:cubicBezTo>
                  <a:cubicBezTo>
                    <a:pt x="1354" y="3336"/>
                    <a:pt x="1335" y="3353"/>
                    <a:pt x="1337" y="3353"/>
                  </a:cubicBezTo>
                  <a:cubicBezTo>
                    <a:pt x="1339" y="3353"/>
                    <a:pt x="1356" y="3367"/>
                    <a:pt x="1356" y="3367"/>
                  </a:cubicBezTo>
                  <a:cubicBezTo>
                    <a:pt x="1363" y="3361"/>
                    <a:pt x="1363" y="3361"/>
                    <a:pt x="1363" y="3361"/>
                  </a:cubicBezTo>
                  <a:cubicBezTo>
                    <a:pt x="1363" y="3361"/>
                    <a:pt x="1381" y="3355"/>
                    <a:pt x="1335" y="3409"/>
                  </a:cubicBezTo>
                  <a:cubicBezTo>
                    <a:pt x="1320" y="3411"/>
                    <a:pt x="1319" y="3409"/>
                    <a:pt x="1319" y="3409"/>
                  </a:cubicBezTo>
                  <a:cubicBezTo>
                    <a:pt x="1316" y="3412"/>
                    <a:pt x="1299" y="3433"/>
                    <a:pt x="1303" y="3433"/>
                  </a:cubicBezTo>
                  <a:cubicBezTo>
                    <a:pt x="1308" y="3433"/>
                    <a:pt x="1311" y="3427"/>
                    <a:pt x="1311" y="3427"/>
                  </a:cubicBezTo>
                  <a:cubicBezTo>
                    <a:pt x="1319" y="3438"/>
                    <a:pt x="1319" y="3438"/>
                    <a:pt x="1319" y="3438"/>
                  </a:cubicBezTo>
                  <a:cubicBezTo>
                    <a:pt x="1319" y="3438"/>
                    <a:pt x="1310" y="3431"/>
                    <a:pt x="1303" y="3479"/>
                  </a:cubicBezTo>
                  <a:cubicBezTo>
                    <a:pt x="1317" y="3501"/>
                    <a:pt x="1321" y="3503"/>
                    <a:pt x="1321" y="3503"/>
                  </a:cubicBezTo>
                  <a:cubicBezTo>
                    <a:pt x="1321" y="3495"/>
                    <a:pt x="1321" y="3495"/>
                    <a:pt x="1321" y="3495"/>
                  </a:cubicBezTo>
                  <a:cubicBezTo>
                    <a:pt x="1321" y="3495"/>
                    <a:pt x="1327" y="3501"/>
                    <a:pt x="1331" y="3498"/>
                  </a:cubicBezTo>
                  <a:cubicBezTo>
                    <a:pt x="1335" y="3495"/>
                    <a:pt x="1342" y="3488"/>
                    <a:pt x="1342" y="3488"/>
                  </a:cubicBezTo>
                  <a:cubicBezTo>
                    <a:pt x="1327" y="3466"/>
                    <a:pt x="1327" y="3466"/>
                    <a:pt x="1327" y="3466"/>
                  </a:cubicBezTo>
                  <a:cubicBezTo>
                    <a:pt x="1327" y="3466"/>
                    <a:pt x="1328" y="3451"/>
                    <a:pt x="1337" y="3459"/>
                  </a:cubicBezTo>
                  <a:cubicBezTo>
                    <a:pt x="1347" y="3459"/>
                    <a:pt x="1347" y="3457"/>
                    <a:pt x="1347" y="3454"/>
                  </a:cubicBezTo>
                  <a:cubicBezTo>
                    <a:pt x="1347" y="3451"/>
                    <a:pt x="1367" y="3454"/>
                    <a:pt x="1367" y="3454"/>
                  </a:cubicBezTo>
                  <a:cubicBezTo>
                    <a:pt x="1367" y="3462"/>
                    <a:pt x="1367" y="3462"/>
                    <a:pt x="1367" y="3462"/>
                  </a:cubicBezTo>
                  <a:cubicBezTo>
                    <a:pt x="1367" y="3462"/>
                    <a:pt x="1346" y="3460"/>
                    <a:pt x="1346" y="3471"/>
                  </a:cubicBezTo>
                  <a:cubicBezTo>
                    <a:pt x="1351" y="3473"/>
                    <a:pt x="1355" y="3474"/>
                    <a:pt x="1355" y="3474"/>
                  </a:cubicBezTo>
                  <a:cubicBezTo>
                    <a:pt x="1355" y="3490"/>
                    <a:pt x="1355" y="3490"/>
                    <a:pt x="1355" y="3490"/>
                  </a:cubicBezTo>
                  <a:cubicBezTo>
                    <a:pt x="1329" y="3521"/>
                    <a:pt x="1329" y="3521"/>
                    <a:pt x="1329" y="3521"/>
                  </a:cubicBezTo>
                  <a:cubicBezTo>
                    <a:pt x="1328" y="3547"/>
                    <a:pt x="1328" y="3547"/>
                    <a:pt x="1328" y="3547"/>
                  </a:cubicBezTo>
                  <a:cubicBezTo>
                    <a:pt x="1353" y="3521"/>
                    <a:pt x="1353" y="3521"/>
                    <a:pt x="1353" y="3521"/>
                  </a:cubicBezTo>
                  <a:cubicBezTo>
                    <a:pt x="1355" y="3533"/>
                    <a:pt x="1355" y="3533"/>
                    <a:pt x="1355" y="3533"/>
                  </a:cubicBezTo>
                  <a:cubicBezTo>
                    <a:pt x="1347" y="3544"/>
                    <a:pt x="1347" y="3544"/>
                    <a:pt x="1347" y="3544"/>
                  </a:cubicBezTo>
                  <a:cubicBezTo>
                    <a:pt x="1353" y="3550"/>
                    <a:pt x="1353" y="3550"/>
                    <a:pt x="1353" y="3550"/>
                  </a:cubicBezTo>
                  <a:cubicBezTo>
                    <a:pt x="1347" y="3561"/>
                    <a:pt x="1347" y="3561"/>
                    <a:pt x="1347" y="3561"/>
                  </a:cubicBezTo>
                  <a:cubicBezTo>
                    <a:pt x="1359" y="3579"/>
                    <a:pt x="1359" y="3579"/>
                    <a:pt x="1359" y="3579"/>
                  </a:cubicBezTo>
                  <a:cubicBezTo>
                    <a:pt x="1359" y="3579"/>
                    <a:pt x="1334" y="3563"/>
                    <a:pt x="1330" y="3590"/>
                  </a:cubicBezTo>
                  <a:cubicBezTo>
                    <a:pt x="1330" y="3590"/>
                    <a:pt x="1316" y="3599"/>
                    <a:pt x="1314" y="3617"/>
                  </a:cubicBezTo>
                  <a:cubicBezTo>
                    <a:pt x="1311" y="3615"/>
                    <a:pt x="1297" y="3645"/>
                    <a:pt x="1293" y="3653"/>
                  </a:cubicBezTo>
                  <a:cubicBezTo>
                    <a:pt x="1289" y="3661"/>
                    <a:pt x="1280" y="3671"/>
                    <a:pt x="1280" y="3671"/>
                  </a:cubicBezTo>
                  <a:cubicBezTo>
                    <a:pt x="1291" y="3693"/>
                    <a:pt x="1291" y="3693"/>
                    <a:pt x="1291" y="3693"/>
                  </a:cubicBezTo>
                  <a:cubicBezTo>
                    <a:pt x="1291" y="3693"/>
                    <a:pt x="1298" y="3684"/>
                    <a:pt x="1298" y="3674"/>
                  </a:cubicBezTo>
                  <a:cubicBezTo>
                    <a:pt x="1298" y="3664"/>
                    <a:pt x="1329" y="3625"/>
                    <a:pt x="1329" y="3625"/>
                  </a:cubicBezTo>
                  <a:cubicBezTo>
                    <a:pt x="1335" y="3628"/>
                    <a:pt x="1335" y="3628"/>
                    <a:pt x="1335" y="3628"/>
                  </a:cubicBezTo>
                  <a:cubicBezTo>
                    <a:pt x="1335" y="3628"/>
                    <a:pt x="1317" y="3665"/>
                    <a:pt x="1304" y="3679"/>
                  </a:cubicBezTo>
                  <a:cubicBezTo>
                    <a:pt x="1304" y="3679"/>
                    <a:pt x="1299" y="3692"/>
                    <a:pt x="1294" y="3698"/>
                  </a:cubicBezTo>
                  <a:cubicBezTo>
                    <a:pt x="1289" y="3704"/>
                    <a:pt x="1292" y="3731"/>
                    <a:pt x="1295" y="3731"/>
                  </a:cubicBezTo>
                  <a:cubicBezTo>
                    <a:pt x="1297" y="3730"/>
                    <a:pt x="1308" y="3718"/>
                    <a:pt x="1314" y="3717"/>
                  </a:cubicBezTo>
                  <a:cubicBezTo>
                    <a:pt x="1320" y="3717"/>
                    <a:pt x="1329" y="3690"/>
                    <a:pt x="1334" y="3696"/>
                  </a:cubicBezTo>
                  <a:cubicBezTo>
                    <a:pt x="1339" y="3702"/>
                    <a:pt x="1339" y="3702"/>
                    <a:pt x="1339" y="3702"/>
                  </a:cubicBezTo>
                  <a:cubicBezTo>
                    <a:pt x="1329" y="3706"/>
                    <a:pt x="1329" y="3706"/>
                    <a:pt x="1329" y="3706"/>
                  </a:cubicBezTo>
                  <a:cubicBezTo>
                    <a:pt x="1316" y="3738"/>
                    <a:pt x="1316" y="3738"/>
                    <a:pt x="1316" y="3738"/>
                  </a:cubicBezTo>
                  <a:cubicBezTo>
                    <a:pt x="1307" y="3737"/>
                    <a:pt x="1307" y="3737"/>
                    <a:pt x="1307" y="3737"/>
                  </a:cubicBezTo>
                  <a:cubicBezTo>
                    <a:pt x="1307" y="3737"/>
                    <a:pt x="1286" y="3825"/>
                    <a:pt x="1324" y="3802"/>
                  </a:cubicBezTo>
                  <a:cubicBezTo>
                    <a:pt x="1324" y="3802"/>
                    <a:pt x="1323" y="3824"/>
                    <a:pt x="1327" y="3823"/>
                  </a:cubicBezTo>
                  <a:cubicBezTo>
                    <a:pt x="1331" y="3823"/>
                    <a:pt x="1339" y="3810"/>
                    <a:pt x="1343" y="3810"/>
                  </a:cubicBezTo>
                  <a:cubicBezTo>
                    <a:pt x="1347" y="3810"/>
                    <a:pt x="1345" y="3815"/>
                    <a:pt x="1345" y="3815"/>
                  </a:cubicBezTo>
                  <a:cubicBezTo>
                    <a:pt x="1345" y="3815"/>
                    <a:pt x="1315" y="3873"/>
                    <a:pt x="1296" y="3875"/>
                  </a:cubicBezTo>
                  <a:cubicBezTo>
                    <a:pt x="1299" y="3882"/>
                    <a:pt x="1302" y="3907"/>
                    <a:pt x="1296" y="3907"/>
                  </a:cubicBezTo>
                  <a:cubicBezTo>
                    <a:pt x="1290" y="3906"/>
                    <a:pt x="1294" y="3952"/>
                    <a:pt x="1279" y="3952"/>
                  </a:cubicBezTo>
                  <a:cubicBezTo>
                    <a:pt x="1279" y="3952"/>
                    <a:pt x="1276" y="3977"/>
                    <a:pt x="1279" y="3976"/>
                  </a:cubicBezTo>
                  <a:cubicBezTo>
                    <a:pt x="1281" y="3975"/>
                    <a:pt x="1282" y="3989"/>
                    <a:pt x="1282" y="3989"/>
                  </a:cubicBezTo>
                  <a:cubicBezTo>
                    <a:pt x="1277" y="3991"/>
                    <a:pt x="1277" y="3991"/>
                    <a:pt x="1277" y="3991"/>
                  </a:cubicBezTo>
                  <a:cubicBezTo>
                    <a:pt x="1273" y="4063"/>
                    <a:pt x="1273" y="4063"/>
                    <a:pt x="1273" y="4063"/>
                  </a:cubicBezTo>
                  <a:cubicBezTo>
                    <a:pt x="1262" y="4063"/>
                    <a:pt x="1262" y="4063"/>
                    <a:pt x="1262" y="4063"/>
                  </a:cubicBezTo>
                  <a:cubicBezTo>
                    <a:pt x="1262" y="4063"/>
                    <a:pt x="1239" y="4081"/>
                    <a:pt x="1239" y="4111"/>
                  </a:cubicBezTo>
                  <a:cubicBezTo>
                    <a:pt x="1239" y="4141"/>
                    <a:pt x="1223" y="4169"/>
                    <a:pt x="1258" y="4169"/>
                  </a:cubicBezTo>
                  <a:cubicBezTo>
                    <a:pt x="1293" y="4169"/>
                    <a:pt x="1298" y="4157"/>
                    <a:pt x="1298" y="4157"/>
                  </a:cubicBezTo>
                  <a:cubicBezTo>
                    <a:pt x="1315" y="4155"/>
                    <a:pt x="1315" y="4155"/>
                    <a:pt x="1315" y="4155"/>
                  </a:cubicBezTo>
                  <a:cubicBezTo>
                    <a:pt x="1317" y="4161"/>
                    <a:pt x="1317" y="4161"/>
                    <a:pt x="1317" y="4161"/>
                  </a:cubicBezTo>
                  <a:cubicBezTo>
                    <a:pt x="1317" y="4161"/>
                    <a:pt x="1343" y="4156"/>
                    <a:pt x="1366" y="4114"/>
                  </a:cubicBezTo>
                  <a:cubicBezTo>
                    <a:pt x="1359" y="4079"/>
                    <a:pt x="1344" y="4071"/>
                    <a:pt x="1344" y="4071"/>
                  </a:cubicBezTo>
                  <a:cubicBezTo>
                    <a:pt x="1343" y="4063"/>
                    <a:pt x="1343" y="4063"/>
                    <a:pt x="1343" y="4063"/>
                  </a:cubicBezTo>
                  <a:cubicBezTo>
                    <a:pt x="1343" y="4063"/>
                    <a:pt x="1355" y="4064"/>
                    <a:pt x="1357" y="4043"/>
                  </a:cubicBezTo>
                  <a:cubicBezTo>
                    <a:pt x="1359" y="4038"/>
                    <a:pt x="1369" y="4028"/>
                    <a:pt x="1369" y="4007"/>
                  </a:cubicBezTo>
                  <a:cubicBezTo>
                    <a:pt x="1373" y="3998"/>
                    <a:pt x="1385" y="3995"/>
                    <a:pt x="1381" y="3961"/>
                  </a:cubicBezTo>
                  <a:cubicBezTo>
                    <a:pt x="1381" y="3961"/>
                    <a:pt x="1387" y="3966"/>
                    <a:pt x="1387" y="3964"/>
                  </a:cubicBezTo>
                  <a:cubicBezTo>
                    <a:pt x="1387" y="3962"/>
                    <a:pt x="1402" y="3955"/>
                    <a:pt x="1398" y="3949"/>
                  </a:cubicBezTo>
                  <a:cubicBezTo>
                    <a:pt x="1394" y="3943"/>
                    <a:pt x="1384" y="3941"/>
                    <a:pt x="1385" y="3921"/>
                  </a:cubicBezTo>
                  <a:cubicBezTo>
                    <a:pt x="1385" y="3902"/>
                    <a:pt x="1395" y="3901"/>
                    <a:pt x="1395" y="3879"/>
                  </a:cubicBezTo>
                  <a:cubicBezTo>
                    <a:pt x="1397" y="3878"/>
                    <a:pt x="1403" y="3871"/>
                    <a:pt x="1403" y="3871"/>
                  </a:cubicBezTo>
                  <a:cubicBezTo>
                    <a:pt x="1397" y="3862"/>
                    <a:pt x="1397" y="3862"/>
                    <a:pt x="1397" y="3862"/>
                  </a:cubicBezTo>
                  <a:cubicBezTo>
                    <a:pt x="1397" y="3862"/>
                    <a:pt x="1423" y="3820"/>
                    <a:pt x="1461" y="3819"/>
                  </a:cubicBezTo>
                  <a:cubicBezTo>
                    <a:pt x="1461" y="3794"/>
                    <a:pt x="1460" y="3789"/>
                    <a:pt x="1460" y="3789"/>
                  </a:cubicBezTo>
                  <a:cubicBezTo>
                    <a:pt x="1453" y="3789"/>
                    <a:pt x="1453" y="3789"/>
                    <a:pt x="1453" y="3789"/>
                  </a:cubicBezTo>
                  <a:cubicBezTo>
                    <a:pt x="1451" y="3775"/>
                    <a:pt x="1451" y="3775"/>
                    <a:pt x="1451" y="3775"/>
                  </a:cubicBezTo>
                  <a:cubicBezTo>
                    <a:pt x="1451" y="3775"/>
                    <a:pt x="1409" y="3737"/>
                    <a:pt x="1410" y="3685"/>
                  </a:cubicBezTo>
                  <a:cubicBezTo>
                    <a:pt x="1409" y="3682"/>
                    <a:pt x="1404" y="3682"/>
                    <a:pt x="1404" y="3682"/>
                  </a:cubicBezTo>
                  <a:cubicBezTo>
                    <a:pt x="1404" y="3682"/>
                    <a:pt x="1400" y="3632"/>
                    <a:pt x="1399" y="3628"/>
                  </a:cubicBezTo>
                  <a:cubicBezTo>
                    <a:pt x="1399" y="3624"/>
                    <a:pt x="1405" y="3624"/>
                    <a:pt x="1405" y="3624"/>
                  </a:cubicBezTo>
                  <a:cubicBezTo>
                    <a:pt x="1405" y="3624"/>
                    <a:pt x="1414" y="3646"/>
                    <a:pt x="1424" y="3645"/>
                  </a:cubicBezTo>
                  <a:cubicBezTo>
                    <a:pt x="1434" y="3645"/>
                    <a:pt x="1435" y="3628"/>
                    <a:pt x="1435" y="3628"/>
                  </a:cubicBezTo>
                  <a:cubicBezTo>
                    <a:pt x="1445" y="3633"/>
                    <a:pt x="1445" y="3633"/>
                    <a:pt x="1445" y="3633"/>
                  </a:cubicBezTo>
                  <a:cubicBezTo>
                    <a:pt x="1449" y="3615"/>
                    <a:pt x="1449" y="3615"/>
                    <a:pt x="1449" y="3615"/>
                  </a:cubicBezTo>
                  <a:cubicBezTo>
                    <a:pt x="1449" y="3615"/>
                    <a:pt x="1455" y="3600"/>
                    <a:pt x="1465" y="3600"/>
                  </a:cubicBezTo>
                  <a:cubicBezTo>
                    <a:pt x="1474" y="3600"/>
                    <a:pt x="1476" y="3585"/>
                    <a:pt x="1476" y="3585"/>
                  </a:cubicBezTo>
                  <a:cubicBezTo>
                    <a:pt x="1476" y="3585"/>
                    <a:pt x="1489" y="3582"/>
                    <a:pt x="1492" y="3560"/>
                  </a:cubicBezTo>
                  <a:cubicBezTo>
                    <a:pt x="1495" y="3561"/>
                    <a:pt x="1515" y="3538"/>
                    <a:pt x="1515" y="3538"/>
                  </a:cubicBezTo>
                  <a:cubicBezTo>
                    <a:pt x="1533" y="3533"/>
                    <a:pt x="1533" y="3533"/>
                    <a:pt x="1533" y="3533"/>
                  </a:cubicBezTo>
                  <a:cubicBezTo>
                    <a:pt x="1533" y="3533"/>
                    <a:pt x="1554" y="3525"/>
                    <a:pt x="1553" y="3503"/>
                  </a:cubicBezTo>
                  <a:cubicBezTo>
                    <a:pt x="1559" y="3497"/>
                    <a:pt x="1571" y="3474"/>
                    <a:pt x="1571" y="3474"/>
                  </a:cubicBezTo>
                  <a:cubicBezTo>
                    <a:pt x="1581" y="3481"/>
                    <a:pt x="1581" y="3481"/>
                    <a:pt x="1581" y="3481"/>
                  </a:cubicBezTo>
                  <a:cubicBezTo>
                    <a:pt x="1581" y="3481"/>
                    <a:pt x="1562" y="3505"/>
                    <a:pt x="1563" y="3524"/>
                  </a:cubicBezTo>
                  <a:cubicBezTo>
                    <a:pt x="1561" y="3525"/>
                    <a:pt x="1542" y="3546"/>
                    <a:pt x="1519" y="3545"/>
                  </a:cubicBezTo>
                  <a:cubicBezTo>
                    <a:pt x="1503" y="3559"/>
                    <a:pt x="1504" y="3563"/>
                    <a:pt x="1504" y="3563"/>
                  </a:cubicBezTo>
                  <a:cubicBezTo>
                    <a:pt x="1509" y="3567"/>
                    <a:pt x="1509" y="3567"/>
                    <a:pt x="1509" y="3567"/>
                  </a:cubicBezTo>
                  <a:cubicBezTo>
                    <a:pt x="1509" y="3567"/>
                    <a:pt x="1463" y="3606"/>
                    <a:pt x="1465" y="3630"/>
                  </a:cubicBezTo>
                  <a:cubicBezTo>
                    <a:pt x="1450" y="3637"/>
                    <a:pt x="1449" y="3647"/>
                    <a:pt x="1449" y="3659"/>
                  </a:cubicBezTo>
                  <a:cubicBezTo>
                    <a:pt x="1449" y="3672"/>
                    <a:pt x="1445" y="3668"/>
                    <a:pt x="1445" y="3668"/>
                  </a:cubicBezTo>
                  <a:cubicBezTo>
                    <a:pt x="1450" y="3679"/>
                    <a:pt x="1450" y="3679"/>
                    <a:pt x="1450" y="3679"/>
                  </a:cubicBezTo>
                  <a:cubicBezTo>
                    <a:pt x="1443" y="3691"/>
                    <a:pt x="1443" y="3691"/>
                    <a:pt x="1443" y="3691"/>
                  </a:cubicBezTo>
                  <a:cubicBezTo>
                    <a:pt x="1447" y="3736"/>
                    <a:pt x="1447" y="3736"/>
                    <a:pt x="1447" y="3736"/>
                  </a:cubicBezTo>
                  <a:cubicBezTo>
                    <a:pt x="1447" y="3736"/>
                    <a:pt x="1476" y="3741"/>
                    <a:pt x="1457" y="3751"/>
                  </a:cubicBezTo>
                  <a:cubicBezTo>
                    <a:pt x="1461" y="3761"/>
                    <a:pt x="1461" y="3761"/>
                    <a:pt x="1461" y="3761"/>
                  </a:cubicBezTo>
                  <a:cubicBezTo>
                    <a:pt x="1487" y="3761"/>
                    <a:pt x="1487" y="3761"/>
                    <a:pt x="1487" y="3761"/>
                  </a:cubicBezTo>
                  <a:cubicBezTo>
                    <a:pt x="1504" y="3780"/>
                    <a:pt x="1504" y="3780"/>
                    <a:pt x="1504" y="3780"/>
                  </a:cubicBezTo>
                  <a:cubicBezTo>
                    <a:pt x="1512" y="3768"/>
                    <a:pt x="1512" y="3768"/>
                    <a:pt x="1512" y="3768"/>
                  </a:cubicBezTo>
                  <a:cubicBezTo>
                    <a:pt x="1512" y="3768"/>
                    <a:pt x="1493" y="3735"/>
                    <a:pt x="1494" y="3725"/>
                  </a:cubicBezTo>
                  <a:cubicBezTo>
                    <a:pt x="1495" y="3716"/>
                    <a:pt x="1505" y="3724"/>
                    <a:pt x="1505" y="3731"/>
                  </a:cubicBezTo>
                  <a:cubicBezTo>
                    <a:pt x="1510" y="3739"/>
                    <a:pt x="1526" y="3763"/>
                    <a:pt x="1526" y="3763"/>
                  </a:cubicBezTo>
                  <a:cubicBezTo>
                    <a:pt x="1542" y="3765"/>
                    <a:pt x="1542" y="3765"/>
                    <a:pt x="1542" y="3765"/>
                  </a:cubicBezTo>
                  <a:cubicBezTo>
                    <a:pt x="1542" y="3765"/>
                    <a:pt x="1537" y="3777"/>
                    <a:pt x="1537" y="3782"/>
                  </a:cubicBezTo>
                  <a:cubicBezTo>
                    <a:pt x="1538" y="3787"/>
                    <a:pt x="1546" y="3795"/>
                    <a:pt x="1545" y="3798"/>
                  </a:cubicBezTo>
                  <a:cubicBezTo>
                    <a:pt x="1545" y="3801"/>
                    <a:pt x="1542" y="3809"/>
                    <a:pt x="1542" y="3809"/>
                  </a:cubicBezTo>
                  <a:cubicBezTo>
                    <a:pt x="1545" y="3815"/>
                    <a:pt x="1545" y="3815"/>
                    <a:pt x="1545" y="3815"/>
                  </a:cubicBezTo>
                  <a:cubicBezTo>
                    <a:pt x="1545" y="3815"/>
                    <a:pt x="1569" y="3810"/>
                    <a:pt x="1573" y="3851"/>
                  </a:cubicBezTo>
                  <a:cubicBezTo>
                    <a:pt x="1579" y="3861"/>
                    <a:pt x="1582" y="3857"/>
                    <a:pt x="1588" y="3857"/>
                  </a:cubicBezTo>
                  <a:cubicBezTo>
                    <a:pt x="1594" y="3857"/>
                    <a:pt x="1599" y="3849"/>
                    <a:pt x="1600" y="3843"/>
                  </a:cubicBezTo>
                  <a:cubicBezTo>
                    <a:pt x="1601" y="3837"/>
                    <a:pt x="1583" y="3842"/>
                    <a:pt x="1590" y="3836"/>
                  </a:cubicBezTo>
                  <a:cubicBezTo>
                    <a:pt x="1597" y="3830"/>
                    <a:pt x="1603" y="3823"/>
                    <a:pt x="1603" y="3816"/>
                  </a:cubicBezTo>
                  <a:cubicBezTo>
                    <a:pt x="1603" y="3809"/>
                    <a:pt x="1587" y="3762"/>
                    <a:pt x="1587" y="3762"/>
                  </a:cubicBezTo>
                  <a:cubicBezTo>
                    <a:pt x="1577" y="3762"/>
                    <a:pt x="1577" y="3762"/>
                    <a:pt x="1577" y="3762"/>
                  </a:cubicBezTo>
                  <a:cubicBezTo>
                    <a:pt x="1564" y="3749"/>
                    <a:pt x="1564" y="3749"/>
                    <a:pt x="1564" y="3749"/>
                  </a:cubicBezTo>
                  <a:cubicBezTo>
                    <a:pt x="1564" y="3731"/>
                    <a:pt x="1564" y="3731"/>
                    <a:pt x="1564" y="3731"/>
                  </a:cubicBezTo>
                  <a:cubicBezTo>
                    <a:pt x="1564" y="3731"/>
                    <a:pt x="1568" y="3718"/>
                    <a:pt x="1567" y="3716"/>
                  </a:cubicBezTo>
                  <a:cubicBezTo>
                    <a:pt x="1567" y="3714"/>
                    <a:pt x="1554" y="3685"/>
                    <a:pt x="1561" y="3682"/>
                  </a:cubicBezTo>
                  <a:cubicBezTo>
                    <a:pt x="1569" y="3679"/>
                    <a:pt x="1583" y="3739"/>
                    <a:pt x="1583" y="3746"/>
                  </a:cubicBezTo>
                  <a:cubicBezTo>
                    <a:pt x="1587" y="3747"/>
                    <a:pt x="1603" y="3748"/>
                    <a:pt x="1603" y="3757"/>
                  </a:cubicBezTo>
                  <a:cubicBezTo>
                    <a:pt x="1609" y="3762"/>
                    <a:pt x="1610" y="3757"/>
                    <a:pt x="1610" y="3757"/>
                  </a:cubicBezTo>
                  <a:cubicBezTo>
                    <a:pt x="1610" y="3757"/>
                    <a:pt x="1613" y="3735"/>
                    <a:pt x="1622" y="3733"/>
                  </a:cubicBezTo>
                  <a:cubicBezTo>
                    <a:pt x="1623" y="3731"/>
                    <a:pt x="1623" y="3710"/>
                    <a:pt x="1631" y="3704"/>
                  </a:cubicBezTo>
                  <a:cubicBezTo>
                    <a:pt x="1626" y="3701"/>
                    <a:pt x="1635" y="3683"/>
                    <a:pt x="1645" y="3677"/>
                  </a:cubicBezTo>
                  <a:cubicBezTo>
                    <a:pt x="1645" y="3673"/>
                    <a:pt x="1634" y="3666"/>
                    <a:pt x="1646" y="3664"/>
                  </a:cubicBezTo>
                  <a:cubicBezTo>
                    <a:pt x="1647" y="3661"/>
                    <a:pt x="1647" y="3647"/>
                    <a:pt x="1647" y="3647"/>
                  </a:cubicBezTo>
                  <a:cubicBezTo>
                    <a:pt x="1643" y="3621"/>
                    <a:pt x="1643" y="3621"/>
                    <a:pt x="1643" y="3621"/>
                  </a:cubicBezTo>
                  <a:cubicBezTo>
                    <a:pt x="1638" y="3616"/>
                    <a:pt x="1638" y="3616"/>
                    <a:pt x="1638" y="3616"/>
                  </a:cubicBezTo>
                  <a:cubicBezTo>
                    <a:pt x="1654" y="3599"/>
                    <a:pt x="1654" y="3599"/>
                    <a:pt x="1654" y="3599"/>
                  </a:cubicBezTo>
                  <a:cubicBezTo>
                    <a:pt x="1648" y="3619"/>
                    <a:pt x="1648" y="3619"/>
                    <a:pt x="1648" y="3619"/>
                  </a:cubicBezTo>
                  <a:cubicBezTo>
                    <a:pt x="1657" y="3621"/>
                    <a:pt x="1657" y="3621"/>
                    <a:pt x="1657" y="3621"/>
                  </a:cubicBezTo>
                  <a:cubicBezTo>
                    <a:pt x="1657" y="3621"/>
                    <a:pt x="1653" y="3663"/>
                    <a:pt x="1665" y="3663"/>
                  </a:cubicBezTo>
                  <a:cubicBezTo>
                    <a:pt x="1677" y="3664"/>
                    <a:pt x="1704" y="3663"/>
                    <a:pt x="1704" y="3663"/>
                  </a:cubicBezTo>
                  <a:cubicBezTo>
                    <a:pt x="1704" y="3663"/>
                    <a:pt x="1672" y="3632"/>
                    <a:pt x="1672" y="3621"/>
                  </a:cubicBezTo>
                  <a:cubicBezTo>
                    <a:pt x="1672" y="3611"/>
                    <a:pt x="1669" y="3600"/>
                    <a:pt x="1674" y="3600"/>
                  </a:cubicBezTo>
                  <a:cubicBezTo>
                    <a:pt x="1679" y="3600"/>
                    <a:pt x="1692" y="3636"/>
                    <a:pt x="1692" y="3636"/>
                  </a:cubicBezTo>
                  <a:cubicBezTo>
                    <a:pt x="1692" y="3636"/>
                    <a:pt x="1711" y="3661"/>
                    <a:pt x="1730" y="3661"/>
                  </a:cubicBezTo>
                  <a:cubicBezTo>
                    <a:pt x="1733" y="3669"/>
                    <a:pt x="1733" y="3685"/>
                    <a:pt x="1733" y="3685"/>
                  </a:cubicBezTo>
                  <a:cubicBezTo>
                    <a:pt x="1779" y="3698"/>
                    <a:pt x="1779" y="3698"/>
                    <a:pt x="1779" y="3698"/>
                  </a:cubicBezTo>
                  <a:cubicBezTo>
                    <a:pt x="1778" y="3707"/>
                    <a:pt x="1778" y="3707"/>
                    <a:pt x="1778" y="3707"/>
                  </a:cubicBezTo>
                  <a:cubicBezTo>
                    <a:pt x="1778" y="3707"/>
                    <a:pt x="1753" y="3717"/>
                    <a:pt x="1704" y="3687"/>
                  </a:cubicBezTo>
                  <a:cubicBezTo>
                    <a:pt x="1682" y="3681"/>
                    <a:pt x="1653" y="3672"/>
                    <a:pt x="1653" y="3715"/>
                  </a:cubicBezTo>
                  <a:cubicBezTo>
                    <a:pt x="1653" y="3729"/>
                    <a:pt x="1644" y="3730"/>
                    <a:pt x="1644" y="3734"/>
                  </a:cubicBezTo>
                  <a:cubicBezTo>
                    <a:pt x="1644" y="3738"/>
                    <a:pt x="1648" y="3766"/>
                    <a:pt x="1648" y="3766"/>
                  </a:cubicBezTo>
                  <a:cubicBezTo>
                    <a:pt x="1643" y="3771"/>
                    <a:pt x="1643" y="3771"/>
                    <a:pt x="1643" y="3771"/>
                  </a:cubicBezTo>
                  <a:cubicBezTo>
                    <a:pt x="1643" y="3771"/>
                    <a:pt x="1649" y="3811"/>
                    <a:pt x="1661" y="3811"/>
                  </a:cubicBezTo>
                  <a:cubicBezTo>
                    <a:pt x="1664" y="3810"/>
                    <a:pt x="1661" y="3837"/>
                    <a:pt x="1661" y="3837"/>
                  </a:cubicBezTo>
                  <a:cubicBezTo>
                    <a:pt x="1639" y="3855"/>
                    <a:pt x="1639" y="3855"/>
                    <a:pt x="1639" y="3855"/>
                  </a:cubicBezTo>
                  <a:cubicBezTo>
                    <a:pt x="1639" y="3878"/>
                    <a:pt x="1639" y="3878"/>
                    <a:pt x="1639" y="3878"/>
                  </a:cubicBezTo>
                  <a:cubicBezTo>
                    <a:pt x="1651" y="3880"/>
                    <a:pt x="1651" y="3880"/>
                    <a:pt x="1651" y="3880"/>
                  </a:cubicBezTo>
                  <a:cubicBezTo>
                    <a:pt x="1678" y="3907"/>
                    <a:pt x="1678" y="3907"/>
                    <a:pt x="1678" y="3907"/>
                  </a:cubicBezTo>
                  <a:cubicBezTo>
                    <a:pt x="1670" y="3916"/>
                    <a:pt x="1670" y="3916"/>
                    <a:pt x="1670" y="3916"/>
                  </a:cubicBezTo>
                  <a:cubicBezTo>
                    <a:pt x="1690" y="3931"/>
                    <a:pt x="1690" y="3931"/>
                    <a:pt x="1690" y="3931"/>
                  </a:cubicBezTo>
                  <a:cubicBezTo>
                    <a:pt x="1701" y="3924"/>
                    <a:pt x="1701" y="3924"/>
                    <a:pt x="1701" y="3924"/>
                  </a:cubicBezTo>
                  <a:cubicBezTo>
                    <a:pt x="1701" y="3924"/>
                    <a:pt x="1754" y="3949"/>
                    <a:pt x="1746" y="3986"/>
                  </a:cubicBezTo>
                  <a:cubicBezTo>
                    <a:pt x="1739" y="3988"/>
                    <a:pt x="1737" y="3983"/>
                    <a:pt x="1737" y="3983"/>
                  </a:cubicBezTo>
                  <a:cubicBezTo>
                    <a:pt x="1735" y="3989"/>
                    <a:pt x="1735" y="3989"/>
                    <a:pt x="1735" y="3989"/>
                  </a:cubicBezTo>
                  <a:cubicBezTo>
                    <a:pt x="1760" y="4016"/>
                    <a:pt x="1760" y="4016"/>
                    <a:pt x="1760" y="4016"/>
                  </a:cubicBezTo>
                  <a:cubicBezTo>
                    <a:pt x="1763" y="4033"/>
                    <a:pt x="1763" y="4033"/>
                    <a:pt x="1763" y="4033"/>
                  </a:cubicBezTo>
                  <a:cubicBezTo>
                    <a:pt x="1763" y="4033"/>
                    <a:pt x="1747" y="4050"/>
                    <a:pt x="1749" y="4068"/>
                  </a:cubicBezTo>
                  <a:cubicBezTo>
                    <a:pt x="1731" y="4068"/>
                    <a:pt x="1731" y="4068"/>
                    <a:pt x="1731" y="4068"/>
                  </a:cubicBezTo>
                  <a:cubicBezTo>
                    <a:pt x="1731" y="4068"/>
                    <a:pt x="1692" y="4083"/>
                    <a:pt x="1698" y="4118"/>
                  </a:cubicBezTo>
                  <a:cubicBezTo>
                    <a:pt x="1665" y="4149"/>
                    <a:pt x="1665" y="4149"/>
                    <a:pt x="1665" y="4149"/>
                  </a:cubicBezTo>
                  <a:cubicBezTo>
                    <a:pt x="1668" y="4190"/>
                    <a:pt x="1668" y="4190"/>
                    <a:pt x="1668" y="4190"/>
                  </a:cubicBezTo>
                  <a:cubicBezTo>
                    <a:pt x="1668" y="4190"/>
                    <a:pt x="1653" y="4205"/>
                    <a:pt x="1658" y="4225"/>
                  </a:cubicBezTo>
                  <a:cubicBezTo>
                    <a:pt x="1645" y="4234"/>
                    <a:pt x="1620" y="4268"/>
                    <a:pt x="1620" y="4268"/>
                  </a:cubicBezTo>
                  <a:cubicBezTo>
                    <a:pt x="1598" y="4287"/>
                    <a:pt x="1598" y="4287"/>
                    <a:pt x="1598" y="4287"/>
                  </a:cubicBezTo>
                  <a:cubicBezTo>
                    <a:pt x="1597" y="4309"/>
                    <a:pt x="1597" y="4309"/>
                    <a:pt x="1597" y="4309"/>
                  </a:cubicBezTo>
                  <a:cubicBezTo>
                    <a:pt x="1597" y="4309"/>
                    <a:pt x="1591" y="4317"/>
                    <a:pt x="1590" y="4329"/>
                  </a:cubicBezTo>
                  <a:cubicBezTo>
                    <a:pt x="1578" y="4336"/>
                    <a:pt x="1554" y="4381"/>
                    <a:pt x="1575" y="4391"/>
                  </a:cubicBezTo>
                  <a:cubicBezTo>
                    <a:pt x="1579" y="4409"/>
                    <a:pt x="1587" y="4429"/>
                    <a:pt x="1594" y="4431"/>
                  </a:cubicBezTo>
                  <a:cubicBezTo>
                    <a:pt x="1598" y="4443"/>
                    <a:pt x="1597" y="4457"/>
                    <a:pt x="1595" y="4458"/>
                  </a:cubicBezTo>
                  <a:cubicBezTo>
                    <a:pt x="1592" y="4459"/>
                    <a:pt x="1575" y="4459"/>
                    <a:pt x="1575" y="4459"/>
                  </a:cubicBezTo>
                  <a:cubicBezTo>
                    <a:pt x="1575" y="4459"/>
                    <a:pt x="1561" y="4431"/>
                    <a:pt x="1565" y="4425"/>
                  </a:cubicBezTo>
                  <a:cubicBezTo>
                    <a:pt x="1570" y="4419"/>
                    <a:pt x="1565" y="4400"/>
                    <a:pt x="1565" y="4400"/>
                  </a:cubicBezTo>
                  <a:cubicBezTo>
                    <a:pt x="1555" y="4380"/>
                    <a:pt x="1555" y="4380"/>
                    <a:pt x="1555" y="4380"/>
                  </a:cubicBezTo>
                  <a:cubicBezTo>
                    <a:pt x="1538" y="4379"/>
                    <a:pt x="1538" y="4379"/>
                    <a:pt x="1538" y="4379"/>
                  </a:cubicBezTo>
                  <a:cubicBezTo>
                    <a:pt x="1538" y="4385"/>
                    <a:pt x="1538" y="4385"/>
                    <a:pt x="1538" y="4385"/>
                  </a:cubicBezTo>
                  <a:cubicBezTo>
                    <a:pt x="1528" y="4385"/>
                    <a:pt x="1528" y="4385"/>
                    <a:pt x="1528" y="4385"/>
                  </a:cubicBezTo>
                  <a:cubicBezTo>
                    <a:pt x="1511" y="4410"/>
                    <a:pt x="1511" y="4410"/>
                    <a:pt x="1511" y="4410"/>
                  </a:cubicBezTo>
                  <a:cubicBezTo>
                    <a:pt x="1518" y="4419"/>
                    <a:pt x="1518" y="4419"/>
                    <a:pt x="1518" y="4419"/>
                  </a:cubicBezTo>
                  <a:cubicBezTo>
                    <a:pt x="1511" y="4427"/>
                    <a:pt x="1511" y="4427"/>
                    <a:pt x="1511" y="4427"/>
                  </a:cubicBezTo>
                  <a:cubicBezTo>
                    <a:pt x="1511" y="4463"/>
                    <a:pt x="1511" y="4463"/>
                    <a:pt x="1511" y="4463"/>
                  </a:cubicBezTo>
                  <a:cubicBezTo>
                    <a:pt x="1511" y="4463"/>
                    <a:pt x="1527" y="4478"/>
                    <a:pt x="1527" y="4493"/>
                  </a:cubicBezTo>
                  <a:cubicBezTo>
                    <a:pt x="1528" y="4509"/>
                    <a:pt x="1588" y="4557"/>
                    <a:pt x="1588" y="4557"/>
                  </a:cubicBezTo>
                  <a:cubicBezTo>
                    <a:pt x="1591" y="4579"/>
                    <a:pt x="1591" y="4579"/>
                    <a:pt x="1591" y="4579"/>
                  </a:cubicBezTo>
                  <a:cubicBezTo>
                    <a:pt x="1598" y="4579"/>
                    <a:pt x="1598" y="4579"/>
                    <a:pt x="1598" y="4579"/>
                  </a:cubicBezTo>
                  <a:cubicBezTo>
                    <a:pt x="1601" y="4599"/>
                    <a:pt x="1601" y="4599"/>
                    <a:pt x="1601" y="4599"/>
                  </a:cubicBezTo>
                  <a:cubicBezTo>
                    <a:pt x="1616" y="4618"/>
                    <a:pt x="1616" y="4618"/>
                    <a:pt x="1616" y="4618"/>
                  </a:cubicBezTo>
                  <a:cubicBezTo>
                    <a:pt x="1616" y="4618"/>
                    <a:pt x="1607" y="4622"/>
                    <a:pt x="1607" y="4630"/>
                  </a:cubicBezTo>
                  <a:cubicBezTo>
                    <a:pt x="1607" y="4638"/>
                    <a:pt x="1628" y="4666"/>
                    <a:pt x="1634" y="4665"/>
                  </a:cubicBezTo>
                  <a:cubicBezTo>
                    <a:pt x="1640" y="4665"/>
                    <a:pt x="1646" y="4667"/>
                    <a:pt x="1646" y="4667"/>
                  </a:cubicBezTo>
                  <a:cubicBezTo>
                    <a:pt x="1646" y="4667"/>
                    <a:pt x="1647" y="4675"/>
                    <a:pt x="1649" y="4674"/>
                  </a:cubicBezTo>
                  <a:cubicBezTo>
                    <a:pt x="1651" y="4673"/>
                    <a:pt x="1663" y="4664"/>
                    <a:pt x="1663" y="4664"/>
                  </a:cubicBezTo>
                  <a:cubicBezTo>
                    <a:pt x="1650" y="4663"/>
                    <a:pt x="1650" y="4663"/>
                    <a:pt x="1650" y="4663"/>
                  </a:cubicBezTo>
                  <a:cubicBezTo>
                    <a:pt x="1649" y="4643"/>
                    <a:pt x="1649" y="4643"/>
                    <a:pt x="1649" y="4643"/>
                  </a:cubicBezTo>
                  <a:cubicBezTo>
                    <a:pt x="1649" y="4643"/>
                    <a:pt x="1656" y="4639"/>
                    <a:pt x="1655" y="4635"/>
                  </a:cubicBezTo>
                  <a:cubicBezTo>
                    <a:pt x="1653" y="4630"/>
                    <a:pt x="1638" y="4614"/>
                    <a:pt x="1638" y="4614"/>
                  </a:cubicBezTo>
                  <a:cubicBezTo>
                    <a:pt x="1638" y="4614"/>
                    <a:pt x="1633" y="4586"/>
                    <a:pt x="1627" y="4583"/>
                  </a:cubicBezTo>
                  <a:cubicBezTo>
                    <a:pt x="1622" y="4581"/>
                    <a:pt x="1627" y="4557"/>
                    <a:pt x="1621" y="4555"/>
                  </a:cubicBezTo>
                  <a:cubicBezTo>
                    <a:pt x="1614" y="4553"/>
                    <a:pt x="1611" y="4540"/>
                    <a:pt x="1613" y="4536"/>
                  </a:cubicBezTo>
                  <a:cubicBezTo>
                    <a:pt x="1614" y="4532"/>
                    <a:pt x="1660" y="4497"/>
                    <a:pt x="1671" y="4499"/>
                  </a:cubicBezTo>
                  <a:cubicBezTo>
                    <a:pt x="1681" y="4500"/>
                    <a:pt x="1689" y="4527"/>
                    <a:pt x="1691" y="4527"/>
                  </a:cubicBezTo>
                  <a:cubicBezTo>
                    <a:pt x="1693" y="4527"/>
                    <a:pt x="1721" y="4527"/>
                    <a:pt x="1721" y="4527"/>
                  </a:cubicBezTo>
                  <a:cubicBezTo>
                    <a:pt x="1721" y="4527"/>
                    <a:pt x="1752" y="4570"/>
                    <a:pt x="1775" y="4570"/>
                  </a:cubicBezTo>
                  <a:cubicBezTo>
                    <a:pt x="1783" y="4576"/>
                    <a:pt x="1772" y="4599"/>
                    <a:pt x="1793" y="4597"/>
                  </a:cubicBezTo>
                  <a:cubicBezTo>
                    <a:pt x="1793" y="4597"/>
                    <a:pt x="1813" y="4631"/>
                    <a:pt x="1847" y="4633"/>
                  </a:cubicBezTo>
                  <a:cubicBezTo>
                    <a:pt x="1863" y="4643"/>
                    <a:pt x="1857" y="4649"/>
                    <a:pt x="1860" y="4647"/>
                  </a:cubicBezTo>
                  <a:cubicBezTo>
                    <a:pt x="1863" y="4645"/>
                    <a:pt x="1885" y="4631"/>
                    <a:pt x="1884" y="4619"/>
                  </a:cubicBezTo>
                  <a:cubicBezTo>
                    <a:pt x="1883" y="4608"/>
                    <a:pt x="1877" y="4601"/>
                    <a:pt x="1877" y="4593"/>
                  </a:cubicBezTo>
                  <a:cubicBezTo>
                    <a:pt x="1877" y="4586"/>
                    <a:pt x="1883" y="4577"/>
                    <a:pt x="1883" y="4577"/>
                  </a:cubicBezTo>
                  <a:cubicBezTo>
                    <a:pt x="1883" y="4577"/>
                    <a:pt x="1881" y="4573"/>
                    <a:pt x="1881" y="4564"/>
                  </a:cubicBezTo>
                  <a:cubicBezTo>
                    <a:pt x="1881" y="4555"/>
                    <a:pt x="1889" y="4551"/>
                    <a:pt x="1889" y="4551"/>
                  </a:cubicBezTo>
                  <a:cubicBezTo>
                    <a:pt x="1874" y="4533"/>
                    <a:pt x="1874" y="4533"/>
                    <a:pt x="1874" y="4533"/>
                  </a:cubicBezTo>
                  <a:cubicBezTo>
                    <a:pt x="1859" y="4533"/>
                    <a:pt x="1859" y="4533"/>
                    <a:pt x="1859" y="4533"/>
                  </a:cubicBezTo>
                  <a:cubicBezTo>
                    <a:pt x="1859" y="4533"/>
                    <a:pt x="1836" y="4491"/>
                    <a:pt x="1853" y="4485"/>
                  </a:cubicBezTo>
                  <a:cubicBezTo>
                    <a:pt x="1869" y="4479"/>
                    <a:pt x="1869" y="4489"/>
                    <a:pt x="1869" y="4489"/>
                  </a:cubicBezTo>
                  <a:cubicBezTo>
                    <a:pt x="1869" y="4489"/>
                    <a:pt x="1895" y="4528"/>
                    <a:pt x="1920" y="4524"/>
                  </a:cubicBezTo>
                  <a:cubicBezTo>
                    <a:pt x="1931" y="4518"/>
                    <a:pt x="1938" y="4513"/>
                    <a:pt x="1938" y="4513"/>
                  </a:cubicBezTo>
                  <a:cubicBezTo>
                    <a:pt x="1943" y="4535"/>
                    <a:pt x="1943" y="4535"/>
                    <a:pt x="1943" y="4535"/>
                  </a:cubicBezTo>
                  <a:cubicBezTo>
                    <a:pt x="1977" y="4575"/>
                    <a:pt x="1977" y="4575"/>
                    <a:pt x="1977" y="4575"/>
                  </a:cubicBezTo>
                  <a:cubicBezTo>
                    <a:pt x="1985" y="4567"/>
                    <a:pt x="1985" y="4567"/>
                    <a:pt x="1985" y="4567"/>
                  </a:cubicBezTo>
                  <a:cubicBezTo>
                    <a:pt x="1985" y="4567"/>
                    <a:pt x="1994" y="4584"/>
                    <a:pt x="1996" y="4583"/>
                  </a:cubicBezTo>
                  <a:cubicBezTo>
                    <a:pt x="1998" y="4581"/>
                    <a:pt x="2007" y="4573"/>
                    <a:pt x="2007" y="4573"/>
                  </a:cubicBezTo>
                  <a:cubicBezTo>
                    <a:pt x="2007" y="4573"/>
                    <a:pt x="2001" y="4569"/>
                    <a:pt x="2003" y="4563"/>
                  </a:cubicBezTo>
                  <a:cubicBezTo>
                    <a:pt x="2006" y="4557"/>
                    <a:pt x="2005" y="4543"/>
                    <a:pt x="2005" y="4543"/>
                  </a:cubicBezTo>
                  <a:cubicBezTo>
                    <a:pt x="2005" y="4543"/>
                    <a:pt x="2019" y="4541"/>
                    <a:pt x="2021" y="4545"/>
                  </a:cubicBezTo>
                  <a:cubicBezTo>
                    <a:pt x="2024" y="4548"/>
                    <a:pt x="2009" y="4559"/>
                    <a:pt x="2010" y="4561"/>
                  </a:cubicBezTo>
                  <a:cubicBezTo>
                    <a:pt x="2011" y="4563"/>
                    <a:pt x="2013" y="4581"/>
                    <a:pt x="2047" y="4579"/>
                  </a:cubicBezTo>
                  <a:cubicBezTo>
                    <a:pt x="2078" y="4563"/>
                    <a:pt x="2085" y="4556"/>
                    <a:pt x="2099" y="4556"/>
                  </a:cubicBezTo>
                  <a:cubicBezTo>
                    <a:pt x="2118" y="4545"/>
                    <a:pt x="2123" y="4536"/>
                    <a:pt x="2123" y="4536"/>
                  </a:cubicBezTo>
                  <a:cubicBezTo>
                    <a:pt x="2123" y="4536"/>
                    <a:pt x="2111" y="4529"/>
                    <a:pt x="2113" y="4527"/>
                  </a:cubicBezTo>
                  <a:cubicBezTo>
                    <a:pt x="2115" y="4524"/>
                    <a:pt x="2129" y="4524"/>
                    <a:pt x="2129" y="4524"/>
                  </a:cubicBezTo>
                  <a:cubicBezTo>
                    <a:pt x="2122" y="4506"/>
                    <a:pt x="2122" y="4506"/>
                    <a:pt x="2122" y="4506"/>
                  </a:cubicBezTo>
                  <a:cubicBezTo>
                    <a:pt x="2122" y="4506"/>
                    <a:pt x="2132" y="4517"/>
                    <a:pt x="2145" y="4517"/>
                  </a:cubicBezTo>
                  <a:cubicBezTo>
                    <a:pt x="2157" y="4517"/>
                    <a:pt x="2161" y="4501"/>
                    <a:pt x="2163" y="4501"/>
                  </a:cubicBezTo>
                  <a:cubicBezTo>
                    <a:pt x="2165" y="4501"/>
                    <a:pt x="2198" y="4499"/>
                    <a:pt x="2200" y="4499"/>
                  </a:cubicBezTo>
                  <a:cubicBezTo>
                    <a:pt x="2202" y="4499"/>
                    <a:pt x="2207" y="4511"/>
                    <a:pt x="2225" y="4503"/>
                  </a:cubicBezTo>
                  <a:cubicBezTo>
                    <a:pt x="2242" y="4496"/>
                    <a:pt x="2241" y="4484"/>
                    <a:pt x="2241" y="4484"/>
                  </a:cubicBezTo>
                  <a:cubicBezTo>
                    <a:pt x="2241" y="4484"/>
                    <a:pt x="2226" y="4461"/>
                    <a:pt x="2226" y="4458"/>
                  </a:cubicBezTo>
                  <a:cubicBezTo>
                    <a:pt x="2226" y="4455"/>
                    <a:pt x="2232" y="4419"/>
                    <a:pt x="2232" y="4419"/>
                  </a:cubicBezTo>
                  <a:cubicBezTo>
                    <a:pt x="2232" y="4419"/>
                    <a:pt x="2242" y="4440"/>
                    <a:pt x="2264" y="4437"/>
                  </a:cubicBezTo>
                  <a:cubicBezTo>
                    <a:pt x="2286" y="4433"/>
                    <a:pt x="2299" y="4419"/>
                    <a:pt x="2299" y="4419"/>
                  </a:cubicBezTo>
                  <a:cubicBezTo>
                    <a:pt x="2299" y="4419"/>
                    <a:pt x="2304" y="4435"/>
                    <a:pt x="2307" y="4435"/>
                  </a:cubicBezTo>
                  <a:cubicBezTo>
                    <a:pt x="2309" y="4435"/>
                    <a:pt x="2340" y="4435"/>
                    <a:pt x="2340" y="4435"/>
                  </a:cubicBezTo>
                  <a:cubicBezTo>
                    <a:pt x="2340" y="4435"/>
                    <a:pt x="2340" y="4427"/>
                    <a:pt x="2343" y="4427"/>
                  </a:cubicBezTo>
                  <a:cubicBezTo>
                    <a:pt x="2345" y="4427"/>
                    <a:pt x="2367" y="4442"/>
                    <a:pt x="2367" y="4442"/>
                  </a:cubicBezTo>
                  <a:cubicBezTo>
                    <a:pt x="2375" y="4437"/>
                    <a:pt x="2375" y="4437"/>
                    <a:pt x="2375" y="4437"/>
                  </a:cubicBezTo>
                  <a:cubicBezTo>
                    <a:pt x="2417" y="4439"/>
                    <a:pt x="2417" y="4439"/>
                    <a:pt x="2417" y="4439"/>
                  </a:cubicBezTo>
                  <a:cubicBezTo>
                    <a:pt x="2427" y="4445"/>
                    <a:pt x="2427" y="4445"/>
                    <a:pt x="2427" y="4445"/>
                  </a:cubicBezTo>
                  <a:cubicBezTo>
                    <a:pt x="2456" y="4430"/>
                    <a:pt x="2456" y="4430"/>
                    <a:pt x="2456" y="4430"/>
                  </a:cubicBezTo>
                  <a:cubicBezTo>
                    <a:pt x="2456" y="4430"/>
                    <a:pt x="2449" y="4451"/>
                    <a:pt x="2449" y="4465"/>
                  </a:cubicBezTo>
                  <a:cubicBezTo>
                    <a:pt x="2421" y="4469"/>
                    <a:pt x="2425" y="4466"/>
                    <a:pt x="2425" y="4466"/>
                  </a:cubicBezTo>
                  <a:cubicBezTo>
                    <a:pt x="2425" y="4466"/>
                    <a:pt x="2407" y="4457"/>
                    <a:pt x="2407" y="4449"/>
                  </a:cubicBezTo>
                  <a:cubicBezTo>
                    <a:pt x="2394" y="4442"/>
                    <a:pt x="2356" y="4463"/>
                    <a:pt x="2355" y="4470"/>
                  </a:cubicBezTo>
                  <a:cubicBezTo>
                    <a:pt x="2350" y="4475"/>
                    <a:pt x="2350" y="4475"/>
                    <a:pt x="2350" y="4475"/>
                  </a:cubicBezTo>
                  <a:cubicBezTo>
                    <a:pt x="2364" y="4489"/>
                    <a:pt x="2364" y="4489"/>
                    <a:pt x="2364" y="4489"/>
                  </a:cubicBezTo>
                  <a:cubicBezTo>
                    <a:pt x="2353" y="4497"/>
                    <a:pt x="2353" y="4497"/>
                    <a:pt x="2353" y="4497"/>
                  </a:cubicBezTo>
                  <a:cubicBezTo>
                    <a:pt x="2339" y="4485"/>
                    <a:pt x="2339" y="4485"/>
                    <a:pt x="2339" y="4485"/>
                  </a:cubicBezTo>
                  <a:cubicBezTo>
                    <a:pt x="2339" y="4485"/>
                    <a:pt x="2307" y="4503"/>
                    <a:pt x="2311" y="4529"/>
                  </a:cubicBezTo>
                  <a:cubicBezTo>
                    <a:pt x="2295" y="4553"/>
                    <a:pt x="2295" y="4566"/>
                    <a:pt x="2295" y="4566"/>
                  </a:cubicBezTo>
                  <a:cubicBezTo>
                    <a:pt x="2295" y="4566"/>
                    <a:pt x="2306" y="4601"/>
                    <a:pt x="2261" y="4622"/>
                  </a:cubicBezTo>
                  <a:cubicBezTo>
                    <a:pt x="2259" y="4641"/>
                    <a:pt x="2251" y="4653"/>
                    <a:pt x="2237" y="4666"/>
                  </a:cubicBezTo>
                  <a:cubicBezTo>
                    <a:pt x="2230" y="4675"/>
                    <a:pt x="2229" y="4684"/>
                    <a:pt x="2235" y="4693"/>
                  </a:cubicBezTo>
                  <a:cubicBezTo>
                    <a:pt x="2240" y="4701"/>
                    <a:pt x="2220" y="4720"/>
                    <a:pt x="2229" y="4736"/>
                  </a:cubicBezTo>
                  <a:cubicBezTo>
                    <a:pt x="2219" y="4748"/>
                    <a:pt x="2217" y="4757"/>
                    <a:pt x="2220" y="4762"/>
                  </a:cubicBezTo>
                  <a:cubicBezTo>
                    <a:pt x="2209" y="4763"/>
                    <a:pt x="2203" y="4777"/>
                    <a:pt x="2203" y="4777"/>
                  </a:cubicBezTo>
                  <a:cubicBezTo>
                    <a:pt x="2211" y="4785"/>
                    <a:pt x="2211" y="4785"/>
                    <a:pt x="2211" y="4785"/>
                  </a:cubicBezTo>
                  <a:cubicBezTo>
                    <a:pt x="2213" y="4796"/>
                    <a:pt x="2213" y="4796"/>
                    <a:pt x="2213" y="4796"/>
                  </a:cubicBezTo>
                  <a:cubicBezTo>
                    <a:pt x="2221" y="4797"/>
                    <a:pt x="2221" y="4797"/>
                    <a:pt x="2221" y="4797"/>
                  </a:cubicBezTo>
                  <a:cubicBezTo>
                    <a:pt x="2221" y="4797"/>
                    <a:pt x="2325" y="4918"/>
                    <a:pt x="2301" y="4945"/>
                  </a:cubicBezTo>
                  <a:cubicBezTo>
                    <a:pt x="2313" y="4971"/>
                    <a:pt x="2343" y="5023"/>
                    <a:pt x="2345" y="5023"/>
                  </a:cubicBezTo>
                  <a:cubicBezTo>
                    <a:pt x="2348" y="5023"/>
                    <a:pt x="2381" y="5023"/>
                    <a:pt x="2381" y="5023"/>
                  </a:cubicBezTo>
                  <a:cubicBezTo>
                    <a:pt x="2392" y="4979"/>
                    <a:pt x="2392" y="4979"/>
                    <a:pt x="2392" y="4979"/>
                  </a:cubicBezTo>
                  <a:cubicBezTo>
                    <a:pt x="2392" y="4979"/>
                    <a:pt x="2414" y="4989"/>
                    <a:pt x="2393" y="5031"/>
                  </a:cubicBezTo>
                  <a:cubicBezTo>
                    <a:pt x="2375" y="5033"/>
                    <a:pt x="2373" y="5031"/>
                    <a:pt x="2375" y="5048"/>
                  </a:cubicBezTo>
                  <a:cubicBezTo>
                    <a:pt x="2377" y="5065"/>
                    <a:pt x="2369" y="5051"/>
                    <a:pt x="2369" y="5051"/>
                  </a:cubicBezTo>
                  <a:cubicBezTo>
                    <a:pt x="2369" y="5077"/>
                    <a:pt x="2369" y="5077"/>
                    <a:pt x="2369" y="5077"/>
                  </a:cubicBezTo>
                  <a:cubicBezTo>
                    <a:pt x="2369" y="5077"/>
                    <a:pt x="2397" y="5131"/>
                    <a:pt x="2399" y="5131"/>
                  </a:cubicBezTo>
                  <a:cubicBezTo>
                    <a:pt x="2401" y="5131"/>
                    <a:pt x="2416" y="5131"/>
                    <a:pt x="2416" y="5131"/>
                  </a:cubicBezTo>
                  <a:cubicBezTo>
                    <a:pt x="2416" y="5131"/>
                    <a:pt x="2387" y="5111"/>
                    <a:pt x="2386" y="5095"/>
                  </a:cubicBezTo>
                  <a:cubicBezTo>
                    <a:pt x="2386" y="5091"/>
                    <a:pt x="2405" y="5085"/>
                    <a:pt x="2405" y="5085"/>
                  </a:cubicBezTo>
                  <a:cubicBezTo>
                    <a:pt x="2405" y="5085"/>
                    <a:pt x="2409" y="5120"/>
                    <a:pt x="2425" y="5120"/>
                  </a:cubicBezTo>
                  <a:cubicBezTo>
                    <a:pt x="2429" y="5118"/>
                    <a:pt x="2420" y="5103"/>
                    <a:pt x="2436" y="5089"/>
                  </a:cubicBezTo>
                  <a:cubicBezTo>
                    <a:pt x="2452" y="5076"/>
                    <a:pt x="2468" y="5043"/>
                    <a:pt x="2468" y="5021"/>
                  </a:cubicBezTo>
                  <a:cubicBezTo>
                    <a:pt x="2479" y="5001"/>
                    <a:pt x="2481" y="5007"/>
                    <a:pt x="2481" y="5007"/>
                  </a:cubicBezTo>
                  <a:cubicBezTo>
                    <a:pt x="2482" y="5016"/>
                    <a:pt x="2482" y="5016"/>
                    <a:pt x="2482" y="5016"/>
                  </a:cubicBezTo>
                  <a:cubicBezTo>
                    <a:pt x="2478" y="5025"/>
                    <a:pt x="2478" y="5025"/>
                    <a:pt x="2478" y="5025"/>
                  </a:cubicBezTo>
                  <a:cubicBezTo>
                    <a:pt x="2494" y="5042"/>
                    <a:pt x="2494" y="5042"/>
                    <a:pt x="2494" y="5042"/>
                  </a:cubicBezTo>
                  <a:cubicBezTo>
                    <a:pt x="2494" y="5042"/>
                    <a:pt x="2485" y="5051"/>
                    <a:pt x="2489" y="5051"/>
                  </a:cubicBezTo>
                  <a:cubicBezTo>
                    <a:pt x="2492" y="5051"/>
                    <a:pt x="2509" y="5060"/>
                    <a:pt x="2509" y="5060"/>
                  </a:cubicBezTo>
                  <a:cubicBezTo>
                    <a:pt x="2523" y="5055"/>
                    <a:pt x="2523" y="5055"/>
                    <a:pt x="2523" y="5055"/>
                  </a:cubicBezTo>
                  <a:cubicBezTo>
                    <a:pt x="2523" y="5055"/>
                    <a:pt x="2535" y="5020"/>
                    <a:pt x="2547" y="5020"/>
                  </a:cubicBezTo>
                  <a:cubicBezTo>
                    <a:pt x="2559" y="5020"/>
                    <a:pt x="2538" y="5021"/>
                    <a:pt x="2581" y="5080"/>
                  </a:cubicBezTo>
                  <a:cubicBezTo>
                    <a:pt x="2559" y="5117"/>
                    <a:pt x="2559" y="5117"/>
                    <a:pt x="2559" y="5117"/>
                  </a:cubicBezTo>
                  <a:cubicBezTo>
                    <a:pt x="2553" y="5113"/>
                    <a:pt x="2553" y="5113"/>
                    <a:pt x="2553" y="5113"/>
                  </a:cubicBezTo>
                  <a:cubicBezTo>
                    <a:pt x="2529" y="5144"/>
                    <a:pt x="2529" y="5144"/>
                    <a:pt x="2529" y="5144"/>
                  </a:cubicBezTo>
                  <a:cubicBezTo>
                    <a:pt x="2536" y="5159"/>
                    <a:pt x="2536" y="5159"/>
                    <a:pt x="2536" y="5159"/>
                  </a:cubicBezTo>
                  <a:cubicBezTo>
                    <a:pt x="2536" y="5159"/>
                    <a:pt x="2533" y="5179"/>
                    <a:pt x="2535" y="5179"/>
                  </a:cubicBezTo>
                  <a:cubicBezTo>
                    <a:pt x="2537" y="5179"/>
                    <a:pt x="2539" y="5181"/>
                    <a:pt x="2539" y="5181"/>
                  </a:cubicBezTo>
                  <a:cubicBezTo>
                    <a:pt x="2546" y="5175"/>
                    <a:pt x="2546" y="5175"/>
                    <a:pt x="2546" y="5175"/>
                  </a:cubicBezTo>
                  <a:cubicBezTo>
                    <a:pt x="2546" y="5175"/>
                    <a:pt x="2557" y="5203"/>
                    <a:pt x="2546" y="5205"/>
                  </a:cubicBezTo>
                  <a:cubicBezTo>
                    <a:pt x="2535" y="5207"/>
                    <a:pt x="2519" y="5207"/>
                    <a:pt x="2519" y="5207"/>
                  </a:cubicBezTo>
                  <a:cubicBezTo>
                    <a:pt x="2519" y="5207"/>
                    <a:pt x="2499" y="5215"/>
                    <a:pt x="2496" y="5222"/>
                  </a:cubicBezTo>
                  <a:cubicBezTo>
                    <a:pt x="2493" y="5229"/>
                    <a:pt x="2471" y="5223"/>
                    <a:pt x="2471" y="5223"/>
                  </a:cubicBezTo>
                  <a:cubicBezTo>
                    <a:pt x="2466" y="5239"/>
                    <a:pt x="2466" y="5239"/>
                    <a:pt x="2466" y="5239"/>
                  </a:cubicBezTo>
                  <a:cubicBezTo>
                    <a:pt x="2466" y="5239"/>
                    <a:pt x="2469" y="5244"/>
                    <a:pt x="2470" y="5253"/>
                  </a:cubicBezTo>
                  <a:cubicBezTo>
                    <a:pt x="2471" y="5261"/>
                    <a:pt x="2439" y="5385"/>
                    <a:pt x="2531" y="5372"/>
                  </a:cubicBezTo>
                  <a:cubicBezTo>
                    <a:pt x="2533" y="5379"/>
                    <a:pt x="2532" y="5386"/>
                    <a:pt x="2532" y="5386"/>
                  </a:cubicBezTo>
                  <a:cubicBezTo>
                    <a:pt x="2514" y="5383"/>
                    <a:pt x="2514" y="5383"/>
                    <a:pt x="2514" y="5383"/>
                  </a:cubicBezTo>
                  <a:cubicBezTo>
                    <a:pt x="2473" y="5441"/>
                    <a:pt x="2473" y="5441"/>
                    <a:pt x="2473" y="5441"/>
                  </a:cubicBezTo>
                  <a:cubicBezTo>
                    <a:pt x="2470" y="5453"/>
                    <a:pt x="2470" y="5453"/>
                    <a:pt x="2470" y="5453"/>
                  </a:cubicBezTo>
                  <a:cubicBezTo>
                    <a:pt x="2470" y="5453"/>
                    <a:pt x="2446" y="5487"/>
                    <a:pt x="2447" y="5506"/>
                  </a:cubicBezTo>
                  <a:cubicBezTo>
                    <a:pt x="2447" y="5525"/>
                    <a:pt x="2467" y="5539"/>
                    <a:pt x="2465" y="5549"/>
                  </a:cubicBezTo>
                  <a:cubicBezTo>
                    <a:pt x="2474" y="5557"/>
                    <a:pt x="2476" y="5569"/>
                    <a:pt x="2476" y="5569"/>
                  </a:cubicBezTo>
                  <a:cubicBezTo>
                    <a:pt x="2471" y="5576"/>
                    <a:pt x="2471" y="5576"/>
                    <a:pt x="2471" y="5576"/>
                  </a:cubicBezTo>
                  <a:cubicBezTo>
                    <a:pt x="2471" y="5576"/>
                    <a:pt x="2493" y="5610"/>
                    <a:pt x="2493" y="5616"/>
                  </a:cubicBezTo>
                  <a:cubicBezTo>
                    <a:pt x="2493" y="5622"/>
                    <a:pt x="2492" y="5652"/>
                    <a:pt x="2523" y="5652"/>
                  </a:cubicBezTo>
                  <a:cubicBezTo>
                    <a:pt x="2541" y="5679"/>
                    <a:pt x="2541" y="5681"/>
                    <a:pt x="2543" y="5681"/>
                  </a:cubicBezTo>
                  <a:cubicBezTo>
                    <a:pt x="2545" y="5681"/>
                    <a:pt x="2585" y="5679"/>
                    <a:pt x="2585" y="5684"/>
                  </a:cubicBezTo>
                  <a:cubicBezTo>
                    <a:pt x="2586" y="5689"/>
                    <a:pt x="2597" y="5662"/>
                    <a:pt x="2600" y="5668"/>
                  </a:cubicBezTo>
                  <a:cubicBezTo>
                    <a:pt x="2603" y="5674"/>
                    <a:pt x="2599" y="5685"/>
                    <a:pt x="2599" y="5685"/>
                  </a:cubicBezTo>
                  <a:cubicBezTo>
                    <a:pt x="2600" y="5695"/>
                    <a:pt x="2600" y="5695"/>
                    <a:pt x="2600" y="5695"/>
                  </a:cubicBezTo>
                  <a:cubicBezTo>
                    <a:pt x="2583" y="5705"/>
                    <a:pt x="2583" y="5705"/>
                    <a:pt x="2583" y="5705"/>
                  </a:cubicBezTo>
                  <a:cubicBezTo>
                    <a:pt x="2583" y="5705"/>
                    <a:pt x="2579" y="5699"/>
                    <a:pt x="2566" y="5700"/>
                  </a:cubicBezTo>
                  <a:cubicBezTo>
                    <a:pt x="2553" y="5701"/>
                    <a:pt x="2559" y="5709"/>
                    <a:pt x="2545" y="5706"/>
                  </a:cubicBezTo>
                  <a:cubicBezTo>
                    <a:pt x="2531" y="5703"/>
                    <a:pt x="2515" y="5689"/>
                    <a:pt x="2515" y="5689"/>
                  </a:cubicBezTo>
                  <a:cubicBezTo>
                    <a:pt x="2515" y="5689"/>
                    <a:pt x="2507" y="5661"/>
                    <a:pt x="2497" y="5655"/>
                  </a:cubicBezTo>
                  <a:cubicBezTo>
                    <a:pt x="2488" y="5649"/>
                    <a:pt x="2489" y="5624"/>
                    <a:pt x="2489" y="5624"/>
                  </a:cubicBezTo>
                  <a:cubicBezTo>
                    <a:pt x="2469" y="5591"/>
                    <a:pt x="2469" y="5591"/>
                    <a:pt x="2469" y="5591"/>
                  </a:cubicBezTo>
                  <a:cubicBezTo>
                    <a:pt x="2469" y="5591"/>
                    <a:pt x="2449" y="5610"/>
                    <a:pt x="2407" y="5628"/>
                  </a:cubicBezTo>
                  <a:cubicBezTo>
                    <a:pt x="2401" y="5651"/>
                    <a:pt x="2414" y="5659"/>
                    <a:pt x="2433" y="5676"/>
                  </a:cubicBezTo>
                  <a:cubicBezTo>
                    <a:pt x="2443" y="5697"/>
                    <a:pt x="2450" y="5724"/>
                    <a:pt x="2450" y="5724"/>
                  </a:cubicBezTo>
                  <a:cubicBezTo>
                    <a:pt x="2441" y="5724"/>
                    <a:pt x="2441" y="5724"/>
                    <a:pt x="2441" y="5724"/>
                  </a:cubicBezTo>
                  <a:cubicBezTo>
                    <a:pt x="2445" y="5746"/>
                    <a:pt x="2445" y="5746"/>
                    <a:pt x="2445" y="5746"/>
                  </a:cubicBezTo>
                  <a:cubicBezTo>
                    <a:pt x="2445" y="5746"/>
                    <a:pt x="2407" y="5712"/>
                    <a:pt x="2404" y="5706"/>
                  </a:cubicBezTo>
                  <a:cubicBezTo>
                    <a:pt x="2401" y="5700"/>
                    <a:pt x="2354" y="5673"/>
                    <a:pt x="2353" y="5670"/>
                  </a:cubicBezTo>
                  <a:cubicBezTo>
                    <a:pt x="2353" y="5667"/>
                    <a:pt x="2360" y="5655"/>
                    <a:pt x="2349" y="5652"/>
                  </a:cubicBezTo>
                  <a:cubicBezTo>
                    <a:pt x="2337" y="5649"/>
                    <a:pt x="2251" y="5691"/>
                    <a:pt x="2234" y="5698"/>
                  </a:cubicBezTo>
                  <a:cubicBezTo>
                    <a:pt x="2201" y="5697"/>
                    <a:pt x="2165" y="5695"/>
                    <a:pt x="2165" y="5695"/>
                  </a:cubicBezTo>
                  <a:cubicBezTo>
                    <a:pt x="2138" y="5669"/>
                    <a:pt x="2138" y="5669"/>
                    <a:pt x="2138" y="5669"/>
                  </a:cubicBezTo>
                  <a:cubicBezTo>
                    <a:pt x="2124" y="5673"/>
                    <a:pt x="2124" y="5673"/>
                    <a:pt x="2124" y="5673"/>
                  </a:cubicBezTo>
                  <a:cubicBezTo>
                    <a:pt x="2112" y="5661"/>
                    <a:pt x="2112" y="5661"/>
                    <a:pt x="2112" y="5661"/>
                  </a:cubicBezTo>
                  <a:cubicBezTo>
                    <a:pt x="2093" y="5661"/>
                    <a:pt x="2093" y="5661"/>
                    <a:pt x="2093" y="5661"/>
                  </a:cubicBezTo>
                  <a:cubicBezTo>
                    <a:pt x="2093" y="5671"/>
                    <a:pt x="2093" y="5671"/>
                    <a:pt x="2093" y="5671"/>
                  </a:cubicBezTo>
                  <a:cubicBezTo>
                    <a:pt x="2093" y="5671"/>
                    <a:pt x="2117" y="5681"/>
                    <a:pt x="2113" y="5689"/>
                  </a:cubicBezTo>
                  <a:cubicBezTo>
                    <a:pt x="2108" y="5697"/>
                    <a:pt x="2074" y="5716"/>
                    <a:pt x="2074" y="5716"/>
                  </a:cubicBezTo>
                  <a:cubicBezTo>
                    <a:pt x="2074" y="5716"/>
                    <a:pt x="2065" y="5708"/>
                    <a:pt x="2021" y="5741"/>
                  </a:cubicBezTo>
                  <a:cubicBezTo>
                    <a:pt x="1974" y="5743"/>
                    <a:pt x="1978" y="5739"/>
                    <a:pt x="1978" y="5737"/>
                  </a:cubicBezTo>
                  <a:cubicBezTo>
                    <a:pt x="1978" y="5735"/>
                    <a:pt x="2001" y="5725"/>
                    <a:pt x="2001" y="5705"/>
                  </a:cubicBezTo>
                  <a:cubicBezTo>
                    <a:pt x="2021" y="5685"/>
                    <a:pt x="2023" y="5679"/>
                    <a:pt x="2023" y="5679"/>
                  </a:cubicBezTo>
                  <a:cubicBezTo>
                    <a:pt x="1996" y="5679"/>
                    <a:pt x="1996" y="5679"/>
                    <a:pt x="1996" y="5679"/>
                  </a:cubicBezTo>
                  <a:cubicBezTo>
                    <a:pt x="1996" y="5679"/>
                    <a:pt x="1999" y="5672"/>
                    <a:pt x="1992" y="5671"/>
                  </a:cubicBezTo>
                  <a:cubicBezTo>
                    <a:pt x="1985" y="5671"/>
                    <a:pt x="1948" y="5694"/>
                    <a:pt x="1948" y="5692"/>
                  </a:cubicBezTo>
                  <a:cubicBezTo>
                    <a:pt x="1948" y="5690"/>
                    <a:pt x="1931" y="5650"/>
                    <a:pt x="1931" y="5650"/>
                  </a:cubicBezTo>
                  <a:cubicBezTo>
                    <a:pt x="1936" y="5645"/>
                    <a:pt x="1936" y="5645"/>
                    <a:pt x="1936" y="5645"/>
                  </a:cubicBezTo>
                  <a:cubicBezTo>
                    <a:pt x="1936" y="5645"/>
                    <a:pt x="1919" y="5652"/>
                    <a:pt x="1916" y="5617"/>
                  </a:cubicBezTo>
                  <a:cubicBezTo>
                    <a:pt x="1917" y="5613"/>
                    <a:pt x="1907" y="5591"/>
                    <a:pt x="1907" y="5591"/>
                  </a:cubicBezTo>
                  <a:cubicBezTo>
                    <a:pt x="1897" y="5600"/>
                    <a:pt x="1897" y="5600"/>
                    <a:pt x="1897" y="5600"/>
                  </a:cubicBezTo>
                  <a:cubicBezTo>
                    <a:pt x="1867" y="5583"/>
                    <a:pt x="1867" y="5583"/>
                    <a:pt x="1867" y="5583"/>
                  </a:cubicBezTo>
                  <a:cubicBezTo>
                    <a:pt x="1833" y="5586"/>
                    <a:pt x="1833" y="5586"/>
                    <a:pt x="1833" y="5586"/>
                  </a:cubicBezTo>
                  <a:cubicBezTo>
                    <a:pt x="1827" y="5599"/>
                    <a:pt x="1827" y="5599"/>
                    <a:pt x="1827" y="5599"/>
                  </a:cubicBezTo>
                  <a:cubicBezTo>
                    <a:pt x="1822" y="5593"/>
                    <a:pt x="1822" y="5593"/>
                    <a:pt x="1822" y="5593"/>
                  </a:cubicBezTo>
                  <a:cubicBezTo>
                    <a:pt x="1811" y="5600"/>
                    <a:pt x="1811" y="5600"/>
                    <a:pt x="1811" y="5600"/>
                  </a:cubicBezTo>
                  <a:cubicBezTo>
                    <a:pt x="1806" y="5591"/>
                    <a:pt x="1806" y="5591"/>
                    <a:pt x="1806" y="5591"/>
                  </a:cubicBezTo>
                  <a:cubicBezTo>
                    <a:pt x="1793" y="5605"/>
                    <a:pt x="1793" y="5605"/>
                    <a:pt x="1793" y="5605"/>
                  </a:cubicBezTo>
                  <a:cubicBezTo>
                    <a:pt x="1776" y="5604"/>
                    <a:pt x="1776" y="5604"/>
                    <a:pt x="1776" y="5604"/>
                  </a:cubicBezTo>
                  <a:cubicBezTo>
                    <a:pt x="1776" y="5604"/>
                    <a:pt x="1782" y="5621"/>
                    <a:pt x="1783" y="5630"/>
                  </a:cubicBezTo>
                  <a:cubicBezTo>
                    <a:pt x="1783" y="5639"/>
                    <a:pt x="1778" y="5657"/>
                    <a:pt x="1778" y="5657"/>
                  </a:cubicBezTo>
                  <a:cubicBezTo>
                    <a:pt x="1771" y="5661"/>
                    <a:pt x="1771" y="5661"/>
                    <a:pt x="1771" y="5661"/>
                  </a:cubicBezTo>
                  <a:cubicBezTo>
                    <a:pt x="1776" y="5670"/>
                    <a:pt x="1776" y="5670"/>
                    <a:pt x="1776" y="5670"/>
                  </a:cubicBezTo>
                  <a:cubicBezTo>
                    <a:pt x="1773" y="5693"/>
                    <a:pt x="1773" y="5693"/>
                    <a:pt x="1773" y="5693"/>
                  </a:cubicBezTo>
                  <a:cubicBezTo>
                    <a:pt x="1773" y="5693"/>
                    <a:pt x="1753" y="5665"/>
                    <a:pt x="1737" y="5665"/>
                  </a:cubicBezTo>
                  <a:cubicBezTo>
                    <a:pt x="1721" y="5666"/>
                    <a:pt x="1718" y="5681"/>
                    <a:pt x="1718" y="5681"/>
                  </a:cubicBezTo>
                  <a:cubicBezTo>
                    <a:pt x="1726" y="5683"/>
                    <a:pt x="1726" y="5683"/>
                    <a:pt x="1726" y="5683"/>
                  </a:cubicBezTo>
                  <a:cubicBezTo>
                    <a:pt x="1727" y="5697"/>
                    <a:pt x="1727" y="5697"/>
                    <a:pt x="1727" y="5697"/>
                  </a:cubicBezTo>
                  <a:cubicBezTo>
                    <a:pt x="1751" y="5701"/>
                    <a:pt x="1751" y="5701"/>
                    <a:pt x="1751" y="5701"/>
                  </a:cubicBezTo>
                  <a:cubicBezTo>
                    <a:pt x="1758" y="5713"/>
                    <a:pt x="1758" y="5713"/>
                    <a:pt x="1758" y="5713"/>
                  </a:cubicBezTo>
                  <a:cubicBezTo>
                    <a:pt x="1758" y="5713"/>
                    <a:pt x="1754" y="5730"/>
                    <a:pt x="1765" y="5730"/>
                  </a:cubicBezTo>
                  <a:cubicBezTo>
                    <a:pt x="1775" y="5730"/>
                    <a:pt x="1784" y="5724"/>
                    <a:pt x="1784" y="5724"/>
                  </a:cubicBezTo>
                  <a:cubicBezTo>
                    <a:pt x="1784" y="5724"/>
                    <a:pt x="1809" y="5752"/>
                    <a:pt x="1807" y="5775"/>
                  </a:cubicBezTo>
                  <a:cubicBezTo>
                    <a:pt x="1817" y="5779"/>
                    <a:pt x="1817" y="5779"/>
                    <a:pt x="1817" y="5779"/>
                  </a:cubicBezTo>
                  <a:cubicBezTo>
                    <a:pt x="1829" y="5775"/>
                    <a:pt x="1829" y="5775"/>
                    <a:pt x="1829" y="5775"/>
                  </a:cubicBezTo>
                  <a:cubicBezTo>
                    <a:pt x="1835" y="5797"/>
                    <a:pt x="1835" y="5797"/>
                    <a:pt x="1835" y="5797"/>
                  </a:cubicBezTo>
                  <a:cubicBezTo>
                    <a:pt x="1835" y="5797"/>
                    <a:pt x="1855" y="5772"/>
                    <a:pt x="1859" y="5776"/>
                  </a:cubicBezTo>
                  <a:cubicBezTo>
                    <a:pt x="1864" y="5780"/>
                    <a:pt x="1845" y="5795"/>
                    <a:pt x="1847" y="5800"/>
                  </a:cubicBezTo>
                  <a:cubicBezTo>
                    <a:pt x="1850" y="5805"/>
                    <a:pt x="1867" y="5809"/>
                    <a:pt x="1867" y="5809"/>
                  </a:cubicBezTo>
                  <a:cubicBezTo>
                    <a:pt x="1867" y="5809"/>
                    <a:pt x="1863" y="5823"/>
                    <a:pt x="1875" y="5821"/>
                  </a:cubicBezTo>
                  <a:cubicBezTo>
                    <a:pt x="1886" y="5818"/>
                    <a:pt x="1920" y="5786"/>
                    <a:pt x="1923" y="5783"/>
                  </a:cubicBezTo>
                  <a:cubicBezTo>
                    <a:pt x="1923" y="5783"/>
                    <a:pt x="1933" y="5778"/>
                    <a:pt x="1909" y="5813"/>
                  </a:cubicBezTo>
                  <a:cubicBezTo>
                    <a:pt x="1880" y="5832"/>
                    <a:pt x="1875" y="5832"/>
                    <a:pt x="1875" y="5832"/>
                  </a:cubicBezTo>
                  <a:cubicBezTo>
                    <a:pt x="1875" y="5832"/>
                    <a:pt x="1898" y="5872"/>
                    <a:pt x="1857" y="5911"/>
                  </a:cubicBezTo>
                  <a:cubicBezTo>
                    <a:pt x="1837" y="5915"/>
                    <a:pt x="1827" y="5935"/>
                    <a:pt x="1827" y="5941"/>
                  </a:cubicBezTo>
                  <a:cubicBezTo>
                    <a:pt x="1815" y="5942"/>
                    <a:pt x="1803" y="5956"/>
                    <a:pt x="1803" y="5959"/>
                  </a:cubicBezTo>
                  <a:cubicBezTo>
                    <a:pt x="1802" y="5963"/>
                    <a:pt x="1787" y="5971"/>
                    <a:pt x="1785" y="5957"/>
                  </a:cubicBezTo>
                  <a:cubicBezTo>
                    <a:pt x="1772" y="5952"/>
                    <a:pt x="1769" y="5969"/>
                    <a:pt x="1769" y="5969"/>
                  </a:cubicBezTo>
                  <a:cubicBezTo>
                    <a:pt x="1769" y="5969"/>
                    <a:pt x="1743" y="5974"/>
                    <a:pt x="1719" y="6022"/>
                  </a:cubicBezTo>
                  <a:cubicBezTo>
                    <a:pt x="1708" y="6023"/>
                    <a:pt x="1708" y="6023"/>
                    <a:pt x="1708" y="6023"/>
                  </a:cubicBezTo>
                  <a:cubicBezTo>
                    <a:pt x="1708" y="6023"/>
                    <a:pt x="1703" y="6050"/>
                    <a:pt x="1697" y="6050"/>
                  </a:cubicBezTo>
                  <a:cubicBezTo>
                    <a:pt x="1691" y="6050"/>
                    <a:pt x="1688" y="6074"/>
                    <a:pt x="1688" y="6074"/>
                  </a:cubicBezTo>
                  <a:cubicBezTo>
                    <a:pt x="1688" y="6074"/>
                    <a:pt x="1692" y="6083"/>
                    <a:pt x="1699" y="6084"/>
                  </a:cubicBezTo>
                  <a:cubicBezTo>
                    <a:pt x="1707" y="6085"/>
                    <a:pt x="1712" y="6068"/>
                    <a:pt x="1717" y="6068"/>
                  </a:cubicBezTo>
                  <a:cubicBezTo>
                    <a:pt x="1723" y="6068"/>
                    <a:pt x="1723" y="6075"/>
                    <a:pt x="1723" y="6075"/>
                  </a:cubicBezTo>
                  <a:cubicBezTo>
                    <a:pt x="1746" y="6069"/>
                    <a:pt x="1746" y="6069"/>
                    <a:pt x="1746" y="6069"/>
                  </a:cubicBezTo>
                  <a:cubicBezTo>
                    <a:pt x="1759" y="6047"/>
                    <a:pt x="1759" y="6047"/>
                    <a:pt x="1759" y="6047"/>
                  </a:cubicBezTo>
                  <a:cubicBezTo>
                    <a:pt x="1787" y="6065"/>
                    <a:pt x="1787" y="6065"/>
                    <a:pt x="1787" y="6065"/>
                  </a:cubicBezTo>
                  <a:cubicBezTo>
                    <a:pt x="1787" y="6065"/>
                    <a:pt x="1784" y="6085"/>
                    <a:pt x="1797" y="6086"/>
                  </a:cubicBezTo>
                  <a:cubicBezTo>
                    <a:pt x="1811" y="6087"/>
                    <a:pt x="1819" y="6077"/>
                    <a:pt x="1817" y="6069"/>
                  </a:cubicBezTo>
                  <a:cubicBezTo>
                    <a:pt x="1815" y="6061"/>
                    <a:pt x="1806" y="6051"/>
                    <a:pt x="1807" y="6049"/>
                  </a:cubicBezTo>
                  <a:cubicBezTo>
                    <a:pt x="1807" y="6047"/>
                    <a:pt x="1821" y="6035"/>
                    <a:pt x="1821" y="6035"/>
                  </a:cubicBezTo>
                  <a:cubicBezTo>
                    <a:pt x="1817" y="6027"/>
                    <a:pt x="1817" y="6027"/>
                    <a:pt x="1817" y="6027"/>
                  </a:cubicBezTo>
                  <a:cubicBezTo>
                    <a:pt x="1817" y="6027"/>
                    <a:pt x="1849" y="6002"/>
                    <a:pt x="1888" y="6003"/>
                  </a:cubicBezTo>
                  <a:cubicBezTo>
                    <a:pt x="1890" y="5992"/>
                    <a:pt x="1890" y="5992"/>
                    <a:pt x="1890" y="5992"/>
                  </a:cubicBezTo>
                  <a:cubicBezTo>
                    <a:pt x="1890" y="5992"/>
                    <a:pt x="1915" y="5983"/>
                    <a:pt x="1930" y="5983"/>
                  </a:cubicBezTo>
                  <a:cubicBezTo>
                    <a:pt x="1945" y="5983"/>
                    <a:pt x="1965" y="5982"/>
                    <a:pt x="1966" y="6009"/>
                  </a:cubicBezTo>
                  <a:cubicBezTo>
                    <a:pt x="1978" y="6030"/>
                    <a:pt x="1985" y="6029"/>
                    <a:pt x="1985" y="6029"/>
                  </a:cubicBezTo>
                  <a:cubicBezTo>
                    <a:pt x="1983" y="6055"/>
                    <a:pt x="1983" y="6055"/>
                    <a:pt x="1983" y="6055"/>
                  </a:cubicBezTo>
                  <a:cubicBezTo>
                    <a:pt x="1970" y="6056"/>
                    <a:pt x="1970" y="6056"/>
                    <a:pt x="1970" y="6056"/>
                  </a:cubicBezTo>
                  <a:cubicBezTo>
                    <a:pt x="1970" y="6056"/>
                    <a:pt x="1953" y="6052"/>
                    <a:pt x="2008" y="6133"/>
                  </a:cubicBezTo>
                  <a:cubicBezTo>
                    <a:pt x="2005" y="6159"/>
                    <a:pt x="2009" y="6159"/>
                    <a:pt x="2009" y="6159"/>
                  </a:cubicBezTo>
                  <a:cubicBezTo>
                    <a:pt x="2009" y="6159"/>
                    <a:pt x="1977" y="6187"/>
                    <a:pt x="1975" y="6215"/>
                  </a:cubicBezTo>
                  <a:cubicBezTo>
                    <a:pt x="1996" y="6239"/>
                    <a:pt x="1995" y="6251"/>
                    <a:pt x="1995" y="6251"/>
                  </a:cubicBezTo>
                  <a:cubicBezTo>
                    <a:pt x="1994" y="6264"/>
                    <a:pt x="1994" y="6264"/>
                    <a:pt x="1994" y="6264"/>
                  </a:cubicBezTo>
                  <a:cubicBezTo>
                    <a:pt x="2006" y="6274"/>
                    <a:pt x="2006" y="6274"/>
                    <a:pt x="2006" y="6274"/>
                  </a:cubicBezTo>
                  <a:cubicBezTo>
                    <a:pt x="2009" y="6326"/>
                    <a:pt x="2009" y="6326"/>
                    <a:pt x="2009" y="6326"/>
                  </a:cubicBezTo>
                  <a:cubicBezTo>
                    <a:pt x="1997" y="6351"/>
                    <a:pt x="1997" y="6351"/>
                    <a:pt x="1997" y="6351"/>
                  </a:cubicBezTo>
                  <a:cubicBezTo>
                    <a:pt x="1990" y="6397"/>
                    <a:pt x="1990" y="6397"/>
                    <a:pt x="1990" y="6397"/>
                  </a:cubicBezTo>
                  <a:cubicBezTo>
                    <a:pt x="1990" y="6397"/>
                    <a:pt x="1971" y="6414"/>
                    <a:pt x="1977" y="6428"/>
                  </a:cubicBezTo>
                  <a:cubicBezTo>
                    <a:pt x="1971" y="6437"/>
                    <a:pt x="1936" y="6499"/>
                    <a:pt x="1929" y="6499"/>
                  </a:cubicBezTo>
                  <a:cubicBezTo>
                    <a:pt x="1921" y="6499"/>
                    <a:pt x="1914" y="6499"/>
                    <a:pt x="1914" y="6499"/>
                  </a:cubicBezTo>
                  <a:cubicBezTo>
                    <a:pt x="1907" y="6512"/>
                    <a:pt x="1907" y="6512"/>
                    <a:pt x="1907" y="6512"/>
                  </a:cubicBezTo>
                  <a:cubicBezTo>
                    <a:pt x="1899" y="6512"/>
                    <a:pt x="1899" y="6512"/>
                    <a:pt x="1899" y="6512"/>
                  </a:cubicBezTo>
                  <a:cubicBezTo>
                    <a:pt x="1899" y="6512"/>
                    <a:pt x="1891" y="6528"/>
                    <a:pt x="1881" y="6527"/>
                  </a:cubicBezTo>
                  <a:cubicBezTo>
                    <a:pt x="1872" y="6527"/>
                    <a:pt x="1868" y="6519"/>
                    <a:pt x="1868" y="6519"/>
                  </a:cubicBezTo>
                  <a:cubicBezTo>
                    <a:pt x="1868" y="6519"/>
                    <a:pt x="1801" y="6589"/>
                    <a:pt x="1793" y="6589"/>
                  </a:cubicBezTo>
                  <a:cubicBezTo>
                    <a:pt x="1784" y="6589"/>
                    <a:pt x="1781" y="6579"/>
                    <a:pt x="1761" y="6579"/>
                  </a:cubicBezTo>
                  <a:cubicBezTo>
                    <a:pt x="1741" y="6579"/>
                    <a:pt x="1720" y="6582"/>
                    <a:pt x="1719" y="6607"/>
                  </a:cubicBezTo>
                  <a:cubicBezTo>
                    <a:pt x="1709" y="6606"/>
                    <a:pt x="1708" y="6596"/>
                    <a:pt x="1703" y="6596"/>
                  </a:cubicBezTo>
                  <a:cubicBezTo>
                    <a:pt x="1697" y="6596"/>
                    <a:pt x="1692" y="6629"/>
                    <a:pt x="1692" y="6629"/>
                  </a:cubicBezTo>
                  <a:cubicBezTo>
                    <a:pt x="1692" y="6629"/>
                    <a:pt x="1678" y="6626"/>
                    <a:pt x="1679" y="6641"/>
                  </a:cubicBezTo>
                  <a:cubicBezTo>
                    <a:pt x="1659" y="6647"/>
                    <a:pt x="1650" y="6641"/>
                    <a:pt x="1650" y="6667"/>
                  </a:cubicBezTo>
                  <a:cubicBezTo>
                    <a:pt x="1631" y="6667"/>
                    <a:pt x="1631" y="6667"/>
                    <a:pt x="1631" y="6667"/>
                  </a:cubicBezTo>
                  <a:cubicBezTo>
                    <a:pt x="1631" y="6667"/>
                    <a:pt x="1624" y="6660"/>
                    <a:pt x="1622" y="6660"/>
                  </a:cubicBezTo>
                  <a:cubicBezTo>
                    <a:pt x="1620" y="6660"/>
                    <a:pt x="1609" y="6681"/>
                    <a:pt x="1600" y="6681"/>
                  </a:cubicBezTo>
                  <a:cubicBezTo>
                    <a:pt x="1591" y="6680"/>
                    <a:pt x="1586" y="6667"/>
                    <a:pt x="1584" y="6667"/>
                  </a:cubicBezTo>
                  <a:cubicBezTo>
                    <a:pt x="1582" y="6667"/>
                    <a:pt x="1551" y="6673"/>
                    <a:pt x="1553" y="6658"/>
                  </a:cubicBezTo>
                  <a:cubicBezTo>
                    <a:pt x="1538" y="6670"/>
                    <a:pt x="1538" y="6670"/>
                    <a:pt x="1538" y="6670"/>
                  </a:cubicBezTo>
                  <a:cubicBezTo>
                    <a:pt x="1542" y="6687"/>
                    <a:pt x="1542" y="6687"/>
                    <a:pt x="1542" y="6687"/>
                  </a:cubicBezTo>
                  <a:cubicBezTo>
                    <a:pt x="1534" y="6691"/>
                    <a:pt x="1534" y="6691"/>
                    <a:pt x="1534" y="6691"/>
                  </a:cubicBezTo>
                  <a:cubicBezTo>
                    <a:pt x="1540" y="6709"/>
                    <a:pt x="1540" y="6709"/>
                    <a:pt x="1540" y="6709"/>
                  </a:cubicBezTo>
                  <a:cubicBezTo>
                    <a:pt x="1540" y="6709"/>
                    <a:pt x="1503" y="6723"/>
                    <a:pt x="1491" y="6723"/>
                  </a:cubicBezTo>
                  <a:cubicBezTo>
                    <a:pt x="1478" y="6723"/>
                    <a:pt x="1462" y="6747"/>
                    <a:pt x="1462" y="6747"/>
                  </a:cubicBezTo>
                  <a:cubicBezTo>
                    <a:pt x="1462" y="6747"/>
                    <a:pt x="1437" y="6750"/>
                    <a:pt x="1432" y="6759"/>
                  </a:cubicBezTo>
                  <a:cubicBezTo>
                    <a:pt x="1441" y="6762"/>
                    <a:pt x="1441" y="6766"/>
                    <a:pt x="1441" y="6766"/>
                  </a:cubicBezTo>
                  <a:cubicBezTo>
                    <a:pt x="1432" y="6773"/>
                    <a:pt x="1432" y="6773"/>
                    <a:pt x="1432" y="6773"/>
                  </a:cubicBezTo>
                  <a:cubicBezTo>
                    <a:pt x="1435" y="6779"/>
                    <a:pt x="1435" y="6779"/>
                    <a:pt x="1435" y="6779"/>
                  </a:cubicBezTo>
                  <a:cubicBezTo>
                    <a:pt x="1430" y="6785"/>
                    <a:pt x="1430" y="6785"/>
                    <a:pt x="1430" y="6785"/>
                  </a:cubicBezTo>
                  <a:cubicBezTo>
                    <a:pt x="1424" y="6776"/>
                    <a:pt x="1424" y="6776"/>
                    <a:pt x="1424" y="6776"/>
                  </a:cubicBezTo>
                  <a:cubicBezTo>
                    <a:pt x="1412" y="6792"/>
                    <a:pt x="1412" y="6792"/>
                    <a:pt x="1412" y="6792"/>
                  </a:cubicBezTo>
                  <a:cubicBezTo>
                    <a:pt x="1423" y="6800"/>
                    <a:pt x="1423" y="6800"/>
                    <a:pt x="1423" y="6800"/>
                  </a:cubicBezTo>
                  <a:cubicBezTo>
                    <a:pt x="1432" y="6791"/>
                    <a:pt x="1432" y="6791"/>
                    <a:pt x="1432" y="6791"/>
                  </a:cubicBezTo>
                  <a:cubicBezTo>
                    <a:pt x="1443" y="6798"/>
                    <a:pt x="1443" y="6798"/>
                    <a:pt x="1443" y="6798"/>
                  </a:cubicBezTo>
                  <a:cubicBezTo>
                    <a:pt x="1443" y="6798"/>
                    <a:pt x="1456" y="6788"/>
                    <a:pt x="1468" y="6789"/>
                  </a:cubicBezTo>
                  <a:cubicBezTo>
                    <a:pt x="1480" y="6789"/>
                    <a:pt x="1525" y="6785"/>
                    <a:pt x="1525" y="6828"/>
                  </a:cubicBezTo>
                  <a:cubicBezTo>
                    <a:pt x="1531" y="6847"/>
                    <a:pt x="1535" y="6857"/>
                    <a:pt x="1523" y="6861"/>
                  </a:cubicBezTo>
                  <a:cubicBezTo>
                    <a:pt x="1511" y="6864"/>
                    <a:pt x="1482" y="6866"/>
                    <a:pt x="1483" y="6884"/>
                  </a:cubicBezTo>
                  <a:cubicBezTo>
                    <a:pt x="1471" y="6895"/>
                    <a:pt x="1480" y="6891"/>
                    <a:pt x="1472" y="6890"/>
                  </a:cubicBezTo>
                  <a:cubicBezTo>
                    <a:pt x="1464" y="6889"/>
                    <a:pt x="1459" y="6881"/>
                    <a:pt x="1459" y="6881"/>
                  </a:cubicBezTo>
                  <a:cubicBezTo>
                    <a:pt x="1458" y="6895"/>
                    <a:pt x="1458" y="6895"/>
                    <a:pt x="1458" y="6895"/>
                  </a:cubicBezTo>
                  <a:cubicBezTo>
                    <a:pt x="1458" y="6895"/>
                    <a:pt x="1463" y="6884"/>
                    <a:pt x="1465" y="6906"/>
                  </a:cubicBezTo>
                  <a:cubicBezTo>
                    <a:pt x="1465" y="6906"/>
                    <a:pt x="1475" y="6902"/>
                    <a:pt x="1481" y="6902"/>
                  </a:cubicBezTo>
                  <a:cubicBezTo>
                    <a:pt x="1486" y="6902"/>
                    <a:pt x="1483" y="6933"/>
                    <a:pt x="1497" y="6934"/>
                  </a:cubicBezTo>
                  <a:cubicBezTo>
                    <a:pt x="1511" y="6935"/>
                    <a:pt x="1508" y="6910"/>
                    <a:pt x="1508" y="6910"/>
                  </a:cubicBezTo>
                  <a:cubicBezTo>
                    <a:pt x="1529" y="6904"/>
                    <a:pt x="1529" y="6904"/>
                    <a:pt x="1529" y="6904"/>
                  </a:cubicBezTo>
                  <a:cubicBezTo>
                    <a:pt x="1529" y="6904"/>
                    <a:pt x="1531" y="6917"/>
                    <a:pt x="1549" y="6917"/>
                  </a:cubicBezTo>
                  <a:cubicBezTo>
                    <a:pt x="1551" y="6923"/>
                    <a:pt x="1551" y="6925"/>
                    <a:pt x="1552" y="6926"/>
                  </a:cubicBezTo>
                  <a:cubicBezTo>
                    <a:pt x="1541" y="6933"/>
                    <a:pt x="1541" y="6933"/>
                    <a:pt x="1541" y="6933"/>
                  </a:cubicBezTo>
                  <a:cubicBezTo>
                    <a:pt x="1541" y="6933"/>
                    <a:pt x="1533" y="6925"/>
                    <a:pt x="1525" y="6925"/>
                  </a:cubicBezTo>
                  <a:cubicBezTo>
                    <a:pt x="1518" y="6926"/>
                    <a:pt x="1513" y="6934"/>
                    <a:pt x="1513" y="6934"/>
                  </a:cubicBezTo>
                  <a:cubicBezTo>
                    <a:pt x="1513" y="6934"/>
                    <a:pt x="1521" y="6949"/>
                    <a:pt x="1545" y="6952"/>
                  </a:cubicBezTo>
                  <a:cubicBezTo>
                    <a:pt x="1561" y="6971"/>
                    <a:pt x="1553" y="6966"/>
                    <a:pt x="1553" y="6966"/>
                  </a:cubicBezTo>
                  <a:cubicBezTo>
                    <a:pt x="1543" y="6974"/>
                    <a:pt x="1543" y="6974"/>
                    <a:pt x="1543" y="6974"/>
                  </a:cubicBezTo>
                  <a:cubicBezTo>
                    <a:pt x="1543" y="6974"/>
                    <a:pt x="1548" y="6994"/>
                    <a:pt x="1592" y="6993"/>
                  </a:cubicBezTo>
                  <a:cubicBezTo>
                    <a:pt x="1601" y="7002"/>
                    <a:pt x="1601" y="7002"/>
                    <a:pt x="1601" y="7002"/>
                  </a:cubicBezTo>
                  <a:cubicBezTo>
                    <a:pt x="1624" y="6993"/>
                    <a:pt x="1624" y="6993"/>
                    <a:pt x="1624" y="6993"/>
                  </a:cubicBezTo>
                  <a:cubicBezTo>
                    <a:pt x="1624" y="6993"/>
                    <a:pt x="1612" y="6971"/>
                    <a:pt x="1647" y="6967"/>
                  </a:cubicBezTo>
                  <a:cubicBezTo>
                    <a:pt x="1664" y="6974"/>
                    <a:pt x="1673" y="6977"/>
                    <a:pt x="1673" y="6977"/>
                  </a:cubicBezTo>
                  <a:cubicBezTo>
                    <a:pt x="1683" y="6961"/>
                    <a:pt x="1683" y="6961"/>
                    <a:pt x="1683" y="6961"/>
                  </a:cubicBezTo>
                  <a:cubicBezTo>
                    <a:pt x="1710" y="6961"/>
                    <a:pt x="1710" y="6961"/>
                    <a:pt x="1710" y="6961"/>
                  </a:cubicBezTo>
                  <a:cubicBezTo>
                    <a:pt x="1709" y="6951"/>
                    <a:pt x="1709" y="6951"/>
                    <a:pt x="1709" y="6951"/>
                  </a:cubicBezTo>
                  <a:cubicBezTo>
                    <a:pt x="1717" y="6949"/>
                    <a:pt x="1717" y="6949"/>
                    <a:pt x="1717" y="6949"/>
                  </a:cubicBezTo>
                  <a:cubicBezTo>
                    <a:pt x="1712" y="6939"/>
                    <a:pt x="1712" y="6939"/>
                    <a:pt x="1712" y="6939"/>
                  </a:cubicBezTo>
                  <a:cubicBezTo>
                    <a:pt x="1721" y="6929"/>
                    <a:pt x="1721" y="6929"/>
                    <a:pt x="1721" y="6929"/>
                  </a:cubicBezTo>
                  <a:cubicBezTo>
                    <a:pt x="1721" y="6929"/>
                    <a:pt x="1713" y="6918"/>
                    <a:pt x="1719" y="6911"/>
                  </a:cubicBezTo>
                  <a:cubicBezTo>
                    <a:pt x="1737" y="6884"/>
                    <a:pt x="1793" y="6901"/>
                    <a:pt x="1793" y="6901"/>
                  </a:cubicBezTo>
                  <a:cubicBezTo>
                    <a:pt x="1793" y="6901"/>
                    <a:pt x="1830" y="6905"/>
                    <a:pt x="1830" y="6903"/>
                  </a:cubicBezTo>
                  <a:cubicBezTo>
                    <a:pt x="1830" y="6901"/>
                    <a:pt x="1839" y="6893"/>
                    <a:pt x="1839" y="6893"/>
                  </a:cubicBezTo>
                  <a:cubicBezTo>
                    <a:pt x="1827" y="6879"/>
                    <a:pt x="1827" y="6879"/>
                    <a:pt x="1827" y="6879"/>
                  </a:cubicBezTo>
                  <a:cubicBezTo>
                    <a:pt x="1833" y="6873"/>
                    <a:pt x="1833" y="6873"/>
                    <a:pt x="1833" y="6873"/>
                  </a:cubicBezTo>
                  <a:cubicBezTo>
                    <a:pt x="1833" y="6873"/>
                    <a:pt x="1835" y="6883"/>
                    <a:pt x="1844" y="6881"/>
                  </a:cubicBezTo>
                  <a:cubicBezTo>
                    <a:pt x="1853" y="6880"/>
                    <a:pt x="1863" y="6860"/>
                    <a:pt x="1863" y="6860"/>
                  </a:cubicBezTo>
                  <a:cubicBezTo>
                    <a:pt x="1868" y="6865"/>
                    <a:pt x="1868" y="6865"/>
                    <a:pt x="1868" y="6865"/>
                  </a:cubicBezTo>
                  <a:cubicBezTo>
                    <a:pt x="1855" y="6884"/>
                    <a:pt x="1855" y="6884"/>
                    <a:pt x="1855" y="6884"/>
                  </a:cubicBezTo>
                  <a:cubicBezTo>
                    <a:pt x="1855" y="6884"/>
                    <a:pt x="1878" y="6903"/>
                    <a:pt x="1869" y="6906"/>
                  </a:cubicBezTo>
                  <a:cubicBezTo>
                    <a:pt x="1859" y="6909"/>
                    <a:pt x="1857" y="6901"/>
                    <a:pt x="1857" y="6901"/>
                  </a:cubicBezTo>
                  <a:cubicBezTo>
                    <a:pt x="1853" y="6906"/>
                    <a:pt x="1853" y="6906"/>
                    <a:pt x="1853" y="6906"/>
                  </a:cubicBezTo>
                  <a:cubicBezTo>
                    <a:pt x="1889" y="6957"/>
                    <a:pt x="1889" y="6957"/>
                    <a:pt x="1889" y="6957"/>
                  </a:cubicBezTo>
                  <a:cubicBezTo>
                    <a:pt x="1915" y="6955"/>
                    <a:pt x="1915" y="6955"/>
                    <a:pt x="1915" y="6955"/>
                  </a:cubicBezTo>
                  <a:cubicBezTo>
                    <a:pt x="1916" y="6945"/>
                    <a:pt x="1916" y="6945"/>
                    <a:pt x="1916" y="6945"/>
                  </a:cubicBezTo>
                  <a:cubicBezTo>
                    <a:pt x="1949" y="6947"/>
                    <a:pt x="1949" y="6947"/>
                    <a:pt x="1949" y="6947"/>
                  </a:cubicBezTo>
                  <a:cubicBezTo>
                    <a:pt x="1949" y="6947"/>
                    <a:pt x="1956" y="6968"/>
                    <a:pt x="1963" y="6968"/>
                  </a:cubicBezTo>
                  <a:cubicBezTo>
                    <a:pt x="1969" y="6968"/>
                    <a:pt x="1981" y="6953"/>
                    <a:pt x="1982" y="6961"/>
                  </a:cubicBezTo>
                  <a:cubicBezTo>
                    <a:pt x="1983" y="6970"/>
                    <a:pt x="1973" y="6971"/>
                    <a:pt x="1973" y="6971"/>
                  </a:cubicBezTo>
                  <a:cubicBezTo>
                    <a:pt x="1966" y="6982"/>
                    <a:pt x="1966" y="6982"/>
                    <a:pt x="1966" y="6982"/>
                  </a:cubicBezTo>
                  <a:cubicBezTo>
                    <a:pt x="1927" y="6984"/>
                    <a:pt x="1927" y="6984"/>
                    <a:pt x="1927" y="6984"/>
                  </a:cubicBezTo>
                  <a:cubicBezTo>
                    <a:pt x="1926" y="6971"/>
                    <a:pt x="1926" y="6971"/>
                    <a:pt x="1926" y="6971"/>
                  </a:cubicBezTo>
                  <a:cubicBezTo>
                    <a:pt x="1890" y="6998"/>
                    <a:pt x="1890" y="6998"/>
                    <a:pt x="1890" y="6998"/>
                  </a:cubicBezTo>
                  <a:cubicBezTo>
                    <a:pt x="1901" y="7011"/>
                    <a:pt x="1901" y="7011"/>
                    <a:pt x="1901" y="7011"/>
                  </a:cubicBezTo>
                  <a:cubicBezTo>
                    <a:pt x="1902" y="7028"/>
                    <a:pt x="1902" y="7028"/>
                    <a:pt x="1902" y="7028"/>
                  </a:cubicBezTo>
                  <a:cubicBezTo>
                    <a:pt x="1902" y="7028"/>
                    <a:pt x="1888" y="7034"/>
                    <a:pt x="1890" y="7035"/>
                  </a:cubicBezTo>
                  <a:cubicBezTo>
                    <a:pt x="1892" y="7037"/>
                    <a:pt x="1904" y="7039"/>
                    <a:pt x="1904" y="7039"/>
                  </a:cubicBezTo>
                  <a:cubicBezTo>
                    <a:pt x="1904" y="7039"/>
                    <a:pt x="1921" y="7061"/>
                    <a:pt x="1932" y="7061"/>
                  </a:cubicBezTo>
                  <a:cubicBezTo>
                    <a:pt x="1943" y="7061"/>
                    <a:pt x="1951" y="7057"/>
                    <a:pt x="1962" y="7057"/>
                  </a:cubicBezTo>
                  <a:cubicBezTo>
                    <a:pt x="1973" y="7057"/>
                    <a:pt x="1971" y="7053"/>
                    <a:pt x="1971" y="7053"/>
                  </a:cubicBezTo>
                  <a:cubicBezTo>
                    <a:pt x="1963" y="7043"/>
                    <a:pt x="1963" y="7043"/>
                    <a:pt x="1963" y="7043"/>
                  </a:cubicBezTo>
                  <a:cubicBezTo>
                    <a:pt x="1963" y="7043"/>
                    <a:pt x="1967" y="7029"/>
                    <a:pt x="1977" y="7029"/>
                  </a:cubicBezTo>
                  <a:cubicBezTo>
                    <a:pt x="1987" y="7030"/>
                    <a:pt x="1987" y="7037"/>
                    <a:pt x="1987" y="7037"/>
                  </a:cubicBezTo>
                  <a:cubicBezTo>
                    <a:pt x="2048" y="7041"/>
                    <a:pt x="2048" y="7041"/>
                    <a:pt x="2048" y="7041"/>
                  </a:cubicBezTo>
                  <a:cubicBezTo>
                    <a:pt x="2048" y="7041"/>
                    <a:pt x="2032" y="7027"/>
                    <a:pt x="2036" y="7020"/>
                  </a:cubicBezTo>
                  <a:cubicBezTo>
                    <a:pt x="2040" y="7013"/>
                    <a:pt x="2049" y="6999"/>
                    <a:pt x="2059" y="6997"/>
                  </a:cubicBezTo>
                  <a:cubicBezTo>
                    <a:pt x="2070" y="6996"/>
                    <a:pt x="2105" y="6997"/>
                    <a:pt x="2105" y="6997"/>
                  </a:cubicBezTo>
                  <a:cubicBezTo>
                    <a:pt x="2131" y="7036"/>
                    <a:pt x="2131" y="7036"/>
                    <a:pt x="2131" y="7036"/>
                  </a:cubicBezTo>
                  <a:cubicBezTo>
                    <a:pt x="2131" y="7036"/>
                    <a:pt x="2149" y="7093"/>
                    <a:pt x="2151" y="7093"/>
                  </a:cubicBezTo>
                  <a:cubicBezTo>
                    <a:pt x="2153" y="7093"/>
                    <a:pt x="2160" y="7093"/>
                    <a:pt x="2160" y="7093"/>
                  </a:cubicBezTo>
                  <a:cubicBezTo>
                    <a:pt x="2162" y="7113"/>
                    <a:pt x="2162" y="7113"/>
                    <a:pt x="2162" y="7113"/>
                  </a:cubicBezTo>
                  <a:cubicBezTo>
                    <a:pt x="2183" y="7115"/>
                    <a:pt x="2183" y="7115"/>
                    <a:pt x="2183" y="7115"/>
                  </a:cubicBezTo>
                  <a:cubicBezTo>
                    <a:pt x="2187" y="7107"/>
                    <a:pt x="2187" y="7107"/>
                    <a:pt x="2187" y="7107"/>
                  </a:cubicBezTo>
                  <a:cubicBezTo>
                    <a:pt x="2187" y="7107"/>
                    <a:pt x="2198" y="7108"/>
                    <a:pt x="2201" y="7128"/>
                  </a:cubicBezTo>
                  <a:cubicBezTo>
                    <a:pt x="2212" y="7135"/>
                    <a:pt x="2240" y="7159"/>
                    <a:pt x="2242" y="7173"/>
                  </a:cubicBezTo>
                  <a:cubicBezTo>
                    <a:pt x="2282" y="7178"/>
                    <a:pt x="2282" y="7178"/>
                    <a:pt x="2282" y="7178"/>
                  </a:cubicBezTo>
                  <a:cubicBezTo>
                    <a:pt x="2289" y="7185"/>
                    <a:pt x="2289" y="7185"/>
                    <a:pt x="2289" y="7185"/>
                  </a:cubicBezTo>
                  <a:cubicBezTo>
                    <a:pt x="2289" y="7185"/>
                    <a:pt x="2347" y="7190"/>
                    <a:pt x="2348" y="7187"/>
                  </a:cubicBezTo>
                  <a:cubicBezTo>
                    <a:pt x="2349" y="7185"/>
                    <a:pt x="2353" y="7178"/>
                    <a:pt x="2353" y="7178"/>
                  </a:cubicBezTo>
                  <a:cubicBezTo>
                    <a:pt x="2353" y="7178"/>
                    <a:pt x="2359" y="7187"/>
                    <a:pt x="2368" y="7186"/>
                  </a:cubicBezTo>
                  <a:cubicBezTo>
                    <a:pt x="2377" y="7185"/>
                    <a:pt x="2392" y="7173"/>
                    <a:pt x="2392" y="7173"/>
                  </a:cubicBezTo>
                  <a:cubicBezTo>
                    <a:pt x="2406" y="7175"/>
                    <a:pt x="2406" y="7175"/>
                    <a:pt x="2406" y="7175"/>
                  </a:cubicBezTo>
                  <a:cubicBezTo>
                    <a:pt x="2409" y="7183"/>
                    <a:pt x="2409" y="7183"/>
                    <a:pt x="2409" y="7183"/>
                  </a:cubicBezTo>
                  <a:cubicBezTo>
                    <a:pt x="2416" y="7174"/>
                    <a:pt x="2416" y="7174"/>
                    <a:pt x="2416" y="7174"/>
                  </a:cubicBezTo>
                  <a:cubicBezTo>
                    <a:pt x="2416" y="7174"/>
                    <a:pt x="2413" y="7135"/>
                    <a:pt x="2435" y="7128"/>
                  </a:cubicBezTo>
                  <a:cubicBezTo>
                    <a:pt x="2437" y="7115"/>
                    <a:pt x="2432" y="7117"/>
                    <a:pt x="2434" y="7115"/>
                  </a:cubicBezTo>
                  <a:cubicBezTo>
                    <a:pt x="2436" y="7113"/>
                    <a:pt x="2499" y="7071"/>
                    <a:pt x="2499" y="7071"/>
                  </a:cubicBezTo>
                  <a:cubicBezTo>
                    <a:pt x="2499" y="7071"/>
                    <a:pt x="2497" y="7059"/>
                    <a:pt x="2500" y="7058"/>
                  </a:cubicBezTo>
                  <a:cubicBezTo>
                    <a:pt x="2503" y="7057"/>
                    <a:pt x="2509" y="7071"/>
                    <a:pt x="2509" y="7071"/>
                  </a:cubicBezTo>
                  <a:cubicBezTo>
                    <a:pt x="2509" y="7071"/>
                    <a:pt x="2536" y="7069"/>
                    <a:pt x="2536" y="7074"/>
                  </a:cubicBezTo>
                  <a:cubicBezTo>
                    <a:pt x="2539" y="7077"/>
                    <a:pt x="2571" y="7066"/>
                    <a:pt x="2571" y="7066"/>
                  </a:cubicBezTo>
                  <a:cubicBezTo>
                    <a:pt x="2571" y="7059"/>
                    <a:pt x="2571" y="7059"/>
                    <a:pt x="2571" y="7059"/>
                  </a:cubicBezTo>
                  <a:cubicBezTo>
                    <a:pt x="2608" y="7037"/>
                    <a:pt x="2608" y="7037"/>
                    <a:pt x="2608" y="7037"/>
                  </a:cubicBezTo>
                  <a:cubicBezTo>
                    <a:pt x="2626" y="7039"/>
                    <a:pt x="2626" y="7039"/>
                    <a:pt x="2626" y="7039"/>
                  </a:cubicBezTo>
                  <a:cubicBezTo>
                    <a:pt x="2640" y="7018"/>
                    <a:pt x="2640" y="7018"/>
                    <a:pt x="2640" y="7018"/>
                  </a:cubicBezTo>
                  <a:cubicBezTo>
                    <a:pt x="2654" y="7019"/>
                    <a:pt x="2654" y="7019"/>
                    <a:pt x="2654" y="7019"/>
                  </a:cubicBezTo>
                  <a:cubicBezTo>
                    <a:pt x="2654" y="7019"/>
                    <a:pt x="2650" y="7001"/>
                    <a:pt x="2656" y="6997"/>
                  </a:cubicBezTo>
                  <a:cubicBezTo>
                    <a:pt x="2662" y="6994"/>
                    <a:pt x="2666" y="6983"/>
                    <a:pt x="2666" y="6983"/>
                  </a:cubicBezTo>
                  <a:cubicBezTo>
                    <a:pt x="2666" y="6983"/>
                    <a:pt x="2663" y="6969"/>
                    <a:pt x="2666" y="6969"/>
                  </a:cubicBezTo>
                  <a:cubicBezTo>
                    <a:pt x="2669" y="6969"/>
                    <a:pt x="2677" y="6956"/>
                    <a:pt x="2688" y="6956"/>
                  </a:cubicBezTo>
                  <a:cubicBezTo>
                    <a:pt x="2699" y="6956"/>
                    <a:pt x="2707" y="6949"/>
                    <a:pt x="2707" y="6949"/>
                  </a:cubicBezTo>
                  <a:cubicBezTo>
                    <a:pt x="2707" y="6949"/>
                    <a:pt x="2726" y="6917"/>
                    <a:pt x="2737" y="6913"/>
                  </a:cubicBezTo>
                  <a:cubicBezTo>
                    <a:pt x="2749" y="6905"/>
                    <a:pt x="2748" y="6903"/>
                    <a:pt x="2748" y="6903"/>
                  </a:cubicBezTo>
                  <a:cubicBezTo>
                    <a:pt x="2759" y="6901"/>
                    <a:pt x="2759" y="6901"/>
                    <a:pt x="2759" y="6901"/>
                  </a:cubicBezTo>
                  <a:cubicBezTo>
                    <a:pt x="2759" y="6901"/>
                    <a:pt x="2762" y="6885"/>
                    <a:pt x="2767" y="6888"/>
                  </a:cubicBezTo>
                  <a:cubicBezTo>
                    <a:pt x="2773" y="6891"/>
                    <a:pt x="2777" y="6898"/>
                    <a:pt x="2777" y="6898"/>
                  </a:cubicBezTo>
                  <a:cubicBezTo>
                    <a:pt x="2777" y="6898"/>
                    <a:pt x="2756" y="6909"/>
                    <a:pt x="2755" y="6914"/>
                  </a:cubicBezTo>
                  <a:cubicBezTo>
                    <a:pt x="2755" y="6919"/>
                    <a:pt x="2731" y="6921"/>
                    <a:pt x="2731" y="6934"/>
                  </a:cubicBezTo>
                  <a:cubicBezTo>
                    <a:pt x="2731" y="6947"/>
                    <a:pt x="2719" y="6959"/>
                    <a:pt x="2719" y="6959"/>
                  </a:cubicBezTo>
                  <a:cubicBezTo>
                    <a:pt x="2719" y="6959"/>
                    <a:pt x="2693" y="6963"/>
                    <a:pt x="2685" y="6997"/>
                  </a:cubicBezTo>
                  <a:cubicBezTo>
                    <a:pt x="2659" y="7029"/>
                    <a:pt x="2655" y="7037"/>
                    <a:pt x="2655" y="7037"/>
                  </a:cubicBezTo>
                  <a:cubicBezTo>
                    <a:pt x="2643" y="7041"/>
                    <a:pt x="2643" y="7041"/>
                    <a:pt x="2643" y="7041"/>
                  </a:cubicBezTo>
                  <a:cubicBezTo>
                    <a:pt x="2643" y="7041"/>
                    <a:pt x="2636" y="7103"/>
                    <a:pt x="2615" y="7104"/>
                  </a:cubicBezTo>
                  <a:cubicBezTo>
                    <a:pt x="2593" y="7105"/>
                    <a:pt x="2577" y="7110"/>
                    <a:pt x="2571" y="7129"/>
                  </a:cubicBezTo>
                  <a:cubicBezTo>
                    <a:pt x="2554" y="7147"/>
                    <a:pt x="2539" y="7180"/>
                    <a:pt x="2539" y="7180"/>
                  </a:cubicBezTo>
                  <a:cubicBezTo>
                    <a:pt x="2539" y="7180"/>
                    <a:pt x="2511" y="7176"/>
                    <a:pt x="2507" y="7181"/>
                  </a:cubicBezTo>
                  <a:cubicBezTo>
                    <a:pt x="2503" y="7187"/>
                    <a:pt x="2509" y="7207"/>
                    <a:pt x="2509" y="7207"/>
                  </a:cubicBezTo>
                  <a:cubicBezTo>
                    <a:pt x="2496" y="7206"/>
                    <a:pt x="2496" y="7206"/>
                    <a:pt x="2496" y="7206"/>
                  </a:cubicBezTo>
                  <a:cubicBezTo>
                    <a:pt x="2496" y="7206"/>
                    <a:pt x="2506" y="7232"/>
                    <a:pt x="2497" y="7233"/>
                  </a:cubicBezTo>
                  <a:cubicBezTo>
                    <a:pt x="2489" y="7235"/>
                    <a:pt x="2481" y="7227"/>
                    <a:pt x="2481" y="7227"/>
                  </a:cubicBezTo>
                  <a:cubicBezTo>
                    <a:pt x="2481" y="7227"/>
                    <a:pt x="2480" y="7243"/>
                    <a:pt x="2487" y="7243"/>
                  </a:cubicBezTo>
                  <a:cubicBezTo>
                    <a:pt x="2486" y="7245"/>
                    <a:pt x="2489" y="7270"/>
                    <a:pt x="2489" y="7270"/>
                  </a:cubicBezTo>
                  <a:cubicBezTo>
                    <a:pt x="2484" y="7274"/>
                    <a:pt x="2484" y="7274"/>
                    <a:pt x="2484" y="7274"/>
                  </a:cubicBezTo>
                  <a:cubicBezTo>
                    <a:pt x="2484" y="7274"/>
                    <a:pt x="2494" y="7314"/>
                    <a:pt x="2494" y="7320"/>
                  </a:cubicBezTo>
                  <a:cubicBezTo>
                    <a:pt x="2494" y="7326"/>
                    <a:pt x="2470" y="7315"/>
                    <a:pt x="2469" y="7332"/>
                  </a:cubicBezTo>
                  <a:cubicBezTo>
                    <a:pt x="2457" y="7334"/>
                    <a:pt x="2451" y="7324"/>
                    <a:pt x="2439" y="7324"/>
                  </a:cubicBezTo>
                  <a:cubicBezTo>
                    <a:pt x="2428" y="7324"/>
                    <a:pt x="2379" y="7343"/>
                    <a:pt x="2379" y="7343"/>
                  </a:cubicBezTo>
                  <a:cubicBezTo>
                    <a:pt x="2306" y="7343"/>
                    <a:pt x="2306" y="7343"/>
                    <a:pt x="2306" y="7343"/>
                  </a:cubicBezTo>
                  <a:cubicBezTo>
                    <a:pt x="2306" y="7343"/>
                    <a:pt x="2272" y="7307"/>
                    <a:pt x="2256" y="7307"/>
                  </a:cubicBezTo>
                  <a:cubicBezTo>
                    <a:pt x="2251" y="7300"/>
                    <a:pt x="2223" y="7291"/>
                    <a:pt x="2219" y="7313"/>
                  </a:cubicBezTo>
                  <a:cubicBezTo>
                    <a:pt x="2209" y="7314"/>
                    <a:pt x="2207" y="7314"/>
                    <a:pt x="2206" y="7314"/>
                  </a:cubicBezTo>
                  <a:cubicBezTo>
                    <a:pt x="2205" y="7314"/>
                    <a:pt x="2196" y="7306"/>
                    <a:pt x="2175" y="7306"/>
                  </a:cubicBezTo>
                  <a:cubicBezTo>
                    <a:pt x="2168" y="7307"/>
                    <a:pt x="2177" y="7295"/>
                    <a:pt x="2148" y="7297"/>
                  </a:cubicBezTo>
                  <a:cubicBezTo>
                    <a:pt x="2137" y="7297"/>
                    <a:pt x="2135" y="7290"/>
                    <a:pt x="2135" y="7290"/>
                  </a:cubicBezTo>
                  <a:cubicBezTo>
                    <a:pt x="2097" y="7304"/>
                    <a:pt x="2097" y="7304"/>
                    <a:pt x="2097" y="7304"/>
                  </a:cubicBezTo>
                  <a:cubicBezTo>
                    <a:pt x="2076" y="7305"/>
                    <a:pt x="2076" y="7305"/>
                    <a:pt x="2076" y="7305"/>
                  </a:cubicBezTo>
                  <a:cubicBezTo>
                    <a:pt x="2072" y="7293"/>
                    <a:pt x="2072" y="7293"/>
                    <a:pt x="2072" y="7293"/>
                  </a:cubicBezTo>
                  <a:cubicBezTo>
                    <a:pt x="2053" y="7310"/>
                    <a:pt x="2053" y="7310"/>
                    <a:pt x="2053" y="7310"/>
                  </a:cubicBezTo>
                  <a:cubicBezTo>
                    <a:pt x="2011" y="7319"/>
                    <a:pt x="2011" y="7319"/>
                    <a:pt x="2011" y="7319"/>
                  </a:cubicBezTo>
                  <a:cubicBezTo>
                    <a:pt x="1996" y="7309"/>
                    <a:pt x="1996" y="7309"/>
                    <a:pt x="1996" y="7309"/>
                  </a:cubicBezTo>
                  <a:cubicBezTo>
                    <a:pt x="1973" y="7312"/>
                    <a:pt x="1973" y="7312"/>
                    <a:pt x="1973" y="7312"/>
                  </a:cubicBezTo>
                  <a:cubicBezTo>
                    <a:pt x="1929" y="7331"/>
                    <a:pt x="1929" y="7331"/>
                    <a:pt x="1929" y="7331"/>
                  </a:cubicBezTo>
                  <a:cubicBezTo>
                    <a:pt x="1929" y="7331"/>
                    <a:pt x="1945" y="7349"/>
                    <a:pt x="1935" y="7359"/>
                  </a:cubicBezTo>
                  <a:cubicBezTo>
                    <a:pt x="1924" y="7369"/>
                    <a:pt x="1915" y="7364"/>
                    <a:pt x="1915" y="7364"/>
                  </a:cubicBezTo>
                  <a:cubicBezTo>
                    <a:pt x="1915" y="7364"/>
                    <a:pt x="1917" y="7392"/>
                    <a:pt x="1929" y="7392"/>
                  </a:cubicBezTo>
                  <a:cubicBezTo>
                    <a:pt x="1937" y="7405"/>
                    <a:pt x="1931" y="7418"/>
                    <a:pt x="1931" y="7418"/>
                  </a:cubicBezTo>
                  <a:cubicBezTo>
                    <a:pt x="1931" y="7418"/>
                    <a:pt x="1954" y="7435"/>
                    <a:pt x="1945" y="7437"/>
                  </a:cubicBezTo>
                  <a:cubicBezTo>
                    <a:pt x="1937" y="7439"/>
                    <a:pt x="1933" y="7430"/>
                    <a:pt x="1933" y="7430"/>
                  </a:cubicBezTo>
                  <a:cubicBezTo>
                    <a:pt x="1933" y="7430"/>
                    <a:pt x="1921" y="7450"/>
                    <a:pt x="1911" y="7450"/>
                  </a:cubicBezTo>
                  <a:cubicBezTo>
                    <a:pt x="1903" y="7465"/>
                    <a:pt x="1888" y="7481"/>
                    <a:pt x="1888" y="7481"/>
                  </a:cubicBezTo>
                  <a:cubicBezTo>
                    <a:pt x="1851" y="7481"/>
                    <a:pt x="1851" y="7481"/>
                    <a:pt x="1851" y="7481"/>
                  </a:cubicBezTo>
                  <a:cubicBezTo>
                    <a:pt x="1842" y="7467"/>
                    <a:pt x="1842" y="7467"/>
                    <a:pt x="1842" y="7467"/>
                  </a:cubicBezTo>
                  <a:cubicBezTo>
                    <a:pt x="1842" y="7467"/>
                    <a:pt x="1825" y="7458"/>
                    <a:pt x="1811" y="7458"/>
                  </a:cubicBezTo>
                  <a:cubicBezTo>
                    <a:pt x="1771" y="7457"/>
                    <a:pt x="1786" y="7506"/>
                    <a:pt x="1786" y="7506"/>
                  </a:cubicBezTo>
                  <a:cubicBezTo>
                    <a:pt x="1769" y="7555"/>
                    <a:pt x="1769" y="7555"/>
                    <a:pt x="1769" y="7555"/>
                  </a:cubicBezTo>
                  <a:cubicBezTo>
                    <a:pt x="1772" y="7565"/>
                    <a:pt x="1772" y="7565"/>
                    <a:pt x="1772" y="7565"/>
                  </a:cubicBezTo>
                  <a:cubicBezTo>
                    <a:pt x="1767" y="7570"/>
                    <a:pt x="1767" y="7570"/>
                    <a:pt x="1767" y="7570"/>
                  </a:cubicBezTo>
                  <a:cubicBezTo>
                    <a:pt x="1777" y="7601"/>
                    <a:pt x="1777" y="7601"/>
                    <a:pt x="1777" y="7601"/>
                  </a:cubicBezTo>
                  <a:cubicBezTo>
                    <a:pt x="1772" y="7610"/>
                    <a:pt x="1772" y="7610"/>
                    <a:pt x="1772" y="7610"/>
                  </a:cubicBezTo>
                  <a:cubicBezTo>
                    <a:pt x="1771" y="7650"/>
                    <a:pt x="1771" y="7650"/>
                    <a:pt x="1771" y="7650"/>
                  </a:cubicBezTo>
                  <a:cubicBezTo>
                    <a:pt x="1733" y="7679"/>
                    <a:pt x="1733" y="7679"/>
                    <a:pt x="1733" y="7679"/>
                  </a:cubicBezTo>
                  <a:cubicBezTo>
                    <a:pt x="1731" y="7705"/>
                    <a:pt x="1731" y="7705"/>
                    <a:pt x="1731" y="7705"/>
                  </a:cubicBezTo>
                  <a:cubicBezTo>
                    <a:pt x="1731" y="7705"/>
                    <a:pt x="1691" y="7723"/>
                    <a:pt x="1695" y="7737"/>
                  </a:cubicBezTo>
                  <a:cubicBezTo>
                    <a:pt x="1681" y="7739"/>
                    <a:pt x="1681" y="7739"/>
                    <a:pt x="1681" y="7739"/>
                  </a:cubicBezTo>
                  <a:cubicBezTo>
                    <a:pt x="1675" y="7777"/>
                    <a:pt x="1675" y="7777"/>
                    <a:pt x="1675" y="7777"/>
                  </a:cubicBezTo>
                  <a:cubicBezTo>
                    <a:pt x="1665" y="7796"/>
                    <a:pt x="1665" y="7796"/>
                    <a:pt x="1665" y="7796"/>
                  </a:cubicBezTo>
                  <a:cubicBezTo>
                    <a:pt x="1631" y="7794"/>
                    <a:pt x="1631" y="7794"/>
                    <a:pt x="1631" y="7794"/>
                  </a:cubicBezTo>
                  <a:cubicBezTo>
                    <a:pt x="1620" y="7807"/>
                    <a:pt x="1620" y="7807"/>
                    <a:pt x="1620" y="7807"/>
                  </a:cubicBezTo>
                  <a:cubicBezTo>
                    <a:pt x="1617" y="7797"/>
                    <a:pt x="1617" y="7797"/>
                    <a:pt x="1617" y="7797"/>
                  </a:cubicBezTo>
                  <a:cubicBezTo>
                    <a:pt x="1601" y="7797"/>
                    <a:pt x="1601" y="7797"/>
                    <a:pt x="1601" y="7797"/>
                  </a:cubicBezTo>
                  <a:cubicBezTo>
                    <a:pt x="1601" y="7797"/>
                    <a:pt x="1604" y="7806"/>
                    <a:pt x="1604" y="7811"/>
                  </a:cubicBezTo>
                  <a:cubicBezTo>
                    <a:pt x="1604" y="7817"/>
                    <a:pt x="1602" y="7824"/>
                    <a:pt x="1602" y="7824"/>
                  </a:cubicBezTo>
                  <a:cubicBezTo>
                    <a:pt x="1602" y="7824"/>
                    <a:pt x="1610" y="7836"/>
                    <a:pt x="1604" y="7837"/>
                  </a:cubicBezTo>
                  <a:cubicBezTo>
                    <a:pt x="1598" y="7837"/>
                    <a:pt x="1593" y="7815"/>
                    <a:pt x="1593" y="7815"/>
                  </a:cubicBezTo>
                  <a:cubicBezTo>
                    <a:pt x="1575" y="7833"/>
                    <a:pt x="1575" y="7833"/>
                    <a:pt x="1575" y="7833"/>
                  </a:cubicBezTo>
                  <a:cubicBezTo>
                    <a:pt x="1575" y="7833"/>
                    <a:pt x="1560" y="7834"/>
                    <a:pt x="1559" y="7829"/>
                  </a:cubicBezTo>
                  <a:cubicBezTo>
                    <a:pt x="1557" y="7823"/>
                    <a:pt x="1550" y="7835"/>
                    <a:pt x="1550" y="7835"/>
                  </a:cubicBezTo>
                  <a:cubicBezTo>
                    <a:pt x="1557" y="7846"/>
                    <a:pt x="1557" y="7846"/>
                    <a:pt x="1557" y="7846"/>
                  </a:cubicBezTo>
                  <a:cubicBezTo>
                    <a:pt x="1557" y="7846"/>
                    <a:pt x="1559" y="7871"/>
                    <a:pt x="1549" y="7871"/>
                  </a:cubicBezTo>
                  <a:cubicBezTo>
                    <a:pt x="1540" y="7871"/>
                    <a:pt x="1554" y="7877"/>
                    <a:pt x="1554" y="7877"/>
                  </a:cubicBezTo>
                  <a:cubicBezTo>
                    <a:pt x="1554" y="7877"/>
                    <a:pt x="1553" y="7937"/>
                    <a:pt x="1539" y="7935"/>
                  </a:cubicBezTo>
                  <a:cubicBezTo>
                    <a:pt x="1526" y="7934"/>
                    <a:pt x="1522" y="7933"/>
                    <a:pt x="1522" y="7933"/>
                  </a:cubicBezTo>
                  <a:cubicBezTo>
                    <a:pt x="1509" y="7947"/>
                    <a:pt x="1509" y="7947"/>
                    <a:pt x="1509" y="7947"/>
                  </a:cubicBezTo>
                  <a:cubicBezTo>
                    <a:pt x="1506" y="7941"/>
                    <a:pt x="1506" y="7941"/>
                    <a:pt x="1506" y="7941"/>
                  </a:cubicBezTo>
                  <a:cubicBezTo>
                    <a:pt x="1494" y="7959"/>
                    <a:pt x="1494" y="7959"/>
                    <a:pt x="1494" y="7959"/>
                  </a:cubicBezTo>
                  <a:cubicBezTo>
                    <a:pt x="1494" y="7959"/>
                    <a:pt x="1499" y="7971"/>
                    <a:pt x="1500" y="7981"/>
                  </a:cubicBezTo>
                  <a:cubicBezTo>
                    <a:pt x="1501" y="7991"/>
                    <a:pt x="1479" y="7997"/>
                    <a:pt x="1479" y="8007"/>
                  </a:cubicBezTo>
                  <a:cubicBezTo>
                    <a:pt x="1468" y="8013"/>
                    <a:pt x="1457" y="8009"/>
                    <a:pt x="1457" y="8009"/>
                  </a:cubicBezTo>
                  <a:cubicBezTo>
                    <a:pt x="1457" y="8037"/>
                    <a:pt x="1457" y="8037"/>
                    <a:pt x="1457" y="8037"/>
                  </a:cubicBezTo>
                  <a:cubicBezTo>
                    <a:pt x="1457" y="8037"/>
                    <a:pt x="1415" y="8056"/>
                    <a:pt x="1419" y="8073"/>
                  </a:cubicBezTo>
                  <a:cubicBezTo>
                    <a:pt x="1381" y="8075"/>
                    <a:pt x="1381" y="8075"/>
                    <a:pt x="1381" y="8075"/>
                  </a:cubicBezTo>
                  <a:cubicBezTo>
                    <a:pt x="1386" y="8085"/>
                    <a:pt x="1386" y="8085"/>
                    <a:pt x="1386" y="8085"/>
                  </a:cubicBezTo>
                  <a:cubicBezTo>
                    <a:pt x="1386" y="8085"/>
                    <a:pt x="1376" y="8111"/>
                    <a:pt x="1363" y="8109"/>
                  </a:cubicBezTo>
                  <a:cubicBezTo>
                    <a:pt x="1349" y="8107"/>
                    <a:pt x="1346" y="8088"/>
                    <a:pt x="1346" y="8088"/>
                  </a:cubicBezTo>
                  <a:cubicBezTo>
                    <a:pt x="1335" y="8089"/>
                    <a:pt x="1335" y="8089"/>
                    <a:pt x="1335" y="8089"/>
                  </a:cubicBezTo>
                  <a:cubicBezTo>
                    <a:pt x="1335" y="8089"/>
                    <a:pt x="1334" y="8093"/>
                    <a:pt x="1332" y="8093"/>
                  </a:cubicBezTo>
                  <a:cubicBezTo>
                    <a:pt x="1330" y="8093"/>
                    <a:pt x="1307" y="8093"/>
                    <a:pt x="1308" y="8109"/>
                  </a:cubicBezTo>
                  <a:cubicBezTo>
                    <a:pt x="1308" y="8109"/>
                    <a:pt x="1268" y="8119"/>
                    <a:pt x="1279" y="8129"/>
                  </a:cubicBezTo>
                  <a:cubicBezTo>
                    <a:pt x="1263" y="8128"/>
                    <a:pt x="1243" y="8137"/>
                    <a:pt x="1243" y="8157"/>
                  </a:cubicBezTo>
                  <a:cubicBezTo>
                    <a:pt x="1233" y="8168"/>
                    <a:pt x="1237" y="8177"/>
                    <a:pt x="1242" y="8179"/>
                  </a:cubicBezTo>
                  <a:cubicBezTo>
                    <a:pt x="1243" y="8181"/>
                    <a:pt x="1244" y="8180"/>
                    <a:pt x="1243" y="8189"/>
                  </a:cubicBezTo>
                  <a:cubicBezTo>
                    <a:pt x="1243" y="8199"/>
                    <a:pt x="1234" y="8205"/>
                    <a:pt x="1234" y="8210"/>
                  </a:cubicBezTo>
                  <a:cubicBezTo>
                    <a:pt x="1234" y="8215"/>
                    <a:pt x="1252" y="8242"/>
                    <a:pt x="1252" y="8242"/>
                  </a:cubicBezTo>
                  <a:cubicBezTo>
                    <a:pt x="1252" y="8242"/>
                    <a:pt x="1267" y="8231"/>
                    <a:pt x="1279" y="8230"/>
                  </a:cubicBezTo>
                  <a:cubicBezTo>
                    <a:pt x="1292" y="8229"/>
                    <a:pt x="1323" y="8221"/>
                    <a:pt x="1318" y="8208"/>
                  </a:cubicBezTo>
                  <a:cubicBezTo>
                    <a:pt x="1313" y="8195"/>
                    <a:pt x="1310" y="8183"/>
                    <a:pt x="1312" y="8183"/>
                  </a:cubicBezTo>
                  <a:cubicBezTo>
                    <a:pt x="1314" y="8183"/>
                    <a:pt x="1329" y="8171"/>
                    <a:pt x="1329" y="8171"/>
                  </a:cubicBezTo>
                  <a:cubicBezTo>
                    <a:pt x="1329" y="8171"/>
                    <a:pt x="1366" y="8168"/>
                    <a:pt x="1367" y="8191"/>
                  </a:cubicBezTo>
                  <a:cubicBezTo>
                    <a:pt x="1367" y="8189"/>
                    <a:pt x="1385" y="8173"/>
                    <a:pt x="1397" y="8199"/>
                  </a:cubicBezTo>
                  <a:cubicBezTo>
                    <a:pt x="1397" y="8199"/>
                    <a:pt x="1429" y="8197"/>
                    <a:pt x="1438" y="8237"/>
                  </a:cubicBezTo>
                  <a:cubicBezTo>
                    <a:pt x="1444" y="8240"/>
                    <a:pt x="1444" y="8240"/>
                    <a:pt x="1444" y="8240"/>
                  </a:cubicBezTo>
                  <a:cubicBezTo>
                    <a:pt x="1444" y="8273"/>
                    <a:pt x="1444" y="8273"/>
                    <a:pt x="1444" y="8273"/>
                  </a:cubicBezTo>
                  <a:cubicBezTo>
                    <a:pt x="1444" y="8273"/>
                    <a:pt x="1463" y="8308"/>
                    <a:pt x="1472" y="8306"/>
                  </a:cubicBezTo>
                  <a:cubicBezTo>
                    <a:pt x="1481" y="8304"/>
                    <a:pt x="1486" y="8271"/>
                    <a:pt x="1486" y="8271"/>
                  </a:cubicBezTo>
                  <a:cubicBezTo>
                    <a:pt x="1519" y="8271"/>
                    <a:pt x="1519" y="8271"/>
                    <a:pt x="1519" y="8271"/>
                  </a:cubicBezTo>
                  <a:cubicBezTo>
                    <a:pt x="1519" y="8271"/>
                    <a:pt x="1525" y="8257"/>
                    <a:pt x="1524" y="8251"/>
                  </a:cubicBezTo>
                  <a:cubicBezTo>
                    <a:pt x="1523" y="8244"/>
                    <a:pt x="1547" y="8235"/>
                    <a:pt x="1542" y="8227"/>
                  </a:cubicBezTo>
                  <a:cubicBezTo>
                    <a:pt x="1537" y="8218"/>
                    <a:pt x="1533" y="8208"/>
                    <a:pt x="1533" y="8200"/>
                  </a:cubicBezTo>
                  <a:cubicBezTo>
                    <a:pt x="1529" y="8203"/>
                    <a:pt x="1517" y="8197"/>
                    <a:pt x="1517" y="8197"/>
                  </a:cubicBezTo>
                  <a:cubicBezTo>
                    <a:pt x="1532" y="8184"/>
                    <a:pt x="1532" y="8184"/>
                    <a:pt x="1532" y="8184"/>
                  </a:cubicBezTo>
                  <a:cubicBezTo>
                    <a:pt x="1527" y="8174"/>
                    <a:pt x="1527" y="8174"/>
                    <a:pt x="1527" y="8174"/>
                  </a:cubicBezTo>
                  <a:cubicBezTo>
                    <a:pt x="1547" y="8163"/>
                    <a:pt x="1547" y="8163"/>
                    <a:pt x="1547" y="8163"/>
                  </a:cubicBezTo>
                  <a:cubicBezTo>
                    <a:pt x="1547" y="8163"/>
                    <a:pt x="1536" y="8113"/>
                    <a:pt x="1544" y="8111"/>
                  </a:cubicBezTo>
                  <a:cubicBezTo>
                    <a:pt x="1552" y="8110"/>
                    <a:pt x="1552" y="8146"/>
                    <a:pt x="1555" y="8149"/>
                  </a:cubicBezTo>
                  <a:cubicBezTo>
                    <a:pt x="1559" y="8153"/>
                    <a:pt x="1563" y="8165"/>
                    <a:pt x="1563" y="8165"/>
                  </a:cubicBezTo>
                  <a:cubicBezTo>
                    <a:pt x="1584" y="8140"/>
                    <a:pt x="1584" y="8140"/>
                    <a:pt x="1584" y="8140"/>
                  </a:cubicBezTo>
                  <a:cubicBezTo>
                    <a:pt x="1584" y="8140"/>
                    <a:pt x="1586" y="8089"/>
                    <a:pt x="1605" y="8121"/>
                  </a:cubicBezTo>
                  <a:cubicBezTo>
                    <a:pt x="1603" y="8114"/>
                    <a:pt x="1628" y="8093"/>
                    <a:pt x="1628" y="8093"/>
                  </a:cubicBezTo>
                  <a:cubicBezTo>
                    <a:pt x="1653" y="8091"/>
                    <a:pt x="1653" y="8091"/>
                    <a:pt x="1653" y="8091"/>
                  </a:cubicBezTo>
                  <a:cubicBezTo>
                    <a:pt x="1657" y="8097"/>
                    <a:pt x="1657" y="8097"/>
                    <a:pt x="1657" y="8097"/>
                  </a:cubicBezTo>
                  <a:cubicBezTo>
                    <a:pt x="1678" y="8074"/>
                    <a:pt x="1678" y="8074"/>
                    <a:pt x="1678" y="8074"/>
                  </a:cubicBezTo>
                  <a:cubicBezTo>
                    <a:pt x="1667" y="8045"/>
                    <a:pt x="1667" y="8045"/>
                    <a:pt x="1667" y="8045"/>
                  </a:cubicBezTo>
                  <a:cubicBezTo>
                    <a:pt x="1687" y="8034"/>
                    <a:pt x="1687" y="8034"/>
                    <a:pt x="1687" y="8034"/>
                  </a:cubicBezTo>
                  <a:cubicBezTo>
                    <a:pt x="1675" y="8014"/>
                    <a:pt x="1675" y="8014"/>
                    <a:pt x="1675" y="8014"/>
                  </a:cubicBezTo>
                  <a:cubicBezTo>
                    <a:pt x="1712" y="7999"/>
                    <a:pt x="1712" y="7999"/>
                    <a:pt x="1712" y="7999"/>
                  </a:cubicBezTo>
                  <a:cubicBezTo>
                    <a:pt x="1714" y="8023"/>
                    <a:pt x="1714" y="8023"/>
                    <a:pt x="1714" y="8023"/>
                  </a:cubicBezTo>
                  <a:cubicBezTo>
                    <a:pt x="1714" y="8023"/>
                    <a:pt x="1730" y="8015"/>
                    <a:pt x="1739" y="8015"/>
                  </a:cubicBezTo>
                  <a:cubicBezTo>
                    <a:pt x="1740" y="8013"/>
                    <a:pt x="1741" y="8017"/>
                    <a:pt x="1741" y="8020"/>
                  </a:cubicBezTo>
                  <a:cubicBezTo>
                    <a:pt x="1742" y="8017"/>
                    <a:pt x="1752" y="8014"/>
                    <a:pt x="1796" y="8016"/>
                  </a:cubicBezTo>
                  <a:cubicBezTo>
                    <a:pt x="1797" y="8007"/>
                    <a:pt x="1797" y="8007"/>
                    <a:pt x="1797" y="8007"/>
                  </a:cubicBezTo>
                  <a:cubicBezTo>
                    <a:pt x="1818" y="8010"/>
                    <a:pt x="1818" y="8010"/>
                    <a:pt x="1818" y="8010"/>
                  </a:cubicBezTo>
                  <a:cubicBezTo>
                    <a:pt x="1829" y="7989"/>
                    <a:pt x="1829" y="7989"/>
                    <a:pt x="1829" y="7989"/>
                  </a:cubicBezTo>
                  <a:cubicBezTo>
                    <a:pt x="1885" y="7989"/>
                    <a:pt x="1885" y="7989"/>
                    <a:pt x="1885" y="7989"/>
                  </a:cubicBezTo>
                  <a:cubicBezTo>
                    <a:pt x="1921" y="8009"/>
                    <a:pt x="1921" y="8009"/>
                    <a:pt x="1921" y="8009"/>
                  </a:cubicBezTo>
                  <a:cubicBezTo>
                    <a:pt x="1925" y="8033"/>
                    <a:pt x="1925" y="8033"/>
                    <a:pt x="1925" y="8033"/>
                  </a:cubicBezTo>
                  <a:cubicBezTo>
                    <a:pt x="1939" y="8024"/>
                    <a:pt x="1939" y="8024"/>
                    <a:pt x="1939" y="8024"/>
                  </a:cubicBezTo>
                  <a:cubicBezTo>
                    <a:pt x="1939" y="8013"/>
                    <a:pt x="1939" y="8013"/>
                    <a:pt x="1939" y="8013"/>
                  </a:cubicBezTo>
                  <a:cubicBezTo>
                    <a:pt x="1939" y="8013"/>
                    <a:pt x="1949" y="8013"/>
                    <a:pt x="1959" y="7993"/>
                  </a:cubicBezTo>
                  <a:cubicBezTo>
                    <a:pt x="1969" y="7993"/>
                    <a:pt x="1969" y="7993"/>
                    <a:pt x="1969" y="7993"/>
                  </a:cubicBezTo>
                  <a:cubicBezTo>
                    <a:pt x="1973" y="8026"/>
                    <a:pt x="1973" y="8026"/>
                    <a:pt x="1973" y="8026"/>
                  </a:cubicBezTo>
                  <a:cubicBezTo>
                    <a:pt x="1991" y="8026"/>
                    <a:pt x="1991" y="8026"/>
                    <a:pt x="1991" y="8026"/>
                  </a:cubicBezTo>
                  <a:cubicBezTo>
                    <a:pt x="2010" y="8049"/>
                    <a:pt x="2010" y="8049"/>
                    <a:pt x="2010" y="8049"/>
                  </a:cubicBezTo>
                  <a:cubicBezTo>
                    <a:pt x="2021" y="8049"/>
                    <a:pt x="2021" y="8049"/>
                    <a:pt x="2021" y="8049"/>
                  </a:cubicBezTo>
                  <a:cubicBezTo>
                    <a:pt x="2037" y="8035"/>
                    <a:pt x="2037" y="8035"/>
                    <a:pt x="2037" y="8035"/>
                  </a:cubicBezTo>
                  <a:cubicBezTo>
                    <a:pt x="2037" y="8035"/>
                    <a:pt x="2119" y="8068"/>
                    <a:pt x="2092" y="8089"/>
                  </a:cubicBezTo>
                  <a:cubicBezTo>
                    <a:pt x="2092" y="8089"/>
                    <a:pt x="2113" y="8117"/>
                    <a:pt x="2120" y="8117"/>
                  </a:cubicBezTo>
                  <a:cubicBezTo>
                    <a:pt x="2127" y="8117"/>
                    <a:pt x="2133" y="8105"/>
                    <a:pt x="2139" y="8105"/>
                  </a:cubicBezTo>
                  <a:cubicBezTo>
                    <a:pt x="2146" y="8105"/>
                    <a:pt x="2158" y="8126"/>
                    <a:pt x="2158" y="8126"/>
                  </a:cubicBezTo>
                  <a:cubicBezTo>
                    <a:pt x="2158" y="8126"/>
                    <a:pt x="2185" y="8109"/>
                    <a:pt x="2193" y="8109"/>
                  </a:cubicBezTo>
                  <a:cubicBezTo>
                    <a:pt x="2200" y="8109"/>
                    <a:pt x="2173" y="8047"/>
                    <a:pt x="2223" y="8026"/>
                  </a:cubicBezTo>
                  <a:cubicBezTo>
                    <a:pt x="2272" y="8005"/>
                    <a:pt x="2259" y="7993"/>
                    <a:pt x="2260" y="7986"/>
                  </a:cubicBezTo>
                  <a:cubicBezTo>
                    <a:pt x="2261" y="7979"/>
                    <a:pt x="2274" y="7970"/>
                    <a:pt x="2273" y="7965"/>
                  </a:cubicBezTo>
                  <a:cubicBezTo>
                    <a:pt x="2273" y="7959"/>
                    <a:pt x="2240" y="7961"/>
                    <a:pt x="2240" y="7961"/>
                  </a:cubicBezTo>
                  <a:cubicBezTo>
                    <a:pt x="2240" y="7961"/>
                    <a:pt x="2236" y="7897"/>
                    <a:pt x="2252" y="7925"/>
                  </a:cubicBezTo>
                  <a:cubicBezTo>
                    <a:pt x="2269" y="7916"/>
                    <a:pt x="2276" y="7916"/>
                    <a:pt x="2276" y="7916"/>
                  </a:cubicBezTo>
                  <a:cubicBezTo>
                    <a:pt x="2259" y="7898"/>
                    <a:pt x="2259" y="7898"/>
                    <a:pt x="2259" y="7898"/>
                  </a:cubicBezTo>
                  <a:cubicBezTo>
                    <a:pt x="2259" y="7898"/>
                    <a:pt x="2242" y="7875"/>
                    <a:pt x="2297" y="7803"/>
                  </a:cubicBezTo>
                  <a:cubicBezTo>
                    <a:pt x="2283" y="7790"/>
                    <a:pt x="2287" y="7789"/>
                    <a:pt x="2287" y="7789"/>
                  </a:cubicBezTo>
                  <a:cubicBezTo>
                    <a:pt x="2288" y="7762"/>
                    <a:pt x="2288" y="7762"/>
                    <a:pt x="2288" y="7762"/>
                  </a:cubicBezTo>
                  <a:cubicBezTo>
                    <a:pt x="2277" y="7751"/>
                    <a:pt x="2277" y="7751"/>
                    <a:pt x="2277" y="7751"/>
                  </a:cubicBezTo>
                  <a:cubicBezTo>
                    <a:pt x="2282" y="7745"/>
                    <a:pt x="2282" y="7745"/>
                    <a:pt x="2282" y="7745"/>
                  </a:cubicBezTo>
                  <a:cubicBezTo>
                    <a:pt x="2282" y="7745"/>
                    <a:pt x="2295" y="7751"/>
                    <a:pt x="2300" y="7789"/>
                  </a:cubicBezTo>
                  <a:cubicBezTo>
                    <a:pt x="2324" y="7813"/>
                    <a:pt x="2324" y="7806"/>
                    <a:pt x="2324" y="7806"/>
                  </a:cubicBezTo>
                  <a:cubicBezTo>
                    <a:pt x="2333" y="7790"/>
                    <a:pt x="2333" y="7790"/>
                    <a:pt x="2333" y="7790"/>
                  </a:cubicBezTo>
                  <a:cubicBezTo>
                    <a:pt x="2351" y="7786"/>
                    <a:pt x="2351" y="7786"/>
                    <a:pt x="2351" y="7786"/>
                  </a:cubicBezTo>
                  <a:cubicBezTo>
                    <a:pt x="2377" y="7751"/>
                    <a:pt x="2377" y="7751"/>
                    <a:pt x="2377" y="7751"/>
                  </a:cubicBezTo>
                  <a:cubicBezTo>
                    <a:pt x="2449" y="7743"/>
                    <a:pt x="2449" y="7743"/>
                    <a:pt x="2449" y="7743"/>
                  </a:cubicBezTo>
                  <a:cubicBezTo>
                    <a:pt x="2451" y="7729"/>
                    <a:pt x="2451" y="7729"/>
                    <a:pt x="2451" y="7729"/>
                  </a:cubicBezTo>
                  <a:cubicBezTo>
                    <a:pt x="2503" y="7731"/>
                    <a:pt x="2503" y="7731"/>
                    <a:pt x="2503" y="7731"/>
                  </a:cubicBezTo>
                  <a:cubicBezTo>
                    <a:pt x="2527" y="7710"/>
                    <a:pt x="2527" y="7710"/>
                    <a:pt x="2527" y="7710"/>
                  </a:cubicBezTo>
                  <a:cubicBezTo>
                    <a:pt x="2527" y="7710"/>
                    <a:pt x="2610" y="7693"/>
                    <a:pt x="2735" y="7837"/>
                  </a:cubicBezTo>
                  <a:cubicBezTo>
                    <a:pt x="2747" y="7845"/>
                    <a:pt x="2747" y="7845"/>
                    <a:pt x="2747" y="7845"/>
                  </a:cubicBezTo>
                  <a:cubicBezTo>
                    <a:pt x="2748" y="7856"/>
                    <a:pt x="2748" y="7856"/>
                    <a:pt x="2748" y="7856"/>
                  </a:cubicBezTo>
                  <a:cubicBezTo>
                    <a:pt x="2743" y="7857"/>
                    <a:pt x="2743" y="7857"/>
                    <a:pt x="2743" y="7857"/>
                  </a:cubicBezTo>
                  <a:cubicBezTo>
                    <a:pt x="2743" y="7885"/>
                    <a:pt x="2743" y="7885"/>
                    <a:pt x="2743" y="7885"/>
                  </a:cubicBezTo>
                  <a:cubicBezTo>
                    <a:pt x="2765" y="7853"/>
                    <a:pt x="2765" y="7853"/>
                    <a:pt x="2765" y="7853"/>
                  </a:cubicBezTo>
                  <a:cubicBezTo>
                    <a:pt x="2755" y="7835"/>
                    <a:pt x="2755" y="7835"/>
                    <a:pt x="2755" y="7835"/>
                  </a:cubicBezTo>
                  <a:cubicBezTo>
                    <a:pt x="2741" y="7835"/>
                    <a:pt x="2741" y="7835"/>
                    <a:pt x="2741" y="7835"/>
                  </a:cubicBezTo>
                  <a:cubicBezTo>
                    <a:pt x="2741" y="7835"/>
                    <a:pt x="2737" y="7820"/>
                    <a:pt x="2755" y="7794"/>
                  </a:cubicBezTo>
                  <a:cubicBezTo>
                    <a:pt x="2761" y="7779"/>
                    <a:pt x="2761" y="7782"/>
                    <a:pt x="2761" y="7782"/>
                  </a:cubicBezTo>
                  <a:cubicBezTo>
                    <a:pt x="2770" y="7792"/>
                    <a:pt x="2770" y="7792"/>
                    <a:pt x="2770" y="7792"/>
                  </a:cubicBezTo>
                  <a:cubicBezTo>
                    <a:pt x="2776" y="7784"/>
                    <a:pt x="2776" y="7784"/>
                    <a:pt x="2776" y="7784"/>
                  </a:cubicBezTo>
                  <a:cubicBezTo>
                    <a:pt x="2781" y="7793"/>
                    <a:pt x="2781" y="7793"/>
                    <a:pt x="2781" y="7793"/>
                  </a:cubicBezTo>
                  <a:cubicBezTo>
                    <a:pt x="2781" y="7793"/>
                    <a:pt x="2821" y="7803"/>
                    <a:pt x="2869" y="7801"/>
                  </a:cubicBezTo>
                  <a:cubicBezTo>
                    <a:pt x="2871" y="7803"/>
                    <a:pt x="2870" y="7806"/>
                    <a:pt x="2870" y="7806"/>
                  </a:cubicBezTo>
                  <a:cubicBezTo>
                    <a:pt x="2893" y="7807"/>
                    <a:pt x="2893" y="7807"/>
                    <a:pt x="2893" y="7807"/>
                  </a:cubicBezTo>
                  <a:cubicBezTo>
                    <a:pt x="2905" y="7821"/>
                    <a:pt x="2905" y="7821"/>
                    <a:pt x="2905" y="7821"/>
                  </a:cubicBezTo>
                  <a:cubicBezTo>
                    <a:pt x="2923" y="7823"/>
                    <a:pt x="2923" y="7823"/>
                    <a:pt x="2923" y="7823"/>
                  </a:cubicBezTo>
                  <a:cubicBezTo>
                    <a:pt x="2923" y="7823"/>
                    <a:pt x="2925" y="7838"/>
                    <a:pt x="2931" y="7838"/>
                  </a:cubicBezTo>
                  <a:cubicBezTo>
                    <a:pt x="2938" y="7838"/>
                    <a:pt x="2950" y="7827"/>
                    <a:pt x="2950" y="7827"/>
                  </a:cubicBezTo>
                  <a:cubicBezTo>
                    <a:pt x="2979" y="7826"/>
                    <a:pt x="2979" y="7826"/>
                    <a:pt x="2979" y="7826"/>
                  </a:cubicBezTo>
                  <a:cubicBezTo>
                    <a:pt x="2980" y="7799"/>
                    <a:pt x="2980" y="7799"/>
                    <a:pt x="2980" y="7799"/>
                  </a:cubicBezTo>
                  <a:cubicBezTo>
                    <a:pt x="2980" y="7799"/>
                    <a:pt x="2991" y="7793"/>
                    <a:pt x="2991" y="7787"/>
                  </a:cubicBezTo>
                  <a:cubicBezTo>
                    <a:pt x="2991" y="7780"/>
                    <a:pt x="2980" y="7780"/>
                    <a:pt x="2980" y="7780"/>
                  </a:cubicBezTo>
                  <a:cubicBezTo>
                    <a:pt x="2980" y="7780"/>
                    <a:pt x="2975" y="7739"/>
                    <a:pt x="3022" y="7727"/>
                  </a:cubicBezTo>
                  <a:cubicBezTo>
                    <a:pt x="3069" y="7715"/>
                    <a:pt x="3073" y="7735"/>
                    <a:pt x="3073" y="7735"/>
                  </a:cubicBezTo>
                  <a:cubicBezTo>
                    <a:pt x="3073" y="7735"/>
                    <a:pt x="3079" y="7712"/>
                    <a:pt x="3100" y="7712"/>
                  </a:cubicBezTo>
                  <a:cubicBezTo>
                    <a:pt x="3121" y="7712"/>
                    <a:pt x="3165" y="7739"/>
                    <a:pt x="3165" y="7739"/>
                  </a:cubicBezTo>
                  <a:cubicBezTo>
                    <a:pt x="3177" y="7701"/>
                    <a:pt x="3177" y="7701"/>
                    <a:pt x="3177" y="7701"/>
                  </a:cubicBezTo>
                  <a:cubicBezTo>
                    <a:pt x="3210" y="7702"/>
                    <a:pt x="3210" y="7702"/>
                    <a:pt x="3210" y="7702"/>
                  </a:cubicBezTo>
                  <a:cubicBezTo>
                    <a:pt x="3210" y="7691"/>
                    <a:pt x="3210" y="7691"/>
                    <a:pt x="3210" y="7691"/>
                  </a:cubicBezTo>
                  <a:cubicBezTo>
                    <a:pt x="3234" y="7694"/>
                    <a:pt x="3234" y="7694"/>
                    <a:pt x="3234" y="7694"/>
                  </a:cubicBezTo>
                  <a:cubicBezTo>
                    <a:pt x="3236" y="7683"/>
                    <a:pt x="3236" y="7683"/>
                    <a:pt x="3236" y="7683"/>
                  </a:cubicBezTo>
                  <a:cubicBezTo>
                    <a:pt x="3263" y="7679"/>
                    <a:pt x="3263" y="7679"/>
                    <a:pt x="3263" y="7679"/>
                  </a:cubicBezTo>
                  <a:cubicBezTo>
                    <a:pt x="3276" y="7650"/>
                    <a:pt x="3276" y="7650"/>
                    <a:pt x="3276" y="7650"/>
                  </a:cubicBezTo>
                  <a:cubicBezTo>
                    <a:pt x="3276" y="7650"/>
                    <a:pt x="3263" y="7645"/>
                    <a:pt x="3263" y="7629"/>
                  </a:cubicBezTo>
                  <a:cubicBezTo>
                    <a:pt x="3251" y="7626"/>
                    <a:pt x="3251" y="7626"/>
                    <a:pt x="3251" y="7626"/>
                  </a:cubicBezTo>
                  <a:cubicBezTo>
                    <a:pt x="3238" y="7609"/>
                    <a:pt x="3238" y="7609"/>
                    <a:pt x="3238" y="7609"/>
                  </a:cubicBezTo>
                  <a:cubicBezTo>
                    <a:pt x="3240" y="7593"/>
                    <a:pt x="3240" y="7593"/>
                    <a:pt x="3240" y="7593"/>
                  </a:cubicBezTo>
                  <a:cubicBezTo>
                    <a:pt x="3285" y="7645"/>
                    <a:pt x="3285" y="7645"/>
                    <a:pt x="3285" y="7645"/>
                  </a:cubicBezTo>
                  <a:cubicBezTo>
                    <a:pt x="3300" y="7645"/>
                    <a:pt x="3300" y="7645"/>
                    <a:pt x="3300" y="7645"/>
                  </a:cubicBezTo>
                  <a:cubicBezTo>
                    <a:pt x="3334" y="7683"/>
                    <a:pt x="3334" y="7683"/>
                    <a:pt x="3334" y="7683"/>
                  </a:cubicBezTo>
                  <a:cubicBezTo>
                    <a:pt x="3348" y="7682"/>
                    <a:pt x="3348" y="7682"/>
                    <a:pt x="3348" y="7682"/>
                  </a:cubicBezTo>
                  <a:cubicBezTo>
                    <a:pt x="3355" y="7687"/>
                    <a:pt x="3355" y="7687"/>
                    <a:pt x="3355" y="7687"/>
                  </a:cubicBezTo>
                  <a:cubicBezTo>
                    <a:pt x="3366" y="7673"/>
                    <a:pt x="3366" y="7673"/>
                    <a:pt x="3366" y="7673"/>
                  </a:cubicBezTo>
                  <a:cubicBezTo>
                    <a:pt x="3351" y="7644"/>
                    <a:pt x="3351" y="7644"/>
                    <a:pt x="3351" y="7644"/>
                  </a:cubicBezTo>
                  <a:cubicBezTo>
                    <a:pt x="3371" y="7643"/>
                    <a:pt x="3371" y="7643"/>
                    <a:pt x="3371" y="7643"/>
                  </a:cubicBezTo>
                  <a:cubicBezTo>
                    <a:pt x="3371" y="7681"/>
                    <a:pt x="3371" y="7681"/>
                    <a:pt x="3371" y="7681"/>
                  </a:cubicBezTo>
                  <a:cubicBezTo>
                    <a:pt x="3371" y="7681"/>
                    <a:pt x="3379" y="7692"/>
                    <a:pt x="3385" y="7692"/>
                  </a:cubicBezTo>
                  <a:cubicBezTo>
                    <a:pt x="3391" y="7692"/>
                    <a:pt x="3391" y="7685"/>
                    <a:pt x="3391" y="7685"/>
                  </a:cubicBezTo>
                  <a:cubicBezTo>
                    <a:pt x="3434" y="7685"/>
                    <a:pt x="3434" y="7685"/>
                    <a:pt x="3434" y="7685"/>
                  </a:cubicBezTo>
                  <a:cubicBezTo>
                    <a:pt x="3434" y="7685"/>
                    <a:pt x="3439" y="7699"/>
                    <a:pt x="3447" y="7690"/>
                  </a:cubicBezTo>
                  <a:cubicBezTo>
                    <a:pt x="3456" y="7681"/>
                    <a:pt x="3439" y="7679"/>
                    <a:pt x="3439" y="7679"/>
                  </a:cubicBezTo>
                  <a:cubicBezTo>
                    <a:pt x="3439" y="7679"/>
                    <a:pt x="3438" y="7652"/>
                    <a:pt x="3455" y="7667"/>
                  </a:cubicBezTo>
                  <a:cubicBezTo>
                    <a:pt x="3458" y="7669"/>
                    <a:pt x="3469" y="7669"/>
                    <a:pt x="3459" y="7652"/>
                  </a:cubicBezTo>
                  <a:cubicBezTo>
                    <a:pt x="3449" y="7635"/>
                    <a:pt x="3459" y="7640"/>
                    <a:pt x="3459" y="7640"/>
                  </a:cubicBezTo>
                  <a:cubicBezTo>
                    <a:pt x="3459" y="7640"/>
                    <a:pt x="3489" y="7669"/>
                    <a:pt x="3457" y="7681"/>
                  </a:cubicBezTo>
                  <a:cubicBezTo>
                    <a:pt x="3473" y="7701"/>
                    <a:pt x="3479" y="7707"/>
                    <a:pt x="3479" y="7707"/>
                  </a:cubicBezTo>
                  <a:cubicBezTo>
                    <a:pt x="3493" y="7706"/>
                    <a:pt x="3493" y="7706"/>
                    <a:pt x="3493" y="7706"/>
                  </a:cubicBezTo>
                  <a:cubicBezTo>
                    <a:pt x="3513" y="7737"/>
                    <a:pt x="3513" y="7737"/>
                    <a:pt x="3513" y="7737"/>
                  </a:cubicBezTo>
                  <a:cubicBezTo>
                    <a:pt x="3513" y="7737"/>
                    <a:pt x="3520" y="7743"/>
                    <a:pt x="3533" y="7705"/>
                  </a:cubicBezTo>
                  <a:cubicBezTo>
                    <a:pt x="3574" y="7689"/>
                    <a:pt x="3615" y="7675"/>
                    <a:pt x="3615" y="7675"/>
                  </a:cubicBezTo>
                  <a:cubicBezTo>
                    <a:pt x="3693" y="7678"/>
                    <a:pt x="3693" y="7678"/>
                    <a:pt x="3693" y="7678"/>
                  </a:cubicBezTo>
                  <a:cubicBezTo>
                    <a:pt x="3693" y="7678"/>
                    <a:pt x="3735" y="7655"/>
                    <a:pt x="3766" y="7655"/>
                  </a:cubicBezTo>
                  <a:cubicBezTo>
                    <a:pt x="3797" y="7655"/>
                    <a:pt x="3872" y="7680"/>
                    <a:pt x="3887" y="7694"/>
                  </a:cubicBezTo>
                  <a:cubicBezTo>
                    <a:pt x="3906" y="7693"/>
                    <a:pt x="3921" y="7693"/>
                    <a:pt x="3921" y="7693"/>
                  </a:cubicBezTo>
                  <a:cubicBezTo>
                    <a:pt x="3921" y="7693"/>
                    <a:pt x="3935" y="7717"/>
                    <a:pt x="3937" y="7717"/>
                  </a:cubicBezTo>
                  <a:cubicBezTo>
                    <a:pt x="3939" y="7717"/>
                    <a:pt x="3963" y="7717"/>
                    <a:pt x="3963" y="7717"/>
                  </a:cubicBezTo>
                  <a:cubicBezTo>
                    <a:pt x="3992" y="7737"/>
                    <a:pt x="3992" y="7737"/>
                    <a:pt x="3992" y="7737"/>
                  </a:cubicBezTo>
                  <a:cubicBezTo>
                    <a:pt x="4039" y="7695"/>
                    <a:pt x="4039" y="7695"/>
                    <a:pt x="4039" y="7695"/>
                  </a:cubicBezTo>
                  <a:cubicBezTo>
                    <a:pt x="4039" y="7695"/>
                    <a:pt x="4039" y="7661"/>
                    <a:pt x="4104" y="7657"/>
                  </a:cubicBezTo>
                  <a:cubicBezTo>
                    <a:pt x="4169" y="7653"/>
                    <a:pt x="4184" y="7632"/>
                    <a:pt x="4184" y="7632"/>
                  </a:cubicBezTo>
                  <a:cubicBezTo>
                    <a:pt x="4238" y="7585"/>
                    <a:pt x="4238" y="7585"/>
                    <a:pt x="4238" y="7585"/>
                  </a:cubicBezTo>
                  <a:cubicBezTo>
                    <a:pt x="4331" y="7604"/>
                    <a:pt x="4331" y="7604"/>
                    <a:pt x="4331" y="7604"/>
                  </a:cubicBezTo>
                  <a:cubicBezTo>
                    <a:pt x="4334" y="7579"/>
                    <a:pt x="4334" y="7579"/>
                    <a:pt x="4334" y="7579"/>
                  </a:cubicBezTo>
                  <a:cubicBezTo>
                    <a:pt x="4326" y="7577"/>
                    <a:pt x="4326" y="7577"/>
                    <a:pt x="4326" y="7577"/>
                  </a:cubicBezTo>
                  <a:cubicBezTo>
                    <a:pt x="4326" y="7577"/>
                    <a:pt x="4305" y="7475"/>
                    <a:pt x="4429" y="7477"/>
                  </a:cubicBezTo>
                  <a:cubicBezTo>
                    <a:pt x="4451" y="7455"/>
                    <a:pt x="4443" y="7455"/>
                    <a:pt x="4443" y="7455"/>
                  </a:cubicBezTo>
                  <a:cubicBezTo>
                    <a:pt x="4443" y="7455"/>
                    <a:pt x="4484" y="7454"/>
                    <a:pt x="4495" y="7441"/>
                  </a:cubicBezTo>
                  <a:cubicBezTo>
                    <a:pt x="4507" y="7427"/>
                    <a:pt x="4522" y="7424"/>
                    <a:pt x="4529" y="7409"/>
                  </a:cubicBezTo>
                  <a:cubicBezTo>
                    <a:pt x="4527" y="7393"/>
                    <a:pt x="4527" y="7343"/>
                    <a:pt x="4527" y="7343"/>
                  </a:cubicBezTo>
                  <a:cubicBezTo>
                    <a:pt x="4527" y="7343"/>
                    <a:pt x="4520" y="7319"/>
                    <a:pt x="4515" y="7316"/>
                  </a:cubicBezTo>
                  <a:cubicBezTo>
                    <a:pt x="4509" y="7313"/>
                    <a:pt x="4513" y="7292"/>
                    <a:pt x="4513" y="7292"/>
                  </a:cubicBezTo>
                  <a:cubicBezTo>
                    <a:pt x="4510" y="7283"/>
                    <a:pt x="4510" y="7283"/>
                    <a:pt x="4510" y="7283"/>
                  </a:cubicBezTo>
                  <a:cubicBezTo>
                    <a:pt x="4531" y="7279"/>
                    <a:pt x="4531" y="7279"/>
                    <a:pt x="4531" y="7279"/>
                  </a:cubicBezTo>
                  <a:cubicBezTo>
                    <a:pt x="4531" y="7279"/>
                    <a:pt x="4543" y="7260"/>
                    <a:pt x="4547" y="7241"/>
                  </a:cubicBezTo>
                  <a:cubicBezTo>
                    <a:pt x="4551" y="7221"/>
                    <a:pt x="4526" y="7221"/>
                    <a:pt x="4526" y="7221"/>
                  </a:cubicBezTo>
                  <a:cubicBezTo>
                    <a:pt x="4490" y="7233"/>
                    <a:pt x="4490" y="7233"/>
                    <a:pt x="4490" y="7233"/>
                  </a:cubicBezTo>
                  <a:cubicBezTo>
                    <a:pt x="4477" y="7233"/>
                    <a:pt x="4477" y="7233"/>
                    <a:pt x="4477" y="7233"/>
                  </a:cubicBezTo>
                  <a:cubicBezTo>
                    <a:pt x="4471" y="7226"/>
                    <a:pt x="4471" y="7226"/>
                    <a:pt x="4471" y="7226"/>
                  </a:cubicBezTo>
                  <a:cubicBezTo>
                    <a:pt x="4465" y="7231"/>
                    <a:pt x="4465" y="7231"/>
                    <a:pt x="4465" y="7231"/>
                  </a:cubicBezTo>
                  <a:cubicBezTo>
                    <a:pt x="4407" y="7234"/>
                    <a:pt x="4407" y="7234"/>
                    <a:pt x="4407" y="7234"/>
                  </a:cubicBezTo>
                  <a:cubicBezTo>
                    <a:pt x="4407" y="7244"/>
                    <a:pt x="4407" y="7244"/>
                    <a:pt x="4407" y="7244"/>
                  </a:cubicBezTo>
                  <a:cubicBezTo>
                    <a:pt x="4349" y="7239"/>
                    <a:pt x="4349" y="7239"/>
                    <a:pt x="4349" y="7239"/>
                  </a:cubicBezTo>
                  <a:cubicBezTo>
                    <a:pt x="4349" y="7239"/>
                    <a:pt x="4334" y="7260"/>
                    <a:pt x="4324" y="7259"/>
                  </a:cubicBezTo>
                  <a:cubicBezTo>
                    <a:pt x="4314" y="7259"/>
                    <a:pt x="4309" y="7252"/>
                    <a:pt x="4309" y="7252"/>
                  </a:cubicBezTo>
                  <a:cubicBezTo>
                    <a:pt x="4304" y="7257"/>
                    <a:pt x="4304" y="7257"/>
                    <a:pt x="4304" y="7257"/>
                  </a:cubicBezTo>
                  <a:cubicBezTo>
                    <a:pt x="4285" y="7256"/>
                    <a:pt x="4285" y="7256"/>
                    <a:pt x="4285" y="7256"/>
                  </a:cubicBezTo>
                  <a:cubicBezTo>
                    <a:pt x="4285" y="7249"/>
                    <a:pt x="4285" y="7249"/>
                    <a:pt x="4285" y="7249"/>
                  </a:cubicBezTo>
                  <a:cubicBezTo>
                    <a:pt x="4285" y="7249"/>
                    <a:pt x="4313" y="7245"/>
                    <a:pt x="4313" y="7240"/>
                  </a:cubicBezTo>
                  <a:cubicBezTo>
                    <a:pt x="4313" y="7235"/>
                    <a:pt x="4285" y="7195"/>
                    <a:pt x="4285" y="7195"/>
                  </a:cubicBezTo>
                  <a:cubicBezTo>
                    <a:pt x="4253" y="7193"/>
                    <a:pt x="4253" y="7193"/>
                    <a:pt x="4253" y="7193"/>
                  </a:cubicBezTo>
                  <a:cubicBezTo>
                    <a:pt x="4242" y="7181"/>
                    <a:pt x="4242" y="7181"/>
                    <a:pt x="4242" y="7181"/>
                  </a:cubicBezTo>
                  <a:cubicBezTo>
                    <a:pt x="4227" y="7180"/>
                    <a:pt x="4227" y="7180"/>
                    <a:pt x="4227" y="7180"/>
                  </a:cubicBezTo>
                  <a:cubicBezTo>
                    <a:pt x="4227" y="7180"/>
                    <a:pt x="4222" y="7169"/>
                    <a:pt x="4219" y="7175"/>
                  </a:cubicBezTo>
                  <a:cubicBezTo>
                    <a:pt x="4217" y="7181"/>
                    <a:pt x="4216" y="7184"/>
                    <a:pt x="4221" y="7184"/>
                  </a:cubicBezTo>
                  <a:cubicBezTo>
                    <a:pt x="4218" y="7187"/>
                    <a:pt x="4218" y="7195"/>
                    <a:pt x="4218" y="7195"/>
                  </a:cubicBezTo>
                  <a:cubicBezTo>
                    <a:pt x="4209" y="7194"/>
                    <a:pt x="4209" y="7194"/>
                    <a:pt x="4209" y="7194"/>
                  </a:cubicBezTo>
                  <a:cubicBezTo>
                    <a:pt x="4205" y="7184"/>
                    <a:pt x="4205" y="7184"/>
                    <a:pt x="4205" y="7184"/>
                  </a:cubicBezTo>
                  <a:cubicBezTo>
                    <a:pt x="4205" y="7184"/>
                    <a:pt x="4219" y="7176"/>
                    <a:pt x="4210" y="7166"/>
                  </a:cubicBezTo>
                  <a:cubicBezTo>
                    <a:pt x="4201" y="7156"/>
                    <a:pt x="4195" y="7151"/>
                    <a:pt x="4195" y="7151"/>
                  </a:cubicBezTo>
                  <a:cubicBezTo>
                    <a:pt x="4159" y="7149"/>
                    <a:pt x="4159" y="7149"/>
                    <a:pt x="4159" y="7149"/>
                  </a:cubicBezTo>
                  <a:cubicBezTo>
                    <a:pt x="4153" y="7143"/>
                    <a:pt x="4153" y="7143"/>
                    <a:pt x="4153" y="7143"/>
                  </a:cubicBezTo>
                  <a:cubicBezTo>
                    <a:pt x="4146" y="7147"/>
                    <a:pt x="4146" y="7147"/>
                    <a:pt x="4146" y="7147"/>
                  </a:cubicBezTo>
                  <a:cubicBezTo>
                    <a:pt x="4141" y="7143"/>
                    <a:pt x="4141" y="7143"/>
                    <a:pt x="4141" y="7143"/>
                  </a:cubicBezTo>
                  <a:cubicBezTo>
                    <a:pt x="4096" y="7142"/>
                    <a:pt x="4096" y="7142"/>
                    <a:pt x="4096" y="7142"/>
                  </a:cubicBezTo>
                  <a:cubicBezTo>
                    <a:pt x="4096" y="7142"/>
                    <a:pt x="4085" y="7151"/>
                    <a:pt x="4088" y="7170"/>
                  </a:cubicBezTo>
                  <a:cubicBezTo>
                    <a:pt x="4075" y="7169"/>
                    <a:pt x="4075" y="7169"/>
                    <a:pt x="4075" y="7169"/>
                  </a:cubicBezTo>
                  <a:cubicBezTo>
                    <a:pt x="4075" y="7161"/>
                    <a:pt x="4075" y="7161"/>
                    <a:pt x="4075" y="7161"/>
                  </a:cubicBezTo>
                  <a:cubicBezTo>
                    <a:pt x="4081" y="7158"/>
                    <a:pt x="4081" y="7158"/>
                    <a:pt x="4081" y="7158"/>
                  </a:cubicBezTo>
                  <a:cubicBezTo>
                    <a:pt x="4081" y="7158"/>
                    <a:pt x="4071" y="7131"/>
                    <a:pt x="4107" y="7132"/>
                  </a:cubicBezTo>
                  <a:cubicBezTo>
                    <a:pt x="4128" y="7120"/>
                    <a:pt x="4126" y="7116"/>
                    <a:pt x="4126" y="7116"/>
                  </a:cubicBezTo>
                  <a:cubicBezTo>
                    <a:pt x="4136" y="7126"/>
                    <a:pt x="4136" y="7126"/>
                    <a:pt x="4136" y="7126"/>
                  </a:cubicBezTo>
                  <a:cubicBezTo>
                    <a:pt x="4164" y="7127"/>
                    <a:pt x="4164" y="7127"/>
                    <a:pt x="4164" y="7127"/>
                  </a:cubicBezTo>
                  <a:cubicBezTo>
                    <a:pt x="4170" y="7107"/>
                    <a:pt x="4170" y="7107"/>
                    <a:pt x="4170" y="7107"/>
                  </a:cubicBezTo>
                  <a:cubicBezTo>
                    <a:pt x="4192" y="7107"/>
                    <a:pt x="4192" y="7107"/>
                    <a:pt x="4192" y="7107"/>
                  </a:cubicBezTo>
                  <a:cubicBezTo>
                    <a:pt x="4193" y="7113"/>
                    <a:pt x="4193" y="7113"/>
                    <a:pt x="4193" y="7113"/>
                  </a:cubicBezTo>
                  <a:cubicBezTo>
                    <a:pt x="4229" y="7114"/>
                    <a:pt x="4229" y="7114"/>
                    <a:pt x="4229" y="7114"/>
                  </a:cubicBezTo>
                  <a:cubicBezTo>
                    <a:pt x="4234" y="7117"/>
                    <a:pt x="4234" y="7117"/>
                    <a:pt x="4234" y="7117"/>
                  </a:cubicBezTo>
                  <a:cubicBezTo>
                    <a:pt x="4299" y="7071"/>
                    <a:pt x="4299" y="7071"/>
                    <a:pt x="4299" y="7071"/>
                  </a:cubicBezTo>
                  <a:cubicBezTo>
                    <a:pt x="4299" y="7061"/>
                    <a:pt x="4299" y="7061"/>
                    <a:pt x="4299" y="7061"/>
                  </a:cubicBezTo>
                  <a:cubicBezTo>
                    <a:pt x="4312" y="7061"/>
                    <a:pt x="4312" y="7061"/>
                    <a:pt x="4312" y="7061"/>
                  </a:cubicBezTo>
                  <a:cubicBezTo>
                    <a:pt x="4313" y="7042"/>
                    <a:pt x="4313" y="7042"/>
                    <a:pt x="4313" y="7042"/>
                  </a:cubicBezTo>
                  <a:cubicBezTo>
                    <a:pt x="4299" y="7041"/>
                    <a:pt x="4299" y="7041"/>
                    <a:pt x="4299" y="7041"/>
                  </a:cubicBezTo>
                  <a:cubicBezTo>
                    <a:pt x="4299" y="7033"/>
                    <a:pt x="4299" y="7033"/>
                    <a:pt x="4299" y="7033"/>
                  </a:cubicBezTo>
                  <a:cubicBezTo>
                    <a:pt x="4307" y="7032"/>
                    <a:pt x="4307" y="7032"/>
                    <a:pt x="4307" y="7032"/>
                  </a:cubicBezTo>
                  <a:cubicBezTo>
                    <a:pt x="4307" y="6949"/>
                    <a:pt x="4307" y="6949"/>
                    <a:pt x="4307" y="6949"/>
                  </a:cubicBezTo>
                  <a:cubicBezTo>
                    <a:pt x="4307" y="6949"/>
                    <a:pt x="4279" y="6926"/>
                    <a:pt x="4275" y="6963"/>
                  </a:cubicBezTo>
                  <a:cubicBezTo>
                    <a:pt x="4236" y="6961"/>
                    <a:pt x="4235" y="6964"/>
                    <a:pt x="4235" y="6964"/>
                  </a:cubicBezTo>
                  <a:cubicBezTo>
                    <a:pt x="4235" y="6964"/>
                    <a:pt x="4232" y="6944"/>
                    <a:pt x="4261" y="6952"/>
                  </a:cubicBezTo>
                  <a:cubicBezTo>
                    <a:pt x="4279" y="6939"/>
                    <a:pt x="4285" y="6931"/>
                    <a:pt x="4285" y="6931"/>
                  </a:cubicBezTo>
                  <a:cubicBezTo>
                    <a:pt x="4279" y="6925"/>
                    <a:pt x="4279" y="6925"/>
                    <a:pt x="4279" y="6925"/>
                  </a:cubicBezTo>
                  <a:cubicBezTo>
                    <a:pt x="4283" y="6920"/>
                    <a:pt x="4283" y="6920"/>
                    <a:pt x="4283" y="6920"/>
                  </a:cubicBezTo>
                  <a:cubicBezTo>
                    <a:pt x="4283" y="6920"/>
                    <a:pt x="4287" y="6926"/>
                    <a:pt x="4289" y="6926"/>
                  </a:cubicBezTo>
                  <a:cubicBezTo>
                    <a:pt x="4291" y="6926"/>
                    <a:pt x="4306" y="6928"/>
                    <a:pt x="4306" y="6928"/>
                  </a:cubicBezTo>
                  <a:cubicBezTo>
                    <a:pt x="4306" y="6928"/>
                    <a:pt x="4305" y="6919"/>
                    <a:pt x="4307" y="6919"/>
                  </a:cubicBezTo>
                  <a:cubicBezTo>
                    <a:pt x="4309" y="6919"/>
                    <a:pt x="4325" y="6919"/>
                    <a:pt x="4325" y="6919"/>
                  </a:cubicBezTo>
                  <a:cubicBezTo>
                    <a:pt x="4335" y="6899"/>
                    <a:pt x="4335" y="6899"/>
                    <a:pt x="4335" y="6899"/>
                  </a:cubicBezTo>
                  <a:cubicBezTo>
                    <a:pt x="4349" y="6910"/>
                    <a:pt x="4349" y="6910"/>
                    <a:pt x="4349" y="6910"/>
                  </a:cubicBezTo>
                  <a:cubicBezTo>
                    <a:pt x="4341" y="6917"/>
                    <a:pt x="4341" y="6917"/>
                    <a:pt x="4341" y="6917"/>
                  </a:cubicBezTo>
                  <a:cubicBezTo>
                    <a:pt x="4351" y="6927"/>
                    <a:pt x="4351" y="6927"/>
                    <a:pt x="4351" y="6927"/>
                  </a:cubicBezTo>
                  <a:cubicBezTo>
                    <a:pt x="4391" y="6927"/>
                    <a:pt x="4391" y="6927"/>
                    <a:pt x="4391" y="6927"/>
                  </a:cubicBezTo>
                  <a:cubicBezTo>
                    <a:pt x="4391" y="6927"/>
                    <a:pt x="4437" y="6904"/>
                    <a:pt x="4469" y="6848"/>
                  </a:cubicBezTo>
                  <a:cubicBezTo>
                    <a:pt x="4456" y="6835"/>
                    <a:pt x="4453" y="6835"/>
                    <a:pt x="4453" y="6835"/>
                  </a:cubicBezTo>
                  <a:cubicBezTo>
                    <a:pt x="4453" y="6835"/>
                    <a:pt x="4447" y="6843"/>
                    <a:pt x="4442" y="6838"/>
                  </a:cubicBezTo>
                  <a:cubicBezTo>
                    <a:pt x="4437" y="6833"/>
                    <a:pt x="4460" y="6804"/>
                    <a:pt x="4460" y="6804"/>
                  </a:cubicBezTo>
                  <a:cubicBezTo>
                    <a:pt x="4459" y="6789"/>
                    <a:pt x="4459" y="6789"/>
                    <a:pt x="4459" y="6789"/>
                  </a:cubicBezTo>
                  <a:cubicBezTo>
                    <a:pt x="4439" y="6791"/>
                    <a:pt x="4439" y="6791"/>
                    <a:pt x="4439" y="6791"/>
                  </a:cubicBezTo>
                  <a:cubicBezTo>
                    <a:pt x="4438" y="6781"/>
                    <a:pt x="4438" y="6781"/>
                    <a:pt x="4438" y="6781"/>
                  </a:cubicBezTo>
                  <a:cubicBezTo>
                    <a:pt x="4455" y="6779"/>
                    <a:pt x="4455" y="6779"/>
                    <a:pt x="4455" y="6779"/>
                  </a:cubicBezTo>
                  <a:cubicBezTo>
                    <a:pt x="4455" y="6762"/>
                    <a:pt x="4455" y="6762"/>
                    <a:pt x="4455" y="6762"/>
                  </a:cubicBezTo>
                  <a:cubicBezTo>
                    <a:pt x="4462" y="6761"/>
                    <a:pt x="4462" y="6761"/>
                    <a:pt x="4462" y="6761"/>
                  </a:cubicBezTo>
                  <a:cubicBezTo>
                    <a:pt x="4462" y="6761"/>
                    <a:pt x="4460" y="6783"/>
                    <a:pt x="4469" y="6783"/>
                  </a:cubicBezTo>
                  <a:cubicBezTo>
                    <a:pt x="4472" y="6797"/>
                    <a:pt x="4474" y="6805"/>
                    <a:pt x="4474" y="6805"/>
                  </a:cubicBezTo>
                  <a:cubicBezTo>
                    <a:pt x="4489" y="6784"/>
                    <a:pt x="4489" y="6784"/>
                    <a:pt x="4489" y="6784"/>
                  </a:cubicBezTo>
                  <a:cubicBezTo>
                    <a:pt x="4498" y="6784"/>
                    <a:pt x="4498" y="6784"/>
                    <a:pt x="4498" y="6784"/>
                  </a:cubicBezTo>
                  <a:cubicBezTo>
                    <a:pt x="4533" y="6738"/>
                    <a:pt x="4533" y="6738"/>
                    <a:pt x="4533" y="6738"/>
                  </a:cubicBezTo>
                  <a:cubicBezTo>
                    <a:pt x="4533" y="6738"/>
                    <a:pt x="4540" y="6695"/>
                    <a:pt x="4586" y="6695"/>
                  </a:cubicBezTo>
                  <a:cubicBezTo>
                    <a:pt x="4594" y="6687"/>
                    <a:pt x="4603" y="6657"/>
                    <a:pt x="4604" y="6627"/>
                  </a:cubicBezTo>
                  <a:cubicBezTo>
                    <a:pt x="4602" y="6625"/>
                    <a:pt x="4611" y="6620"/>
                    <a:pt x="4611" y="6620"/>
                  </a:cubicBezTo>
                  <a:cubicBezTo>
                    <a:pt x="4611" y="6537"/>
                    <a:pt x="4611" y="6537"/>
                    <a:pt x="4611" y="6537"/>
                  </a:cubicBezTo>
                  <a:cubicBezTo>
                    <a:pt x="4635" y="6507"/>
                    <a:pt x="4635" y="6507"/>
                    <a:pt x="4635" y="6507"/>
                  </a:cubicBezTo>
                  <a:cubicBezTo>
                    <a:pt x="4639" y="6485"/>
                    <a:pt x="4639" y="6485"/>
                    <a:pt x="4639" y="6485"/>
                  </a:cubicBezTo>
                  <a:cubicBezTo>
                    <a:pt x="4653" y="6465"/>
                    <a:pt x="4653" y="6465"/>
                    <a:pt x="4653" y="6465"/>
                  </a:cubicBezTo>
                  <a:cubicBezTo>
                    <a:pt x="4653" y="6453"/>
                    <a:pt x="4653" y="6453"/>
                    <a:pt x="4653" y="6453"/>
                  </a:cubicBezTo>
                  <a:cubicBezTo>
                    <a:pt x="4663" y="6444"/>
                    <a:pt x="4663" y="6444"/>
                    <a:pt x="4663" y="6444"/>
                  </a:cubicBezTo>
                  <a:lnTo>
                    <a:pt x="4657" y="6435"/>
                  </a:lnTo>
                  <a:close/>
                  <a:moveTo>
                    <a:pt x="2708" y="3147"/>
                  </a:moveTo>
                  <a:cubicBezTo>
                    <a:pt x="2720" y="3160"/>
                    <a:pt x="2720" y="3160"/>
                    <a:pt x="2720" y="3160"/>
                  </a:cubicBezTo>
                  <a:cubicBezTo>
                    <a:pt x="2720" y="3160"/>
                    <a:pt x="2704" y="3161"/>
                    <a:pt x="2701" y="3162"/>
                  </a:cubicBezTo>
                  <a:lnTo>
                    <a:pt x="2708" y="3147"/>
                  </a:lnTo>
                  <a:close/>
                  <a:moveTo>
                    <a:pt x="2037" y="2252"/>
                  </a:moveTo>
                  <a:cubicBezTo>
                    <a:pt x="2038" y="2259"/>
                    <a:pt x="2025" y="2257"/>
                    <a:pt x="2025" y="2250"/>
                  </a:cubicBezTo>
                  <a:cubicBezTo>
                    <a:pt x="2025" y="2250"/>
                    <a:pt x="2035" y="2245"/>
                    <a:pt x="2037" y="2252"/>
                  </a:cubicBezTo>
                  <a:close/>
                  <a:moveTo>
                    <a:pt x="1014" y="2681"/>
                  </a:moveTo>
                  <a:cubicBezTo>
                    <a:pt x="1006" y="2687"/>
                    <a:pt x="1000" y="2666"/>
                    <a:pt x="1000" y="2666"/>
                  </a:cubicBezTo>
                  <a:cubicBezTo>
                    <a:pt x="1000" y="2666"/>
                    <a:pt x="1022" y="2676"/>
                    <a:pt x="1014" y="2681"/>
                  </a:cubicBezTo>
                  <a:close/>
                  <a:moveTo>
                    <a:pt x="1249" y="3062"/>
                  </a:moveTo>
                  <a:cubicBezTo>
                    <a:pt x="1245" y="3067"/>
                    <a:pt x="1244" y="3055"/>
                    <a:pt x="1244" y="3055"/>
                  </a:cubicBezTo>
                  <a:cubicBezTo>
                    <a:pt x="1245" y="3050"/>
                    <a:pt x="1252" y="3057"/>
                    <a:pt x="1249" y="3062"/>
                  </a:cubicBezTo>
                  <a:close/>
                  <a:moveTo>
                    <a:pt x="1229" y="3064"/>
                  </a:moveTo>
                  <a:cubicBezTo>
                    <a:pt x="1235" y="3063"/>
                    <a:pt x="1240" y="3069"/>
                    <a:pt x="1233" y="3069"/>
                  </a:cubicBezTo>
                  <a:cubicBezTo>
                    <a:pt x="1225" y="3069"/>
                    <a:pt x="1229" y="3064"/>
                    <a:pt x="1229" y="3064"/>
                  </a:cubicBezTo>
                  <a:close/>
                  <a:moveTo>
                    <a:pt x="1218" y="3080"/>
                  </a:moveTo>
                  <a:cubicBezTo>
                    <a:pt x="1224" y="3080"/>
                    <a:pt x="1229" y="3091"/>
                    <a:pt x="1222" y="3090"/>
                  </a:cubicBezTo>
                  <a:cubicBezTo>
                    <a:pt x="1218" y="3090"/>
                    <a:pt x="1212" y="3080"/>
                    <a:pt x="1218" y="3080"/>
                  </a:cubicBezTo>
                  <a:close/>
                  <a:moveTo>
                    <a:pt x="1211" y="3169"/>
                  </a:moveTo>
                  <a:cubicBezTo>
                    <a:pt x="1205" y="3169"/>
                    <a:pt x="1203" y="3158"/>
                    <a:pt x="1203" y="3158"/>
                  </a:cubicBezTo>
                  <a:cubicBezTo>
                    <a:pt x="1203" y="3158"/>
                    <a:pt x="1187" y="3149"/>
                    <a:pt x="1198" y="3141"/>
                  </a:cubicBezTo>
                  <a:cubicBezTo>
                    <a:pt x="1198" y="3141"/>
                    <a:pt x="1209" y="3140"/>
                    <a:pt x="1205" y="3155"/>
                  </a:cubicBezTo>
                  <a:cubicBezTo>
                    <a:pt x="1209" y="3161"/>
                    <a:pt x="1218" y="3169"/>
                    <a:pt x="1211" y="3169"/>
                  </a:cubicBezTo>
                  <a:close/>
                  <a:moveTo>
                    <a:pt x="1254" y="3132"/>
                  </a:moveTo>
                  <a:cubicBezTo>
                    <a:pt x="1252" y="3139"/>
                    <a:pt x="1247" y="3145"/>
                    <a:pt x="1245" y="3145"/>
                  </a:cubicBezTo>
                  <a:cubicBezTo>
                    <a:pt x="1243" y="3144"/>
                    <a:pt x="1230" y="3157"/>
                    <a:pt x="1230" y="3157"/>
                  </a:cubicBezTo>
                  <a:cubicBezTo>
                    <a:pt x="1230" y="3157"/>
                    <a:pt x="1213" y="3149"/>
                    <a:pt x="1213" y="3144"/>
                  </a:cubicBezTo>
                  <a:cubicBezTo>
                    <a:pt x="1213" y="3139"/>
                    <a:pt x="1220" y="3145"/>
                    <a:pt x="1226" y="3144"/>
                  </a:cubicBezTo>
                  <a:cubicBezTo>
                    <a:pt x="1232" y="3143"/>
                    <a:pt x="1255" y="3126"/>
                    <a:pt x="1255" y="3124"/>
                  </a:cubicBezTo>
                  <a:cubicBezTo>
                    <a:pt x="1255" y="3122"/>
                    <a:pt x="1267" y="3112"/>
                    <a:pt x="1269" y="3123"/>
                  </a:cubicBezTo>
                  <a:cubicBezTo>
                    <a:pt x="1269" y="3129"/>
                    <a:pt x="1256" y="3125"/>
                    <a:pt x="1254" y="3132"/>
                  </a:cubicBezTo>
                  <a:close/>
                  <a:moveTo>
                    <a:pt x="1297" y="3139"/>
                  </a:moveTo>
                  <a:cubicBezTo>
                    <a:pt x="1295" y="3147"/>
                    <a:pt x="1294" y="3132"/>
                    <a:pt x="1289" y="3132"/>
                  </a:cubicBezTo>
                  <a:cubicBezTo>
                    <a:pt x="1285" y="3132"/>
                    <a:pt x="1283" y="3125"/>
                    <a:pt x="1283" y="3125"/>
                  </a:cubicBezTo>
                  <a:cubicBezTo>
                    <a:pt x="1283" y="3119"/>
                    <a:pt x="1291" y="3127"/>
                    <a:pt x="1291" y="3127"/>
                  </a:cubicBezTo>
                  <a:cubicBezTo>
                    <a:pt x="1291" y="3127"/>
                    <a:pt x="1299" y="3132"/>
                    <a:pt x="1297" y="3139"/>
                  </a:cubicBezTo>
                  <a:close/>
                  <a:moveTo>
                    <a:pt x="1394" y="2623"/>
                  </a:moveTo>
                  <a:cubicBezTo>
                    <a:pt x="1403" y="2608"/>
                    <a:pt x="1403" y="2608"/>
                    <a:pt x="1403" y="2608"/>
                  </a:cubicBezTo>
                  <a:cubicBezTo>
                    <a:pt x="1403" y="2608"/>
                    <a:pt x="1404" y="2610"/>
                    <a:pt x="1408" y="2620"/>
                  </a:cubicBezTo>
                  <a:cubicBezTo>
                    <a:pt x="1412" y="2630"/>
                    <a:pt x="1379" y="2650"/>
                    <a:pt x="1371" y="2649"/>
                  </a:cubicBezTo>
                  <a:cubicBezTo>
                    <a:pt x="1366" y="2649"/>
                    <a:pt x="1394" y="2623"/>
                    <a:pt x="1394" y="2623"/>
                  </a:cubicBezTo>
                  <a:close/>
                  <a:moveTo>
                    <a:pt x="1319" y="2533"/>
                  </a:moveTo>
                  <a:cubicBezTo>
                    <a:pt x="1319" y="2533"/>
                    <a:pt x="1301" y="2517"/>
                    <a:pt x="1301" y="2510"/>
                  </a:cubicBezTo>
                  <a:cubicBezTo>
                    <a:pt x="1301" y="2500"/>
                    <a:pt x="1321" y="2522"/>
                    <a:pt x="1321" y="2522"/>
                  </a:cubicBezTo>
                  <a:lnTo>
                    <a:pt x="1319" y="2533"/>
                  </a:lnTo>
                  <a:close/>
                  <a:moveTo>
                    <a:pt x="1325" y="2520"/>
                  </a:moveTo>
                  <a:cubicBezTo>
                    <a:pt x="1325" y="2513"/>
                    <a:pt x="1325" y="2513"/>
                    <a:pt x="1325" y="2513"/>
                  </a:cubicBezTo>
                  <a:cubicBezTo>
                    <a:pt x="1376" y="2514"/>
                    <a:pt x="1376" y="2514"/>
                    <a:pt x="1376" y="2514"/>
                  </a:cubicBezTo>
                  <a:cubicBezTo>
                    <a:pt x="1375" y="2522"/>
                    <a:pt x="1375" y="2522"/>
                    <a:pt x="1375" y="2522"/>
                  </a:cubicBezTo>
                  <a:lnTo>
                    <a:pt x="1325" y="2520"/>
                  </a:lnTo>
                  <a:close/>
                  <a:moveTo>
                    <a:pt x="1351" y="2657"/>
                  </a:moveTo>
                  <a:cubicBezTo>
                    <a:pt x="1344" y="2657"/>
                    <a:pt x="1348" y="2649"/>
                    <a:pt x="1351" y="2649"/>
                  </a:cubicBezTo>
                  <a:cubicBezTo>
                    <a:pt x="1351" y="2649"/>
                    <a:pt x="1357" y="2657"/>
                    <a:pt x="1351" y="2657"/>
                  </a:cubicBezTo>
                  <a:close/>
                  <a:moveTo>
                    <a:pt x="1317" y="2739"/>
                  </a:moveTo>
                  <a:cubicBezTo>
                    <a:pt x="1317" y="2739"/>
                    <a:pt x="1313" y="2730"/>
                    <a:pt x="1321" y="2733"/>
                  </a:cubicBezTo>
                  <a:cubicBezTo>
                    <a:pt x="1329" y="2737"/>
                    <a:pt x="1317" y="2739"/>
                    <a:pt x="1317" y="2739"/>
                  </a:cubicBezTo>
                  <a:close/>
                  <a:moveTo>
                    <a:pt x="1327" y="2725"/>
                  </a:moveTo>
                  <a:cubicBezTo>
                    <a:pt x="1325" y="2715"/>
                    <a:pt x="1299" y="2715"/>
                    <a:pt x="1299" y="2715"/>
                  </a:cubicBezTo>
                  <a:cubicBezTo>
                    <a:pt x="1295" y="2703"/>
                    <a:pt x="1295" y="2703"/>
                    <a:pt x="1295" y="2703"/>
                  </a:cubicBezTo>
                  <a:cubicBezTo>
                    <a:pt x="1328" y="2704"/>
                    <a:pt x="1328" y="2704"/>
                    <a:pt x="1328" y="2704"/>
                  </a:cubicBezTo>
                  <a:cubicBezTo>
                    <a:pt x="1331" y="2712"/>
                    <a:pt x="1331" y="2712"/>
                    <a:pt x="1331" y="2712"/>
                  </a:cubicBezTo>
                  <a:cubicBezTo>
                    <a:pt x="1331" y="2712"/>
                    <a:pt x="1349" y="2716"/>
                    <a:pt x="1354" y="2709"/>
                  </a:cubicBezTo>
                  <a:cubicBezTo>
                    <a:pt x="1359" y="2701"/>
                    <a:pt x="1369" y="2714"/>
                    <a:pt x="1369" y="2714"/>
                  </a:cubicBezTo>
                  <a:cubicBezTo>
                    <a:pt x="1359" y="2715"/>
                    <a:pt x="1359" y="2715"/>
                    <a:pt x="1359" y="2715"/>
                  </a:cubicBezTo>
                  <a:cubicBezTo>
                    <a:pt x="1359" y="2715"/>
                    <a:pt x="1331" y="2744"/>
                    <a:pt x="1327" y="2725"/>
                  </a:cubicBezTo>
                  <a:close/>
                  <a:moveTo>
                    <a:pt x="1335" y="3144"/>
                  </a:moveTo>
                  <a:cubicBezTo>
                    <a:pt x="1332" y="3149"/>
                    <a:pt x="1323" y="3152"/>
                    <a:pt x="1326" y="3137"/>
                  </a:cubicBezTo>
                  <a:cubicBezTo>
                    <a:pt x="1326" y="3137"/>
                    <a:pt x="1337" y="3139"/>
                    <a:pt x="1335" y="3144"/>
                  </a:cubicBezTo>
                  <a:close/>
                  <a:moveTo>
                    <a:pt x="1373" y="2848"/>
                  </a:moveTo>
                  <a:cubicBezTo>
                    <a:pt x="1342" y="2822"/>
                    <a:pt x="1342" y="2822"/>
                    <a:pt x="1342" y="2822"/>
                  </a:cubicBezTo>
                  <a:cubicBezTo>
                    <a:pt x="1342" y="2822"/>
                    <a:pt x="1312" y="2823"/>
                    <a:pt x="1324" y="2808"/>
                  </a:cubicBezTo>
                  <a:cubicBezTo>
                    <a:pt x="1331" y="2804"/>
                    <a:pt x="1366" y="2832"/>
                    <a:pt x="1366" y="2832"/>
                  </a:cubicBezTo>
                  <a:cubicBezTo>
                    <a:pt x="1375" y="2839"/>
                    <a:pt x="1375" y="2839"/>
                    <a:pt x="1375" y="2839"/>
                  </a:cubicBezTo>
                  <a:lnTo>
                    <a:pt x="1373" y="2848"/>
                  </a:lnTo>
                  <a:close/>
                  <a:moveTo>
                    <a:pt x="1419" y="2759"/>
                  </a:moveTo>
                  <a:cubicBezTo>
                    <a:pt x="1412" y="2767"/>
                    <a:pt x="1412" y="2743"/>
                    <a:pt x="1401" y="2743"/>
                  </a:cubicBezTo>
                  <a:cubicBezTo>
                    <a:pt x="1391" y="2743"/>
                    <a:pt x="1388" y="2726"/>
                    <a:pt x="1388" y="2726"/>
                  </a:cubicBezTo>
                  <a:cubicBezTo>
                    <a:pt x="1388" y="2715"/>
                    <a:pt x="1404" y="2737"/>
                    <a:pt x="1411" y="2737"/>
                  </a:cubicBezTo>
                  <a:cubicBezTo>
                    <a:pt x="1417" y="2738"/>
                    <a:pt x="1425" y="2750"/>
                    <a:pt x="1419" y="2759"/>
                  </a:cubicBezTo>
                  <a:close/>
                  <a:moveTo>
                    <a:pt x="1323" y="3481"/>
                  </a:moveTo>
                  <a:cubicBezTo>
                    <a:pt x="1317" y="3481"/>
                    <a:pt x="1319" y="3474"/>
                    <a:pt x="1324" y="3475"/>
                  </a:cubicBezTo>
                  <a:cubicBezTo>
                    <a:pt x="1324" y="3475"/>
                    <a:pt x="1330" y="3481"/>
                    <a:pt x="1323" y="3481"/>
                  </a:cubicBezTo>
                  <a:close/>
                  <a:moveTo>
                    <a:pt x="1328" y="3447"/>
                  </a:moveTo>
                  <a:cubicBezTo>
                    <a:pt x="1325" y="3441"/>
                    <a:pt x="1334" y="3437"/>
                    <a:pt x="1338" y="3436"/>
                  </a:cubicBezTo>
                  <a:cubicBezTo>
                    <a:pt x="1338" y="3436"/>
                    <a:pt x="1331" y="3453"/>
                    <a:pt x="1328" y="3447"/>
                  </a:cubicBezTo>
                  <a:close/>
                  <a:moveTo>
                    <a:pt x="1340" y="3427"/>
                  </a:moveTo>
                  <a:cubicBezTo>
                    <a:pt x="1333" y="3425"/>
                    <a:pt x="1333" y="3425"/>
                    <a:pt x="1335" y="3420"/>
                  </a:cubicBezTo>
                  <a:cubicBezTo>
                    <a:pt x="1336" y="3414"/>
                    <a:pt x="1347" y="3429"/>
                    <a:pt x="1340" y="3427"/>
                  </a:cubicBezTo>
                  <a:close/>
                  <a:moveTo>
                    <a:pt x="1370" y="3508"/>
                  </a:moveTo>
                  <a:cubicBezTo>
                    <a:pt x="1370" y="3508"/>
                    <a:pt x="1377" y="3519"/>
                    <a:pt x="1371" y="3517"/>
                  </a:cubicBezTo>
                  <a:cubicBezTo>
                    <a:pt x="1366" y="3516"/>
                    <a:pt x="1365" y="3508"/>
                    <a:pt x="1370" y="3508"/>
                  </a:cubicBezTo>
                  <a:close/>
                  <a:moveTo>
                    <a:pt x="1400" y="3757"/>
                  </a:moveTo>
                  <a:cubicBezTo>
                    <a:pt x="1401" y="3764"/>
                    <a:pt x="1401" y="3764"/>
                    <a:pt x="1401" y="3764"/>
                  </a:cubicBezTo>
                  <a:cubicBezTo>
                    <a:pt x="1389" y="3776"/>
                    <a:pt x="1389" y="3776"/>
                    <a:pt x="1389" y="3776"/>
                  </a:cubicBezTo>
                  <a:cubicBezTo>
                    <a:pt x="1389" y="3776"/>
                    <a:pt x="1390" y="3785"/>
                    <a:pt x="1390" y="3787"/>
                  </a:cubicBezTo>
                  <a:cubicBezTo>
                    <a:pt x="1390" y="3789"/>
                    <a:pt x="1359" y="3812"/>
                    <a:pt x="1352" y="3810"/>
                  </a:cubicBezTo>
                  <a:cubicBezTo>
                    <a:pt x="1343" y="3807"/>
                    <a:pt x="1383" y="3780"/>
                    <a:pt x="1383" y="3778"/>
                  </a:cubicBezTo>
                  <a:cubicBezTo>
                    <a:pt x="1383" y="3776"/>
                    <a:pt x="1384" y="3769"/>
                    <a:pt x="1384" y="3769"/>
                  </a:cubicBezTo>
                  <a:lnTo>
                    <a:pt x="1400" y="3757"/>
                  </a:lnTo>
                  <a:close/>
                  <a:moveTo>
                    <a:pt x="1439" y="3267"/>
                  </a:moveTo>
                  <a:cubicBezTo>
                    <a:pt x="1434" y="3271"/>
                    <a:pt x="1428" y="3253"/>
                    <a:pt x="1428" y="3253"/>
                  </a:cubicBezTo>
                  <a:cubicBezTo>
                    <a:pt x="1434" y="3253"/>
                    <a:pt x="1443" y="3263"/>
                    <a:pt x="1439" y="3267"/>
                  </a:cubicBezTo>
                  <a:close/>
                  <a:moveTo>
                    <a:pt x="1448" y="3258"/>
                  </a:moveTo>
                  <a:cubicBezTo>
                    <a:pt x="1448" y="3258"/>
                    <a:pt x="1462" y="3235"/>
                    <a:pt x="1473" y="3240"/>
                  </a:cubicBezTo>
                  <a:cubicBezTo>
                    <a:pt x="1483" y="3245"/>
                    <a:pt x="1451" y="3263"/>
                    <a:pt x="1448" y="3258"/>
                  </a:cubicBezTo>
                  <a:close/>
                  <a:moveTo>
                    <a:pt x="1514" y="3675"/>
                  </a:moveTo>
                  <a:cubicBezTo>
                    <a:pt x="1514" y="3675"/>
                    <a:pt x="1521" y="3691"/>
                    <a:pt x="1515" y="3690"/>
                  </a:cubicBezTo>
                  <a:cubicBezTo>
                    <a:pt x="1509" y="3689"/>
                    <a:pt x="1514" y="3675"/>
                    <a:pt x="1514" y="3675"/>
                  </a:cubicBezTo>
                  <a:close/>
                  <a:moveTo>
                    <a:pt x="1511" y="3699"/>
                  </a:moveTo>
                  <a:cubicBezTo>
                    <a:pt x="1511" y="3699"/>
                    <a:pt x="1517" y="3697"/>
                    <a:pt x="1519" y="3703"/>
                  </a:cubicBezTo>
                  <a:cubicBezTo>
                    <a:pt x="1520" y="3709"/>
                    <a:pt x="1511" y="3709"/>
                    <a:pt x="1511" y="3699"/>
                  </a:cubicBezTo>
                  <a:close/>
                  <a:moveTo>
                    <a:pt x="1546" y="3649"/>
                  </a:moveTo>
                  <a:cubicBezTo>
                    <a:pt x="1553" y="3649"/>
                    <a:pt x="1549" y="3655"/>
                    <a:pt x="1549" y="3655"/>
                  </a:cubicBezTo>
                  <a:cubicBezTo>
                    <a:pt x="1543" y="3655"/>
                    <a:pt x="1539" y="3649"/>
                    <a:pt x="1546" y="3649"/>
                  </a:cubicBezTo>
                  <a:close/>
                  <a:moveTo>
                    <a:pt x="1550" y="3673"/>
                  </a:moveTo>
                  <a:cubicBezTo>
                    <a:pt x="1542" y="3673"/>
                    <a:pt x="1543" y="3662"/>
                    <a:pt x="1551" y="3663"/>
                  </a:cubicBezTo>
                  <a:cubicBezTo>
                    <a:pt x="1559" y="3663"/>
                    <a:pt x="1553" y="3673"/>
                    <a:pt x="1550" y="3673"/>
                  </a:cubicBezTo>
                  <a:close/>
                  <a:moveTo>
                    <a:pt x="1538" y="2268"/>
                  </a:moveTo>
                  <a:cubicBezTo>
                    <a:pt x="1550" y="2267"/>
                    <a:pt x="1551" y="2276"/>
                    <a:pt x="1548" y="2281"/>
                  </a:cubicBezTo>
                  <a:cubicBezTo>
                    <a:pt x="1545" y="2285"/>
                    <a:pt x="1543" y="2273"/>
                    <a:pt x="1535" y="2272"/>
                  </a:cubicBezTo>
                  <a:cubicBezTo>
                    <a:pt x="1535" y="2281"/>
                    <a:pt x="1519" y="2259"/>
                    <a:pt x="1519" y="2253"/>
                  </a:cubicBezTo>
                  <a:cubicBezTo>
                    <a:pt x="1519" y="2245"/>
                    <a:pt x="1525" y="2255"/>
                    <a:pt x="1538" y="2268"/>
                  </a:cubicBezTo>
                  <a:close/>
                  <a:moveTo>
                    <a:pt x="1523" y="2226"/>
                  </a:moveTo>
                  <a:cubicBezTo>
                    <a:pt x="1531" y="2226"/>
                    <a:pt x="1525" y="2241"/>
                    <a:pt x="1522" y="2240"/>
                  </a:cubicBezTo>
                  <a:cubicBezTo>
                    <a:pt x="1519" y="2239"/>
                    <a:pt x="1509" y="2227"/>
                    <a:pt x="1523" y="2226"/>
                  </a:cubicBezTo>
                  <a:close/>
                  <a:moveTo>
                    <a:pt x="1499" y="3114"/>
                  </a:moveTo>
                  <a:cubicBezTo>
                    <a:pt x="1494" y="3115"/>
                    <a:pt x="1494" y="3106"/>
                    <a:pt x="1494" y="3106"/>
                  </a:cubicBezTo>
                  <a:cubicBezTo>
                    <a:pt x="1505" y="3091"/>
                    <a:pt x="1505" y="3091"/>
                    <a:pt x="1505" y="3091"/>
                  </a:cubicBezTo>
                  <a:cubicBezTo>
                    <a:pt x="1498" y="3087"/>
                    <a:pt x="1498" y="3087"/>
                    <a:pt x="1498" y="3087"/>
                  </a:cubicBezTo>
                  <a:cubicBezTo>
                    <a:pt x="1505" y="3081"/>
                    <a:pt x="1505" y="3081"/>
                    <a:pt x="1505" y="3081"/>
                  </a:cubicBezTo>
                  <a:cubicBezTo>
                    <a:pt x="1507" y="3087"/>
                    <a:pt x="1507" y="3087"/>
                    <a:pt x="1507" y="3087"/>
                  </a:cubicBezTo>
                  <a:cubicBezTo>
                    <a:pt x="1557" y="3039"/>
                    <a:pt x="1557" y="3039"/>
                    <a:pt x="1557" y="3039"/>
                  </a:cubicBezTo>
                  <a:cubicBezTo>
                    <a:pt x="1559" y="3045"/>
                    <a:pt x="1559" y="3045"/>
                    <a:pt x="1559" y="3045"/>
                  </a:cubicBezTo>
                  <a:cubicBezTo>
                    <a:pt x="1559" y="3045"/>
                    <a:pt x="1503" y="3113"/>
                    <a:pt x="1499" y="3114"/>
                  </a:cubicBezTo>
                  <a:close/>
                  <a:moveTo>
                    <a:pt x="1581" y="2319"/>
                  </a:moveTo>
                  <a:cubicBezTo>
                    <a:pt x="1579" y="2319"/>
                    <a:pt x="1575" y="2319"/>
                    <a:pt x="1575" y="2319"/>
                  </a:cubicBezTo>
                  <a:cubicBezTo>
                    <a:pt x="1575" y="2319"/>
                    <a:pt x="1546" y="2285"/>
                    <a:pt x="1561" y="2286"/>
                  </a:cubicBezTo>
                  <a:cubicBezTo>
                    <a:pt x="1568" y="2286"/>
                    <a:pt x="1583" y="2319"/>
                    <a:pt x="1581" y="2319"/>
                  </a:cubicBezTo>
                  <a:close/>
                  <a:moveTo>
                    <a:pt x="1577" y="1914"/>
                  </a:moveTo>
                  <a:cubicBezTo>
                    <a:pt x="1579" y="1900"/>
                    <a:pt x="1579" y="1900"/>
                    <a:pt x="1579" y="1900"/>
                  </a:cubicBezTo>
                  <a:cubicBezTo>
                    <a:pt x="1588" y="1912"/>
                    <a:pt x="1588" y="1912"/>
                    <a:pt x="1588" y="1912"/>
                  </a:cubicBezTo>
                  <a:lnTo>
                    <a:pt x="1577" y="1914"/>
                  </a:lnTo>
                  <a:close/>
                  <a:moveTo>
                    <a:pt x="1588" y="3474"/>
                  </a:moveTo>
                  <a:cubicBezTo>
                    <a:pt x="1588" y="3474"/>
                    <a:pt x="1601" y="3470"/>
                    <a:pt x="1602" y="3478"/>
                  </a:cubicBezTo>
                  <a:cubicBezTo>
                    <a:pt x="1603" y="3486"/>
                    <a:pt x="1588" y="3480"/>
                    <a:pt x="1588" y="3474"/>
                  </a:cubicBezTo>
                  <a:close/>
                  <a:moveTo>
                    <a:pt x="1609" y="3474"/>
                  </a:moveTo>
                  <a:cubicBezTo>
                    <a:pt x="1605" y="3474"/>
                    <a:pt x="1603" y="3467"/>
                    <a:pt x="1609" y="3467"/>
                  </a:cubicBezTo>
                  <a:cubicBezTo>
                    <a:pt x="1615" y="3467"/>
                    <a:pt x="1609" y="3474"/>
                    <a:pt x="1609" y="3474"/>
                  </a:cubicBezTo>
                  <a:close/>
                  <a:moveTo>
                    <a:pt x="1623" y="3660"/>
                  </a:moveTo>
                  <a:cubicBezTo>
                    <a:pt x="1616" y="3660"/>
                    <a:pt x="1618" y="3653"/>
                    <a:pt x="1622" y="3653"/>
                  </a:cubicBezTo>
                  <a:cubicBezTo>
                    <a:pt x="1622" y="3653"/>
                    <a:pt x="1631" y="3660"/>
                    <a:pt x="1623" y="3660"/>
                  </a:cubicBezTo>
                  <a:close/>
                  <a:moveTo>
                    <a:pt x="1625" y="2032"/>
                  </a:moveTo>
                  <a:cubicBezTo>
                    <a:pt x="1619" y="2037"/>
                    <a:pt x="1619" y="2030"/>
                    <a:pt x="1622" y="2024"/>
                  </a:cubicBezTo>
                  <a:cubicBezTo>
                    <a:pt x="1622" y="2024"/>
                    <a:pt x="1632" y="2027"/>
                    <a:pt x="1625" y="2032"/>
                  </a:cubicBezTo>
                  <a:close/>
                  <a:moveTo>
                    <a:pt x="1659" y="3589"/>
                  </a:moveTo>
                  <a:cubicBezTo>
                    <a:pt x="1659" y="3589"/>
                    <a:pt x="1638" y="3576"/>
                    <a:pt x="1642" y="3561"/>
                  </a:cubicBezTo>
                  <a:cubicBezTo>
                    <a:pt x="1646" y="3547"/>
                    <a:pt x="1648" y="3541"/>
                    <a:pt x="1648" y="3541"/>
                  </a:cubicBezTo>
                  <a:cubicBezTo>
                    <a:pt x="1652" y="3549"/>
                    <a:pt x="1653" y="3553"/>
                    <a:pt x="1653" y="3553"/>
                  </a:cubicBezTo>
                  <a:cubicBezTo>
                    <a:pt x="1653" y="3553"/>
                    <a:pt x="1649" y="3557"/>
                    <a:pt x="1651" y="3568"/>
                  </a:cubicBezTo>
                  <a:cubicBezTo>
                    <a:pt x="1653" y="3579"/>
                    <a:pt x="1667" y="3573"/>
                    <a:pt x="1667" y="3573"/>
                  </a:cubicBezTo>
                  <a:lnTo>
                    <a:pt x="1659" y="3589"/>
                  </a:lnTo>
                  <a:close/>
                  <a:moveTo>
                    <a:pt x="1680" y="3541"/>
                  </a:moveTo>
                  <a:cubicBezTo>
                    <a:pt x="1680" y="3541"/>
                    <a:pt x="1687" y="3521"/>
                    <a:pt x="1695" y="3524"/>
                  </a:cubicBezTo>
                  <a:cubicBezTo>
                    <a:pt x="1704" y="3527"/>
                    <a:pt x="1681" y="3544"/>
                    <a:pt x="1680" y="3541"/>
                  </a:cubicBezTo>
                  <a:close/>
                  <a:moveTo>
                    <a:pt x="1695" y="1819"/>
                  </a:moveTo>
                  <a:cubicBezTo>
                    <a:pt x="1689" y="1821"/>
                    <a:pt x="1693" y="1813"/>
                    <a:pt x="1693" y="1813"/>
                  </a:cubicBezTo>
                  <a:cubicBezTo>
                    <a:pt x="1703" y="1807"/>
                    <a:pt x="1701" y="1817"/>
                    <a:pt x="1695" y="1819"/>
                  </a:cubicBezTo>
                  <a:close/>
                  <a:moveTo>
                    <a:pt x="1786" y="3705"/>
                  </a:moveTo>
                  <a:cubicBezTo>
                    <a:pt x="1786" y="3705"/>
                    <a:pt x="1800" y="3701"/>
                    <a:pt x="1800" y="3709"/>
                  </a:cubicBezTo>
                  <a:cubicBezTo>
                    <a:pt x="1800" y="3718"/>
                    <a:pt x="1787" y="3714"/>
                    <a:pt x="1786" y="3705"/>
                  </a:cubicBezTo>
                  <a:close/>
                  <a:moveTo>
                    <a:pt x="1996" y="2314"/>
                  </a:moveTo>
                  <a:cubicBezTo>
                    <a:pt x="1997" y="2320"/>
                    <a:pt x="1990" y="2313"/>
                    <a:pt x="1990" y="2313"/>
                  </a:cubicBezTo>
                  <a:cubicBezTo>
                    <a:pt x="1990" y="2308"/>
                    <a:pt x="1995" y="2308"/>
                    <a:pt x="1996" y="2314"/>
                  </a:cubicBezTo>
                  <a:close/>
                  <a:moveTo>
                    <a:pt x="1989" y="2299"/>
                  </a:moveTo>
                  <a:cubicBezTo>
                    <a:pt x="1989" y="2299"/>
                    <a:pt x="1989" y="2313"/>
                    <a:pt x="1983" y="2307"/>
                  </a:cubicBezTo>
                  <a:cubicBezTo>
                    <a:pt x="1977" y="2301"/>
                    <a:pt x="1989" y="2299"/>
                    <a:pt x="1989" y="2299"/>
                  </a:cubicBezTo>
                  <a:close/>
                  <a:moveTo>
                    <a:pt x="1982" y="2325"/>
                  </a:moveTo>
                  <a:cubicBezTo>
                    <a:pt x="1973" y="2329"/>
                    <a:pt x="1971" y="2311"/>
                    <a:pt x="1971" y="2311"/>
                  </a:cubicBezTo>
                  <a:cubicBezTo>
                    <a:pt x="1971" y="2311"/>
                    <a:pt x="1991" y="2322"/>
                    <a:pt x="1982" y="2325"/>
                  </a:cubicBezTo>
                  <a:close/>
                  <a:moveTo>
                    <a:pt x="1961" y="2302"/>
                  </a:moveTo>
                  <a:cubicBezTo>
                    <a:pt x="1961" y="2309"/>
                    <a:pt x="1945" y="2301"/>
                    <a:pt x="1945" y="2301"/>
                  </a:cubicBezTo>
                  <a:cubicBezTo>
                    <a:pt x="1945" y="2291"/>
                    <a:pt x="1961" y="2295"/>
                    <a:pt x="1961" y="2302"/>
                  </a:cubicBezTo>
                  <a:close/>
                  <a:moveTo>
                    <a:pt x="1929" y="2305"/>
                  </a:moveTo>
                  <a:cubicBezTo>
                    <a:pt x="1929" y="2305"/>
                    <a:pt x="1941" y="2306"/>
                    <a:pt x="1935" y="2309"/>
                  </a:cubicBezTo>
                  <a:cubicBezTo>
                    <a:pt x="1928" y="2311"/>
                    <a:pt x="1929" y="2305"/>
                    <a:pt x="1929" y="2305"/>
                  </a:cubicBezTo>
                  <a:close/>
                  <a:moveTo>
                    <a:pt x="1918" y="2303"/>
                  </a:moveTo>
                  <a:cubicBezTo>
                    <a:pt x="1913" y="2310"/>
                    <a:pt x="1909" y="2294"/>
                    <a:pt x="1909" y="2294"/>
                  </a:cubicBezTo>
                  <a:cubicBezTo>
                    <a:pt x="1909" y="2294"/>
                    <a:pt x="1923" y="2295"/>
                    <a:pt x="1918" y="2303"/>
                  </a:cubicBezTo>
                  <a:close/>
                  <a:moveTo>
                    <a:pt x="1903" y="2293"/>
                  </a:moveTo>
                  <a:cubicBezTo>
                    <a:pt x="1905" y="2300"/>
                    <a:pt x="1895" y="2295"/>
                    <a:pt x="1895" y="2290"/>
                  </a:cubicBezTo>
                  <a:cubicBezTo>
                    <a:pt x="1895" y="2290"/>
                    <a:pt x="1902" y="2287"/>
                    <a:pt x="1903" y="2293"/>
                  </a:cubicBezTo>
                  <a:close/>
                  <a:moveTo>
                    <a:pt x="1910" y="2575"/>
                  </a:moveTo>
                  <a:cubicBezTo>
                    <a:pt x="1898" y="2573"/>
                    <a:pt x="1898" y="2569"/>
                    <a:pt x="1898" y="2569"/>
                  </a:cubicBezTo>
                  <a:cubicBezTo>
                    <a:pt x="1898" y="2569"/>
                    <a:pt x="1893" y="2581"/>
                    <a:pt x="1882" y="2576"/>
                  </a:cubicBezTo>
                  <a:cubicBezTo>
                    <a:pt x="1871" y="2571"/>
                    <a:pt x="1868" y="2562"/>
                    <a:pt x="1868" y="2562"/>
                  </a:cubicBezTo>
                  <a:cubicBezTo>
                    <a:pt x="1868" y="2562"/>
                    <a:pt x="1879" y="2553"/>
                    <a:pt x="1885" y="2553"/>
                  </a:cubicBezTo>
                  <a:cubicBezTo>
                    <a:pt x="1892" y="2553"/>
                    <a:pt x="1894" y="2557"/>
                    <a:pt x="1894" y="2557"/>
                  </a:cubicBezTo>
                  <a:cubicBezTo>
                    <a:pt x="1933" y="2564"/>
                    <a:pt x="1933" y="2564"/>
                    <a:pt x="1933" y="2564"/>
                  </a:cubicBezTo>
                  <a:cubicBezTo>
                    <a:pt x="1933" y="2564"/>
                    <a:pt x="1922" y="2576"/>
                    <a:pt x="1910" y="2575"/>
                  </a:cubicBezTo>
                  <a:close/>
                  <a:moveTo>
                    <a:pt x="1909" y="2463"/>
                  </a:moveTo>
                  <a:cubicBezTo>
                    <a:pt x="1895" y="2472"/>
                    <a:pt x="1867" y="2513"/>
                    <a:pt x="1865" y="2494"/>
                  </a:cubicBezTo>
                  <a:cubicBezTo>
                    <a:pt x="1865" y="2487"/>
                    <a:pt x="1901" y="2457"/>
                    <a:pt x="1908" y="2455"/>
                  </a:cubicBezTo>
                  <a:cubicBezTo>
                    <a:pt x="1915" y="2454"/>
                    <a:pt x="1922" y="2429"/>
                    <a:pt x="1922" y="2429"/>
                  </a:cubicBezTo>
                  <a:cubicBezTo>
                    <a:pt x="1922" y="2429"/>
                    <a:pt x="1925" y="2434"/>
                    <a:pt x="1927" y="2435"/>
                  </a:cubicBezTo>
                  <a:cubicBezTo>
                    <a:pt x="1929" y="2435"/>
                    <a:pt x="1960" y="2421"/>
                    <a:pt x="1964" y="2425"/>
                  </a:cubicBezTo>
                  <a:cubicBezTo>
                    <a:pt x="1968" y="2429"/>
                    <a:pt x="1954" y="2439"/>
                    <a:pt x="1954" y="2439"/>
                  </a:cubicBezTo>
                  <a:cubicBezTo>
                    <a:pt x="1954" y="2439"/>
                    <a:pt x="1924" y="2455"/>
                    <a:pt x="1909" y="2463"/>
                  </a:cubicBezTo>
                  <a:close/>
                  <a:moveTo>
                    <a:pt x="2145" y="3602"/>
                  </a:moveTo>
                  <a:cubicBezTo>
                    <a:pt x="2140" y="3608"/>
                    <a:pt x="2140" y="3594"/>
                    <a:pt x="2140" y="3594"/>
                  </a:cubicBezTo>
                  <a:cubicBezTo>
                    <a:pt x="2140" y="3594"/>
                    <a:pt x="2150" y="3595"/>
                    <a:pt x="2145" y="3602"/>
                  </a:cubicBezTo>
                  <a:close/>
                  <a:moveTo>
                    <a:pt x="2178" y="3641"/>
                  </a:moveTo>
                  <a:cubicBezTo>
                    <a:pt x="2176" y="3645"/>
                    <a:pt x="2175" y="3649"/>
                    <a:pt x="2168" y="3637"/>
                  </a:cubicBezTo>
                  <a:cubicBezTo>
                    <a:pt x="2167" y="3619"/>
                    <a:pt x="2157" y="3613"/>
                    <a:pt x="2157" y="3613"/>
                  </a:cubicBezTo>
                  <a:cubicBezTo>
                    <a:pt x="2157" y="3613"/>
                    <a:pt x="2155" y="3605"/>
                    <a:pt x="2159" y="3605"/>
                  </a:cubicBezTo>
                  <a:cubicBezTo>
                    <a:pt x="2162" y="3605"/>
                    <a:pt x="2174" y="3628"/>
                    <a:pt x="2174" y="3628"/>
                  </a:cubicBezTo>
                  <a:cubicBezTo>
                    <a:pt x="2174" y="3628"/>
                    <a:pt x="2181" y="3637"/>
                    <a:pt x="2178" y="3641"/>
                  </a:cubicBezTo>
                  <a:close/>
                  <a:moveTo>
                    <a:pt x="1974" y="5998"/>
                  </a:moveTo>
                  <a:cubicBezTo>
                    <a:pt x="1959" y="5990"/>
                    <a:pt x="1982" y="5981"/>
                    <a:pt x="1982" y="5981"/>
                  </a:cubicBezTo>
                  <a:cubicBezTo>
                    <a:pt x="1995" y="5987"/>
                    <a:pt x="1995" y="5987"/>
                    <a:pt x="1995" y="5987"/>
                  </a:cubicBezTo>
                  <a:cubicBezTo>
                    <a:pt x="1995" y="5987"/>
                    <a:pt x="1989" y="6006"/>
                    <a:pt x="1974" y="5998"/>
                  </a:cubicBezTo>
                  <a:close/>
                  <a:moveTo>
                    <a:pt x="1570" y="6926"/>
                  </a:moveTo>
                  <a:cubicBezTo>
                    <a:pt x="1563" y="6932"/>
                    <a:pt x="1563" y="6918"/>
                    <a:pt x="1563" y="6918"/>
                  </a:cubicBezTo>
                  <a:cubicBezTo>
                    <a:pt x="1563" y="6918"/>
                    <a:pt x="1577" y="6920"/>
                    <a:pt x="1570" y="6926"/>
                  </a:cubicBezTo>
                  <a:close/>
                  <a:moveTo>
                    <a:pt x="1594" y="6943"/>
                  </a:moveTo>
                  <a:cubicBezTo>
                    <a:pt x="1580" y="6944"/>
                    <a:pt x="1577" y="6936"/>
                    <a:pt x="1587" y="6934"/>
                  </a:cubicBezTo>
                  <a:cubicBezTo>
                    <a:pt x="1597" y="6932"/>
                    <a:pt x="1594" y="6943"/>
                    <a:pt x="1594" y="6943"/>
                  </a:cubicBezTo>
                  <a:close/>
                  <a:moveTo>
                    <a:pt x="1584" y="6923"/>
                  </a:moveTo>
                  <a:cubicBezTo>
                    <a:pt x="1584" y="6923"/>
                    <a:pt x="1593" y="6915"/>
                    <a:pt x="1598" y="6920"/>
                  </a:cubicBezTo>
                  <a:cubicBezTo>
                    <a:pt x="1603" y="6925"/>
                    <a:pt x="1584" y="6923"/>
                    <a:pt x="1584" y="6923"/>
                  </a:cubicBezTo>
                  <a:close/>
                  <a:moveTo>
                    <a:pt x="2038" y="6124"/>
                  </a:moveTo>
                  <a:cubicBezTo>
                    <a:pt x="2038" y="6124"/>
                    <a:pt x="2031" y="6144"/>
                    <a:pt x="2027" y="6135"/>
                  </a:cubicBezTo>
                  <a:cubicBezTo>
                    <a:pt x="2023" y="6126"/>
                    <a:pt x="2038" y="6124"/>
                    <a:pt x="2038" y="6124"/>
                  </a:cubicBezTo>
                  <a:close/>
                  <a:moveTo>
                    <a:pt x="2019" y="6142"/>
                  </a:moveTo>
                  <a:cubicBezTo>
                    <a:pt x="2019" y="6142"/>
                    <a:pt x="2022" y="6156"/>
                    <a:pt x="2017" y="6149"/>
                  </a:cubicBezTo>
                  <a:cubicBezTo>
                    <a:pt x="2012" y="6142"/>
                    <a:pt x="2019" y="6142"/>
                    <a:pt x="2019" y="6142"/>
                  </a:cubicBezTo>
                  <a:close/>
                  <a:moveTo>
                    <a:pt x="2037" y="6278"/>
                  </a:moveTo>
                  <a:cubicBezTo>
                    <a:pt x="2032" y="6285"/>
                    <a:pt x="2032" y="6285"/>
                    <a:pt x="2032" y="6285"/>
                  </a:cubicBezTo>
                  <a:cubicBezTo>
                    <a:pt x="2020" y="6285"/>
                    <a:pt x="2020" y="6285"/>
                    <a:pt x="2020" y="6285"/>
                  </a:cubicBezTo>
                  <a:cubicBezTo>
                    <a:pt x="2017" y="6274"/>
                    <a:pt x="2017" y="6274"/>
                    <a:pt x="2017" y="6274"/>
                  </a:cubicBezTo>
                  <a:cubicBezTo>
                    <a:pt x="2030" y="6274"/>
                    <a:pt x="2030" y="6274"/>
                    <a:pt x="2030" y="6274"/>
                  </a:cubicBezTo>
                  <a:cubicBezTo>
                    <a:pt x="2030" y="6274"/>
                    <a:pt x="2042" y="6265"/>
                    <a:pt x="2050" y="6274"/>
                  </a:cubicBezTo>
                  <a:cubicBezTo>
                    <a:pt x="2058" y="6283"/>
                    <a:pt x="2037" y="6278"/>
                    <a:pt x="2037" y="6278"/>
                  </a:cubicBezTo>
                  <a:close/>
                  <a:moveTo>
                    <a:pt x="2124" y="5722"/>
                  </a:moveTo>
                  <a:cubicBezTo>
                    <a:pt x="2119" y="5727"/>
                    <a:pt x="2123" y="5712"/>
                    <a:pt x="2123" y="5712"/>
                  </a:cubicBezTo>
                  <a:cubicBezTo>
                    <a:pt x="2123" y="5712"/>
                    <a:pt x="2129" y="5717"/>
                    <a:pt x="2124" y="5722"/>
                  </a:cubicBezTo>
                  <a:close/>
                  <a:moveTo>
                    <a:pt x="1938" y="7940"/>
                  </a:moveTo>
                  <a:cubicBezTo>
                    <a:pt x="1949" y="7938"/>
                    <a:pt x="1936" y="7949"/>
                    <a:pt x="1936" y="7949"/>
                  </a:cubicBezTo>
                  <a:cubicBezTo>
                    <a:pt x="1936" y="7949"/>
                    <a:pt x="1927" y="7942"/>
                    <a:pt x="1938" y="7940"/>
                  </a:cubicBezTo>
                  <a:close/>
                  <a:moveTo>
                    <a:pt x="1933" y="7984"/>
                  </a:moveTo>
                  <a:cubicBezTo>
                    <a:pt x="1933" y="7984"/>
                    <a:pt x="1943" y="7973"/>
                    <a:pt x="1943" y="7985"/>
                  </a:cubicBezTo>
                  <a:cubicBezTo>
                    <a:pt x="1943" y="7997"/>
                    <a:pt x="1933" y="7993"/>
                    <a:pt x="1933" y="7984"/>
                  </a:cubicBezTo>
                  <a:close/>
                  <a:moveTo>
                    <a:pt x="2957" y="7710"/>
                  </a:moveTo>
                  <a:cubicBezTo>
                    <a:pt x="2968" y="7711"/>
                    <a:pt x="2961" y="7723"/>
                    <a:pt x="2961" y="7723"/>
                  </a:cubicBezTo>
                  <a:cubicBezTo>
                    <a:pt x="2961" y="7723"/>
                    <a:pt x="2946" y="7709"/>
                    <a:pt x="2957" y="7710"/>
                  </a:cubicBezTo>
                  <a:close/>
                  <a:moveTo>
                    <a:pt x="2926" y="7745"/>
                  </a:moveTo>
                  <a:cubicBezTo>
                    <a:pt x="2920" y="7745"/>
                    <a:pt x="2927" y="7727"/>
                    <a:pt x="2927" y="7727"/>
                  </a:cubicBezTo>
                  <a:cubicBezTo>
                    <a:pt x="2940" y="7726"/>
                    <a:pt x="2940" y="7726"/>
                    <a:pt x="2940" y="7726"/>
                  </a:cubicBezTo>
                  <a:cubicBezTo>
                    <a:pt x="2940" y="7726"/>
                    <a:pt x="2932" y="7745"/>
                    <a:pt x="2926" y="7745"/>
                  </a:cubicBezTo>
                  <a:close/>
                  <a:moveTo>
                    <a:pt x="2973" y="7762"/>
                  </a:moveTo>
                  <a:cubicBezTo>
                    <a:pt x="2966" y="7766"/>
                    <a:pt x="2969" y="7753"/>
                    <a:pt x="2969" y="7753"/>
                  </a:cubicBezTo>
                  <a:cubicBezTo>
                    <a:pt x="2969" y="7753"/>
                    <a:pt x="2980" y="7758"/>
                    <a:pt x="2973" y="7762"/>
                  </a:cubicBezTo>
                  <a:close/>
                  <a:moveTo>
                    <a:pt x="2962" y="7738"/>
                  </a:moveTo>
                  <a:cubicBezTo>
                    <a:pt x="2957" y="7738"/>
                    <a:pt x="2957" y="7751"/>
                    <a:pt x="2957" y="7751"/>
                  </a:cubicBezTo>
                  <a:cubicBezTo>
                    <a:pt x="2948" y="7736"/>
                    <a:pt x="2948" y="7736"/>
                    <a:pt x="2948" y="7736"/>
                  </a:cubicBezTo>
                  <a:cubicBezTo>
                    <a:pt x="2948" y="7729"/>
                    <a:pt x="2981" y="7737"/>
                    <a:pt x="2981" y="7737"/>
                  </a:cubicBezTo>
                  <a:cubicBezTo>
                    <a:pt x="2981" y="7737"/>
                    <a:pt x="2967" y="7738"/>
                    <a:pt x="2962" y="7738"/>
                  </a:cubicBezTo>
                  <a:close/>
                  <a:moveTo>
                    <a:pt x="3312" y="4714"/>
                  </a:moveTo>
                  <a:cubicBezTo>
                    <a:pt x="3311" y="4717"/>
                    <a:pt x="3302" y="4708"/>
                    <a:pt x="3302" y="4708"/>
                  </a:cubicBezTo>
                  <a:cubicBezTo>
                    <a:pt x="3303" y="4700"/>
                    <a:pt x="3313" y="4711"/>
                    <a:pt x="3312" y="4714"/>
                  </a:cubicBezTo>
                  <a:close/>
                  <a:moveTo>
                    <a:pt x="3426" y="7669"/>
                  </a:moveTo>
                  <a:cubicBezTo>
                    <a:pt x="3426" y="7669"/>
                    <a:pt x="3412" y="7666"/>
                    <a:pt x="3404" y="7666"/>
                  </a:cubicBezTo>
                  <a:cubicBezTo>
                    <a:pt x="3404" y="7666"/>
                    <a:pt x="3395" y="7650"/>
                    <a:pt x="3405" y="7649"/>
                  </a:cubicBezTo>
                  <a:cubicBezTo>
                    <a:pt x="3415" y="7648"/>
                    <a:pt x="3417" y="7631"/>
                    <a:pt x="3417" y="7631"/>
                  </a:cubicBezTo>
                  <a:cubicBezTo>
                    <a:pt x="3428" y="7645"/>
                    <a:pt x="3428" y="7645"/>
                    <a:pt x="3428" y="7645"/>
                  </a:cubicBezTo>
                  <a:lnTo>
                    <a:pt x="3426" y="7669"/>
                  </a:lnTo>
                  <a:close/>
                  <a:moveTo>
                    <a:pt x="3448" y="7645"/>
                  </a:moveTo>
                  <a:cubicBezTo>
                    <a:pt x="3448" y="7645"/>
                    <a:pt x="3438" y="7640"/>
                    <a:pt x="3445" y="7634"/>
                  </a:cubicBezTo>
                  <a:cubicBezTo>
                    <a:pt x="3452" y="7628"/>
                    <a:pt x="3448" y="7645"/>
                    <a:pt x="3448" y="7645"/>
                  </a:cubicBezTo>
                  <a:close/>
                  <a:moveTo>
                    <a:pt x="4049" y="7171"/>
                  </a:moveTo>
                  <a:cubicBezTo>
                    <a:pt x="4049" y="7171"/>
                    <a:pt x="4055" y="7165"/>
                    <a:pt x="4055" y="7171"/>
                  </a:cubicBezTo>
                  <a:cubicBezTo>
                    <a:pt x="4055" y="7177"/>
                    <a:pt x="4049" y="7171"/>
                    <a:pt x="4049" y="7171"/>
                  </a:cubicBezTo>
                  <a:close/>
                  <a:moveTo>
                    <a:pt x="4275" y="7246"/>
                  </a:moveTo>
                  <a:cubicBezTo>
                    <a:pt x="4275" y="7253"/>
                    <a:pt x="4252" y="7245"/>
                    <a:pt x="4252" y="7245"/>
                  </a:cubicBezTo>
                  <a:cubicBezTo>
                    <a:pt x="4252" y="7245"/>
                    <a:pt x="4275" y="7239"/>
                    <a:pt x="4275" y="7246"/>
                  </a:cubicBezTo>
                  <a:close/>
                  <a:moveTo>
                    <a:pt x="4202" y="7227"/>
                  </a:moveTo>
                  <a:cubicBezTo>
                    <a:pt x="4196" y="7227"/>
                    <a:pt x="4198" y="7219"/>
                    <a:pt x="4198" y="7219"/>
                  </a:cubicBezTo>
                  <a:cubicBezTo>
                    <a:pt x="4198" y="7219"/>
                    <a:pt x="4208" y="7227"/>
                    <a:pt x="4202" y="7227"/>
                  </a:cubicBezTo>
                  <a:close/>
                  <a:moveTo>
                    <a:pt x="4193" y="7189"/>
                  </a:moveTo>
                  <a:cubicBezTo>
                    <a:pt x="4203" y="7190"/>
                    <a:pt x="4202" y="7200"/>
                    <a:pt x="4194" y="7203"/>
                  </a:cubicBezTo>
                  <a:cubicBezTo>
                    <a:pt x="4186" y="7206"/>
                    <a:pt x="4193" y="7189"/>
                    <a:pt x="4193" y="7189"/>
                  </a:cubicBezTo>
                  <a:close/>
                  <a:moveTo>
                    <a:pt x="4162" y="7195"/>
                  </a:moveTo>
                  <a:cubicBezTo>
                    <a:pt x="4173" y="7197"/>
                    <a:pt x="4173" y="7197"/>
                    <a:pt x="4173" y="7197"/>
                  </a:cubicBezTo>
                  <a:cubicBezTo>
                    <a:pt x="4168" y="7180"/>
                    <a:pt x="4168" y="7180"/>
                    <a:pt x="4168" y="7180"/>
                  </a:cubicBezTo>
                  <a:cubicBezTo>
                    <a:pt x="4176" y="7188"/>
                    <a:pt x="4176" y="7188"/>
                    <a:pt x="4176" y="7188"/>
                  </a:cubicBezTo>
                  <a:cubicBezTo>
                    <a:pt x="4190" y="7181"/>
                    <a:pt x="4190" y="7181"/>
                    <a:pt x="4190" y="7181"/>
                  </a:cubicBezTo>
                  <a:cubicBezTo>
                    <a:pt x="4190" y="7181"/>
                    <a:pt x="4183" y="7189"/>
                    <a:pt x="4183" y="7199"/>
                  </a:cubicBezTo>
                  <a:cubicBezTo>
                    <a:pt x="4183" y="7209"/>
                    <a:pt x="4189" y="7225"/>
                    <a:pt x="4189" y="7225"/>
                  </a:cubicBezTo>
                  <a:cubicBezTo>
                    <a:pt x="4175" y="7212"/>
                    <a:pt x="4175" y="7212"/>
                    <a:pt x="4175" y="7212"/>
                  </a:cubicBezTo>
                  <a:cubicBezTo>
                    <a:pt x="4158" y="7225"/>
                    <a:pt x="4158" y="7225"/>
                    <a:pt x="4158" y="7225"/>
                  </a:cubicBezTo>
                  <a:cubicBezTo>
                    <a:pt x="4163" y="7218"/>
                    <a:pt x="4162" y="7195"/>
                    <a:pt x="4162" y="7195"/>
                  </a:cubicBezTo>
                  <a:close/>
                  <a:moveTo>
                    <a:pt x="4156" y="7208"/>
                  </a:moveTo>
                  <a:cubicBezTo>
                    <a:pt x="4159" y="7214"/>
                    <a:pt x="4144" y="7218"/>
                    <a:pt x="4144" y="7218"/>
                  </a:cubicBezTo>
                  <a:cubicBezTo>
                    <a:pt x="4144" y="7218"/>
                    <a:pt x="4153" y="7202"/>
                    <a:pt x="4156" y="7208"/>
                  </a:cubicBezTo>
                  <a:close/>
                  <a:moveTo>
                    <a:pt x="4131" y="7203"/>
                  </a:moveTo>
                  <a:cubicBezTo>
                    <a:pt x="4131" y="7203"/>
                    <a:pt x="4142" y="7205"/>
                    <a:pt x="4135" y="7210"/>
                  </a:cubicBezTo>
                  <a:cubicBezTo>
                    <a:pt x="4128" y="7215"/>
                    <a:pt x="4131" y="7203"/>
                    <a:pt x="4131" y="7203"/>
                  </a:cubicBezTo>
                  <a:close/>
                  <a:moveTo>
                    <a:pt x="4068" y="7172"/>
                  </a:moveTo>
                  <a:cubicBezTo>
                    <a:pt x="4059" y="7172"/>
                    <a:pt x="4065" y="7168"/>
                    <a:pt x="4065" y="7168"/>
                  </a:cubicBezTo>
                  <a:cubicBezTo>
                    <a:pt x="4065" y="7168"/>
                    <a:pt x="4077" y="7172"/>
                    <a:pt x="4068" y="7172"/>
                  </a:cubicBezTo>
                  <a:close/>
                  <a:moveTo>
                    <a:pt x="4208" y="6964"/>
                  </a:moveTo>
                  <a:cubicBezTo>
                    <a:pt x="4208" y="6964"/>
                    <a:pt x="4222" y="6953"/>
                    <a:pt x="4225" y="6963"/>
                  </a:cubicBezTo>
                  <a:cubicBezTo>
                    <a:pt x="4228" y="6973"/>
                    <a:pt x="4208" y="6964"/>
                    <a:pt x="4208" y="6964"/>
                  </a:cubicBezTo>
                  <a:close/>
                  <a:moveTo>
                    <a:pt x="4225" y="6951"/>
                  </a:moveTo>
                  <a:cubicBezTo>
                    <a:pt x="4220" y="6955"/>
                    <a:pt x="4225" y="6941"/>
                    <a:pt x="4225" y="6941"/>
                  </a:cubicBezTo>
                  <a:cubicBezTo>
                    <a:pt x="4225" y="6941"/>
                    <a:pt x="4230" y="6947"/>
                    <a:pt x="4225" y="6951"/>
                  </a:cubicBezTo>
                  <a:close/>
                  <a:moveTo>
                    <a:pt x="4323" y="6893"/>
                  </a:moveTo>
                  <a:cubicBezTo>
                    <a:pt x="4319" y="6899"/>
                    <a:pt x="4321" y="6882"/>
                    <a:pt x="4321" y="6882"/>
                  </a:cubicBezTo>
                  <a:cubicBezTo>
                    <a:pt x="4321" y="6882"/>
                    <a:pt x="4327" y="6887"/>
                    <a:pt x="4323" y="6893"/>
                  </a:cubicBezTo>
                  <a:close/>
                  <a:moveTo>
                    <a:pt x="4376" y="6784"/>
                  </a:moveTo>
                  <a:cubicBezTo>
                    <a:pt x="4376" y="6784"/>
                    <a:pt x="4365" y="6797"/>
                    <a:pt x="4365" y="6789"/>
                  </a:cubicBezTo>
                  <a:cubicBezTo>
                    <a:pt x="4365" y="6781"/>
                    <a:pt x="4382" y="6766"/>
                    <a:pt x="4376" y="6784"/>
                  </a:cubicBezTo>
                  <a:close/>
                  <a:moveTo>
                    <a:pt x="4411" y="6790"/>
                  </a:moveTo>
                  <a:cubicBezTo>
                    <a:pt x="4407" y="6792"/>
                    <a:pt x="4404" y="6785"/>
                    <a:pt x="4404" y="6785"/>
                  </a:cubicBezTo>
                  <a:cubicBezTo>
                    <a:pt x="4390" y="6787"/>
                    <a:pt x="4390" y="6787"/>
                    <a:pt x="4390" y="6787"/>
                  </a:cubicBezTo>
                  <a:cubicBezTo>
                    <a:pt x="4390" y="6783"/>
                    <a:pt x="4402" y="6771"/>
                    <a:pt x="4402" y="6771"/>
                  </a:cubicBezTo>
                  <a:cubicBezTo>
                    <a:pt x="4402" y="6771"/>
                    <a:pt x="4415" y="6788"/>
                    <a:pt x="4411" y="6790"/>
                  </a:cubicBezTo>
                  <a:close/>
                  <a:moveTo>
                    <a:pt x="4413" y="6743"/>
                  </a:moveTo>
                  <a:cubicBezTo>
                    <a:pt x="4406" y="6749"/>
                    <a:pt x="4408" y="6732"/>
                    <a:pt x="4408" y="6732"/>
                  </a:cubicBezTo>
                  <a:cubicBezTo>
                    <a:pt x="4408" y="6732"/>
                    <a:pt x="4420" y="6737"/>
                    <a:pt x="4413" y="6743"/>
                  </a:cubicBezTo>
                  <a:close/>
                  <a:moveTo>
                    <a:pt x="4422" y="6841"/>
                  </a:moveTo>
                  <a:cubicBezTo>
                    <a:pt x="4419" y="6840"/>
                    <a:pt x="4425" y="6834"/>
                    <a:pt x="4425" y="6834"/>
                  </a:cubicBezTo>
                  <a:cubicBezTo>
                    <a:pt x="4425" y="6834"/>
                    <a:pt x="4425" y="6842"/>
                    <a:pt x="4422" y="6841"/>
                  </a:cubicBezTo>
                  <a:close/>
                  <a:moveTo>
                    <a:pt x="1442" y="6883"/>
                  </a:moveTo>
                  <a:cubicBezTo>
                    <a:pt x="1435" y="6883"/>
                    <a:pt x="1427" y="6889"/>
                    <a:pt x="1427" y="6889"/>
                  </a:cubicBezTo>
                  <a:cubicBezTo>
                    <a:pt x="1450" y="6890"/>
                    <a:pt x="1450" y="6890"/>
                    <a:pt x="1450" y="6890"/>
                  </a:cubicBezTo>
                  <a:cubicBezTo>
                    <a:pt x="1450" y="6890"/>
                    <a:pt x="1449" y="6883"/>
                    <a:pt x="1442" y="6883"/>
                  </a:cubicBezTo>
                  <a:close/>
                  <a:moveTo>
                    <a:pt x="1452" y="6912"/>
                  </a:moveTo>
                  <a:cubicBezTo>
                    <a:pt x="1441" y="6923"/>
                    <a:pt x="1441" y="6923"/>
                    <a:pt x="1441" y="6923"/>
                  </a:cubicBezTo>
                  <a:cubicBezTo>
                    <a:pt x="1453" y="6924"/>
                    <a:pt x="1453" y="6924"/>
                    <a:pt x="1453" y="6924"/>
                  </a:cubicBezTo>
                  <a:lnTo>
                    <a:pt x="1452" y="6912"/>
                  </a:lnTo>
                  <a:close/>
                  <a:moveTo>
                    <a:pt x="818" y="3227"/>
                  </a:moveTo>
                  <a:cubicBezTo>
                    <a:pt x="817" y="3235"/>
                    <a:pt x="797" y="3229"/>
                    <a:pt x="791" y="3229"/>
                  </a:cubicBezTo>
                  <a:cubicBezTo>
                    <a:pt x="785" y="3229"/>
                    <a:pt x="779" y="3240"/>
                    <a:pt x="771" y="3243"/>
                  </a:cubicBezTo>
                  <a:cubicBezTo>
                    <a:pt x="762" y="3247"/>
                    <a:pt x="769" y="3237"/>
                    <a:pt x="748" y="3233"/>
                  </a:cubicBezTo>
                  <a:cubicBezTo>
                    <a:pt x="727" y="3230"/>
                    <a:pt x="716" y="3258"/>
                    <a:pt x="716" y="3258"/>
                  </a:cubicBezTo>
                  <a:cubicBezTo>
                    <a:pt x="722" y="3259"/>
                    <a:pt x="722" y="3259"/>
                    <a:pt x="722" y="3259"/>
                  </a:cubicBezTo>
                  <a:cubicBezTo>
                    <a:pt x="722" y="3259"/>
                    <a:pt x="720" y="3289"/>
                    <a:pt x="729" y="3289"/>
                  </a:cubicBezTo>
                  <a:cubicBezTo>
                    <a:pt x="737" y="3289"/>
                    <a:pt x="749" y="3306"/>
                    <a:pt x="749" y="3306"/>
                  </a:cubicBezTo>
                  <a:cubicBezTo>
                    <a:pt x="749" y="3306"/>
                    <a:pt x="766" y="3300"/>
                    <a:pt x="764" y="3293"/>
                  </a:cubicBezTo>
                  <a:cubicBezTo>
                    <a:pt x="753" y="3290"/>
                    <a:pt x="773" y="3266"/>
                    <a:pt x="779" y="3266"/>
                  </a:cubicBezTo>
                  <a:cubicBezTo>
                    <a:pt x="785" y="3266"/>
                    <a:pt x="787" y="3273"/>
                    <a:pt x="787" y="3273"/>
                  </a:cubicBezTo>
                  <a:cubicBezTo>
                    <a:pt x="801" y="3268"/>
                    <a:pt x="801" y="3268"/>
                    <a:pt x="801" y="3268"/>
                  </a:cubicBezTo>
                  <a:cubicBezTo>
                    <a:pt x="804" y="3245"/>
                    <a:pt x="804" y="3245"/>
                    <a:pt x="804" y="3245"/>
                  </a:cubicBezTo>
                  <a:cubicBezTo>
                    <a:pt x="811" y="3242"/>
                    <a:pt x="811" y="3242"/>
                    <a:pt x="811" y="3242"/>
                  </a:cubicBezTo>
                  <a:cubicBezTo>
                    <a:pt x="817" y="3248"/>
                    <a:pt x="817" y="3248"/>
                    <a:pt x="817" y="3248"/>
                  </a:cubicBezTo>
                  <a:cubicBezTo>
                    <a:pt x="820" y="3242"/>
                    <a:pt x="820" y="3242"/>
                    <a:pt x="820" y="3242"/>
                  </a:cubicBezTo>
                  <a:cubicBezTo>
                    <a:pt x="820" y="3242"/>
                    <a:pt x="835" y="3242"/>
                    <a:pt x="840" y="3242"/>
                  </a:cubicBezTo>
                  <a:cubicBezTo>
                    <a:pt x="845" y="3242"/>
                    <a:pt x="823" y="3215"/>
                    <a:pt x="823" y="3215"/>
                  </a:cubicBezTo>
                  <a:cubicBezTo>
                    <a:pt x="823" y="3215"/>
                    <a:pt x="819" y="3219"/>
                    <a:pt x="818" y="3227"/>
                  </a:cubicBezTo>
                  <a:close/>
                  <a:moveTo>
                    <a:pt x="959" y="8308"/>
                  </a:moveTo>
                  <a:cubicBezTo>
                    <a:pt x="962" y="8316"/>
                    <a:pt x="941" y="8322"/>
                    <a:pt x="948" y="8336"/>
                  </a:cubicBezTo>
                  <a:cubicBezTo>
                    <a:pt x="955" y="8350"/>
                    <a:pt x="968" y="8331"/>
                    <a:pt x="971" y="8322"/>
                  </a:cubicBezTo>
                  <a:cubicBezTo>
                    <a:pt x="974" y="8313"/>
                    <a:pt x="953" y="8293"/>
                    <a:pt x="959" y="8308"/>
                  </a:cubicBezTo>
                  <a:close/>
                  <a:moveTo>
                    <a:pt x="1391" y="2225"/>
                  </a:moveTo>
                  <a:cubicBezTo>
                    <a:pt x="1402" y="2222"/>
                    <a:pt x="1385" y="2213"/>
                    <a:pt x="1385" y="2213"/>
                  </a:cubicBezTo>
                  <a:cubicBezTo>
                    <a:pt x="1385" y="2213"/>
                    <a:pt x="1381" y="2227"/>
                    <a:pt x="1391" y="2225"/>
                  </a:cubicBezTo>
                  <a:close/>
                  <a:moveTo>
                    <a:pt x="1343" y="4183"/>
                  </a:moveTo>
                  <a:cubicBezTo>
                    <a:pt x="1344" y="4172"/>
                    <a:pt x="1338" y="4170"/>
                    <a:pt x="1332" y="4174"/>
                  </a:cubicBezTo>
                  <a:cubicBezTo>
                    <a:pt x="1332" y="4174"/>
                    <a:pt x="1342" y="4194"/>
                    <a:pt x="1343" y="4183"/>
                  </a:cubicBezTo>
                  <a:close/>
                  <a:moveTo>
                    <a:pt x="963" y="8284"/>
                  </a:moveTo>
                  <a:cubicBezTo>
                    <a:pt x="953" y="8289"/>
                    <a:pt x="965" y="8301"/>
                    <a:pt x="970" y="8301"/>
                  </a:cubicBezTo>
                  <a:cubicBezTo>
                    <a:pt x="975" y="8301"/>
                    <a:pt x="980" y="8284"/>
                    <a:pt x="980" y="8284"/>
                  </a:cubicBezTo>
                  <a:cubicBezTo>
                    <a:pt x="969" y="8287"/>
                    <a:pt x="969" y="8287"/>
                    <a:pt x="969" y="8287"/>
                  </a:cubicBezTo>
                  <a:lnTo>
                    <a:pt x="963" y="8284"/>
                  </a:lnTo>
                  <a:close/>
                  <a:moveTo>
                    <a:pt x="3324" y="7716"/>
                  </a:moveTo>
                  <a:cubicBezTo>
                    <a:pt x="3318" y="7716"/>
                    <a:pt x="3294" y="7690"/>
                    <a:pt x="3281" y="7688"/>
                  </a:cubicBezTo>
                  <a:cubicBezTo>
                    <a:pt x="3268" y="7686"/>
                    <a:pt x="3257" y="7715"/>
                    <a:pt x="3236" y="7723"/>
                  </a:cubicBezTo>
                  <a:cubicBezTo>
                    <a:pt x="3215" y="7731"/>
                    <a:pt x="3202" y="7739"/>
                    <a:pt x="3202" y="7739"/>
                  </a:cubicBezTo>
                  <a:cubicBezTo>
                    <a:pt x="3202" y="7739"/>
                    <a:pt x="3190" y="7737"/>
                    <a:pt x="3179" y="7736"/>
                  </a:cubicBezTo>
                  <a:cubicBezTo>
                    <a:pt x="3168" y="7735"/>
                    <a:pt x="3149" y="7776"/>
                    <a:pt x="3152" y="7776"/>
                  </a:cubicBezTo>
                  <a:cubicBezTo>
                    <a:pt x="3171" y="7778"/>
                    <a:pt x="3175" y="7767"/>
                    <a:pt x="3196" y="7767"/>
                  </a:cubicBezTo>
                  <a:cubicBezTo>
                    <a:pt x="3217" y="7767"/>
                    <a:pt x="3208" y="7790"/>
                    <a:pt x="3221" y="7791"/>
                  </a:cubicBezTo>
                  <a:cubicBezTo>
                    <a:pt x="3234" y="7792"/>
                    <a:pt x="3249" y="7817"/>
                    <a:pt x="3262" y="7819"/>
                  </a:cubicBezTo>
                  <a:cubicBezTo>
                    <a:pt x="3275" y="7821"/>
                    <a:pt x="3274" y="7842"/>
                    <a:pt x="3274" y="7842"/>
                  </a:cubicBezTo>
                  <a:cubicBezTo>
                    <a:pt x="3274" y="7842"/>
                    <a:pt x="3297" y="7845"/>
                    <a:pt x="3302" y="7845"/>
                  </a:cubicBezTo>
                  <a:cubicBezTo>
                    <a:pt x="3307" y="7845"/>
                    <a:pt x="3331" y="7832"/>
                    <a:pt x="3340" y="7829"/>
                  </a:cubicBezTo>
                  <a:cubicBezTo>
                    <a:pt x="3349" y="7826"/>
                    <a:pt x="3345" y="7783"/>
                    <a:pt x="3354" y="7782"/>
                  </a:cubicBezTo>
                  <a:cubicBezTo>
                    <a:pt x="3363" y="7781"/>
                    <a:pt x="3390" y="7760"/>
                    <a:pt x="3390" y="7760"/>
                  </a:cubicBezTo>
                  <a:cubicBezTo>
                    <a:pt x="3355" y="7720"/>
                    <a:pt x="3355" y="7720"/>
                    <a:pt x="3355" y="7720"/>
                  </a:cubicBezTo>
                  <a:cubicBezTo>
                    <a:pt x="3355" y="7720"/>
                    <a:pt x="3330" y="7716"/>
                    <a:pt x="3324" y="7716"/>
                  </a:cubicBezTo>
                  <a:close/>
                  <a:moveTo>
                    <a:pt x="1718" y="6977"/>
                  </a:moveTo>
                  <a:cubicBezTo>
                    <a:pt x="1727" y="6972"/>
                    <a:pt x="1727" y="6972"/>
                    <a:pt x="1727" y="6972"/>
                  </a:cubicBezTo>
                  <a:cubicBezTo>
                    <a:pt x="1713" y="6966"/>
                    <a:pt x="1713" y="6966"/>
                    <a:pt x="1713" y="6966"/>
                  </a:cubicBezTo>
                  <a:cubicBezTo>
                    <a:pt x="1707" y="6973"/>
                    <a:pt x="1718" y="6977"/>
                    <a:pt x="1718" y="6977"/>
                  </a:cubicBezTo>
                  <a:close/>
                  <a:moveTo>
                    <a:pt x="1341" y="3303"/>
                  </a:moveTo>
                  <a:cubicBezTo>
                    <a:pt x="1348" y="3306"/>
                    <a:pt x="1410" y="3230"/>
                    <a:pt x="1410" y="3230"/>
                  </a:cubicBezTo>
                  <a:cubicBezTo>
                    <a:pt x="1392" y="3229"/>
                    <a:pt x="1376" y="3265"/>
                    <a:pt x="1359" y="3269"/>
                  </a:cubicBezTo>
                  <a:cubicBezTo>
                    <a:pt x="1343" y="3273"/>
                    <a:pt x="1335" y="3299"/>
                    <a:pt x="1341" y="3303"/>
                  </a:cubicBezTo>
                  <a:close/>
                  <a:moveTo>
                    <a:pt x="1071" y="2977"/>
                  </a:moveTo>
                  <a:cubicBezTo>
                    <a:pt x="1072" y="2990"/>
                    <a:pt x="1081" y="3001"/>
                    <a:pt x="1091" y="2999"/>
                  </a:cubicBezTo>
                  <a:cubicBezTo>
                    <a:pt x="1102" y="2997"/>
                    <a:pt x="1113" y="2985"/>
                    <a:pt x="1111" y="2983"/>
                  </a:cubicBezTo>
                  <a:cubicBezTo>
                    <a:pt x="1110" y="2981"/>
                    <a:pt x="1108" y="2975"/>
                    <a:pt x="1108" y="2975"/>
                  </a:cubicBezTo>
                  <a:cubicBezTo>
                    <a:pt x="1113" y="2970"/>
                    <a:pt x="1113" y="2970"/>
                    <a:pt x="1113" y="2970"/>
                  </a:cubicBezTo>
                  <a:cubicBezTo>
                    <a:pt x="1112" y="2953"/>
                    <a:pt x="1112" y="2953"/>
                    <a:pt x="1112" y="2953"/>
                  </a:cubicBezTo>
                  <a:cubicBezTo>
                    <a:pt x="1100" y="2946"/>
                    <a:pt x="1100" y="2946"/>
                    <a:pt x="1100" y="2946"/>
                  </a:cubicBezTo>
                  <a:cubicBezTo>
                    <a:pt x="1089" y="2950"/>
                    <a:pt x="1089" y="2950"/>
                    <a:pt x="1089" y="2950"/>
                  </a:cubicBezTo>
                  <a:cubicBezTo>
                    <a:pt x="1092" y="2961"/>
                    <a:pt x="1092" y="2961"/>
                    <a:pt x="1092" y="2961"/>
                  </a:cubicBezTo>
                  <a:cubicBezTo>
                    <a:pt x="1092" y="2961"/>
                    <a:pt x="1070" y="2969"/>
                    <a:pt x="1071" y="2977"/>
                  </a:cubicBezTo>
                  <a:close/>
                  <a:moveTo>
                    <a:pt x="1454" y="2207"/>
                  </a:moveTo>
                  <a:cubicBezTo>
                    <a:pt x="1456" y="2207"/>
                    <a:pt x="1463" y="2207"/>
                    <a:pt x="1463" y="2207"/>
                  </a:cubicBezTo>
                  <a:cubicBezTo>
                    <a:pt x="1455" y="2193"/>
                    <a:pt x="1455" y="2193"/>
                    <a:pt x="1455" y="2193"/>
                  </a:cubicBezTo>
                  <a:lnTo>
                    <a:pt x="1454" y="2207"/>
                  </a:lnTo>
                  <a:close/>
                  <a:moveTo>
                    <a:pt x="2693" y="3550"/>
                  </a:moveTo>
                  <a:cubicBezTo>
                    <a:pt x="2702" y="3544"/>
                    <a:pt x="2683" y="3536"/>
                    <a:pt x="2683" y="3536"/>
                  </a:cubicBezTo>
                  <a:cubicBezTo>
                    <a:pt x="2681" y="3541"/>
                    <a:pt x="2684" y="3556"/>
                    <a:pt x="2693" y="3550"/>
                  </a:cubicBezTo>
                  <a:close/>
                  <a:moveTo>
                    <a:pt x="1614" y="3861"/>
                  </a:moveTo>
                  <a:cubicBezTo>
                    <a:pt x="1627" y="3861"/>
                    <a:pt x="1627" y="3861"/>
                    <a:pt x="1627" y="3861"/>
                  </a:cubicBezTo>
                  <a:cubicBezTo>
                    <a:pt x="1631" y="3836"/>
                    <a:pt x="1631" y="3836"/>
                    <a:pt x="1631" y="3836"/>
                  </a:cubicBezTo>
                  <a:cubicBezTo>
                    <a:pt x="1631" y="3836"/>
                    <a:pt x="1631" y="3836"/>
                    <a:pt x="1640" y="3844"/>
                  </a:cubicBezTo>
                  <a:cubicBezTo>
                    <a:pt x="1665" y="3822"/>
                    <a:pt x="1640" y="3799"/>
                    <a:pt x="1640" y="3799"/>
                  </a:cubicBezTo>
                  <a:cubicBezTo>
                    <a:pt x="1623" y="3800"/>
                    <a:pt x="1632" y="3821"/>
                    <a:pt x="1621" y="3825"/>
                  </a:cubicBezTo>
                  <a:cubicBezTo>
                    <a:pt x="1610" y="3829"/>
                    <a:pt x="1624" y="3851"/>
                    <a:pt x="1624" y="3851"/>
                  </a:cubicBezTo>
                  <a:cubicBezTo>
                    <a:pt x="1614" y="3853"/>
                    <a:pt x="1614" y="3853"/>
                    <a:pt x="1614" y="3853"/>
                  </a:cubicBezTo>
                  <a:lnTo>
                    <a:pt x="1614" y="3861"/>
                  </a:lnTo>
                  <a:close/>
                  <a:moveTo>
                    <a:pt x="1459" y="3864"/>
                  </a:moveTo>
                  <a:cubicBezTo>
                    <a:pt x="1446" y="3868"/>
                    <a:pt x="1425" y="3911"/>
                    <a:pt x="1425" y="3911"/>
                  </a:cubicBezTo>
                  <a:cubicBezTo>
                    <a:pt x="1417" y="3922"/>
                    <a:pt x="1417" y="3922"/>
                    <a:pt x="1417" y="3922"/>
                  </a:cubicBezTo>
                  <a:cubicBezTo>
                    <a:pt x="1418" y="3938"/>
                    <a:pt x="1443" y="3957"/>
                    <a:pt x="1446" y="3972"/>
                  </a:cubicBezTo>
                  <a:cubicBezTo>
                    <a:pt x="1449" y="3987"/>
                    <a:pt x="1438" y="3985"/>
                    <a:pt x="1436" y="3998"/>
                  </a:cubicBezTo>
                  <a:cubicBezTo>
                    <a:pt x="1434" y="4011"/>
                    <a:pt x="1436" y="3998"/>
                    <a:pt x="1451" y="4023"/>
                  </a:cubicBezTo>
                  <a:cubicBezTo>
                    <a:pt x="1455" y="4089"/>
                    <a:pt x="1554" y="4060"/>
                    <a:pt x="1554" y="4060"/>
                  </a:cubicBezTo>
                  <a:cubicBezTo>
                    <a:pt x="1566" y="4049"/>
                    <a:pt x="1566" y="4049"/>
                    <a:pt x="1566" y="4049"/>
                  </a:cubicBezTo>
                  <a:cubicBezTo>
                    <a:pt x="1556" y="4024"/>
                    <a:pt x="1556" y="4024"/>
                    <a:pt x="1556" y="4024"/>
                  </a:cubicBezTo>
                  <a:cubicBezTo>
                    <a:pt x="1560" y="4013"/>
                    <a:pt x="1560" y="4013"/>
                    <a:pt x="1560" y="4013"/>
                  </a:cubicBezTo>
                  <a:cubicBezTo>
                    <a:pt x="1560" y="4013"/>
                    <a:pt x="1546" y="4007"/>
                    <a:pt x="1546" y="3990"/>
                  </a:cubicBezTo>
                  <a:cubicBezTo>
                    <a:pt x="1546" y="3973"/>
                    <a:pt x="1559" y="3988"/>
                    <a:pt x="1562" y="3978"/>
                  </a:cubicBezTo>
                  <a:cubicBezTo>
                    <a:pt x="1565" y="3968"/>
                    <a:pt x="1544" y="3959"/>
                    <a:pt x="1544" y="3959"/>
                  </a:cubicBezTo>
                  <a:cubicBezTo>
                    <a:pt x="1534" y="3952"/>
                    <a:pt x="1534" y="3952"/>
                    <a:pt x="1534" y="3952"/>
                  </a:cubicBezTo>
                  <a:cubicBezTo>
                    <a:pt x="1534" y="3952"/>
                    <a:pt x="1542" y="3943"/>
                    <a:pt x="1543" y="3932"/>
                  </a:cubicBezTo>
                  <a:cubicBezTo>
                    <a:pt x="1544" y="3921"/>
                    <a:pt x="1529" y="3884"/>
                    <a:pt x="1529" y="3884"/>
                  </a:cubicBezTo>
                  <a:cubicBezTo>
                    <a:pt x="1529" y="3884"/>
                    <a:pt x="1488" y="3845"/>
                    <a:pt x="1473" y="3845"/>
                  </a:cubicBezTo>
                  <a:cubicBezTo>
                    <a:pt x="1458" y="3845"/>
                    <a:pt x="1472" y="3860"/>
                    <a:pt x="1459" y="3864"/>
                  </a:cubicBezTo>
                  <a:close/>
                  <a:moveTo>
                    <a:pt x="1677" y="5102"/>
                  </a:moveTo>
                  <a:cubicBezTo>
                    <a:pt x="1665" y="5102"/>
                    <a:pt x="1674" y="5122"/>
                    <a:pt x="1674" y="5122"/>
                  </a:cubicBezTo>
                  <a:cubicBezTo>
                    <a:pt x="1674" y="5122"/>
                    <a:pt x="1688" y="5118"/>
                    <a:pt x="1686" y="5106"/>
                  </a:cubicBezTo>
                  <a:cubicBezTo>
                    <a:pt x="1707" y="5106"/>
                    <a:pt x="1715" y="5085"/>
                    <a:pt x="1725" y="5085"/>
                  </a:cubicBezTo>
                  <a:cubicBezTo>
                    <a:pt x="1735" y="5085"/>
                    <a:pt x="1738" y="5102"/>
                    <a:pt x="1738" y="5102"/>
                  </a:cubicBezTo>
                  <a:cubicBezTo>
                    <a:pt x="1756" y="5096"/>
                    <a:pt x="1756" y="5096"/>
                    <a:pt x="1756" y="5096"/>
                  </a:cubicBezTo>
                  <a:cubicBezTo>
                    <a:pt x="1756" y="5096"/>
                    <a:pt x="1755" y="5108"/>
                    <a:pt x="1763" y="5109"/>
                  </a:cubicBezTo>
                  <a:cubicBezTo>
                    <a:pt x="1771" y="5110"/>
                    <a:pt x="1756" y="5088"/>
                    <a:pt x="1756" y="5088"/>
                  </a:cubicBezTo>
                  <a:cubicBezTo>
                    <a:pt x="1763" y="5093"/>
                    <a:pt x="1763" y="5093"/>
                    <a:pt x="1763" y="5093"/>
                  </a:cubicBezTo>
                  <a:cubicBezTo>
                    <a:pt x="1776" y="5076"/>
                    <a:pt x="1776" y="5076"/>
                    <a:pt x="1776" y="5076"/>
                  </a:cubicBezTo>
                  <a:cubicBezTo>
                    <a:pt x="1797" y="5076"/>
                    <a:pt x="1797" y="5076"/>
                    <a:pt x="1797" y="5076"/>
                  </a:cubicBezTo>
                  <a:cubicBezTo>
                    <a:pt x="1809" y="5055"/>
                    <a:pt x="1809" y="5055"/>
                    <a:pt x="1809" y="5055"/>
                  </a:cubicBezTo>
                  <a:cubicBezTo>
                    <a:pt x="1832" y="5045"/>
                    <a:pt x="1832" y="5045"/>
                    <a:pt x="1832" y="5045"/>
                  </a:cubicBezTo>
                  <a:cubicBezTo>
                    <a:pt x="1832" y="5045"/>
                    <a:pt x="1819" y="5030"/>
                    <a:pt x="1832" y="5030"/>
                  </a:cubicBezTo>
                  <a:cubicBezTo>
                    <a:pt x="1845" y="5030"/>
                    <a:pt x="1865" y="5005"/>
                    <a:pt x="1865" y="5005"/>
                  </a:cubicBezTo>
                  <a:cubicBezTo>
                    <a:pt x="1859" y="4985"/>
                    <a:pt x="1859" y="4985"/>
                    <a:pt x="1859" y="4985"/>
                  </a:cubicBezTo>
                  <a:cubicBezTo>
                    <a:pt x="1867" y="4984"/>
                    <a:pt x="1867" y="4984"/>
                    <a:pt x="1867" y="4984"/>
                  </a:cubicBezTo>
                  <a:cubicBezTo>
                    <a:pt x="1905" y="4925"/>
                    <a:pt x="1905" y="4925"/>
                    <a:pt x="1905" y="4925"/>
                  </a:cubicBezTo>
                  <a:cubicBezTo>
                    <a:pt x="1905" y="4925"/>
                    <a:pt x="1901" y="4918"/>
                    <a:pt x="1876" y="4918"/>
                  </a:cubicBezTo>
                  <a:cubicBezTo>
                    <a:pt x="1851" y="4918"/>
                    <a:pt x="1872" y="4876"/>
                    <a:pt x="1878" y="4870"/>
                  </a:cubicBezTo>
                  <a:cubicBezTo>
                    <a:pt x="1884" y="4864"/>
                    <a:pt x="1878" y="4842"/>
                    <a:pt x="1878" y="4842"/>
                  </a:cubicBezTo>
                  <a:cubicBezTo>
                    <a:pt x="1792" y="4846"/>
                    <a:pt x="1788" y="4905"/>
                    <a:pt x="1769" y="4941"/>
                  </a:cubicBezTo>
                  <a:cubicBezTo>
                    <a:pt x="1750" y="4977"/>
                    <a:pt x="1724" y="4975"/>
                    <a:pt x="1724" y="4975"/>
                  </a:cubicBezTo>
                  <a:cubicBezTo>
                    <a:pt x="1724" y="4975"/>
                    <a:pt x="1716" y="4987"/>
                    <a:pt x="1712" y="4992"/>
                  </a:cubicBezTo>
                  <a:cubicBezTo>
                    <a:pt x="1708" y="4997"/>
                    <a:pt x="1720" y="4996"/>
                    <a:pt x="1720" y="4996"/>
                  </a:cubicBezTo>
                  <a:cubicBezTo>
                    <a:pt x="1703" y="5024"/>
                    <a:pt x="1703" y="5024"/>
                    <a:pt x="1703" y="5024"/>
                  </a:cubicBezTo>
                  <a:cubicBezTo>
                    <a:pt x="1703" y="5024"/>
                    <a:pt x="1712" y="5049"/>
                    <a:pt x="1704" y="5062"/>
                  </a:cubicBezTo>
                  <a:cubicBezTo>
                    <a:pt x="1695" y="5062"/>
                    <a:pt x="1689" y="5102"/>
                    <a:pt x="1677" y="5102"/>
                  </a:cubicBezTo>
                  <a:close/>
                  <a:moveTo>
                    <a:pt x="1535" y="3816"/>
                  </a:moveTo>
                  <a:cubicBezTo>
                    <a:pt x="1536" y="3806"/>
                    <a:pt x="1527" y="3793"/>
                    <a:pt x="1527" y="3793"/>
                  </a:cubicBezTo>
                  <a:cubicBezTo>
                    <a:pt x="1527" y="3793"/>
                    <a:pt x="1524" y="3821"/>
                    <a:pt x="1535" y="3816"/>
                  </a:cubicBezTo>
                  <a:close/>
                  <a:moveTo>
                    <a:pt x="1736" y="7349"/>
                  </a:moveTo>
                  <a:cubicBezTo>
                    <a:pt x="1735" y="7333"/>
                    <a:pt x="1735" y="7333"/>
                    <a:pt x="1735" y="7333"/>
                  </a:cubicBezTo>
                  <a:cubicBezTo>
                    <a:pt x="1735" y="7333"/>
                    <a:pt x="1727" y="7340"/>
                    <a:pt x="1726" y="7318"/>
                  </a:cubicBezTo>
                  <a:cubicBezTo>
                    <a:pt x="1728" y="7349"/>
                    <a:pt x="1728" y="7349"/>
                    <a:pt x="1728" y="7349"/>
                  </a:cubicBezTo>
                  <a:lnTo>
                    <a:pt x="1736" y="7349"/>
                  </a:lnTo>
                  <a:close/>
                  <a:moveTo>
                    <a:pt x="1546" y="4208"/>
                  </a:moveTo>
                  <a:cubicBezTo>
                    <a:pt x="1553" y="4203"/>
                    <a:pt x="1542" y="4197"/>
                    <a:pt x="1542" y="4197"/>
                  </a:cubicBezTo>
                  <a:cubicBezTo>
                    <a:pt x="1542" y="4197"/>
                    <a:pt x="1539" y="4213"/>
                    <a:pt x="1546" y="4208"/>
                  </a:cubicBezTo>
                  <a:close/>
                  <a:moveTo>
                    <a:pt x="1559" y="3990"/>
                  </a:moveTo>
                  <a:cubicBezTo>
                    <a:pt x="1559" y="3990"/>
                    <a:pt x="1569" y="4011"/>
                    <a:pt x="1574" y="4008"/>
                  </a:cubicBezTo>
                  <a:cubicBezTo>
                    <a:pt x="1579" y="4005"/>
                    <a:pt x="1562" y="3982"/>
                    <a:pt x="1559" y="3990"/>
                  </a:cubicBezTo>
                  <a:close/>
                  <a:moveTo>
                    <a:pt x="947" y="8309"/>
                  </a:moveTo>
                  <a:cubicBezTo>
                    <a:pt x="954" y="8297"/>
                    <a:pt x="954" y="8297"/>
                    <a:pt x="954" y="8297"/>
                  </a:cubicBezTo>
                  <a:cubicBezTo>
                    <a:pt x="939" y="8284"/>
                    <a:pt x="939" y="8284"/>
                    <a:pt x="939" y="8284"/>
                  </a:cubicBezTo>
                  <a:cubicBezTo>
                    <a:pt x="939" y="8284"/>
                    <a:pt x="920" y="8306"/>
                    <a:pt x="930" y="8307"/>
                  </a:cubicBezTo>
                  <a:cubicBezTo>
                    <a:pt x="930" y="8307"/>
                    <a:pt x="930" y="8297"/>
                    <a:pt x="934" y="8297"/>
                  </a:cubicBezTo>
                  <a:cubicBezTo>
                    <a:pt x="938" y="8297"/>
                    <a:pt x="947" y="8309"/>
                    <a:pt x="947" y="8309"/>
                  </a:cubicBezTo>
                  <a:close/>
                  <a:moveTo>
                    <a:pt x="1076" y="3587"/>
                  </a:moveTo>
                  <a:cubicBezTo>
                    <a:pt x="1076" y="3587"/>
                    <a:pt x="1090" y="3551"/>
                    <a:pt x="1095" y="3548"/>
                  </a:cubicBezTo>
                  <a:cubicBezTo>
                    <a:pt x="1083" y="3526"/>
                    <a:pt x="1077" y="3559"/>
                    <a:pt x="1077" y="3559"/>
                  </a:cubicBezTo>
                  <a:cubicBezTo>
                    <a:pt x="1071" y="3563"/>
                    <a:pt x="1071" y="3563"/>
                    <a:pt x="1071" y="3563"/>
                  </a:cubicBezTo>
                  <a:cubicBezTo>
                    <a:pt x="1071" y="3563"/>
                    <a:pt x="1071" y="3558"/>
                    <a:pt x="1063" y="3552"/>
                  </a:cubicBezTo>
                  <a:cubicBezTo>
                    <a:pt x="1046" y="3553"/>
                    <a:pt x="1032" y="3622"/>
                    <a:pt x="1032" y="3622"/>
                  </a:cubicBezTo>
                  <a:cubicBezTo>
                    <a:pt x="1032" y="3622"/>
                    <a:pt x="1041" y="3636"/>
                    <a:pt x="1047" y="3636"/>
                  </a:cubicBezTo>
                  <a:cubicBezTo>
                    <a:pt x="1052" y="3636"/>
                    <a:pt x="1050" y="3623"/>
                    <a:pt x="1050" y="3623"/>
                  </a:cubicBezTo>
                  <a:cubicBezTo>
                    <a:pt x="1063" y="3624"/>
                    <a:pt x="1063" y="3624"/>
                    <a:pt x="1063" y="3624"/>
                  </a:cubicBezTo>
                  <a:cubicBezTo>
                    <a:pt x="1060" y="3615"/>
                    <a:pt x="1060" y="3615"/>
                    <a:pt x="1060" y="3615"/>
                  </a:cubicBezTo>
                  <a:cubicBezTo>
                    <a:pt x="1073" y="3604"/>
                    <a:pt x="1073" y="3604"/>
                    <a:pt x="1073" y="3604"/>
                  </a:cubicBezTo>
                  <a:lnTo>
                    <a:pt x="1076" y="3587"/>
                  </a:lnTo>
                  <a:close/>
                  <a:moveTo>
                    <a:pt x="938" y="2655"/>
                  </a:moveTo>
                  <a:cubicBezTo>
                    <a:pt x="942" y="2659"/>
                    <a:pt x="942" y="2659"/>
                    <a:pt x="942" y="2659"/>
                  </a:cubicBezTo>
                  <a:cubicBezTo>
                    <a:pt x="951" y="2647"/>
                    <a:pt x="951" y="2647"/>
                    <a:pt x="951" y="2647"/>
                  </a:cubicBezTo>
                  <a:lnTo>
                    <a:pt x="938" y="2655"/>
                  </a:lnTo>
                  <a:close/>
                  <a:moveTo>
                    <a:pt x="1303" y="3510"/>
                  </a:moveTo>
                  <a:cubicBezTo>
                    <a:pt x="1306" y="3503"/>
                    <a:pt x="1293" y="3471"/>
                    <a:pt x="1293" y="3471"/>
                  </a:cubicBezTo>
                  <a:cubicBezTo>
                    <a:pt x="1294" y="3483"/>
                    <a:pt x="1275" y="3488"/>
                    <a:pt x="1275" y="3488"/>
                  </a:cubicBezTo>
                  <a:cubicBezTo>
                    <a:pt x="1284" y="3498"/>
                    <a:pt x="1284" y="3498"/>
                    <a:pt x="1284" y="3498"/>
                  </a:cubicBezTo>
                  <a:cubicBezTo>
                    <a:pt x="1263" y="3513"/>
                    <a:pt x="1263" y="3513"/>
                    <a:pt x="1263" y="3513"/>
                  </a:cubicBezTo>
                  <a:cubicBezTo>
                    <a:pt x="1270" y="3523"/>
                    <a:pt x="1270" y="3523"/>
                    <a:pt x="1270" y="3523"/>
                  </a:cubicBezTo>
                  <a:cubicBezTo>
                    <a:pt x="1281" y="3523"/>
                    <a:pt x="1281" y="3523"/>
                    <a:pt x="1281" y="3523"/>
                  </a:cubicBezTo>
                  <a:cubicBezTo>
                    <a:pt x="1285" y="3533"/>
                    <a:pt x="1285" y="3533"/>
                    <a:pt x="1285" y="3533"/>
                  </a:cubicBezTo>
                  <a:cubicBezTo>
                    <a:pt x="1274" y="3535"/>
                    <a:pt x="1274" y="3535"/>
                    <a:pt x="1274" y="3535"/>
                  </a:cubicBezTo>
                  <a:cubicBezTo>
                    <a:pt x="1227" y="3574"/>
                    <a:pt x="1227" y="3574"/>
                    <a:pt x="1227" y="3574"/>
                  </a:cubicBezTo>
                  <a:cubicBezTo>
                    <a:pt x="1227" y="3574"/>
                    <a:pt x="1201" y="3598"/>
                    <a:pt x="1181" y="3607"/>
                  </a:cubicBezTo>
                  <a:cubicBezTo>
                    <a:pt x="1160" y="3615"/>
                    <a:pt x="1151" y="3658"/>
                    <a:pt x="1151" y="3658"/>
                  </a:cubicBezTo>
                  <a:cubicBezTo>
                    <a:pt x="1151" y="3658"/>
                    <a:pt x="1170" y="3672"/>
                    <a:pt x="1170" y="3678"/>
                  </a:cubicBezTo>
                  <a:cubicBezTo>
                    <a:pt x="1170" y="3684"/>
                    <a:pt x="1145" y="3670"/>
                    <a:pt x="1145" y="3670"/>
                  </a:cubicBezTo>
                  <a:cubicBezTo>
                    <a:pt x="1125" y="3690"/>
                    <a:pt x="1125" y="3690"/>
                    <a:pt x="1125" y="3690"/>
                  </a:cubicBezTo>
                  <a:cubicBezTo>
                    <a:pt x="1125" y="3699"/>
                    <a:pt x="1125" y="3699"/>
                    <a:pt x="1125" y="3699"/>
                  </a:cubicBezTo>
                  <a:cubicBezTo>
                    <a:pt x="1125" y="3699"/>
                    <a:pt x="1114" y="3708"/>
                    <a:pt x="1110" y="3724"/>
                  </a:cubicBezTo>
                  <a:cubicBezTo>
                    <a:pt x="1106" y="3740"/>
                    <a:pt x="1115" y="3743"/>
                    <a:pt x="1105" y="3744"/>
                  </a:cubicBezTo>
                  <a:cubicBezTo>
                    <a:pt x="1095" y="3745"/>
                    <a:pt x="1094" y="3720"/>
                    <a:pt x="1094" y="3713"/>
                  </a:cubicBezTo>
                  <a:cubicBezTo>
                    <a:pt x="1094" y="3707"/>
                    <a:pt x="1098" y="3685"/>
                    <a:pt x="1097" y="3681"/>
                  </a:cubicBezTo>
                  <a:cubicBezTo>
                    <a:pt x="1097" y="3677"/>
                    <a:pt x="1093" y="3686"/>
                    <a:pt x="1093" y="3686"/>
                  </a:cubicBezTo>
                  <a:cubicBezTo>
                    <a:pt x="1093" y="3686"/>
                    <a:pt x="1082" y="3686"/>
                    <a:pt x="1067" y="3686"/>
                  </a:cubicBezTo>
                  <a:cubicBezTo>
                    <a:pt x="1053" y="3686"/>
                    <a:pt x="1047" y="3713"/>
                    <a:pt x="1036" y="3713"/>
                  </a:cubicBezTo>
                  <a:cubicBezTo>
                    <a:pt x="1025" y="3713"/>
                    <a:pt x="1031" y="3724"/>
                    <a:pt x="1031" y="3724"/>
                  </a:cubicBezTo>
                  <a:cubicBezTo>
                    <a:pt x="1013" y="3725"/>
                    <a:pt x="1013" y="3725"/>
                    <a:pt x="1013" y="3725"/>
                  </a:cubicBezTo>
                  <a:cubicBezTo>
                    <a:pt x="1009" y="3744"/>
                    <a:pt x="1009" y="3744"/>
                    <a:pt x="1009" y="3744"/>
                  </a:cubicBezTo>
                  <a:cubicBezTo>
                    <a:pt x="1009" y="3744"/>
                    <a:pt x="1009" y="3753"/>
                    <a:pt x="1001" y="3761"/>
                  </a:cubicBezTo>
                  <a:cubicBezTo>
                    <a:pt x="993" y="3751"/>
                    <a:pt x="1013" y="3717"/>
                    <a:pt x="1013" y="3717"/>
                  </a:cubicBezTo>
                  <a:cubicBezTo>
                    <a:pt x="1004" y="3710"/>
                    <a:pt x="1004" y="3710"/>
                    <a:pt x="1004" y="3710"/>
                  </a:cubicBezTo>
                  <a:cubicBezTo>
                    <a:pt x="1004" y="3710"/>
                    <a:pt x="991" y="3718"/>
                    <a:pt x="975" y="3738"/>
                  </a:cubicBezTo>
                  <a:cubicBezTo>
                    <a:pt x="946" y="3735"/>
                    <a:pt x="943" y="3759"/>
                    <a:pt x="943" y="3759"/>
                  </a:cubicBezTo>
                  <a:cubicBezTo>
                    <a:pt x="943" y="3759"/>
                    <a:pt x="946" y="3765"/>
                    <a:pt x="947" y="3772"/>
                  </a:cubicBezTo>
                  <a:cubicBezTo>
                    <a:pt x="936" y="3772"/>
                    <a:pt x="938" y="3790"/>
                    <a:pt x="938" y="3790"/>
                  </a:cubicBezTo>
                  <a:cubicBezTo>
                    <a:pt x="948" y="3799"/>
                    <a:pt x="948" y="3799"/>
                    <a:pt x="948" y="3799"/>
                  </a:cubicBezTo>
                  <a:cubicBezTo>
                    <a:pt x="925" y="3837"/>
                    <a:pt x="925" y="3837"/>
                    <a:pt x="925" y="3837"/>
                  </a:cubicBezTo>
                  <a:cubicBezTo>
                    <a:pt x="925" y="3837"/>
                    <a:pt x="927" y="3841"/>
                    <a:pt x="927" y="3844"/>
                  </a:cubicBezTo>
                  <a:cubicBezTo>
                    <a:pt x="927" y="3847"/>
                    <a:pt x="919" y="3847"/>
                    <a:pt x="918" y="3855"/>
                  </a:cubicBezTo>
                  <a:cubicBezTo>
                    <a:pt x="917" y="3862"/>
                    <a:pt x="931" y="3881"/>
                    <a:pt x="931" y="3881"/>
                  </a:cubicBezTo>
                  <a:cubicBezTo>
                    <a:pt x="931" y="3881"/>
                    <a:pt x="935" y="3871"/>
                    <a:pt x="936" y="3866"/>
                  </a:cubicBezTo>
                  <a:cubicBezTo>
                    <a:pt x="974" y="3864"/>
                    <a:pt x="995" y="3793"/>
                    <a:pt x="995" y="3793"/>
                  </a:cubicBezTo>
                  <a:cubicBezTo>
                    <a:pt x="1035" y="3796"/>
                    <a:pt x="1035" y="3796"/>
                    <a:pt x="1035" y="3796"/>
                  </a:cubicBezTo>
                  <a:cubicBezTo>
                    <a:pt x="1035" y="3796"/>
                    <a:pt x="1038" y="3793"/>
                    <a:pt x="1038" y="3809"/>
                  </a:cubicBezTo>
                  <a:cubicBezTo>
                    <a:pt x="1019" y="3813"/>
                    <a:pt x="993" y="3833"/>
                    <a:pt x="1001" y="3843"/>
                  </a:cubicBezTo>
                  <a:cubicBezTo>
                    <a:pt x="1029" y="3844"/>
                    <a:pt x="1033" y="3865"/>
                    <a:pt x="1034" y="3894"/>
                  </a:cubicBezTo>
                  <a:cubicBezTo>
                    <a:pt x="998" y="3895"/>
                    <a:pt x="999" y="3937"/>
                    <a:pt x="999" y="3937"/>
                  </a:cubicBezTo>
                  <a:cubicBezTo>
                    <a:pt x="999" y="3937"/>
                    <a:pt x="1009" y="3943"/>
                    <a:pt x="1026" y="3949"/>
                  </a:cubicBezTo>
                  <a:cubicBezTo>
                    <a:pt x="1043" y="3954"/>
                    <a:pt x="1061" y="3909"/>
                    <a:pt x="1061" y="3909"/>
                  </a:cubicBezTo>
                  <a:cubicBezTo>
                    <a:pt x="1069" y="3916"/>
                    <a:pt x="1069" y="3916"/>
                    <a:pt x="1069" y="3916"/>
                  </a:cubicBezTo>
                  <a:cubicBezTo>
                    <a:pt x="1079" y="3908"/>
                    <a:pt x="1079" y="3908"/>
                    <a:pt x="1079" y="3908"/>
                  </a:cubicBezTo>
                  <a:cubicBezTo>
                    <a:pt x="1085" y="3922"/>
                    <a:pt x="1085" y="3922"/>
                    <a:pt x="1085" y="3922"/>
                  </a:cubicBezTo>
                  <a:cubicBezTo>
                    <a:pt x="1085" y="3922"/>
                    <a:pt x="1089" y="3919"/>
                    <a:pt x="1100" y="3905"/>
                  </a:cubicBezTo>
                  <a:cubicBezTo>
                    <a:pt x="1113" y="3907"/>
                    <a:pt x="1140" y="3873"/>
                    <a:pt x="1141" y="3867"/>
                  </a:cubicBezTo>
                  <a:cubicBezTo>
                    <a:pt x="1141" y="3861"/>
                    <a:pt x="1136" y="3812"/>
                    <a:pt x="1124" y="3800"/>
                  </a:cubicBezTo>
                  <a:cubicBezTo>
                    <a:pt x="1107" y="3800"/>
                    <a:pt x="1105" y="3756"/>
                    <a:pt x="1105" y="3756"/>
                  </a:cubicBezTo>
                  <a:cubicBezTo>
                    <a:pt x="1105" y="3756"/>
                    <a:pt x="1101" y="3742"/>
                    <a:pt x="1112" y="3757"/>
                  </a:cubicBezTo>
                  <a:cubicBezTo>
                    <a:pt x="1130" y="3813"/>
                    <a:pt x="1169" y="3789"/>
                    <a:pt x="1169" y="3789"/>
                  </a:cubicBezTo>
                  <a:cubicBezTo>
                    <a:pt x="1179" y="3775"/>
                    <a:pt x="1179" y="3775"/>
                    <a:pt x="1179" y="3775"/>
                  </a:cubicBezTo>
                  <a:cubicBezTo>
                    <a:pt x="1179" y="3747"/>
                    <a:pt x="1179" y="3747"/>
                    <a:pt x="1179" y="3747"/>
                  </a:cubicBezTo>
                  <a:cubicBezTo>
                    <a:pt x="1189" y="3733"/>
                    <a:pt x="1189" y="3733"/>
                    <a:pt x="1189" y="3733"/>
                  </a:cubicBezTo>
                  <a:cubicBezTo>
                    <a:pt x="1189" y="3733"/>
                    <a:pt x="1191" y="3740"/>
                    <a:pt x="1198" y="3742"/>
                  </a:cubicBezTo>
                  <a:cubicBezTo>
                    <a:pt x="1205" y="3744"/>
                    <a:pt x="1200" y="3718"/>
                    <a:pt x="1200" y="3718"/>
                  </a:cubicBezTo>
                  <a:cubicBezTo>
                    <a:pt x="1209" y="3725"/>
                    <a:pt x="1209" y="3725"/>
                    <a:pt x="1209" y="3725"/>
                  </a:cubicBezTo>
                  <a:cubicBezTo>
                    <a:pt x="1213" y="3719"/>
                    <a:pt x="1213" y="3719"/>
                    <a:pt x="1213" y="3719"/>
                  </a:cubicBezTo>
                  <a:cubicBezTo>
                    <a:pt x="1213" y="3719"/>
                    <a:pt x="1207" y="3711"/>
                    <a:pt x="1208" y="3708"/>
                  </a:cubicBezTo>
                  <a:cubicBezTo>
                    <a:pt x="1209" y="3705"/>
                    <a:pt x="1219" y="3687"/>
                    <a:pt x="1219" y="3687"/>
                  </a:cubicBezTo>
                  <a:cubicBezTo>
                    <a:pt x="1238" y="3655"/>
                    <a:pt x="1238" y="3655"/>
                    <a:pt x="1238" y="3655"/>
                  </a:cubicBezTo>
                  <a:cubicBezTo>
                    <a:pt x="1247" y="3629"/>
                    <a:pt x="1247" y="3629"/>
                    <a:pt x="1247" y="3629"/>
                  </a:cubicBezTo>
                  <a:cubicBezTo>
                    <a:pt x="1257" y="3630"/>
                    <a:pt x="1257" y="3630"/>
                    <a:pt x="1257" y="3630"/>
                  </a:cubicBezTo>
                  <a:cubicBezTo>
                    <a:pt x="1257" y="3630"/>
                    <a:pt x="1295" y="3556"/>
                    <a:pt x="1297" y="3547"/>
                  </a:cubicBezTo>
                  <a:cubicBezTo>
                    <a:pt x="1299" y="3539"/>
                    <a:pt x="1286" y="3533"/>
                    <a:pt x="1286" y="3527"/>
                  </a:cubicBezTo>
                  <a:cubicBezTo>
                    <a:pt x="1286" y="3521"/>
                    <a:pt x="1301" y="3517"/>
                    <a:pt x="1303" y="3510"/>
                  </a:cubicBezTo>
                  <a:close/>
                  <a:moveTo>
                    <a:pt x="1192" y="3667"/>
                  </a:moveTo>
                  <a:cubicBezTo>
                    <a:pt x="1185" y="3663"/>
                    <a:pt x="1195" y="3653"/>
                    <a:pt x="1198" y="3662"/>
                  </a:cubicBezTo>
                  <a:cubicBezTo>
                    <a:pt x="1201" y="3671"/>
                    <a:pt x="1192" y="3667"/>
                    <a:pt x="1192" y="3667"/>
                  </a:cubicBezTo>
                  <a:close/>
                  <a:moveTo>
                    <a:pt x="1268" y="3843"/>
                  </a:moveTo>
                  <a:cubicBezTo>
                    <a:pt x="1268" y="3855"/>
                    <a:pt x="1250" y="3878"/>
                    <a:pt x="1250" y="3878"/>
                  </a:cubicBezTo>
                  <a:cubicBezTo>
                    <a:pt x="1258" y="3885"/>
                    <a:pt x="1258" y="3885"/>
                    <a:pt x="1258" y="3885"/>
                  </a:cubicBezTo>
                  <a:cubicBezTo>
                    <a:pt x="1259" y="3915"/>
                    <a:pt x="1259" y="3915"/>
                    <a:pt x="1259" y="3915"/>
                  </a:cubicBezTo>
                  <a:cubicBezTo>
                    <a:pt x="1266" y="3912"/>
                    <a:pt x="1266" y="3912"/>
                    <a:pt x="1266" y="3912"/>
                  </a:cubicBezTo>
                  <a:cubicBezTo>
                    <a:pt x="1261" y="3896"/>
                    <a:pt x="1261" y="3896"/>
                    <a:pt x="1261" y="3896"/>
                  </a:cubicBezTo>
                  <a:cubicBezTo>
                    <a:pt x="1271" y="3896"/>
                    <a:pt x="1271" y="3896"/>
                    <a:pt x="1271" y="3896"/>
                  </a:cubicBezTo>
                  <a:cubicBezTo>
                    <a:pt x="1283" y="3866"/>
                    <a:pt x="1283" y="3866"/>
                    <a:pt x="1283" y="3866"/>
                  </a:cubicBezTo>
                  <a:cubicBezTo>
                    <a:pt x="1272" y="3861"/>
                    <a:pt x="1272" y="3861"/>
                    <a:pt x="1272" y="3861"/>
                  </a:cubicBezTo>
                  <a:cubicBezTo>
                    <a:pt x="1283" y="3843"/>
                    <a:pt x="1283" y="3843"/>
                    <a:pt x="1283" y="3843"/>
                  </a:cubicBezTo>
                  <a:cubicBezTo>
                    <a:pt x="1283" y="3843"/>
                    <a:pt x="1268" y="3838"/>
                    <a:pt x="1268" y="3843"/>
                  </a:cubicBezTo>
                  <a:close/>
                  <a:moveTo>
                    <a:pt x="864" y="3191"/>
                  </a:moveTo>
                  <a:cubicBezTo>
                    <a:pt x="836" y="3215"/>
                    <a:pt x="836" y="3215"/>
                    <a:pt x="836" y="3215"/>
                  </a:cubicBezTo>
                  <a:cubicBezTo>
                    <a:pt x="851" y="3208"/>
                    <a:pt x="851" y="3208"/>
                    <a:pt x="851" y="3208"/>
                  </a:cubicBezTo>
                  <a:cubicBezTo>
                    <a:pt x="853" y="3213"/>
                    <a:pt x="853" y="3213"/>
                    <a:pt x="853" y="3213"/>
                  </a:cubicBezTo>
                  <a:cubicBezTo>
                    <a:pt x="853" y="3213"/>
                    <a:pt x="856" y="3202"/>
                    <a:pt x="867" y="3203"/>
                  </a:cubicBezTo>
                  <a:cubicBezTo>
                    <a:pt x="873" y="3203"/>
                    <a:pt x="875" y="3206"/>
                    <a:pt x="876" y="3208"/>
                  </a:cubicBezTo>
                  <a:cubicBezTo>
                    <a:pt x="877" y="3207"/>
                    <a:pt x="879" y="3205"/>
                    <a:pt x="884" y="3205"/>
                  </a:cubicBezTo>
                  <a:cubicBezTo>
                    <a:pt x="895" y="3204"/>
                    <a:pt x="906" y="3204"/>
                    <a:pt x="955" y="3152"/>
                  </a:cubicBezTo>
                  <a:cubicBezTo>
                    <a:pt x="963" y="3123"/>
                    <a:pt x="958" y="3122"/>
                    <a:pt x="958" y="3122"/>
                  </a:cubicBezTo>
                  <a:cubicBezTo>
                    <a:pt x="958" y="3122"/>
                    <a:pt x="917" y="3132"/>
                    <a:pt x="915" y="3145"/>
                  </a:cubicBezTo>
                  <a:cubicBezTo>
                    <a:pt x="912" y="3145"/>
                    <a:pt x="910" y="3141"/>
                    <a:pt x="910" y="3141"/>
                  </a:cubicBezTo>
                  <a:cubicBezTo>
                    <a:pt x="910" y="3141"/>
                    <a:pt x="883" y="3156"/>
                    <a:pt x="885" y="3167"/>
                  </a:cubicBezTo>
                  <a:cubicBezTo>
                    <a:pt x="881" y="3170"/>
                    <a:pt x="864" y="3191"/>
                    <a:pt x="864" y="3191"/>
                  </a:cubicBezTo>
                  <a:close/>
                  <a:moveTo>
                    <a:pt x="893" y="2863"/>
                  </a:moveTo>
                  <a:cubicBezTo>
                    <a:pt x="893" y="2863"/>
                    <a:pt x="900" y="2874"/>
                    <a:pt x="906" y="2872"/>
                  </a:cubicBezTo>
                  <a:cubicBezTo>
                    <a:pt x="912" y="2870"/>
                    <a:pt x="912" y="2858"/>
                    <a:pt x="919" y="2858"/>
                  </a:cubicBezTo>
                  <a:cubicBezTo>
                    <a:pt x="925" y="2858"/>
                    <a:pt x="919" y="2865"/>
                    <a:pt x="928" y="2865"/>
                  </a:cubicBezTo>
                  <a:cubicBezTo>
                    <a:pt x="937" y="2865"/>
                    <a:pt x="945" y="2865"/>
                    <a:pt x="945" y="2865"/>
                  </a:cubicBezTo>
                  <a:cubicBezTo>
                    <a:pt x="945" y="2865"/>
                    <a:pt x="941" y="2872"/>
                    <a:pt x="949" y="2872"/>
                  </a:cubicBezTo>
                  <a:cubicBezTo>
                    <a:pt x="956" y="2872"/>
                    <a:pt x="959" y="2872"/>
                    <a:pt x="959" y="2872"/>
                  </a:cubicBezTo>
                  <a:cubicBezTo>
                    <a:pt x="956" y="2861"/>
                    <a:pt x="956" y="2861"/>
                    <a:pt x="956" y="2861"/>
                  </a:cubicBezTo>
                  <a:cubicBezTo>
                    <a:pt x="956" y="2861"/>
                    <a:pt x="956" y="2846"/>
                    <a:pt x="946" y="2845"/>
                  </a:cubicBezTo>
                  <a:cubicBezTo>
                    <a:pt x="936" y="2845"/>
                    <a:pt x="922" y="2849"/>
                    <a:pt x="915" y="2849"/>
                  </a:cubicBezTo>
                  <a:cubicBezTo>
                    <a:pt x="907" y="2849"/>
                    <a:pt x="894" y="2848"/>
                    <a:pt x="893" y="2863"/>
                  </a:cubicBezTo>
                  <a:close/>
                  <a:moveTo>
                    <a:pt x="1247" y="2664"/>
                  </a:moveTo>
                  <a:cubicBezTo>
                    <a:pt x="1235" y="2649"/>
                    <a:pt x="1235" y="2649"/>
                    <a:pt x="1235" y="2649"/>
                  </a:cubicBezTo>
                  <a:cubicBezTo>
                    <a:pt x="1231" y="2656"/>
                    <a:pt x="1231" y="2656"/>
                    <a:pt x="1231" y="2656"/>
                  </a:cubicBezTo>
                  <a:cubicBezTo>
                    <a:pt x="1231" y="2656"/>
                    <a:pt x="1227" y="2667"/>
                    <a:pt x="1239" y="2667"/>
                  </a:cubicBezTo>
                  <a:cubicBezTo>
                    <a:pt x="1251" y="2667"/>
                    <a:pt x="1247" y="2664"/>
                    <a:pt x="1247" y="2664"/>
                  </a:cubicBezTo>
                  <a:close/>
                  <a:moveTo>
                    <a:pt x="877" y="3211"/>
                  </a:moveTo>
                  <a:cubicBezTo>
                    <a:pt x="877" y="3211"/>
                    <a:pt x="877" y="3210"/>
                    <a:pt x="876" y="3208"/>
                  </a:cubicBezTo>
                  <a:cubicBezTo>
                    <a:pt x="876" y="3210"/>
                    <a:pt x="877" y="3211"/>
                    <a:pt x="877" y="3211"/>
                  </a:cubicBezTo>
                  <a:close/>
                  <a:moveTo>
                    <a:pt x="1219" y="2706"/>
                  </a:moveTo>
                  <a:cubicBezTo>
                    <a:pt x="1222" y="2713"/>
                    <a:pt x="1222" y="2713"/>
                    <a:pt x="1222" y="2713"/>
                  </a:cubicBezTo>
                  <a:cubicBezTo>
                    <a:pt x="1234" y="2708"/>
                    <a:pt x="1234" y="2708"/>
                    <a:pt x="1234" y="2708"/>
                  </a:cubicBezTo>
                  <a:cubicBezTo>
                    <a:pt x="1229" y="2696"/>
                    <a:pt x="1229" y="2696"/>
                    <a:pt x="1229" y="2696"/>
                  </a:cubicBezTo>
                  <a:lnTo>
                    <a:pt x="1219" y="2706"/>
                  </a:lnTo>
                  <a:close/>
                  <a:moveTo>
                    <a:pt x="1132" y="2619"/>
                  </a:moveTo>
                  <a:cubicBezTo>
                    <a:pt x="1126" y="2641"/>
                    <a:pt x="1126" y="2641"/>
                    <a:pt x="1126" y="2641"/>
                  </a:cubicBezTo>
                  <a:cubicBezTo>
                    <a:pt x="1126" y="2641"/>
                    <a:pt x="1143" y="2666"/>
                    <a:pt x="1147" y="2667"/>
                  </a:cubicBezTo>
                  <a:cubicBezTo>
                    <a:pt x="1152" y="2667"/>
                    <a:pt x="1170" y="2638"/>
                    <a:pt x="1170" y="2638"/>
                  </a:cubicBezTo>
                  <a:cubicBezTo>
                    <a:pt x="1163" y="2629"/>
                    <a:pt x="1163" y="2629"/>
                    <a:pt x="1163" y="2629"/>
                  </a:cubicBezTo>
                  <a:cubicBezTo>
                    <a:pt x="1154" y="2597"/>
                    <a:pt x="1154" y="2597"/>
                    <a:pt x="1154" y="2597"/>
                  </a:cubicBezTo>
                  <a:cubicBezTo>
                    <a:pt x="1154" y="2597"/>
                    <a:pt x="1149" y="2594"/>
                    <a:pt x="1156" y="2587"/>
                  </a:cubicBezTo>
                  <a:cubicBezTo>
                    <a:pt x="1163" y="2587"/>
                    <a:pt x="1171" y="2574"/>
                    <a:pt x="1172" y="2566"/>
                  </a:cubicBezTo>
                  <a:cubicBezTo>
                    <a:pt x="1181" y="2557"/>
                    <a:pt x="1173" y="2540"/>
                    <a:pt x="1173" y="2540"/>
                  </a:cubicBezTo>
                  <a:cubicBezTo>
                    <a:pt x="1173" y="2540"/>
                    <a:pt x="1169" y="2534"/>
                    <a:pt x="1175" y="2533"/>
                  </a:cubicBezTo>
                  <a:cubicBezTo>
                    <a:pt x="1180" y="2533"/>
                    <a:pt x="1189" y="2491"/>
                    <a:pt x="1189" y="2491"/>
                  </a:cubicBezTo>
                  <a:cubicBezTo>
                    <a:pt x="1180" y="2482"/>
                    <a:pt x="1180" y="2482"/>
                    <a:pt x="1180" y="2482"/>
                  </a:cubicBezTo>
                  <a:cubicBezTo>
                    <a:pt x="1168" y="2482"/>
                    <a:pt x="1168" y="2528"/>
                    <a:pt x="1168" y="2528"/>
                  </a:cubicBezTo>
                  <a:cubicBezTo>
                    <a:pt x="1159" y="2528"/>
                    <a:pt x="1159" y="2528"/>
                    <a:pt x="1159" y="2528"/>
                  </a:cubicBezTo>
                  <a:cubicBezTo>
                    <a:pt x="1159" y="2528"/>
                    <a:pt x="1163" y="2538"/>
                    <a:pt x="1164" y="2547"/>
                  </a:cubicBezTo>
                  <a:cubicBezTo>
                    <a:pt x="1165" y="2557"/>
                    <a:pt x="1160" y="2541"/>
                    <a:pt x="1155" y="2541"/>
                  </a:cubicBezTo>
                  <a:cubicBezTo>
                    <a:pt x="1149" y="2540"/>
                    <a:pt x="1155" y="2557"/>
                    <a:pt x="1155" y="2557"/>
                  </a:cubicBezTo>
                  <a:cubicBezTo>
                    <a:pt x="1155" y="2557"/>
                    <a:pt x="1173" y="2568"/>
                    <a:pt x="1153" y="2564"/>
                  </a:cubicBezTo>
                  <a:cubicBezTo>
                    <a:pt x="1132" y="2560"/>
                    <a:pt x="1128" y="2593"/>
                    <a:pt x="1126" y="2597"/>
                  </a:cubicBezTo>
                  <a:cubicBezTo>
                    <a:pt x="1124" y="2600"/>
                    <a:pt x="1131" y="2603"/>
                    <a:pt x="1131" y="2603"/>
                  </a:cubicBezTo>
                  <a:cubicBezTo>
                    <a:pt x="1124" y="2613"/>
                    <a:pt x="1124" y="2613"/>
                    <a:pt x="1124" y="2613"/>
                  </a:cubicBezTo>
                  <a:lnTo>
                    <a:pt x="1132" y="2619"/>
                  </a:lnTo>
                  <a:close/>
                  <a:moveTo>
                    <a:pt x="924" y="2465"/>
                  </a:moveTo>
                  <a:cubicBezTo>
                    <a:pt x="924" y="2465"/>
                    <a:pt x="936" y="2473"/>
                    <a:pt x="935" y="2467"/>
                  </a:cubicBezTo>
                  <a:cubicBezTo>
                    <a:pt x="933" y="2460"/>
                    <a:pt x="924" y="2465"/>
                    <a:pt x="924" y="2465"/>
                  </a:cubicBezTo>
                  <a:close/>
                  <a:moveTo>
                    <a:pt x="1063" y="3015"/>
                  </a:moveTo>
                  <a:cubicBezTo>
                    <a:pt x="1063" y="3015"/>
                    <a:pt x="1041" y="3011"/>
                    <a:pt x="1039" y="3023"/>
                  </a:cubicBezTo>
                  <a:cubicBezTo>
                    <a:pt x="1042" y="3030"/>
                    <a:pt x="1042" y="3030"/>
                    <a:pt x="1042" y="3030"/>
                  </a:cubicBezTo>
                  <a:cubicBezTo>
                    <a:pt x="1050" y="3023"/>
                    <a:pt x="1050" y="3023"/>
                    <a:pt x="1050" y="3023"/>
                  </a:cubicBezTo>
                  <a:cubicBezTo>
                    <a:pt x="1055" y="3031"/>
                    <a:pt x="1055" y="3031"/>
                    <a:pt x="1055" y="3031"/>
                  </a:cubicBezTo>
                  <a:lnTo>
                    <a:pt x="1063" y="3015"/>
                  </a:lnTo>
                  <a:close/>
                  <a:moveTo>
                    <a:pt x="1246" y="3465"/>
                  </a:moveTo>
                  <a:cubicBezTo>
                    <a:pt x="1246" y="3466"/>
                    <a:pt x="1246" y="3466"/>
                    <a:pt x="1246" y="3466"/>
                  </a:cubicBezTo>
                  <a:cubicBezTo>
                    <a:pt x="1246" y="3466"/>
                    <a:pt x="1246" y="3466"/>
                    <a:pt x="1246" y="3465"/>
                  </a:cubicBezTo>
                  <a:close/>
                  <a:moveTo>
                    <a:pt x="1042" y="3297"/>
                  </a:moveTo>
                  <a:cubicBezTo>
                    <a:pt x="1037" y="3297"/>
                    <a:pt x="1039" y="3306"/>
                    <a:pt x="1039" y="3306"/>
                  </a:cubicBezTo>
                  <a:cubicBezTo>
                    <a:pt x="1039" y="3306"/>
                    <a:pt x="1047" y="3297"/>
                    <a:pt x="1042" y="3297"/>
                  </a:cubicBezTo>
                  <a:close/>
                  <a:moveTo>
                    <a:pt x="1081" y="3313"/>
                  </a:moveTo>
                  <a:cubicBezTo>
                    <a:pt x="1087" y="3314"/>
                    <a:pt x="1087" y="3314"/>
                    <a:pt x="1087" y="3314"/>
                  </a:cubicBezTo>
                  <a:cubicBezTo>
                    <a:pt x="1089" y="3307"/>
                    <a:pt x="1089" y="3307"/>
                    <a:pt x="1089" y="3307"/>
                  </a:cubicBezTo>
                  <a:lnTo>
                    <a:pt x="1081" y="3313"/>
                  </a:lnTo>
                  <a:close/>
                  <a:moveTo>
                    <a:pt x="1019" y="2855"/>
                  </a:moveTo>
                  <a:cubicBezTo>
                    <a:pt x="1009" y="2863"/>
                    <a:pt x="1009" y="2863"/>
                    <a:pt x="1009" y="2863"/>
                  </a:cubicBezTo>
                  <a:cubicBezTo>
                    <a:pt x="992" y="2862"/>
                    <a:pt x="992" y="2862"/>
                    <a:pt x="992" y="2862"/>
                  </a:cubicBezTo>
                  <a:cubicBezTo>
                    <a:pt x="961" y="2896"/>
                    <a:pt x="961" y="2896"/>
                    <a:pt x="961" y="2896"/>
                  </a:cubicBezTo>
                  <a:cubicBezTo>
                    <a:pt x="961" y="2896"/>
                    <a:pt x="993" y="2919"/>
                    <a:pt x="994" y="2938"/>
                  </a:cubicBezTo>
                  <a:cubicBezTo>
                    <a:pt x="1008" y="2941"/>
                    <a:pt x="1013" y="2943"/>
                    <a:pt x="1013" y="2951"/>
                  </a:cubicBezTo>
                  <a:cubicBezTo>
                    <a:pt x="1018" y="2953"/>
                    <a:pt x="1021" y="2951"/>
                    <a:pt x="1021" y="2951"/>
                  </a:cubicBezTo>
                  <a:cubicBezTo>
                    <a:pt x="1022" y="2949"/>
                    <a:pt x="1054" y="2934"/>
                    <a:pt x="1053" y="2929"/>
                  </a:cubicBezTo>
                  <a:cubicBezTo>
                    <a:pt x="1053" y="2923"/>
                    <a:pt x="1055" y="2896"/>
                    <a:pt x="1055" y="2896"/>
                  </a:cubicBezTo>
                  <a:cubicBezTo>
                    <a:pt x="1047" y="2887"/>
                    <a:pt x="1047" y="2887"/>
                    <a:pt x="1047" y="2887"/>
                  </a:cubicBezTo>
                  <a:cubicBezTo>
                    <a:pt x="1055" y="2884"/>
                    <a:pt x="1055" y="2884"/>
                    <a:pt x="1055" y="2884"/>
                  </a:cubicBezTo>
                  <a:lnTo>
                    <a:pt x="1019" y="2855"/>
                  </a:lnTo>
                  <a:close/>
                  <a:moveTo>
                    <a:pt x="963" y="3279"/>
                  </a:moveTo>
                  <a:cubicBezTo>
                    <a:pt x="967" y="3284"/>
                    <a:pt x="973" y="3270"/>
                    <a:pt x="973" y="3270"/>
                  </a:cubicBezTo>
                  <a:cubicBezTo>
                    <a:pt x="970" y="3269"/>
                    <a:pt x="959" y="3275"/>
                    <a:pt x="963" y="3279"/>
                  </a:cubicBezTo>
                  <a:close/>
                  <a:moveTo>
                    <a:pt x="969" y="3407"/>
                  </a:moveTo>
                  <a:cubicBezTo>
                    <a:pt x="969" y="3407"/>
                    <a:pt x="988" y="3387"/>
                    <a:pt x="987" y="3381"/>
                  </a:cubicBezTo>
                  <a:cubicBezTo>
                    <a:pt x="987" y="3374"/>
                    <a:pt x="967" y="3380"/>
                    <a:pt x="967" y="3380"/>
                  </a:cubicBezTo>
                  <a:cubicBezTo>
                    <a:pt x="967" y="3380"/>
                    <a:pt x="969" y="3401"/>
                    <a:pt x="958" y="3401"/>
                  </a:cubicBezTo>
                  <a:lnTo>
                    <a:pt x="969" y="3407"/>
                  </a:lnTo>
                  <a:close/>
                  <a:moveTo>
                    <a:pt x="1311" y="3306"/>
                  </a:moveTo>
                  <a:cubicBezTo>
                    <a:pt x="1311" y="3306"/>
                    <a:pt x="1306" y="3311"/>
                    <a:pt x="1301" y="3312"/>
                  </a:cubicBezTo>
                  <a:cubicBezTo>
                    <a:pt x="1297" y="3313"/>
                    <a:pt x="1283" y="3282"/>
                    <a:pt x="1283" y="3282"/>
                  </a:cubicBezTo>
                  <a:cubicBezTo>
                    <a:pt x="1267" y="3284"/>
                    <a:pt x="1267" y="3284"/>
                    <a:pt x="1267" y="3284"/>
                  </a:cubicBezTo>
                  <a:cubicBezTo>
                    <a:pt x="1267" y="3284"/>
                    <a:pt x="1247" y="3257"/>
                    <a:pt x="1243" y="3254"/>
                  </a:cubicBezTo>
                  <a:cubicBezTo>
                    <a:pt x="1240" y="3251"/>
                    <a:pt x="1232" y="3259"/>
                    <a:pt x="1232" y="3259"/>
                  </a:cubicBezTo>
                  <a:cubicBezTo>
                    <a:pt x="1225" y="3254"/>
                    <a:pt x="1225" y="3254"/>
                    <a:pt x="1225" y="3254"/>
                  </a:cubicBezTo>
                  <a:cubicBezTo>
                    <a:pt x="1225" y="3254"/>
                    <a:pt x="1221" y="3259"/>
                    <a:pt x="1177" y="3246"/>
                  </a:cubicBezTo>
                  <a:cubicBezTo>
                    <a:pt x="1151" y="3178"/>
                    <a:pt x="1110" y="3148"/>
                    <a:pt x="1098" y="3154"/>
                  </a:cubicBezTo>
                  <a:cubicBezTo>
                    <a:pt x="1065" y="3170"/>
                    <a:pt x="1039" y="3189"/>
                    <a:pt x="1037" y="3191"/>
                  </a:cubicBezTo>
                  <a:cubicBezTo>
                    <a:pt x="1035" y="3193"/>
                    <a:pt x="1027" y="3183"/>
                    <a:pt x="1027" y="3183"/>
                  </a:cubicBezTo>
                  <a:cubicBezTo>
                    <a:pt x="1027" y="3183"/>
                    <a:pt x="1015" y="3189"/>
                    <a:pt x="1013" y="3189"/>
                  </a:cubicBezTo>
                  <a:cubicBezTo>
                    <a:pt x="1011" y="3189"/>
                    <a:pt x="1024" y="3221"/>
                    <a:pt x="1024" y="3221"/>
                  </a:cubicBezTo>
                  <a:cubicBezTo>
                    <a:pt x="1024" y="3221"/>
                    <a:pt x="1007" y="3226"/>
                    <a:pt x="1010" y="3236"/>
                  </a:cubicBezTo>
                  <a:cubicBezTo>
                    <a:pt x="1013" y="3246"/>
                    <a:pt x="1035" y="3254"/>
                    <a:pt x="1035" y="3254"/>
                  </a:cubicBezTo>
                  <a:cubicBezTo>
                    <a:pt x="1035" y="3254"/>
                    <a:pt x="1047" y="3247"/>
                    <a:pt x="1055" y="3247"/>
                  </a:cubicBezTo>
                  <a:cubicBezTo>
                    <a:pt x="1062" y="3247"/>
                    <a:pt x="1091" y="3279"/>
                    <a:pt x="1091" y="3279"/>
                  </a:cubicBezTo>
                  <a:cubicBezTo>
                    <a:pt x="1091" y="3279"/>
                    <a:pt x="1077" y="3277"/>
                    <a:pt x="1073" y="3277"/>
                  </a:cubicBezTo>
                  <a:cubicBezTo>
                    <a:pt x="1069" y="3277"/>
                    <a:pt x="1056" y="3267"/>
                    <a:pt x="1056" y="3267"/>
                  </a:cubicBezTo>
                  <a:cubicBezTo>
                    <a:pt x="1018" y="3264"/>
                    <a:pt x="1018" y="3264"/>
                    <a:pt x="1018" y="3264"/>
                  </a:cubicBezTo>
                  <a:cubicBezTo>
                    <a:pt x="1018" y="3264"/>
                    <a:pt x="1023" y="3285"/>
                    <a:pt x="1029" y="3287"/>
                  </a:cubicBezTo>
                  <a:cubicBezTo>
                    <a:pt x="1035" y="3289"/>
                    <a:pt x="1067" y="3299"/>
                    <a:pt x="1069" y="3299"/>
                  </a:cubicBezTo>
                  <a:cubicBezTo>
                    <a:pt x="1072" y="3299"/>
                    <a:pt x="1090" y="3287"/>
                    <a:pt x="1099" y="3289"/>
                  </a:cubicBezTo>
                  <a:cubicBezTo>
                    <a:pt x="1109" y="3292"/>
                    <a:pt x="1123" y="3291"/>
                    <a:pt x="1125" y="3291"/>
                  </a:cubicBezTo>
                  <a:cubicBezTo>
                    <a:pt x="1127" y="3291"/>
                    <a:pt x="1111" y="3283"/>
                    <a:pt x="1123" y="3283"/>
                  </a:cubicBezTo>
                  <a:cubicBezTo>
                    <a:pt x="1135" y="3283"/>
                    <a:pt x="1157" y="3267"/>
                    <a:pt x="1157" y="3267"/>
                  </a:cubicBezTo>
                  <a:cubicBezTo>
                    <a:pt x="1158" y="3283"/>
                    <a:pt x="1158" y="3283"/>
                    <a:pt x="1158" y="3283"/>
                  </a:cubicBezTo>
                  <a:cubicBezTo>
                    <a:pt x="1158" y="3283"/>
                    <a:pt x="1131" y="3303"/>
                    <a:pt x="1131" y="3305"/>
                  </a:cubicBezTo>
                  <a:cubicBezTo>
                    <a:pt x="1131" y="3307"/>
                    <a:pt x="1104" y="3305"/>
                    <a:pt x="1104" y="3305"/>
                  </a:cubicBezTo>
                  <a:cubicBezTo>
                    <a:pt x="1081" y="3334"/>
                    <a:pt x="1081" y="3334"/>
                    <a:pt x="1081" y="3334"/>
                  </a:cubicBezTo>
                  <a:cubicBezTo>
                    <a:pt x="1081" y="3334"/>
                    <a:pt x="1053" y="3363"/>
                    <a:pt x="1074" y="3373"/>
                  </a:cubicBezTo>
                  <a:cubicBezTo>
                    <a:pt x="1095" y="3384"/>
                    <a:pt x="1143" y="3347"/>
                    <a:pt x="1143" y="3347"/>
                  </a:cubicBezTo>
                  <a:cubicBezTo>
                    <a:pt x="1143" y="3347"/>
                    <a:pt x="1150" y="3351"/>
                    <a:pt x="1150" y="3360"/>
                  </a:cubicBezTo>
                  <a:cubicBezTo>
                    <a:pt x="1150" y="3369"/>
                    <a:pt x="1087" y="3391"/>
                    <a:pt x="1068" y="3389"/>
                  </a:cubicBezTo>
                  <a:cubicBezTo>
                    <a:pt x="1049" y="3388"/>
                    <a:pt x="1048" y="3381"/>
                    <a:pt x="1048" y="3381"/>
                  </a:cubicBezTo>
                  <a:cubicBezTo>
                    <a:pt x="1045" y="3400"/>
                    <a:pt x="1045" y="3400"/>
                    <a:pt x="1045" y="3400"/>
                  </a:cubicBezTo>
                  <a:cubicBezTo>
                    <a:pt x="1045" y="3400"/>
                    <a:pt x="1045" y="3400"/>
                    <a:pt x="1037" y="3398"/>
                  </a:cubicBezTo>
                  <a:cubicBezTo>
                    <a:pt x="1029" y="3374"/>
                    <a:pt x="1003" y="3374"/>
                    <a:pt x="1003" y="3374"/>
                  </a:cubicBezTo>
                  <a:cubicBezTo>
                    <a:pt x="986" y="3419"/>
                    <a:pt x="986" y="3419"/>
                    <a:pt x="986" y="3419"/>
                  </a:cubicBezTo>
                  <a:cubicBezTo>
                    <a:pt x="997" y="3415"/>
                    <a:pt x="997" y="3415"/>
                    <a:pt x="997" y="3415"/>
                  </a:cubicBezTo>
                  <a:cubicBezTo>
                    <a:pt x="997" y="3425"/>
                    <a:pt x="997" y="3425"/>
                    <a:pt x="997" y="3425"/>
                  </a:cubicBezTo>
                  <a:cubicBezTo>
                    <a:pt x="1007" y="3424"/>
                    <a:pt x="1007" y="3424"/>
                    <a:pt x="1007" y="3424"/>
                  </a:cubicBezTo>
                  <a:cubicBezTo>
                    <a:pt x="1009" y="3435"/>
                    <a:pt x="1009" y="3435"/>
                    <a:pt x="1009" y="3435"/>
                  </a:cubicBezTo>
                  <a:cubicBezTo>
                    <a:pt x="1037" y="3443"/>
                    <a:pt x="1037" y="3443"/>
                    <a:pt x="1037" y="3443"/>
                  </a:cubicBezTo>
                  <a:cubicBezTo>
                    <a:pt x="1042" y="3427"/>
                    <a:pt x="1042" y="3427"/>
                    <a:pt x="1042" y="3427"/>
                  </a:cubicBezTo>
                  <a:cubicBezTo>
                    <a:pt x="1096" y="3425"/>
                    <a:pt x="1096" y="3425"/>
                    <a:pt x="1096" y="3425"/>
                  </a:cubicBezTo>
                  <a:cubicBezTo>
                    <a:pt x="1125" y="3415"/>
                    <a:pt x="1125" y="3415"/>
                    <a:pt x="1125" y="3415"/>
                  </a:cubicBezTo>
                  <a:cubicBezTo>
                    <a:pt x="1125" y="3415"/>
                    <a:pt x="1127" y="3420"/>
                    <a:pt x="1136" y="3421"/>
                  </a:cubicBezTo>
                  <a:cubicBezTo>
                    <a:pt x="1145" y="3421"/>
                    <a:pt x="1162" y="3403"/>
                    <a:pt x="1162" y="3403"/>
                  </a:cubicBezTo>
                  <a:cubicBezTo>
                    <a:pt x="1185" y="3403"/>
                    <a:pt x="1185" y="3403"/>
                    <a:pt x="1185" y="3403"/>
                  </a:cubicBezTo>
                  <a:cubicBezTo>
                    <a:pt x="1211" y="3377"/>
                    <a:pt x="1211" y="3377"/>
                    <a:pt x="1211" y="3377"/>
                  </a:cubicBezTo>
                  <a:cubicBezTo>
                    <a:pt x="1223" y="3380"/>
                    <a:pt x="1223" y="3380"/>
                    <a:pt x="1223" y="3380"/>
                  </a:cubicBezTo>
                  <a:cubicBezTo>
                    <a:pt x="1205" y="3400"/>
                    <a:pt x="1205" y="3400"/>
                    <a:pt x="1205" y="3400"/>
                  </a:cubicBezTo>
                  <a:cubicBezTo>
                    <a:pt x="1205" y="3400"/>
                    <a:pt x="1199" y="3415"/>
                    <a:pt x="1239" y="3406"/>
                  </a:cubicBezTo>
                  <a:cubicBezTo>
                    <a:pt x="1323" y="3383"/>
                    <a:pt x="1311" y="3306"/>
                    <a:pt x="1311" y="3306"/>
                  </a:cubicBezTo>
                  <a:close/>
                  <a:moveTo>
                    <a:pt x="1268" y="3357"/>
                  </a:moveTo>
                  <a:cubicBezTo>
                    <a:pt x="1268" y="3357"/>
                    <a:pt x="1264" y="3339"/>
                    <a:pt x="1281" y="3347"/>
                  </a:cubicBezTo>
                  <a:cubicBezTo>
                    <a:pt x="1282" y="3354"/>
                    <a:pt x="1269" y="3360"/>
                    <a:pt x="1268" y="3357"/>
                  </a:cubicBezTo>
                  <a:close/>
                  <a:moveTo>
                    <a:pt x="1246" y="3475"/>
                  </a:moveTo>
                  <a:cubicBezTo>
                    <a:pt x="1246" y="3466"/>
                    <a:pt x="1246" y="3466"/>
                    <a:pt x="1246" y="3466"/>
                  </a:cubicBezTo>
                  <a:cubicBezTo>
                    <a:pt x="1245" y="3470"/>
                    <a:pt x="1235" y="3479"/>
                    <a:pt x="1239" y="3485"/>
                  </a:cubicBezTo>
                  <a:cubicBezTo>
                    <a:pt x="1243" y="3492"/>
                    <a:pt x="1246" y="3475"/>
                    <a:pt x="1246" y="3475"/>
                  </a:cubicBezTo>
                  <a:close/>
                  <a:moveTo>
                    <a:pt x="1264" y="3453"/>
                  </a:moveTo>
                  <a:cubicBezTo>
                    <a:pt x="1263" y="3443"/>
                    <a:pt x="1256" y="3469"/>
                    <a:pt x="1256" y="3469"/>
                  </a:cubicBezTo>
                  <a:cubicBezTo>
                    <a:pt x="1256" y="3469"/>
                    <a:pt x="1265" y="3462"/>
                    <a:pt x="1264" y="3453"/>
                  </a:cubicBezTo>
                  <a:close/>
                  <a:moveTo>
                    <a:pt x="1278" y="3469"/>
                  </a:moveTo>
                  <a:cubicBezTo>
                    <a:pt x="1279" y="3476"/>
                    <a:pt x="1279" y="3476"/>
                    <a:pt x="1279" y="3476"/>
                  </a:cubicBezTo>
                  <a:cubicBezTo>
                    <a:pt x="1285" y="3467"/>
                    <a:pt x="1285" y="3467"/>
                    <a:pt x="1285" y="3467"/>
                  </a:cubicBezTo>
                  <a:lnTo>
                    <a:pt x="1278" y="3469"/>
                  </a:lnTo>
                  <a:close/>
                </a:path>
              </a:pathLst>
            </a:custGeom>
            <a:blipFill dpi="0" rotWithShape="1">
              <a:blip r:embed="rId3"/>
              <a:srcRect/>
              <a:stretch>
                <a:fillRect/>
              </a:stretch>
            </a:blipFill>
            <a:ln w="6350" cap="flat" cmpd="sng">
              <a:solidFill>
                <a:schemeClr val="bg1"/>
              </a:solidFill>
              <a:prstDash val="solid"/>
              <a:round/>
              <a:headEnd type="none" w="med" len="med"/>
              <a:tailEnd type="none" w="med" len="med"/>
            </a:ln>
            <a:effectLst>
              <a:outerShdw dist="63500" dir="2212194" algn="ctr" rotWithShape="0">
                <a:srgbClr val="808080"/>
              </a:outerShdw>
            </a:effectLst>
          </p:spPr>
          <p:txBody>
            <a:bodyPr/>
            <a:lstStyle/>
            <a:p>
              <a:endParaRPr lang="en-US"/>
            </a:p>
          </p:txBody>
        </p:sp>
      </p:grpSp>
      <p:grpSp>
        <p:nvGrpSpPr>
          <p:cNvPr id="3" name="Gruppieren 137"/>
          <p:cNvGrpSpPr/>
          <p:nvPr/>
        </p:nvGrpSpPr>
        <p:grpSpPr>
          <a:xfrm>
            <a:off x="2701459" y="1613231"/>
            <a:ext cx="347663" cy="338138"/>
            <a:chOff x="203518" y="4378643"/>
            <a:chExt cx="347663" cy="338138"/>
          </a:xfrm>
        </p:grpSpPr>
        <p:pic>
          <p:nvPicPr>
            <p:cNvPr id="38" name="Grafik 37" descr="schatten.png"/>
            <p:cNvPicPr>
              <a:picLocks noChangeAspect="1"/>
            </p:cNvPicPr>
            <p:nvPr/>
          </p:nvPicPr>
          <p:blipFill>
            <a:blip r:embed="rId4" cstate="print">
              <a:lum bright="30000"/>
            </a:blip>
            <a:srcRect l="17603" t="9404" r="15359" b="14528"/>
            <a:stretch>
              <a:fillRect/>
            </a:stretch>
          </p:blipFill>
          <p:spPr>
            <a:xfrm>
              <a:off x="203518" y="4378643"/>
              <a:ext cx="347663" cy="338138"/>
            </a:xfrm>
            <a:prstGeom prst="rect">
              <a:avLst/>
            </a:prstGeom>
          </p:spPr>
        </p:pic>
        <p:sp>
          <p:nvSpPr>
            <p:cNvPr id="39"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2</a:t>
              </a:r>
            </a:p>
          </p:txBody>
        </p:sp>
      </p:grpSp>
      <p:grpSp>
        <p:nvGrpSpPr>
          <p:cNvPr id="4" name="Gruppieren 111"/>
          <p:cNvGrpSpPr/>
          <p:nvPr/>
        </p:nvGrpSpPr>
        <p:grpSpPr>
          <a:xfrm>
            <a:off x="203518" y="4966018"/>
            <a:ext cx="347663" cy="338138"/>
            <a:chOff x="203518" y="4966018"/>
            <a:chExt cx="347663" cy="338138"/>
          </a:xfrm>
        </p:grpSpPr>
        <p:pic>
          <p:nvPicPr>
            <p:cNvPr id="48" name="Grafik 47" descr="schatten.png"/>
            <p:cNvPicPr>
              <a:picLocks noChangeAspect="1"/>
            </p:cNvPicPr>
            <p:nvPr/>
          </p:nvPicPr>
          <p:blipFill>
            <a:blip r:embed="rId4" cstate="print">
              <a:lum bright="30000"/>
            </a:blip>
            <a:srcRect l="17603" t="9404" r="15359" b="14528"/>
            <a:stretch>
              <a:fillRect/>
            </a:stretch>
          </p:blipFill>
          <p:spPr>
            <a:xfrm>
              <a:off x="203518" y="4966018"/>
              <a:ext cx="347663" cy="338138"/>
            </a:xfrm>
            <a:prstGeom prst="rect">
              <a:avLst/>
            </a:prstGeom>
          </p:spPr>
        </p:pic>
        <p:sp>
          <p:nvSpPr>
            <p:cNvPr id="49"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5" name="Gruppieren 115"/>
          <p:cNvGrpSpPr/>
          <p:nvPr/>
        </p:nvGrpSpPr>
        <p:grpSpPr>
          <a:xfrm>
            <a:off x="203518" y="5530850"/>
            <a:ext cx="347663" cy="338138"/>
            <a:chOff x="203518" y="5554980"/>
            <a:chExt cx="347663" cy="338138"/>
          </a:xfrm>
        </p:grpSpPr>
        <p:pic>
          <p:nvPicPr>
            <p:cNvPr id="51" name="Grafik 50" descr="schatten.png"/>
            <p:cNvPicPr>
              <a:picLocks noChangeAspect="1"/>
            </p:cNvPicPr>
            <p:nvPr/>
          </p:nvPicPr>
          <p:blipFill>
            <a:blip r:embed="rId4" cstate="print">
              <a:lum bright="30000"/>
            </a:blip>
            <a:srcRect l="17603" t="9404" r="15359" b="14528"/>
            <a:stretch>
              <a:fillRect/>
            </a:stretch>
          </p:blipFill>
          <p:spPr>
            <a:xfrm>
              <a:off x="203518" y="5554980"/>
              <a:ext cx="347663" cy="338138"/>
            </a:xfrm>
            <a:prstGeom prst="rect">
              <a:avLst/>
            </a:prstGeom>
          </p:spPr>
        </p:pic>
        <p:sp>
          <p:nvSpPr>
            <p:cNvPr id="52"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sp>
        <p:nvSpPr>
          <p:cNvPr id="82" name="Rectangle 5"/>
          <p:cNvSpPr>
            <a:spLocks noChangeArrowheads="1"/>
          </p:cNvSpPr>
          <p:nvPr/>
        </p:nvSpPr>
        <p:spPr bwMode="gray">
          <a:xfrm>
            <a:off x="639763" y="4966018"/>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Klicken Sie unter dem Punkt „Grafik“ auf „Grafik auswählen“, um ihr Bild auszusuchen.</a:t>
            </a:r>
            <a:endParaRPr lang="en-US" dirty="0">
              <a:solidFill>
                <a:srgbClr val="000000"/>
              </a:solidFill>
              <a:ea typeface="Arial Unicode MS" pitchFamily="34" charset="-128"/>
              <a:cs typeface="Arial" charset="0"/>
            </a:endParaRPr>
          </a:p>
        </p:txBody>
      </p:sp>
      <p:sp>
        <p:nvSpPr>
          <p:cNvPr id="83" name="Rectangle 5"/>
          <p:cNvSpPr>
            <a:spLocks noChangeArrowheads="1"/>
          </p:cNvSpPr>
          <p:nvPr/>
        </p:nvSpPr>
        <p:spPr bwMode="gray">
          <a:xfrm>
            <a:off x="639763" y="5530850"/>
            <a:ext cx="8251825" cy="423863"/>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Hier können Sie ihr Wunschbild auswählen und klicken anschließend auf Einfügen.</a:t>
            </a:r>
          </a:p>
          <a:p>
            <a:endParaRPr lang="en-US" sz="1200" dirty="0">
              <a:solidFill>
                <a:srgbClr val="000000"/>
              </a:solidFill>
              <a:latin typeface="Myriad Pro" pitchFamily="34" charset="0"/>
              <a:ea typeface="Arial Unicode MS" pitchFamily="34" charset="-128"/>
              <a:cs typeface="Arial" charset="0"/>
            </a:endParaRPr>
          </a:p>
        </p:txBody>
      </p:sp>
      <p:grpSp>
        <p:nvGrpSpPr>
          <p:cNvPr id="6" name="Gruppieren 108"/>
          <p:cNvGrpSpPr/>
          <p:nvPr/>
        </p:nvGrpSpPr>
        <p:grpSpPr>
          <a:xfrm>
            <a:off x="203518" y="4378643"/>
            <a:ext cx="347663" cy="338138"/>
            <a:chOff x="203518" y="4378643"/>
            <a:chExt cx="347663" cy="338138"/>
          </a:xfrm>
        </p:grpSpPr>
        <p:pic>
          <p:nvPicPr>
            <p:cNvPr id="113" name="Grafik 112" descr="schatten.png"/>
            <p:cNvPicPr>
              <a:picLocks noChangeAspect="1"/>
            </p:cNvPicPr>
            <p:nvPr/>
          </p:nvPicPr>
          <p:blipFill>
            <a:blip r:embed="rId4" cstate="print">
              <a:lum bright="30000"/>
            </a:blip>
            <a:srcRect l="17603" t="9404" r="15359" b="14528"/>
            <a:stretch>
              <a:fillRect/>
            </a:stretch>
          </p:blipFill>
          <p:spPr>
            <a:xfrm>
              <a:off x="203518" y="4378643"/>
              <a:ext cx="347663" cy="338138"/>
            </a:xfrm>
            <a:prstGeom prst="rect">
              <a:avLst/>
            </a:prstGeom>
          </p:spPr>
        </p:pic>
        <p:sp>
          <p:nvSpPr>
            <p:cNvPr id="114"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sp>
        <p:nvSpPr>
          <p:cNvPr id="115"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eaLnBrk="0" hangingPunct="0">
              <a:defRPr/>
            </a:pPr>
            <a:r>
              <a:rPr lang="de-DE" sz="2800" kern="0" dirty="0" smtClean="0">
                <a:solidFill>
                  <a:schemeClr val="tx2"/>
                </a:solidFill>
                <a:latin typeface="Myriad Pro" pitchFamily="34" charset="0"/>
                <a:ea typeface="+mj-ea"/>
                <a:cs typeface="+mj-cs"/>
              </a:rPr>
              <a:t>Bilder in Länderkonturen einfügen</a:t>
            </a:r>
          </a:p>
        </p:txBody>
      </p:sp>
      <p:grpSp>
        <p:nvGrpSpPr>
          <p:cNvPr id="7" name="Group 145"/>
          <p:cNvGrpSpPr/>
          <p:nvPr/>
        </p:nvGrpSpPr>
        <p:grpSpPr>
          <a:xfrm>
            <a:off x="3117215" y="578977"/>
            <a:ext cx="5774373" cy="3807399"/>
            <a:chOff x="3117215" y="578977"/>
            <a:chExt cx="5774373" cy="3807399"/>
          </a:xfrm>
        </p:grpSpPr>
        <p:grpSp>
          <p:nvGrpSpPr>
            <p:cNvPr id="8" name="Group 92"/>
            <p:cNvGrpSpPr/>
            <p:nvPr/>
          </p:nvGrpSpPr>
          <p:grpSpPr>
            <a:xfrm>
              <a:off x="3117215" y="1543367"/>
              <a:ext cx="1454785" cy="1602740"/>
              <a:chOff x="3693795" y="484187"/>
              <a:chExt cx="1454785" cy="1602740"/>
            </a:xfrm>
          </p:grpSpPr>
          <p:pic>
            <p:nvPicPr>
              <p:cNvPr id="2051" name="Picture 3"/>
              <p:cNvPicPr>
                <a:picLocks noChangeAspect="1" noChangeArrowheads="1"/>
              </p:cNvPicPr>
              <p:nvPr/>
            </p:nvPicPr>
            <p:blipFill>
              <a:blip r:embed="rId5"/>
              <a:srcRect/>
              <a:stretch>
                <a:fillRect/>
              </a:stretch>
            </p:blipFill>
            <p:spPr bwMode="auto">
              <a:xfrm>
                <a:off x="3700780" y="484187"/>
                <a:ext cx="1447800" cy="1352550"/>
              </a:xfrm>
              <a:prstGeom prst="rect">
                <a:avLst/>
              </a:prstGeom>
              <a:noFill/>
              <a:effectLst>
                <a:outerShdw blurRad="50800" dist="38100" dir="2700000" algn="tl" rotWithShape="0">
                  <a:prstClr val="black">
                    <a:alpha val="40000"/>
                  </a:prstClr>
                </a:outerShdw>
              </a:effectLst>
            </p:spPr>
          </p:pic>
          <p:pic>
            <p:nvPicPr>
              <p:cNvPr id="2054" name="Picture 6"/>
              <p:cNvPicPr>
                <a:picLocks noChangeAspect="1" noChangeArrowheads="1"/>
              </p:cNvPicPr>
              <p:nvPr/>
            </p:nvPicPr>
            <p:blipFill>
              <a:blip r:embed="rId6"/>
              <a:srcRect/>
              <a:stretch>
                <a:fillRect/>
              </a:stretch>
            </p:blipFill>
            <p:spPr bwMode="auto">
              <a:xfrm>
                <a:off x="3693795" y="1839277"/>
                <a:ext cx="885825" cy="247650"/>
              </a:xfrm>
              <a:prstGeom prst="rect">
                <a:avLst/>
              </a:prstGeom>
              <a:noFill/>
              <a:effectLst>
                <a:outerShdw blurRad="50800" dist="38100" dir="2700000" algn="tl" rotWithShape="0">
                  <a:prstClr val="black">
                    <a:alpha val="40000"/>
                  </a:prstClr>
                </a:outerShdw>
              </a:effectLst>
            </p:spPr>
          </p:pic>
        </p:grpSp>
        <p:pic>
          <p:nvPicPr>
            <p:cNvPr id="2055" name="Picture 7"/>
            <p:cNvPicPr>
              <a:picLocks noChangeAspect="1" noChangeArrowheads="1"/>
            </p:cNvPicPr>
            <p:nvPr/>
          </p:nvPicPr>
          <p:blipFill>
            <a:blip r:embed="rId7"/>
            <a:srcRect/>
            <a:stretch>
              <a:fillRect/>
            </a:stretch>
          </p:blipFill>
          <p:spPr bwMode="auto">
            <a:xfrm>
              <a:off x="5641975" y="578977"/>
              <a:ext cx="2609532" cy="3163888"/>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2056" name="Picture 8"/>
            <p:cNvPicPr>
              <a:picLocks noChangeAspect="1" noChangeArrowheads="1"/>
            </p:cNvPicPr>
            <p:nvPr/>
          </p:nvPicPr>
          <p:blipFill>
            <a:blip r:embed="rId8"/>
            <a:srcRect/>
            <a:stretch>
              <a:fillRect/>
            </a:stretch>
          </p:blipFill>
          <p:spPr bwMode="auto">
            <a:xfrm>
              <a:off x="5885588" y="2433718"/>
              <a:ext cx="3006000" cy="1952658"/>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grpSp>
      <p:grpSp>
        <p:nvGrpSpPr>
          <p:cNvPr id="9" name="Gruppieren 144"/>
          <p:cNvGrpSpPr/>
          <p:nvPr/>
        </p:nvGrpSpPr>
        <p:grpSpPr>
          <a:xfrm>
            <a:off x="5230271" y="647999"/>
            <a:ext cx="347663" cy="338138"/>
            <a:chOff x="203518" y="5554980"/>
            <a:chExt cx="347663" cy="338138"/>
          </a:xfrm>
        </p:grpSpPr>
        <p:pic>
          <p:nvPicPr>
            <p:cNvPr id="137" name="Grafik 43" descr="schatten.png"/>
            <p:cNvPicPr>
              <a:picLocks noChangeAspect="1"/>
            </p:cNvPicPr>
            <p:nvPr/>
          </p:nvPicPr>
          <p:blipFill>
            <a:blip r:embed="rId4" cstate="print">
              <a:lum bright="30000"/>
            </a:blip>
            <a:srcRect l="17603" t="9404" r="15359" b="14528"/>
            <a:stretch>
              <a:fillRect/>
            </a:stretch>
          </p:blipFill>
          <p:spPr>
            <a:xfrm>
              <a:off x="203518" y="5554980"/>
              <a:ext cx="347663" cy="338138"/>
            </a:xfrm>
            <a:prstGeom prst="rect">
              <a:avLst/>
            </a:prstGeom>
          </p:spPr>
        </p:pic>
        <p:sp>
          <p:nvSpPr>
            <p:cNvPr id="138"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3</a:t>
              </a:r>
              <a:endParaRPr lang="de-DE" sz="1600" b="1" noProof="1">
                <a:solidFill>
                  <a:schemeClr val="bg1"/>
                </a:solidFill>
                <a:latin typeface="Myriad Pro" pitchFamily="34" charset="0"/>
              </a:endParaRPr>
            </a:p>
          </p:txBody>
        </p:sp>
      </p:grpSp>
      <p:sp>
        <p:nvSpPr>
          <p:cNvPr id="90" name="Textfeld 96"/>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3</a:t>
            </a:r>
            <a:endParaRPr lang="de-DE" sz="900" dirty="0">
              <a:solidFill>
                <a:schemeClr val="bg1">
                  <a:lumMod val="50000"/>
                </a:schemeClr>
              </a:solidFill>
            </a:endParaRPr>
          </a:p>
        </p:txBody>
      </p:sp>
      <p:grpSp>
        <p:nvGrpSpPr>
          <p:cNvPr id="10" name="Group 88"/>
          <p:cNvGrpSpPr/>
          <p:nvPr/>
        </p:nvGrpSpPr>
        <p:grpSpPr>
          <a:xfrm>
            <a:off x="2595028" y="2160075"/>
            <a:ext cx="6448882" cy="2481581"/>
            <a:chOff x="2595028" y="2160075"/>
            <a:chExt cx="6448882" cy="2481581"/>
          </a:xfrm>
        </p:grpSpPr>
        <p:sp>
          <p:nvSpPr>
            <p:cNvPr id="23" name="Rechteck 22"/>
            <p:cNvSpPr/>
            <p:nvPr/>
          </p:nvSpPr>
          <p:spPr>
            <a:xfrm>
              <a:off x="3135975" y="2665382"/>
              <a:ext cx="1414593" cy="189737"/>
            </a:xfrm>
            <a:prstGeom prst="rect">
              <a:avLst/>
            </a:prstGeom>
            <a:solidFill>
              <a:schemeClr val="bg1">
                <a:alpha val="0"/>
              </a:schemeClr>
            </a:solid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sp>
          <p:nvSpPr>
            <p:cNvPr id="98" name="Rechteck 22"/>
            <p:cNvSpPr/>
            <p:nvPr/>
          </p:nvSpPr>
          <p:spPr>
            <a:xfrm>
              <a:off x="6771352" y="2160075"/>
              <a:ext cx="805106" cy="156399"/>
            </a:xfrm>
            <a:prstGeom prst="rect">
              <a:avLst/>
            </a:prstGeom>
            <a:solidFill>
              <a:schemeClr val="bg1">
                <a:alpha val="0"/>
              </a:schemeClr>
            </a:solid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sp>
          <p:nvSpPr>
            <p:cNvPr id="99" name="Rechteck 22"/>
            <p:cNvSpPr/>
            <p:nvPr/>
          </p:nvSpPr>
          <p:spPr>
            <a:xfrm>
              <a:off x="8413330" y="4132615"/>
              <a:ext cx="411584" cy="93623"/>
            </a:xfrm>
            <a:prstGeom prst="rect">
              <a:avLst/>
            </a:prstGeom>
            <a:solidFill>
              <a:schemeClr val="bg1">
                <a:alpha val="0"/>
              </a:schemeClr>
            </a:solid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nvGrpSpPr>
            <p:cNvPr id="11" name="Group 45"/>
            <p:cNvGrpSpPr>
              <a:grpSpLocks/>
            </p:cNvGrpSpPr>
            <p:nvPr/>
          </p:nvGrpSpPr>
          <p:grpSpPr bwMode="auto">
            <a:xfrm rot="-1312736">
              <a:off x="4493496" y="2736284"/>
              <a:ext cx="374650" cy="609600"/>
              <a:chOff x="1950" y="1045"/>
              <a:chExt cx="568" cy="928"/>
            </a:xfrm>
          </p:grpSpPr>
          <p:sp>
            <p:nvSpPr>
              <p:cNvPr id="25"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26"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27"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28"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29"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30"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31"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32"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33"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34"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35"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36"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12" name="Group 45"/>
            <p:cNvGrpSpPr>
              <a:grpSpLocks/>
            </p:cNvGrpSpPr>
            <p:nvPr/>
          </p:nvGrpSpPr>
          <p:grpSpPr bwMode="auto">
            <a:xfrm rot="-1312736">
              <a:off x="7524079" y="2178931"/>
              <a:ext cx="374650" cy="609600"/>
              <a:chOff x="1950" y="1045"/>
              <a:chExt cx="568" cy="928"/>
            </a:xfrm>
          </p:grpSpPr>
          <p:sp>
            <p:nvSpPr>
              <p:cNvPr id="101"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102"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103"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04"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105"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06"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07"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08"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09"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10"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12"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16"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13" name="Group 45"/>
            <p:cNvGrpSpPr>
              <a:grpSpLocks/>
            </p:cNvGrpSpPr>
            <p:nvPr/>
          </p:nvGrpSpPr>
          <p:grpSpPr bwMode="auto">
            <a:xfrm rot="-1312736">
              <a:off x="8669260" y="4032056"/>
              <a:ext cx="374650" cy="609600"/>
              <a:chOff x="1950" y="1045"/>
              <a:chExt cx="568" cy="928"/>
            </a:xfrm>
          </p:grpSpPr>
          <p:sp>
            <p:nvSpPr>
              <p:cNvPr id="118"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120"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121"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22"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123"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24"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25"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28"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29"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30"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31"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32"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nvGrpSpPr>
            <p:cNvPr id="14" name="Group 45"/>
            <p:cNvGrpSpPr>
              <a:grpSpLocks/>
            </p:cNvGrpSpPr>
            <p:nvPr/>
          </p:nvGrpSpPr>
          <p:grpSpPr bwMode="auto">
            <a:xfrm rot="-1312736">
              <a:off x="2595028" y="3548291"/>
              <a:ext cx="374650" cy="609600"/>
              <a:chOff x="1950" y="1045"/>
              <a:chExt cx="568" cy="928"/>
            </a:xfrm>
          </p:grpSpPr>
          <p:sp>
            <p:nvSpPr>
              <p:cNvPr id="92"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94"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95"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96"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97"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139"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140"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141"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142"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143"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144"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145"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grpSp>
      <p:sp>
        <p:nvSpPr>
          <p:cNvPr id="111" name="Rectangle 5"/>
          <p:cNvSpPr>
            <a:spLocks noChangeArrowheads="1"/>
          </p:cNvSpPr>
          <p:nvPr/>
        </p:nvSpPr>
        <p:spPr bwMode="gray">
          <a:xfrm>
            <a:off x="639763" y="4378643"/>
            <a:ext cx="8251825" cy="423863"/>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Wählen Sie zunächst die Karte mit der linke Maustaste aus, anschließend klicken Sie auf den Punkt „Füllfarbe“, danach auf Fülleffekte.</a:t>
            </a:r>
            <a:endParaRPr lang="en-US" sz="1200" dirty="0" smtClean="0">
              <a:latin typeface="Myriad Pro" pitchFamily="34" charset="0"/>
              <a:ea typeface="Arial Unicode MS" pitchFamily="34" charset="-128"/>
              <a:cs typeface="Arial" charset="0"/>
            </a:endParaRPr>
          </a:p>
        </p:txBody>
      </p:sp>
      <p:grpSp>
        <p:nvGrpSpPr>
          <p:cNvPr id="15" name="Gruppieren 137"/>
          <p:cNvGrpSpPr/>
          <p:nvPr/>
        </p:nvGrpSpPr>
        <p:grpSpPr>
          <a:xfrm>
            <a:off x="594411" y="1629707"/>
            <a:ext cx="347663" cy="338138"/>
            <a:chOff x="203518" y="4378643"/>
            <a:chExt cx="347663" cy="338138"/>
          </a:xfrm>
        </p:grpSpPr>
        <p:pic>
          <p:nvPicPr>
            <p:cNvPr id="148" name="Grafik 147" descr="schatten.png"/>
            <p:cNvPicPr>
              <a:picLocks noChangeAspect="1"/>
            </p:cNvPicPr>
            <p:nvPr/>
          </p:nvPicPr>
          <p:blipFill>
            <a:blip r:embed="rId4" cstate="print">
              <a:lum bright="30000"/>
            </a:blip>
            <a:srcRect l="17603" t="9404" r="15359" b="14528"/>
            <a:stretch>
              <a:fillRect/>
            </a:stretch>
          </p:blipFill>
          <p:spPr>
            <a:xfrm>
              <a:off x="203518" y="4378643"/>
              <a:ext cx="347663" cy="338138"/>
            </a:xfrm>
            <a:prstGeom prst="rect">
              <a:avLst/>
            </a:prstGeom>
          </p:spPr>
        </p:pic>
        <p:sp>
          <p:nvSpPr>
            <p:cNvPr id="149"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smtClean="0">
                  <a:solidFill>
                    <a:schemeClr val="bg1"/>
                  </a:solidFill>
                  <a:latin typeface="Myriad Pro" pitchFamily="34" charset="0"/>
                </a:rPr>
                <a:t>1</a:t>
              </a:r>
              <a:endParaRPr lang="de-DE" sz="1600" b="1" noProof="1">
                <a:solidFill>
                  <a:schemeClr val="bg1"/>
                </a:solidFill>
                <a:latin typeface="Myriad Pro"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childTnLst>
                          </p:cTn>
                        </p:par>
                        <p:par>
                          <p:cTn id="8" fill="hold">
                            <p:stCondLst>
                              <p:cond delay="300"/>
                            </p:stCondLst>
                            <p:childTnLst>
                              <p:par>
                                <p:cTn id="9" presetID="10" presetClass="entr" presetSubtype="0" fill="hold" nodeType="afterEffect">
                                  <p:stCondLst>
                                    <p:cond delay="10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300"/>
                                        <p:tgtEl>
                                          <p:spTgt spid="6"/>
                                        </p:tgtEl>
                                      </p:cBhvr>
                                    </p:animEffect>
                                  </p:childTnLst>
                                </p:cTn>
                              </p:par>
                            </p:childTnLst>
                          </p:cTn>
                        </p:par>
                        <p:par>
                          <p:cTn id="12" fill="hold">
                            <p:stCondLst>
                              <p:cond delay="1600"/>
                            </p:stCondLst>
                            <p:childTnLst>
                              <p:par>
                                <p:cTn id="13" presetID="10" presetClass="entr" presetSubtype="0" fill="hold" grpId="0" nodeType="afterEffect">
                                  <p:stCondLst>
                                    <p:cond delay="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300"/>
                                        <p:tgtEl>
                                          <p:spTgt spid="111"/>
                                        </p:tgtEl>
                                      </p:cBhvr>
                                    </p:animEffect>
                                  </p:childTnLst>
                                </p:cTn>
                              </p:par>
                            </p:childTnLst>
                          </p:cTn>
                        </p:par>
                        <p:par>
                          <p:cTn id="16" fill="hold">
                            <p:stCondLst>
                              <p:cond delay="1900"/>
                            </p:stCondLst>
                            <p:childTnLst>
                              <p:par>
                                <p:cTn id="17" presetID="10" presetClass="entr" presetSubtype="0" fill="hold" nodeType="afterEffect">
                                  <p:stCondLst>
                                    <p:cond delay="10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300"/>
                                        <p:tgtEl>
                                          <p:spTgt spid="4"/>
                                        </p:tgtEl>
                                      </p:cBhvr>
                                    </p:animEffect>
                                  </p:childTnLst>
                                </p:cTn>
                              </p:par>
                            </p:childTnLst>
                          </p:cTn>
                        </p:par>
                        <p:par>
                          <p:cTn id="20" fill="hold">
                            <p:stCondLst>
                              <p:cond delay="3200"/>
                            </p:stCondLst>
                            <p:childTnLst>
                              <p:par>
                                <p:cTn id="21" presetID="10" presetClass="entr" presetSubtype="0" fill="hold" grpId="0" nodeType="afterEffect">
                                  <p:stCondLst>
                                    <p:cond delay="0"/>
                                  </p:stCondLst>
                                  <p:childTnLst>
                                    <p:set>
                                      <p:cBhvr>
                                        <p:cTn id="22" dur="1" fill="hold">
                                          <p:stCondLst>
                                            <p:cond delay="0"/>
                                          </p:stCondLst>
                                        </p:cTn>
                                        <p:tgtEl>
                                          <p:spTgt spid="82"/>
                                        </p:tgtEl>
                                        <p:attrNameLst>
                                          <p:attrName>style.visibility</p:attrName>
                                        </p:attrNameLst>
                                      </p:cBhvr>
                                      <p:to>
                                        <p:strVal val="visible"/>
                                      </p:to>
                                    </p:set>
                                    <p:animEffect transition="in" filter="fade">
                                      <p:cBhvr>
                                        <p:cTn id="23" dur="300"/>
                                        <p:tgtEl>
                                          <p:spTgt spid="82"/>
                                        </p:tgtEl>
                                      </p:cBhvr>
                                    </p:animEffect>
                                  </p:childTnLst>
                                </p:cTn>
                              </p:par>
                            </p:childTnLst>
                          </p:cTn>
                        </p:par>
                        <p:par>
                          <p:cTn id="24" fill="hold">
                            <p:stCondLst>
                              <p:cond delay="3500"/>
                            </p:stCondLst>
                            <p:childTnLst>
                              <p:par>
                                <p:cTn id="25" presetID="10" presetClass="entr" presetSubtype="0" fill="hold" nodeType="afterEffect">
                                  <p:stCondLst>
                                    <p:cond delay="100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300"/>
                                        <p:tgtEl>
                                          <p:spTgt spid="5"/>
                                        </p:tgtEl>
                                      </p:cBhvr>
                                    </p:animEffect>
                                  </p:childTnLst>
                                </p:cTn>
                              </p:par>
                            </p:childTnLst>
                          </p:cTn>
                        </p:par>
                        <p:par>
                          <p:cTn id="28" fill="hold">
                            <p:stCondLst>
                              <p:cond delay="4800"/>
                            </p:stCondLst>
                            <p:childTnLst>
                              <p:par>
                                <p:cTn id="29" presetID="10" presetClass="entr" presetSubtype="0" fill="hold" grpId="0" nodeType="after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fade">
                                      <p:cBhvr>
                                        <p:cTn id="31" dur="300"/>
                                        <p:tgtEl>
                                          <p:spTgt spid="83"/>
                                        </p:tgtEl>
                                      </p:cBhvr>
                                    </p:animEffect>
                                  </p:childTnLst>
                                </p:cTn>
                              </p:par>
                            </p:childTnLst>
                          </p:cTn>
                        </p:par>
                        <p:par>
                          <p:cTn id="32" fill="hold">
                            <p:stCondLst>
                              <p:cond delay="5100"/>
                            </p:stCondLst>
                            <p:childTnLst>
                              <p:par>
                                <p:cTn id="33" presetID="10" presetClass="entr" presetSubtype="0" fill="hold" nodeType="afterEffect">
                                  <p:stCondLst>
                                    <p:cond delay="200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300"/>
                                        <p:tgtEl>
                                          <p:spTgt spid="9"/>
                                        </p:tgtEl>
                                      </p:cBhvr>
                                    </p:animEffect>
                                  </p:childTnLst>
                                </p:cTn>
                              </p:par>
                            </p:childTnLst>
                          </p:cTn>
                        </p:par>
                        <p:par>
                          <p:cTn id="36" fill="hold">
                            <p:stCondLst>
                              <p:cond delay="7400"/>
                            </p:stCondLst>
                            <p:childTnLst>
                              <p:par>
                                <p:cTn id="37" presetID="10" presetClass="entr" presetSubtype="0" fill="hold"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3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83" grpId="0"/>
      <p:bldP spid="1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18"/>
          <a:srcRect/>
          <a:stretch>
            <a:fillRect/>
          </a:stretch>
        </p:blipFill>
        <p:spPr bwMode="auto">
          <a:xfrm>
            <a:off x="-12700" y="3054350"/>
            <a:ext cx="9156700" cy="3359150"/>
          </a:xfrm>
          <a:prstGeom prst="rect">
            <a:avLst/>
          </a:prstGeom>
          <a:noFill/>
          <a:ln w="9525">
            <a:noFill/>
            <a:miter lim="800000"/>
            <a:headEnd/>
            <a:tailEnd/>
          </a:ln>
          <a:effectLst/>
        </p:spPr>
      </p:pic>
      <p:sp>
        <p:nvSpPr>
          <p:cNvPr id="3" name="Titel 7"/>
          <p:cNvSpPr txBox="1">
            <a:spLocks/>
          </p:cNvSpPr>
          <p:nvPr/>
        </p:nvSpPr>
        <p:spPr bwMode="auto">
          <a:xfrm>
            <a:off x="131763" y="274638"/>
            <a:ext cx="9015412" cy="4619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eaLnBrk="0" hangingPunct="0">
              <a:defRPr/>
            </a:pPr>
            <a:r>
              <a:rPr lang="de-DE" sz="2800" kern="0" dirty="0" smtClean="0">
                <a:solidFill>
                  <a:schemeClr val="tx2"/>
                </a:solidFill>
                <a:latin typeface="Myriad Pro" pitchFamily="34" charset="0"/>
                <a:ea typeface="+mj-ea"/>
                <a:cs typeface="+mj-cs"/>
              </a:rPr>
              <a:t>Pins verwenden</a:t>
            </a:r>
          </a:p>
        </p:txBody>
      </p:sp>
      <p:sp>
        <p:nvSpPr>
          <p:cNvPr id="4" name="Textfeld 3"/>
          <p:cNvSpPr txBox="1"/>
          <p:nvPr/>
        </p:nvSpPr>
        <p:spPr>
          <a:xfrm>
            <a:off x="144855" y="135803"/>
            <a:ext cx="1063112" cy="230832"/>
          </a:xfrm>
          <a:prstGeom prst="rect">
            <a:avLst/>
          </a:prstGeom>
          <a:noFill/>
        </p:spPr>
        <p:txBody>
          <a:bodyPr wrap="none" rtlCol="0">
            <a:spAutoFit/>
          </a:bodyPr>
          <a:lstStyle/>
          <a:p>
            <a:r>
              <a:rPr lang="de-DE" sz="900" dirty="0" smtClean="0">
                <a:solidFill>
                  <a:schemeClr val="bg1">
                    <a:lumMod val="50000"/>
                  </a:schemeClr>
                </a:solidFill>
              </a:rPr>
              <a:t>PowerPoint 2003</a:t>
            </a:r>
            <a:endParaRPr lang="de-DE" sz="900" dirty="0">
              <a:solidFill>
                <a:schemeClr val="bg1">
                  <a:lumMod val="50000"/>
                </a:schemeClr>
              </a:solidFill>
            </a:endParaRPr>
          </a:p>
        </p:txBody>
      </p:sp>
      <p:grpSp>
        <p:nvGrpSpPr>
          <p:cNvPr id="5" name="Group 19"/>
          <p:cNvGrpSpPr>
            <a:grpSpLocks/>
          </p:cNvGrpSpPr>
          <p:nvPr/>
        </p:nvGrpSpPr>
        <p:grpSpPr bwMode="auto">
          <a:xfrm>
            <a:off x="5586300" y="626982"/>
            <a:ext cx="2678442" cy="3626574"/>
            <a:chOff x="670" y="640"/>
            <a:chExt cx="2195" cy="2972"/>
          </a:xfrm>
        </p:grpSpPr>
        <p:sp>
          <p:nvSpPr>
            <p:cNvPr id="89" name="Freeform 20"/>
            <p:cNvSpPr>
              <a:spLocks/>
            </p:cNvSpPr>
            <p:nvPr>
              <p:custDataLst>
                <p:tags r:id="rId1"/>
              </p:custDataLst>
            </p:nvPr>
          </p:nvSpPr>
          <p:spPr bwMode="auto">
            <a:xfrm>
              <a:off x="1804" y="1409"/>
              <a:ext cx="611" cy="801"/>
            </a:xfrm>
            <a:custGeom>
              <a:avLst/>
              <a:gdLst/>
              <a:ahLst/>
              <a:cxnLst>
                <a:cxn ang="0">
                  <a:pos x="1019" y="1811"/>
                </a:cxn>
                <a:cxn ang="0">
                  <a:pos x="1028" y="1713"/>
                </a:cxn>
                <a:cxn ang="0">
                  <a:pos x="996" y="1581"/>
                </a:cxn>
                <a:cxn ang="0">
                  <a:pos x="1014" y="1521"/>
                </a:cxn>
                <a:cxn ang="0">
                  <a:pos x="1142" y="1446"/>
                </a:cxn>
                <a:cxn ang="0">
                  <a:pos x="1406" y="1361"/>
                </a:cxn>
                <a:cxn ang="0">
                  <a:pos x="1536" y="1414"/>
                </a:cxn>
                <a:cxn ang="0">
                  <a:pos x="1601" y="1275"/>
                </a:cxn>
                <a:cxn ang="0">
                  <a:pos x="1567" y="1156"/>
                </a:cxn>
                <a:cxn ang="0">
                  <a:pos x="1369" y="1080"/>
                </a:cxn>
                <a:cxn ang="0">
                  <a:pos x="1143" y="1017"/>
                </a:cxn>
                <a:cxn ang="0">
                  <a:pos x="1055" y="704"/>
                </a:cxn>
                <a:cxn ang="0">
                  <a:pos x="977" y="540"/>
                </a:cxn>
                <a:cxn ang="0">
                  <a:pos x="999" y="421"/>
                </a:cxn>
                <a:cxn ang="0">
                  <a:pos x="929" y="145"/>
                </a:cxn>
                <a:cxn ang="0">
                  <a:pos x="766" y="129"/>
                </a:cxn>
                <a:cxn ang="0">
                  <a:pos x="644" y="0"/>
                </a:cxn>
                <a:cxn ang="0">
                  <a:pos x="547" y="120"/>
                </a:cxn>
                <a:cxn ang="0">
                  <a:pos x="330" y="142"/>
                </a:cxn>
                <a:cxn ang="0">
                  <a:pos x="208" y="211"/>
                </a:cxn>
                <a:cxn ang="0">
                  <a:pos x="132" y="339"/>
                </a:cxn>
                <a:cxn ang="0">
                  <a:pos x="264" y="559"/>
                </a:cxn>
                <a:cxn ang="0">
                  <a:pos x="258" y="719"/>
                </a:cxn>
                <a:cxn ang="0">
                  <a:pos x="270" y="911"/>
                </a:cxn>
                <a:cxn ang="0">
                  <a:pos x="79" y="1002"/>
                </a:cxn>
                <a:cxn ang="0">
                  <a:pos x="35" y="1159"/>
                </a:cxn>
                <a:cxn ang="0">
                  <a:pos x="0" y="1297"/>
                </a:cxn>
                <a:cxn ang="0">
                  <a:pos x="78" y="1416"/>
                </a:cxn>
                <a:cxn ang="0">
                  <a:pos x="243" y="1627"/>
                </a:cxn>
                <a:cxn ang="0">
                  <a:pos x="522" y="1688"/>
                </a:cxn>
                <a:cxn ang="0">
                  <a:pos x="562" y="1869"/>
                </a:cxn>
                <a:cxn ang="0">
                  <a:pos x="635" y="1951"/>
                </a:cxn>
                <a:cxn ang="0">
                  <a:pos x="739" y="2007"/>
                </a:cxn>
                <a:cxn ang="0">
                  <a:pos x="923" y="2083"/>
                </a:cxn>
                <a:cxn ang="0">
                  <a:pos x="1048" y="2104"/>
                </a:cxn>
                <a:cxn ang="0">
                  <a:pos x="1060" y="1997"/>
                </a:cxn>
                <a:cxn ang="0">
                  <a:pos x="1047" y="1947"/>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0" name="Freeform 21"/>
            <p:cNvSpPr>
              <a:spLocks/>
            </p:cNvSpPr>
            <p:nvPr>
              <p:custDataLst>
                <p:tags r:id="rId2"/>
              </p:custDataLst>
            </p:nvPr>
          </p:nvSpPr>
          <p:spPr bwMode="auto">
            <a:xfrm>
              <a:off x="1632" y="1945"/>
              <a:ext cx="668" cy="534"/>
            </a:xfrm>
            <a:custGeom>
              <a:avLst/>
              <a:gdLst/>
              <a:ahLst/>
              <a:cxnLst>
                <a:cxn ang="0">
                  <a:pos x="1363" y="1002"/>
                </a:cxn>
                <a:cxn ang="0">
                  <a:pos x="1460" y="1053"/>
                </a:cxn>
                <a:cxn ang="0">
                  <a:pos x="1539" y="1009"/>
                </a:cxn>
                <a:cxn ang="0">
                  <a:pos x="1511" y="875"/>
                </a:cxn>
                <a:cxn ang="0">
                  <a:pos x="1764" y="710"/>
                </a:cxn>
                <a:cxn ang="0">
                  <a:pos x="1671" y="592"/>
                </a:cxn>
                <a:cxn ang="0">
                  <a:pos x="1529" y="537"/>
                </a:cxn>
                <a:cxn ang="0">
                  <a:pos x="1541" y="612"/>
                </a:cxn>
                <a:cxn ang="0">
                  <a:pos x="1471" y="658"/>
                </a:cxn>
                <a:cxn ang="0">
                  <a:pos x="1287" y="581"/>
                </a:cxn>
                <a:cxn ang="0">
                  <a:pos x="1159" y="526"/>
                </a:cxn>
                <a:cxn ang="0">
                  <a:pos x="1027" y="529"/>
                </a:cxn>
                <a:cxn ang="0">
                  <a:pos x="950" y="419"/>
                </a:cxn>
                <a:cxn ang="0">
                  <a:pos x="898" y="220"/>
                </a:cxn>
                <a:cxn ang="0">
                  <a:pos x="690" y="21"/>
                </a:cxn>
                <a:cxn ang="0">
                  <a:pos x="501" y="24"/>
                </a:cxn>
                <a:cxn ang="0">
                  <a:pos x="360" y="43"/>
                </a:cxn>
                <a:cxn ang="0">
                  <a:pos x="50" y="261"/>
                </a:cxn>
                <a:cxn ang="0">
                  <a:pos x="225" y="460"/>
                </a:cxn>
                <a:cxn ang="0">
                  <a:pos x="173" y="577"/>
                </a:cxn>
                <a:cxn ang="0">
                  <a:pos x="113" y="635"/>
                </a:cxn>
                <a:cxn ang="0">
                  <a:pos x="113" y="758"/>
                </a:cxn>
                <a:cxn ang="0">
                  <a:pos x="61" y="816"/>
                </a:cxn>
                <a:cxn ang="0">
                  <a:pos x="61" y="1005"/>
                </a:cxn>
                <a:cxn ang="0">
                  <a:pos x="124" y="967"/>
                </a:cxn>
                <a:cxn ang="0">
                  <a:pos x="113" y="1016"/>
                </a:cxn>
                <a:cxn ang="0">
                  <a:pos x="117" y="1133"/>
                </a:cxn>
                <a:cxn ang="0">
                  <a:pos x="290" y="1162"/>
                </a:cxn>
                <a:cxn ang="0">
                  <a:pos x="452" y="1310"/>
                </a:cxn>
                <a:cxn ang="0">
                  <a:pos x="632" y="1378"/>
                </a:cxn>
                <a:cxn ang="0">
                  <a:pos x="656" y="1258"/>
                </a:cxn>
                <a:cxn ang="0">
                  <a:pos x="812" y="1348"/>
                </a:cxn>
                <a:cxn ang="0">
                  <a:pos x="890" y="1168"/>
                </a:cxn>
                <a:cxn ang="0">
                  <a:pos x="1046" y="1252"/>
                </a:cxn>
                <a:cxn ang="0">
                  <a:pos x="1250" y="1234"/>
                </a:cxn>
                <a:cxn ang="0">
                  <a:pos x="1296" y="1109"/>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1" name="Freeform 22"/>
            <p:cNvSpPr>
              <a:spLocks/>
            </p:cNvSpPr>
            <p:nvPr>
              <p:custDataLst>
                <p:tags r:id="rId3"/>
              </p:custDataLst>
            </p:nvPr>
          </p:nvSpPr>
          <p:spPr bwMode="auto">
            <a:xfrm>
              <a:off x="2393" y="1543"/>
              <a:ext cx="143" cy="125"/>
            </a:xfrm>
            <a:custGeom>
              <a:avLst/>
              <a:gdLst/>
              <a:ahLst/>
              <a:cxnLst>
                <a:cxn ang="0">
                  <a:pos x="95" y="18"/>
                </a:cxn>
                <a:cxn ang="0">
                  <a:pos x="21" y="78"/>
                </a:cxn>
                <a:cxn ang="0">
                  <a:pos x="21" y="119"/>
                </a:cxn>
                <a:cxn ang="0">
                  <a:pos x="8" y="123"/>
                </a:cxn>
                <a:cxn ang="0">
                  <a:pos x="4" y="156"/>
                </a:cxn>
                <a:cxn ang="0">
                  <a:pos x="21" y="172"/>
                </a:cxn>
                <a:cxn ang="0">
                  <a:pos x="0" y="209"/>
                </a:cxn>
                <a:cxn ang="0">
                  <a:pos x="2" y="289"/>
                </a:cxn>
                <a:cxn ang="0">
                  <a:pos x="115" y="266"/>
                </a:cxn>
                <a:cxn ang="0">
                  <a:pos x="183" y="283"/>
                </a:cxn>
                <a:cxn ang="0">
                  <a:pos x="211" y="254"/>
                </a:cxn>
                <a:cxn ang="0">
                  <a:pos x="310" y="281"/>
                </a:cxn>
                <a:cxn ang="0">
                  <a:pos x="318" y="330"/>
                </a:cxn>
                <a:cxn ang="0">
                  <a:pos x="373" y="273"/>
                </a:cxn>
                <a:cxn ang="0">
                  <a:pos x="377" y="203"/>
                </a:cxn>
                <a:cxn ang="0">
                  <a:pos x="314" y="191"/>
                </a:cxn>
                <a:cxn ang="0">
                  <a:pos x="328" y="127"/>
                </a:cxn>
                <a:cxn ang="0">
                  <a:pos x="295" y="119"/>
                </a:cxn>
                <a:cxn ang="0">
                  <a:pos x="258" y="78"/>
                </a:cxn>
                <a:cxn ang="0">
                  <a:pos x="226" y="63"/>
                </a:cxn>
                <a:cxn ang="0">
                  <a:pos x="228" y="18"/>
                </a:cxn>
                <a:cxn ang="0">
                  <a:pos x="205" y="2"/>
                </a:cxn>
                <a:cxn ang="0">
                  <a:pos x="185" y="55"/>
                </a:cxn>
                <a:cxn ang="0">
                  <a:pos x="156" y="33"/>
                </a:cxn>
                <a:cxn ang="0">
                  <a:pos x="95" y="18"/>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2" name="Freeform 23"/>
            <p:cNvSpPr>
              <a:spLocks/>
            </p:cNvSpPr>
            <p:nvPr>
              <p:custDataLst>
                <p:tags r:id="rId4"/>
              </p:custDataLst>
            </p:nvPr>
          </p:nvSpPr>
          <p:spPr bwMode="auto">
            <a:xfrm>
              <a:off x="2123" y="1924"/>
              <a:ext cx="742" cy="588"/>
            </a:xfrm>
            <a:custGeom>
              <a:avLst/>
              <a:gdLst/>
              <a:ahLst/>
              <a:cxnLst>
                <a:cxn ang="0">
                  <a:pos x="1658" y="58"/>
                </a:cxn>
                <a:cxn ang="0">
                  <a:pos x="1500" y="136"/>
                </a:cxn>
                <a:cxn ang="0">
                  <a:pos x="1317" y="181"/>
                </a:cxn>
                <a:cxn ang="0">
                  <a:pos x="1032" y="296"/>
                </a:cxn>
                <a:cxn ang="0">
                  <a:pos x="879" y="220"/>
                </a:cxn>
                <a:cxn ang="0">
                  <a:pos x="804" y="222"/>
                </a:cxn>
                <a:cxn ang="0">
                  <a:pos x="654" y="44"/>
                </a:cxn>
                <a:cxn ang="0">
                  <a:pos x="438" y="72"/>
                </a:cxn>
                <a:cxn ang="0">
                  <a:pos x="199" y="132"/>
                </a:cxn>
                <a:cxn ang="0">
                  <a:pos x="178" y="197"/>
                </a:cxn>
                <a:cxn ang="0">
                  <a:pos x="160" y="315"/>
                </a:cxn>
                <a:cxn ang="0">
                  <a:pos x="146" y="375"/>
                </a:cxn>
                <a:cxn ang="0">
                  <a:pos x="204" y="586"/>
                </a:cxn>
                <a:cxn ang="0">
                  <a:pos x="375" y="647"/>
                </a:cxn>
                <a:cxn ang="0">
                  <a:pos x="468" y="765"/>
                </a:cxn>
                <a:cxn ang="0">
                  <a:pos x="215" y="930"/>
                </a:cxn>
                <a:cxn ang="0">
                  <a:pos x="243" y="1064"/>
                </a:cxn>
                <a:cxn ang="0">
                  <a:pos x="164" y="1108"/>
                </a:cxn>
                <a:cxn ang="0">
                  <a:pos x="67" y="1057"/>
                </a:cxn>
                <a:cxn ang="0">
                  <a:pos x="0" y="1261"/>
                </a:cxn>
                <a:cxn ang="0">
                  <a:pos x="50" y="1289"/>
                </a:cxn>
                <a:cxn ang="0">
                  <a:pos x="128" y="1366"/>
                </a:cxn>
                <a:cxn ang="0">
                  <a:pos x="142" y="1384"/>
                </a:cxn>
                <a:cxn ang="0">
                  <a:pos x="356" y="1359"/>
                </a:cxn>
                <a:cxn ang="0">
                  <a:pos x="565" y="1269"/>
                </a:cxn>
                <a:cxn ang="0">
                  <a:pos x="825" y="1161"/>
                </a:cxn>
                <a:cxn ang="0">
                  <a:pos x="1085" y="954"/>
                </a:cxn>
                <a:cxn ang="0">
                  <a:pos x="1457" y="777"/>
                </a:cxn>
                <a:cxn ang="0">
                  <a:pos x="1464" y="669"/>
                </a:cxn>
                <a:cxn ang="0">
                  <a:pos x="1657" y="738"/>
                </a:cxn>
                <a:cxn ang="0">
                  <a:pos x="1781" y="818"/>
                </a:cxn>
                <a:cxn ang="0">
                  <a:pos x="1924" y="478"/>
                </a:cxn>
                <a:cxn ang="0">
                  <a:pos x="1736" y="117"/>
                </a:cxn>
                <a:cxn ang="0">
                  <a:pos x="1683" y="81"/>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3" name="Freeform 24"/>
            <p:cNvSpPr>
              <a:spLocks noEditPoints="1"/>
            </p:cNvSpPr>
            <p:nvPr>
              <p:custDataLst>
                <p:tags r:id="rId5"/>
              </p:custDataLst>
            </p:nvPr>
          </p:nvSpPr>
          <p:spPr bwMode="auto">
            <a:xfrm>
              <a:off x="1960" y="1207"/>
              <a:ext cx="826" cy="831"/>
            </a:xfrm>
            <a:custGeom>
              <a:avLst/>
              <a:gdLst/>
              <a:ahLst/>
              <a:cxnLst>
                <a:cxn ang="0">
                  <a:pos x="1702" y="280"/>
                </a:cxn>
                <a:cxn ang="0">
                  <a:pos x="1689" y="130"/>
                </a:cxn>
                <a:cxn ang="0">
                  <a:pos x="1557" y="29"/>
                </a:cxn>
                <a:cxn ang="0">
                  <a:pos x="1462" y="77"/>
                </a:cxn>
                <a:cxn ang="0">
                  <a:pos x="1356" y="143"/>
                </a:cxn>
                <a:cxn ang="0">
                  <a:pos x="1105" y="344"/>
                </a:cxn>
                <a:cxn ang="0">
                  <a:pos x="907" y="352"/>
                </a:cxn>
                <a:cxn ang="0">
                  <a:pos x="603" y="254"/>
                </a:cxn>
                <a:cxn ang="0">
                  <a:pos x="465" y="227"/>
                </a:cxn>
                <a:cxn ang="0">
                  <a:pos x="224" y="341"/>
                </a:cxn>
                <a:cxn ang="0">
                  <a:pos x="10" y="465"/>
                </a:cxn>
                <a:cxn ang="0">
                  <a:pos x="42" y="529"/>
                </a:cxn>
                <a:cxn ang="0">
                  <a:pos x="196" y="559"/>
                </a:cxn>
                <a:cxn ang="0">
                  <a:pos x="354" y="611"/>
                </a:cxn>
                <a:cxn ang="0">
                  <a:pos x="455" y="705"/>
                </a:cxn>
                <a:cxn ang="0">
                  <a:pos x="593" y="714"/>
                </a:cxn>
                <a:cxn ang="0">
                  <a:pos x="552" y="1038"/>
                </a:cxn>
                <a:cxn ang="0">
                  <a:pos x="646" y="1066"/>
                </a:cxn>
                <a:cxn ang="0">
                  <a:pos x="609" y="1455"/>
                </a:cxn>
                <a:cxn ang="0">
                  <a:pos x="769" y="1537"/>
                </a:cxn>
                <a:cxn ang="0">
                  <a:pos x="1054" y="1622"/>
                </a:cxn>
                <a:cxn ang="0">
                  <a:pos x="1192" y="1691"/>
                </a:cxn>
                <a:cxn ang="0">
                  <a:pos x="1202" y="1866"/>
                </a:cxn>
                <a:cxn ang="0">
                  <a:pos x="1201" y="1965"/>
                </a:cxn>
                <a:cxn ang="0">
                  <a:pos x="1231" y="2166"/>
                </a:cxn>
                <a:cxn ang="0">
                  <a:pos x="1358" y="2120"/>
                </a:cxn>
                <a:cxn ang="0">
                  <a:pos x="1718" y="2171"/>
                </a:cxn>
                <a:cxn ang="0">
                  <a:pos x="1829" y="1997"/>
                </a:cxn>
                <a:cxn ang="0">
                  <a:pos x="1957" y="1999"/>
                </a:cxn>
                <a:cxn ang="0">
                  <a:pos x="2114" y="1974"/>
                </a:cxn>
                <a:cxn ang="0">
                  <a:pos x="2169" y="1879"/>
                </a:cxn>
                <a:cxn ang="0">
                  <a:pos x="2100" y="1440"/>
                </a:cxn>
                <a:cxn ang="0">
                  <a:pos x="2004" y="1160"/>
                </a:cxn>
                <a:cxn ang="0">
                  <a:pos x="1716" y="718"/>
                </a:cxn>
                <a:cxn ang="0">
                  <a:pos x="1856" y="467"/>
                </a:cxn>
                <a:cxn ang="0">
                  <a:pos x="1797" y="249"/>
                </a:cxn>
                <a:cxn ang="0">
                  <a:pos x="1517" y="1159"/>
                </a:cxn>
                <a:cxn ang="0">
                  <a:pos x="1454" y="1167"/>
                </a:cxn>
                <a:cxn ang="0">
                  <a:pos x="1327" y="1169"/>
                </a:cxn>
                <a:cxn ang="0">
                  <a:pos x="1146" y="1175"/>
                </a:cxn>
                <a:cxn ang="0">
                  <a:pos x="1165" y="1058"/>
                </a:cxn>
                <a:cxn ang="0">
                  <a:pos x="1152" y="1009"/>
                </a:cxn>
                <a:cxn ang="0">
                  <a:pos x="1165" y="964"/>
                </a:cxn>
                <a:cxn ang="0">
                  <a:pos x="1300" y="919"/>
                </a:cxn>
                <a:cxn ang="0">
                  <a:pos x="1349" y="888"/>
                </a:cxn>
                <a:cxn ang="0">
                  <a:pos x="1370" y="949"/>
                </a:cxn>
                <a:cxn ang="0">
                  <a:pos x="1439" y="1005"/>
                </a:cxn>
                <a:cxn ang="0">
                  <a:pos x="1458" y="1077"/>
                </a:cxn>
                <a:cxn ang="0">
                  <a:pos x="1517" y="1159"/>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4" name="Freeform 25"/>
            <p:cNvSpPr>
              <a:spLocks/>
            </p:cNvSpPr>
            <p:nvPr>
              <p:custDataLst>
                <p:tags r:id="rId6"/>
              </p:custDataLst>
            </p:nvPr>
          </p:nvSpPr>
          <p:spPr bwMode="auto">
            <a:xfrm>
              <a:off x="1414" y="2356"/>
              <a:ext cx="1202" cy="1256"/>
            </a:xfrm>
            <a:custGeom>
              <a:avLst/>
              <a:gdLst/>
              <a:ahLst/>
              <a:cxnLst>
                <a:cxn ang="0">
                  <a:pos x="1998" y="227"/>
                </a:cxn>
                <a:cxn ang="0">
                  <a:pos x="1920" y="150"/>
                </a:cxn>
                <a:cxn ang="0">
                  <a:pos x="1870" y="122"/>
                </a:cxn>
                <a:cxn ang="0">
                  <a:pos x="1680" y="150"/>
                </a:cxn>
                <a:cxn ang="0">
                  <a:pos x="1560" y="60"/>
                </a:cxn>
                <a:cxn ang="0">
                  <a:pos x="1452" y="270"/>
                </a:cxn>
                <a:cxn ang="0">
                  <a:pos x="1380" y="198"/>
                </a:cxn>
                <a:cxn ang="0">
                  <a:pos x="1116" y="222"/>
                </a:cxn>
                <a:cxn ang="0">
                  <a:pos x="1056" y="324"/>
                </a:cxn>
                <a:cxn ang="0">
                  <a:pos x="918" y="162"/>
                </a:cxn>
                <a:cxn ang="0">
                  <a:pos x="744" y="0"/>
                </a:cxn>
                <a:cxn ang="0">
                  <a:pos x="510" y="126"/>
                </a:cxn>
                <a:cxn ang="0">
                  <a:pos x="408" y="336"/>
                </a:cxn>
                <a:cxn ang="0">
                  <a:pos x="354" y="444"/>
                </a:cxn>
                <a:cxn ang="0">
                  <a:pos x="240" y="408"/>
                </a:cxn>
                <a:cxn ang="0">
                  <a:pos x="108" y="456"/>
                </a:cxn>
                <a:cxn ang="0">
                  <a:pos x="0" y="480"/>
                </a:cxn>
                <a:cxn ang="0">
                  <a:pos x="84" y="768"/>
                </a:cxn>
                <a:cxn ang="0">
                  <a:pos x="66" y="984"/>
                </a:cxn>
                <a:cxn ang="0">
                  <a:pos x="192" y="906"/>
                </a:cxn>
                <a:cxn ang="0">
                  <a:pos x="264" y="840"/>
                </a:cxn>
                <a:cxn ang="0">
                  <a:pos x="354" y="786"/>
                </a:cxn>
                <a:cxn ang="0">
                  <a:pos x="432" y="852"/>
                </a:cxn>
                <a:cxn ang="0">
                  <a:pos x="546" y="990"/>
                </a:cxn>
                <a:cxn ang="0">
                  <a:pos x="600" y="1074"/>
                </a:cxn>
                <a:cxn ang="0">
                  <a:pos x="690" y="1014"/>
                </a:cxn>
                <a:cxn ang="0">
                  <a:pos x="714" y="1266"/>
                </a:cxn>
                <a:cxn ang="0">
                  <a:pos x="816" y="1428"/>
                </a:cxn>
                <a:cxn ang="0">
                  <a:pos x="924" y="1584"/>
                </a:cxn>
                <a:cxn ang="0">
                  <a:pos x="966" y="1848"/>
                </a:cxn>
                <a:cxn ang="0">
                  <a:pos x="846" y="2028"/>
                </a:cxn>
                <a:cxn ang="0">
                  <a:pos x="654" y="2100"/>
                </a:cxn>
                <a:cxn ang="0">
                  <a:pos x="708" y="2556"/>
                </a:cxn>
                <a:cxn ang="0">
                  <a:pos x="712" y="2878"/>
                </a:cxn>
                <a:cxn ang="0">
                  <a:pos x="393" y="2962"/>
                </a:cxn>
                <a:cxn ang="0">
                  <a:pos x="396" y="3049"/>
                </a:cxn>
                <a:cxn ang="0">
                  <a:pos x="610" y="3101"/>
                </a:cxn>
                <a:cxn ang="0">
                  <a:pos x="753" y="3199"/>
                </a:cxn>
                <a:cxn ang="0">
                  <a:pos x="937" y="3145"/>
                </a:cxn>
                <a:cxn ang="0">
                  <a:pos x="998" y="3033"/>
                </a:cxn>
                <a:cxn ang="0">
                  <a:pos x="1196" y="3110"/>
                </a:cxn>
                <a:cxn ang="0">
                  <a:pos x="1453" y="3156"/>
                </a:cxn>
                <a:cxn ang="0">
                  <a:pos x="1580" y="3147"/>
                </a:cxn>
                <a:cxn ang="0">
                  <a:pos x="1702" y="3007"/>
                </a:cxn>
                <a:cxn ang="0">
                  <a:pos x="2102" y="2972"/>
                </a:cxn>
                <a:cxn ang="0">
                  <a:pos x="2129" y="2901"/>
                </a:cxn>
                <a:cxn ang="0">
                  <a:pos x="2509" y="2899"/>
                </a:cxn>
                <a:cxn ang="0">
                  <a:pos x="2672" y="3080"/>
                </a:cxn>
                <a:cxn ang="0">
                  <a:pos x="2589" y="2857"/>
                </a:cxn>
                <a:cxn ang="0">
                  <a:pos x="2530" y="2545"/>
                </a:cxn>
                <a:cxn ang="0">
                  <a:pos x="2653" y="2296"/>
                </a:cxn>
                <a:cxn ang="0">
                  <a:pos x="2900" y="1993"/>
                </a:cxn>
                <a:cxn ang="0">
                  <a:pos x="3161" y="1836"/>
                </a:cxn>
                <a:cxn ang="0">
                  <a:pos x="2877" y="1512"/>
                </a:cxn>
                <a:cxn ang="0">
                  <a:pos x="2485" y="1218"/>
                </a:cxn>
                <a:cxn ang="0">
                  <a:pos x="2274" y="885"/>
                </a:cxn>
                <a:cxn ang="0">
                  <a:pos x="2244" y="734"/>
                </a:cxn>
                <a:cxn ang="0">
                  <a:pos x="2231" y="616"/>
                </a:cxn>
                <a:cxn ang="0">
                  <a:pos x="1987" y="250"/>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5" name="Freeform 26"/>
            <p:cNvSpPr>
              <a:spLocks/>
            </p:cNvSpPr>
            <p:nvPr>
              <p:custDataLst>
                <p:tags r:id="rId7"/>
              </p:custDataLst>
            </p:nvPr>
          </p:nvSpPr>
          <p:spPr bwMode="auto">
            <a:xfrm>
              <a:off x="750" y="2679"/>
              <a:ext cx="263" cy="228"/>
            </a:xfrm>
            <a:custGeom>
              <a:avLst/>
              <a:gdLst/>
              <a:ahLst/>
              <a:cxnLst>
                <a:cxn ang="0">
                  <a:pos x="658" y="512"/>
                </a:cxn>
                <a:cxn ang="0">
                  <a:pos x="629" y="460"/>
                </a:cxn>
                <a:cxn ang="0">
                  <a:pos x="629" y="411"/>
                </a:cxn>
                <a:cxn ang="0">
                  <a:pos x="693" y="311"/>
                </a:cxn>
                <a:cxn ang="0">
                  <a:pos x="596" y="217"/>
                </a:cxn>
                <a:cxn ang="0">
                  <a:pos x="639" y="179"/>
                </a:cxn>
                <a:cxn ang="0">
                  <a:pos x="620" y="73"/>
                </a:cxn>
                <a:cxn ang="0">
                  <a:pos x="542" y="49"/>
                </a:cxn>
                <a:cxn ang="0">
                  <a:pos x="491" y="14"/>
                </a:cxn>
                <a:cxn ang="0">
                  <a:pos x="426" y="0"/>
                </a:cxn>
                <a:cxn ang="0">
                  <a:pos x="264" y="92"/>
                </a:cxn>
                <a:cxn ang="0">
                  <a:pos x="231" y="84"/>
                </a:cxn>
                <a:cxn ang="0">
                  <a:pos x="172" y="100"/>
                </a:cxn>
                <a:cxn ang="0">
                  <a:pos x="18" y="70"/>
                </a:cxn>
                <a:cxn ang="0">
                  <a:pos x="17" y="124"/>
                </a:cxn>
                <a:cxn ang="0">
                  <a:pos x="125" y="218"/>
                </a:cxn>
                <a:cxn ang="0">
                  <a:pos x="121" y="301"/>
                </a:cxn>
                <a:cxn ang="0">
                  <a:pos x="227" y="436"/>
                </a:cxn>
                <a:cxn ang="0">
                  <a:pos x="263" y="496"/>
                </a:cxn>
                <a:cxn ang="0">
                  <a:pos x="314" y="450"/>
                </a:cxn>
                <a:cxn ang="0">
                  <a:pos x="427" y="495"/>
                </a:cxn>
                <a:cxn ang="0">
                  <a:pos x="480" y="517"/>
                </a:cxn>
                <a:cxn ang="0">
                  <a:pos x="594" y="561"/>
                </a:cxn>
                <a:cxn ang="0">
                  <a:pos x="661" y="533"/>
                </a:cxn>
                <a:cxn ang="0">
                  <a:pos x="658" y="512"/>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6" name="Freeform 27"/>
            <p:cNvSpPr>
              <a:spLocks/>
            </p:cNvSpPr>
            <p:nvPr>
              <p:custDataLst>
                <p:tags r:id="rId8"/>
              </p:custDataLst>
            </p:nvPr>
          </p:nvSpPr>
          <p:spPr bwMode="auto">
            <a:xfrm>
              <a:off x="1123" y="1938"/>
              <a:ext cx="597" cy="860"/>
            </a:xfrm>
            <a:custGeom>
              <a:avLst/>
              <a:gdLst/>
              <a:ahLst/>
              <a:cxnLst>
                <a:cxn ang="0">
                  <a:pos x="471" y="2117"/>
                </a:cxn>
                <a:cxn ang="0">
                  <a:pos x="497" y="2039"/>
                </a:cxn>
                <a:cxn ang="0">
                  <a:pos x="583" y="2127"/>
                </a:cxn>
                <a:cxn ang="0">
                  <a:pos x="628" y="2237"/>
                </a:cxn>
                <a:cxn ang="0">
                  <a:pos x="697" y="2210"/>
                </a:cxn>
                <a:cxn ang="0">
                  <a:pos x="753" y="2143"/>
                </a:cxn>
                <a:cxn ang="0">
                  <a:pos x="812" y="2101"/>
                </a:cxn>
                <a:cxn ang="0">
                  <a:pos x="828" y="2084"/>
                </a:cxn>
                <a:cxn ang="0">
                  <a:pos x="852" y="1872"/>
                </a:cxn>
                <a:cxn ang="0">
                  <a:pos x="768" y="1584"/>
                </a:cxn>
                <a:cxn ang="0">
                  <a:pos x="876" y="1560"/>
                </a:cxn>
                <a:cxn ang="0">
                  <a:pos x="1008" y="1512"/>
                </a:cxn>
                <a:cxn ang="0">
                  <a:pos x="1122" y="1548"/>
                </a:cxn>
                <a:cxn ang="0">
                  <a:pos x="1176" y="1440"/>
                </a:cxn>
                <a:cxn ang="0">
                  <a:pos x="1278" y="1230"/>
                </a:cxn>
                <a:cxn ang="0">
                  <a:pos x="1459" y="1153"/>
                </a:cxn>
                <a:cxn ang="0">
                  <a:pos x="1455" y="1036"/>
                </a:cxn>
                <a:cxn ang="0">
                  <a:pos x="1466" y="987"/>
                </a:cxn>
                <a:cxn ang="0">
                  <a:pos x="1403" y="1025"/>
                </a:cxn>
                <a:cxn ang="0">
                  <a:pos x="1403" y="836"/>
                </a:cxn>
                <a:cxn ang="0">
                  <a:pos x="1455" y="778"/>
                </a:cxn>
                <a:cxn ang="0">
                  <a:pos x="1455" y="655"/>
                </a:cxn>
                <a:cxn ang="0">
                  <a:pos x="1515" y="597"/>
                </a:cxn>
                <a:cxn ang="0">
                  <a:pos x="1567" y="480"/>
                </a:cxn>
                <a:cxn ang="0">
                  <a:pos x="1381" y="244"/>
                </a:cxn>
                <a:cxn ang="0">
                  <a:pos x="1260" y="304"/>
                </a:cxn>
                <a:cxn ang="0">
                  <a:pos x="1153" y="312"/>
                </a:cxn>
                <a:cxn ang="0">
                  <a:pos x="1219" y="203"/>
                </a:cxn>
                <a:cxn ang="0">
                  <a:pos x="1238" y="79"/>
                </a:cxn>
                <a:cxn ang="0">
                  <a:pos x="1115" y="0"/>
                </a:cxn>
                <a:cxn ang="0">
                  <a:pos x="1011" y="126"/>
                </a:cxn>
                <a:cxn ang="0">
                  <a:pos x="830" y="143"/>
                </a:cxn>
                <a:cxn ang="0">
                  <a:pos x="767" y="266"/>
                </a:cxn>
                <a:cxn ang="0">
                  <a:pos x="537" y="362"/>
                </a:cxn>
                <a:cxn ang="0">
                  <a:pos x="622" y="381"/>
                </a:cxn>
                <a:cxn ang="0">
                  <a:pos x="619" y="545"/>
                </a:cxn>
                <a:cxn ang="0">
                  <a:pos x="507" y="619"/>
                </a:cxn>
                <a:cxn ang="0">
                  <a:pos x="334" y="759"/>
                </a:cxn>
                <a:cxn ang="0">
                  <a:pos x="265" y="904"/>
                </a:cxn>
                <a:cxn ang="0">
                  <a:pos x="235" y="949"/>
                </a:cxn>
                <a:cxn ang="0">
                  <a:pos x="163" y="1079"/>
                </a:cxn>
                <a:cxn ang="0">
                  <a:pos x="217" y="1355"/>
                </a:cxn>
                <a:cxn ang="0">
                  <a:pos x="68" y="1468"/>
                </a:cxn>
                <a:cxn ang="0">
                  <a:pos x="95" y="1517"/>
                </a:cxn>
                <a:cxn ang="0">
                  <a:pos x="0" y="1566"/>
                </a:cxn>
                <a:cxn ang="0">
                  <a:pos x="273" y="1587"/>
                </a:cxn>
                <a:cxn ang="0">
                  <a:pos x="352" y="1771"/>
                </a:cxn>
                <a:cxn ang="0">
                  <a:pos x="352" y="1947"/>
                </a:cxn>
                <a:cxn ang="0">
                  <a:pos x="423" y="2063"/>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7" name="Freeform 28"/>
            <p:cNvSpPr>
              <a:spLocks/>
            </p:cNvSpPr>
            <p:nvPr>
              <p:custDataLst>
                <p:tags r:id="rId9"/>
              </p:custDataLst>
            </p:nvPr>
          </p:nvSpPr>
          <p:spPr bwMode="auto">
            <a:xfrm>
              <a:off x="713" y="2204"/>
              <a:ext cx="577" cy="752"/>
            </a:xfrm>
            <a:custGeom>
              <a:avLst/>
              <a:gdLst/>
              <a:ahLst/>
              <a:cxnLst>
                <a:cxn ang="0">
                  <a:pos x="1471" y="1363"/>
                </a:cxn>
                <a:cxn ang="0">
                  <a:pos x="1435" y="1244"/>
                </a:cxn>
                <a:cxn ang="0">
                  <a:pos x="1435" y="1068"/>
                </a:cxn>
                <a:cxn ang="0">
                  <a:pos x="1356" y="884"/>
                </a:cxn>
                <a:cxn ang="0">
                  <a:pos x="1083" y="863"/>
                </a:cxn>
                <a:cxn ang="0">
                  <a:pos x="1178" y="814"/>
                </a:cxn>
                <a:cxn ang="0">
                  <a:pos x="1151" y="765"/>
                </a:cxn>
                <a:cxn ang="0">
                  <a:pos x="1300" y="652"/>
                </a:cxn>
                <a:cxn ang="0">
                  <a:pos x="1246" y="376"/>
                </a:cxn>
                <a:cxn ang="0">
                  <a:pos x="1318" y="246"/>
                </a:cxn>
                <a:cxn ang="0">
                  <a:pos x="1218" y="90"/>
                </a:cxn>
                <a:cxn ang="0">
                  <a:pos x="1143" y="0"/>
                </a:cxn>
                <a:cxn ang="0">
                  <a:pos x="1091" y="84"/>
                </a:cxn>
                <a:cxn ang="0">
                  <a:pos x="1016" y="154"/>
                </a:cxn>
                <a:cxn ang="0">
                  <a:pos x="846" y="265"/>
                </a:cxn>
                <a:cxn ang="0">
                  <a:pos x="724" y="265"/>
                </a:cxn>
                <a:cxn ang="0">
                  <a:pos x="532" y="441"/>
                </a:cxn>
                <a:cxn ang="0">
                  <a:pos x="429" y="422"/>
                </a:cxn>
                <a:cxn ang="0">
                  <a:pos x="408" y="549"/>
                </a:cxn>
                <a:cxn ang="0">
                  <a:pos x="205" y="499"/>
                </a:cxn>
                <a:cxn ang="0">
                  <a:pos x="178" y="513"/>
                </a:cxn>
                <a:cxn ang="0">
                  <a:pos x="53" y="648"/>
                </a:cxn>
                <a:cxn ang="0">
                  <a:pos x="145" y="1056"/>
                </a:cxn>
                <a:cxn ang="0">
                  <a:pos x="130" y="1290"/>
                </a:cxn>
                <a:cxn ang="0">
                  <a:pos x="270" y="1354"/>
                </a:cxn>
                <a:cxn ang="0">
                  <a:pos x="362" y="1346"/>
                </a:cxn>
                <a:cxn ang="0">
                  <a:pos x="589" y="1268"/>
                </a:cxn>
                <a:cxn ang="0">
                  <a:pos x="718" y="1327"/>
                </a:cxn>
                <a:cxn ang="0">
                  <a:pos x="694" y="1471"/>
                </a:cxn>
                <a:cxn ang="0">
                  <a:pos x="727" y="1665"/>
                </a:cxn>
                <a:cxn ang="0">
                  <a:pos x="756" y="1766"/>
                </a:cxn>
                <a:cxn ang="0">
                  <a:pos x="830" y="1775"/>
                </a:cxn>
                <a:cxn ang="0">
                  <a:pos x="1076" y="1915"/>
                </a:cxn>
                <a:cxn ang="0">
                  <a:pos x="1330" y="1958"/>
                </a:cxn>
                <a:cxn ang="0">
                  <a:pos x="1388" y="1867"/>
                </a:cxn>
                <a:cxn ang="0">
                  <a:pos x="1458" y="1704"/>
                </a:cxn>
                <a:cxn ang="0">
                  <a:pos x="1522" y="1507"/>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8" name="Freeform 29"/>
            <p:cNvSpPr>
              <a:spLocks/>
            </p:cNvSpPr>
            <p:nvPr>
              <p:custDataLst>
                <p:tags r:id="rId10"/>
              </p:custDataLst>
            </p:nvPr>
          </p:nvSpPr>
          <p:spPr bwMode="auto">
            <a:xfrm>
              <a:off x="670" y="1601"/>
              <a:ext cx="869" cy="811"/>
            </a:xfrm>
            <a:custGeom>
              <a:avLst/>
              <a:gdLst/>
              <a:ahLst/>
              <a:cxnLst>
                <a:cxn ang="0">
                  <a:pos x="2295" y="681"/>
                </a:cxn>
                <a:cxn ang="0">
                  <a:pos x="2186" y="556"/>
                </a:cxn>
                <a:cxn ang="0">
                  <a:pos x="2108" y="403"/>
                </a:cxn>
                <a:cxn ang="0">
                  <a:pos x="2055" y="299"/>
                </a:cxn>
                <a:cxn ang="0">
                  <a:pos x="2020" y="211"/>
                </a:cxn>
                <a:cxn ang="0">
                  <a:pos x="2122" y="46"/>
                </a:cxn>
                <a:cxn ang="0">
                  <a:pos x="1994" y="131"/>
                </a:cxn>
                <a:cxn ang="0">
                  <a:pos x="1839" y="0"/>
                </a:cxn>
                <a:cxn ang="0">
                  <a:pos x="1689" y="59"/>
                </a:cxn>
                <a:cxn ang="0">
                  <a:pos x="1620" y="112"/>
                </a:cxn>
                <a:cxn ang="0">
                  <a:pos x="1697" y="305"/>
                </a:cxn>
                <a:cxn ang="0">
                  <a:pos x="1593" y="393"/>
                </a:cxn>
                <a:cxn ang="0">
                  <a:pos x="1340" y="427"/>
                </a:cxn>
                <a:cxn ang="0">
                  <a:pos x="1425" y="350"/>
                </a:cxn>
                <a:cxn ang="0">
                  <a:pos x="1398" y="190"/>
                </a:cxn>
                <a:cxn ang="0">
                  <a:pos x="1294" y="151"/>
                </a:cxn>
                <a:cxn ang="0">
                  <a:pos x="1182" y="30"/>
                </a:cxn>
                <a:cxn ang="0">
                  <a:pos x="1174" y="78"/>
                </a:cxn>
                <a:cxn ang="0">
                  <a:pos x="979" y="238"/>
                </a:cxn>
                <a:cxn ang="0">
                  <a:pos x="797" y="241"/>
                </a:cxn>
                <a:cxn ang="0">
                  <a:pos x="680" y="374"/>
                </a:cxn>
                <a:cxn ang="0">
                  <a:pos x="586" y="580"/>
                </a:cxn>
                <a:cxn ang="0">
                  <a:pos x="390" y="647"/>
                </a:cxn>
                <a:cxn ang="0">
                  <a:pos x="229" y="640"/>
                </a:cxn>
                <a:cxn ang="0">
                  <a:pos x="150" y="760"/>
                </a:cxn>
                <a:cxn ang="0">
                  <a:pos x="248" y="1101"/>
                </a:cxn>
                <a:cxn ang="0">
                  <a:pos x="195" y="1296"/>
                </a:cxn>
                <a:cxn ang="0">
                  <a:pos x="41" y="1397"/>
                </a:cxn>
                <a:cxn ang="0">
                  <a:pos x="133" y="1629"/>
                </a:cxn>
                <a:cxn ang="0">
                  <a:pos x="232" y="1861"/>
                </a:cxn>
                <a:cxn ang="0">
                  <a:pos x="257" y="1992"/>
                </a:cxn>
                <a:cxn ang="0">
                  <a:pos x="292" y="2105"/>
                </a:cxn>
                <a:cxn ang="0">
                  <a:pos x="319" y="2091"/>
                </a:cxn>
                <a:cxn ang="0">
                  <a:pos x="522" y="2141"/>
                </a:cxn>
                <a:cxn ang="0">
                  <a:pos x="543" y="2014"/>
                </a:cxn>
                <a:cxn ang="0">
                  <a:pos x="646" y="2033"/>
                </a:cxn>
                <a:cxn ang="0">
                  <a:pos x="838" y="1857"/>
                </a:cxn>
                <a:cxn ang="0">
                  <a:pos x="960" y="1857"/>
                </a:cxn>
                <a:cxn ang="0">
                  <a:pos x="1130" y="1746"/>
                </a:cxn>
                <a:cxn ang="0">
                  <a:pos x="1205" y="1676"/>
                </a:cxn>
                <a:cxn ang="0">
                  <a:pos x="1257" y="1592"/>
                </a:cxn>
                <a:cxn ang="0">
                  <a:pos x="1332" y="1682"/>
                </a:cxn>
                <a:cxn ang="0">
                  <a:pos x="1431" y="1838"/>
                </a:cxn>
                <a:cxn ang="0">
                  <a:pos x="1449" y="1744"/>
                </a:cxn>
                <a:cxn ang="0">
                  <a:pos x="1531" y="1648"/>
                </a:cxn>
                <a:cxn ang="0">
                  <a:pos x="1704" y="1508"/>
                </a:cxn>
                <a:cxn ang="0">
                  <a:pos x="1816" y="1434"/>
                </a:cxn>
                <a:cxn ang="0">
                  <a:pos x="1819" y="1270"/>
                </a:cxn>
                <a:cxn ang="0">
                  <a:pos x="1734" y="1251"/>
                </a:cxn>
                <a:cxn ang="0">
                  <a:pos x="1964" y="1155"/>
                </a:cxn>
                <a:cxn ang="0">
                  <a:pos x="2027" y="1032"/>
                </a:cxn>
                <a:cxn ang="0">
                  <a:pos x="2208" y="1015"/>
                </a:cxn>
                <a:cxn ang="0">
                  <a:pos x="2278" y="904"/>
                </a:cxn>
                <a:cxn ang="0">
                  <a:pos x="2269" y="772"/>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99" name="Freeform 30"/>
            <p:cNvSpPr>
              <a:spLocks noEditPoints="1"/>
            </p:cNvSpPr>
            <p:nvPr>
              <p:custDataLst>
                <p:tags r:id="rId11"/>
              </p:custDataLst>
            </p:nvPr>
          </p:nvSpPr>
          <p:spPr bwMode="auto">
            <a:xfrm>
              <a:off x="1787" y="776"/>
              <a:ext cx="881" cy="611"/>
            </a:xfrm>
            <a:custGeom>
              <a:avLst/>
              <a:gdLst/>
              <a:ahLst/>
              <a:cxnLst>
                <a:cxn ang="0">
                  <a:pos x="2190" y="986"/>
                </a:cxn>
                <a:cxn ang="0">
                  <a:pos x="1996" y="901"/>
                </a:cxn>
                <a:cxn ang="0">
                  <a:pos x="1913" y="625"/>
                </a:cxn>
                <a:cxn ang="0">
                  <a:pos x="1683" y="535"/>
                </a:cxn>
                <a:cxn ang="0">
                  <a:pos x="1379" y="344"/>
                </a:cxn>
                <a:cxn ang="0">
                  <a:pos x="1124" y="486"/>
                </a:cxn>
                <a:cxn ang="0">
                  <a:pos x="1281" y="315"/>
                </a:cxn>
                <a:cxn ang="0">
                  <a:pos x="1141" y="305"/>
                </a:cxn>
                <a:cxn ang="0">
                  <a:pos x="770" y="601"/>
                </a:cxn>
                <a:cxn ang="0">
                  <a:pos x="635" y="654"/>
                </a:cxn>
                <a:cxn ang="0">
                  <a:pos x="423" y="808"/>
                </a:cxn>
                <a:cxn ang="0">
                  <a:pos x="267" y="826"/>
                </a:cxn>
                <a:cxn ang="0">
                  <a:pos x="139" y="886"/>
                </a:cxn>
                <a:cxn ang="0">
                  <a:pos x="262" y="1050"/>
                </a:cxn>
                <a:cxn ang="0">
                  <a:pos x="174" y="1225"/>
                </a:cxn>
                <a:cxn ang="0">
                  <a:pos x="287" y="1393"/>
                </a:cxn>
                <a:cxn ang="0">
                  <a:pos x="438" y="1580"/>
                </a:cxn>
                <a:cxn ang="0">
                  <a:pos x="634" y="1588"/>
                </a:cxn>
                <a:cxn ang="0">
                  <a:pos x="922" y="1365"/>
                </a:cxn>
                <a:cxn ang="0">
                  <a:pos x="1213" y="1463"/>
                </a:cxn>
                <a:cxn ang="0">
                  <a:pos x="1562" y="1482"/>
                </a:cxn>
                <a:cxn ang="0">
                  <a:pos x="1879" y="1276"/>
                </a:cxn>
                <a:cxn ang="0">
                  <a:pos x="2014" y="1167"/>
                </a:cxn>
                <a:cxn ang="0">
                  <a:pos x="2228" y="1241"/>
                </a:cxn>
                <a:cxn ang="0">
                  <a:pos x="2254" y="1387"/>
                </a:cxn>
                <a:cxn ang="0">
                  <a:pos x="1964" y="657"/>
                </a:cxn>
                <a:cxn ang="0">
                  <a:pos x="2040" y="747"/>
                </a:cxn>
                <a:cxn ang="0">
                  <a:pos x="2034" y="830"/>
                </a:cxn>
                <a:cxn ang="0">
                  <a:pos x="1928" y="517"/>
                </a:cxn>
                <a:cxn ang="0">
                  <a:pos x="1547" y="268"/>
                </a:cxn>
                <a:cxn ang="0">
                  <a:pos x="1535" y="394"/>
                </a:cxn>
                <a:cxn ang="0">
                  <a:pos x="1713" y="455"/>
                </a:cxn>
                <a:cxn ang="0">
                  <a:pos x="1843" y="338"/>
                </a:cxn>
                <a:cxn ang="0">
                  <a:pos x="1834" y="391"/>
                </a:cxn>
                <a:cxn ang="0">
                  <a:pos x="1793" y="250"/>
                </a:cxn>
                <a:cxn ang="0">
                  <a:pos x="1676" y="2"/>
                </a:cxn>
                <a:cxn ang="0">
                  <a:pos x="1604" y="127"/>
                </a:cxn>
                <a:cxn ang="0">
                  <a:pos x="1675" y="138"/>
                </a:cxn>
                <a:cxn ang="0">
                  <a:pos x="1644" y="178"/>
                </a:cxn>
                <a:cxn ang="0">
                  <a:pos x="2017" y="442"/>
                </a:cxn>
                <a:cxn ang="0">
                  <a:pos x="1496" y="250"/>
                </a:cxn>
                <a:cxn ang="0">
                  <a:pos x="543" y="742"/>
                </a:cxn>
                <a:cxn ang="0">
                  <a:pos x="492" y="754"/>
                </a:cxn>
                <a:cxn ang="0">
                  <a:pos x="1486" y="221"/>
                </a:cxn>
                <a:cxn ang="0">
                  <a:pos x="1577" y="21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rgbClr val="969696"/>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0" name="Freeform 31"/>
            <p:cNvSpPr>
              <a:spLocks noEditPoints="1"/>
            </p:cNvSpPr>
            <p:nvPr>
              <p:custDataLst>
                <p:tags r:id="rId12"/>
              </p:custDataLst>
            </p:nvPr>
          </p:nvSpPr>
          <p:spPr bwMode="auto">
            <a:xfrm>
              <a:off x="1308" y="1049"/>
              <a:ext cx="443" cy="232"/>
            </a:xfrm>
            <a:custGeom>
              <a:avLst/>
              <a:gdLst/>
              <a:ahLst/>
              <a:cxnLst>
                <a:cxn ang="0">
                  <a:pos x="1125" y="541"/>
                </a:cxn>
                <a:cxn ang="0">
                  <a:pos x="1104" y="491"/>
                </a:cxn>
                <a:cxn ang="0">
                  <a:pos x="1041" y="479"/>
                </a:cxn>
                <a:cxn ang="0">
                  <a:pos x="1035" y="446"/>
                </a:cxn>
                <a:cxn ang="0">
                  <a:pos x="1090" y="417"/>
                </a:cxn>
                <a:cxn ang="0">
                  <a:pos x="1088" y="373"/>
                </a:cxn>
                <a:cxn ang="0">
                  <a:pos x="1065" y="351"/>
                </a:cxn>
                <a:cxn ang="0">
                  <a:pos x="1095" y="282"/>
                </a:cxn>
                <a:cxn ang="0">
                  <a:pos x="1065" y="270"/>
                </a:cxn>
                <a:cxn ang="0">
                  <a:pos x="1002" y="321"/>
                </a:cxn>
                <a:cxn ang="0">
                  <a:pos x="963" y="319"/>
                </a:cxn>
                <a:cxn ang="0">
                  <a:pos x="967" y="354"/>
                </a:cxn>
                <a:cxn ang="0">
                  <a:pos x="910" y="354"/>
                </a:cxn>
                <a:cxn ang="0">
                  <a:pos x="886" y="389"/>
                </a:cxn>
                <a:cxn ang="0">
                  <a:pos x="815" y="374"/>
                </a:cxn>
                <a:cxn ang="0">
                  <a:pos x="724" y="410"/>
                </a:cxn>
                <a:cxn ang="0">
                  <a:pos x="834" y="463"/>
                </a:cxn>
                <a:cxn ang="0">
                  <a:pos x="751" y="456"/>
                </a:cxn>
                <a:cxn ang="0">
                  <a:pos x="844" y="537"/>
                </a:cxn>
                <a:cxn ang="0">
                  <a:pos x="910" y="593"/>
                </a:cxn>
                <a:cxn ang="0">
                  <a:pos x="976" y="585"/>
                </a:cxn>
                <a:cxn ang="0">
                  <a:pos x="1007" y="548"/>
                </a:cxn>
                <a:cxn ang="0">
                  <a:pos x="1076" y="613"/>
                </a:cxn>
                <a:cxn ang="0">
                  <a:pos x="1167" y="576"/>
                </a:cxn>
                <a:cxn ang="0">
                  <a:pos x="1169" y="542"/>
                </a:cxn>
                <a:cxn ang="0">
                  <a:pos x="1125" y="541"/>
                </a:cxn>
                <a:cxn ang="0">
                  <a:pos x="22" y="16"/>
                </a:cxn>
                <a:cxn ang="0">
                  <a:pos x="59" y="30"/>
                </a:cxn>
                <a:cxn ang="0">
                  <a:pos x="22" y="16"/>
                </a:cxn>
                <a:cxn ang="0">
                  <a:pos x="81" y="56"/>
                </a:cxn>
                <a:cxn ang="0">
                  <a:pos x="80" y="76"/>
                </a:cxn>
                <a:cxn ang="0">
                  <a:pos x="81" y="56"/>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1" name="Freeform 32"/>
            <p:cNvSpPr>
              <a:spLocks/>
            </p:cNvSpPr>
            <p:nvPr>
              <p:custDataLst>
                <p:tags r:id="rId13"/>
              </p:custDataLst>
            </p:nvPr>
          </p:nvSpPr>
          <p:spPr bwMode="auto">
            <a:xfrm>
              <a:off x="1330" y="1332"/>
              <a:ext cx="114" cy="87"/>
            </a:xfrm>
            <a:custGeom>
              <a:avLst/>
              <a:gdLst/>
              <a:ahLst/>
              <a:cxnLst>
                <a:cxn ang="0">
                  <a:pos x="0" y="0"/>
                </a:cxn>
                <a:cxn ang="0">
                  <a:pos x="74" y="10"/>
                </a:cxn>
                <a:cxn ang="0">
                  <a:pos x="80" y="41"/>
                </a:cxn>
                <a:cxn ang="0">
                  <a:pos x="130" y="41"/>
                </a:cxn>
                <a:cxn ang="0">
                  <a:pos x="146" y="76"/>
                </a:cxn>
                <a:cxn ang="0">
                  <a:pos x="193" y="78"/>
                </a:cxn>
                <a:cxn ang="0">
                  <a:pos x="220" y="121"/>
                </a:cxn>
                <a:cxn ang="0">
                  <a:pos x="295" y="86"/>
                </a:cxn>
                <a:cxn ang="0">
                  <a:pos x="277" y="141"/>
                </a:cxn>
                <a:cxn ang="0">
                  <a:pos x="289" y="194"/>
                </a:cxn>
                <a:cxn ang="0">
                  <a:pos x="252" y="229"/>
                </a:cxn>
                <a:cxn ang="0">
                  <a:pos x="162" y="194"/>
                </a:cxn>
                <a:cxn ang="0">
                  <a:pos x="121" y="194"/>
                </a:cxn>
                <a:cxn ang="0">
                  <a:pos x="109" y="153"/>
                </a:cxn>
                <a:cxn ang="0">
                  <a:pos x="48" y="57"/>
                </a:cxn>
                <a:cxn ang="0">
                  <a:pos x="19" y="51"/>
                </a:cxn>
                <a:cxn ang="0">
                  <a:pos x="0" y="0"/>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2" name="Freeform 33"/>
            <p:cNvSpPr>
              <a:spLocks noEditPoints="1"/>
            </p:cNvSpPr>
            <p:nvPr>
              <p:custDataLst>
                <p:tags r:id="rId14"/>
              </p:custDataLst>
            </p:nvPr>
          </p:nvSpPr>
          <p:spPr bwMode="auto">
            <a:xfrm>
              <a:off x="863" y="1074"/>
              <a:ext cx="1171" cy="1006"/>
            </a:xfrm>
            <a:custGeom>
              <a:avLst/>
              <a:gdLst/>
              <a:ahLst/>
              <a:cxnLst>
                <a:cxn ang="0">
                  <a:pos x="2895" y="857"/>
                </a:cxn>
                <a:cxn ang="0">
                  <a:pos x="2837" y="790"/>
                </a:cxn>
                <a:cxn ang="0">
                  <a:pos x="2685" y="603"/>
                </a:cxn>
                <a:cxn ang="0">
                  <a:pos x="2520" y="573"/>
                </a:cxn>
                <a:cxn ang="0">
                  <a:pos x="2344" y="493"/>
                </a:cxn>
                <a:cxn ang="0">
                  <a:pos x="2183" y="482"/>
                </a:cxn>
                <a:cxn ang="0">
                  <a:pos x="2020" y="471"/>
                </a:cxn>
                <a:cxn ang="0">
                  <a:pos x="1445" y="112"/>
                </a:cxn>
                <a:cxn ang="0">
                  <a:pos x="1226" y="523"/>
                </a:cxn>
                <a:cxn ang="0">
                  <a:pos x="1079" y="346"/>
                </a:cxn>
                <a:cxn ang="0">
                  <a:pos x="1010" y="472"/>
                </a:cxn>
                <a:cxn ang="0">
                  <a:pos x="647" y="240"/>
                </a:cxn>
                <a:cxn ang="0">
                  <a:pos x="387" y="394"/>
                </a:cxn>
                <a:cxn ang="0">
                  <a:pos x="445" y="700"/>
                </a:cxn>
                <a:cxn ang="0">
                  <a:pos x="277" y="1261"/>
                </a:cxn>
                <a:cxn ang="0">
                  <a:pos x="288" y="1632"/>
                </a:cxn>
                <a:cxn ang="0">
                  <a:pos x="641" y="1525"/>
                </a:cxn>
                <a:cxn ang="0">
                  <a:pos x="673" y="1421"/>
                </a:cxn>
                <a:cxn ang="0">
                  <a:pos x="860" y="1525"/>
                </a:cxn>
                <a:cxn ang="0">
                  <a:pos x="916" y="1741"/>
                </a:cxn>
                <a:cxn ang="0">
                  <a:pos x="865" y="1880"/>
                </a:cxn>
                <a:cxn ang="0">
                  <a:pos x="1188" y="1696"/>
                </a:cxn>
                <a:cxn ang="0">
                  <a:pos x="1098" y="1455"/>
                </a:cxn>
                <a:cxn ang="0">
                  <a:pos x="1330" y="1391"/>
                </a:cxn>
                <a:cxn ang="0">
                  <a:pos x="1546" y="1437"/>
                </a:cxn>
                <a:cxn ang="0">
                  <a:pos x="1511" y="1602"/>
                </a:cxn>
                <a:cxn ang="0">
                  <a:pos x="1514" y="1784"/>
                </a:cxn>
                <a:cxn ang="0">
                  <a:pos x="1677" y="1947"/>
                </a:cxn>
                <a:cxn ang="0">
                  <a:pos x="1760" y="2163"/>
                </a:cxn>
                <a:cxn ang="0">
                  <a:pos x="1803" y="2280"/>
                </a:cxn>
                <a:cxn ang="0">
                  <a:pos x="1869" y="2392"/>
                </a:cxn>
                <a:cxn ang="0">
                  <a:pos x="1841" y="2592"/>
                </a:cxn>
                <a:cxn ang="0">
                  <a:pos x="2003" y="2527"/>
                </a:cxn>
                <a:cxn ang="0">
                  <a:pos x="2283" y="2471"/>
                </a:cxn>
                <a:cxn ang="0">
                  <a:pos x="2531" y="2324"/>
                </a:cxn>
                <a:cxn ang="0">
                  <a:pos x="2490" y="2102"/>
                </a:cxn>
                <a:cxn ang="0">
                  <a:pos x="2562" y="1886"/>
                </a:cxn>
                <a:cxn ang="0">
                  <a:pos x="2794" y="1701"/>
                </a:cxn>
                <a:cxn ang="0">
                  <a:pos x="2747" y="1443"/>
                </a:cxn>
                <a:cxn ang="0">
                  <a:pos x="2590" y="1092"/>
                </a:cxn>
                <a:cxn ang="0">
                  <a:pos x="2813" y="1026"/>
                </a:cxn>
                <a:cxn ang="0">
                  <a:pos x="3045" y="944"/>
                </a:cxn>
                <a:cxn ang="0">
                  <a:pos x="1521" y="877"/>
                </a:cxn>
                <a:cxn ang="0">
                  <a:pos x="1353" y="877"/>
                </a:cxn>
                <a:cxn ang="0">
                  <a:pos x="1251" y="734"/>
                </a:cxn>
                <a:cxn ang="0">
                  <a:pos x="1312" y="724"/>
                </a:cxn>
                <a:cxn ang="0">
                  <a:pos x="1425" y="761"/>
                </a:cxn>
                <a:cxn ang="0">
                  <a:pos x="1509" y="824"/>
                </a:cxn>
                <a:cxn ang="0">
                  <a:pos x="944" y="133"/>
                </a:cxn>
                <a:cxn ang="0">
                  <a:pos x="793" y="120"/>
                </a:cxn>
                <a:cxn ang="0">
                  <a:pos x="1176" y="105"/>
                </a:cxn>
                <a:cxn ang="0">
                  <a:pos x="1028" y="200"/>
                </a:cxn>
                <a:cxn ang="0">
                  <a:pos x="972" y="169"/>
                </a:cxn>
                <a:cxn ang="0">
                  <a:pos x="968" y="147"/>
                </a:cxn>
                <a:cxn ang="0">
                  <a:pos x="644" y="183"/>
                </a:cxn>
                <a:cxn ang="0">
                  <a:pos x="644" y="183"/>
                </a:cxn>
                <a:cxn ang="0">
                  <a:pos x="290" y="244"/>
                </a:cxn>
                <a:cxn ang="0">
                  <a:pos x="291" y="216"/>
                </a:cxn>
                <a:cxn ang="0">
                  <a:pos x="520" y="191"/>
                </a:cxn>
                <a:cxn ang="0">
                  <a:pos x="600" y="164"/>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3" name="Freeform 34"/>
            <p:cNvSpPr>
              <a:spLocks noEditPoints="1"/>
            </p:cNvSpPr>
            <p:nvPr>
              <p:custDataLst>
                <p:tags r:id="rId15"/>
              </p:custDataLst>
            </p:nvPr>
          </p:nvSpPr>
          <p:spPr bwMode="auto">
            <a:xfrm>
              <a:off x="1002" y="2629"/>
              <a:ext cx="778" cy="877"/>
            </a:xfrm>
            <a:custGeom>
              <a:avLst/>
              <a:gdLst/>
              <a:ahLst/>
              <a:cxnLst>
                <a:cxn ang="0">
                  <a:pos x="2006" y="1062"/>
                </a:cxn>
                <a:cxn ang="0">
                  <a:pos x="1874" y="768"/>
                </a:cxn>
                <a:cxn ang="0">
                  <a:pos x="1826" y="636"/>
                </a:cxn>
                <a:cxn ang="0">
                  <a:pos x="1832" y="420"/>
                </a:cxn>
                <a:cxn ang="0">
                  <a:pos x="1736" y="348"/>
                </a:cxn>
                <a:cxn ang="0">
                  <a:pos x="1676" y="270"/>
                </a:cxn>
                <a:cxn ang="0">
                  <a:pos x="1604" y="126"/>
                </a:cxn>
                <a:cxn ang="0">
                  <a:pos x="1514" y="54"/>
                </a:cxn>
                <a:cxn ang="0">
                  <a:pos x="1340" y="48"/>
                </a:cxn>
                <a:cxn ang="0">
                  <a:pos x="1358" y="192"/>
                </a:cxn>
                <a:cxn ang="0">
                  <a:pos x="1244" y="246"/>
                </a:cxn>
                <a:cxn ang="0">
                  <a:pos x="1148" y="260"/>
                </a:cxn>
                <a:cxn ang="0">
                  <a:pos x="1132" y="277"/>
                </a:cxn>
                <a:cxn ang="0">
                  <a:pos x="1073" y="319"/>
                </a:cxn>
                <a:cxn ang="0">
                  <a:pos x="1017" y="386"/>
                </a:cxn>
                <a:cxn ang="0">
                  <a:pos x="948" y="413"/>
                </a:cxn>
                <a:cxn ang="0">
                  <a:pos x="903" y="303"/>
                </a:cxn>
                <a:cxn ang="0">
                  <a:pos x="817" y="215"/>
                </a:cxn>
                <a:cxn ang="0">
                  <a:pos x="791" y="293"/>
                </a:cxn>
                <a:cxn ang="0">
                  <a:pos x="708" y="242"/>
                </a:cxn>
                <a:cxn ang="0">
                  <a:pos x="759" y="386"/>
                </a:cxn>
                <a:cxn ang="0">
                  <a:pos x="695" y="583"/>
                </a:cxn>
                <a:cxn ang="0">
                  <a:pos x="625" y="746"/>
                </a:cxn>
                <a:cxn ang="0">
                  <a:pos x="567" y="837"/>
                </a:cxn>
                <a:cxn ang="0">
                  <a:pos x="543" y="868"/>
                </a:cxn>
                <a:cxn ang="0">
                  <a:pos x="337" y="1118"/>
                </a:cxn>
                <a:cxn ang="0">
                  <a:pos x="187" y="1445"/>
                </a:cxn>
                <a:cxn ang="0">
                  <a:pos x="90" y="1860"/>
                </a:cxn>
                <a:cxn ang="0">
                  <a:pos x="127" y="2250"/>
                </a:cxn>
                <a:cxn ang="0">
                  <a:pos x="370" y="2289"/>
                </a:cxn>
                <a:cxn ang="0">
                  <a:pos x="681" y="2264"/>
                </a:cxn>
                <a:cxn ang="0">
                  <a:pos x="684" y="2192"/>
                </a:cxn>
                <a:cxn ang="0">
                  <a:pos x="730" y="2064"/>
                </a:cxn>
                <a:cxn ang="0">
                  <a:pos x="881" y="2165"/>
                </a:cxn>
                <a:cxn ang="0">
                  <a:pos x="964" y="2204"/>
                </a:cxn>
                <a:cxn ang="0">
                  <a:pos x="1242" y="2219"/>
                </a:cxn>
                <a:cxn ang="0">
                  <a:pos x="1481" y="2242"/>
                </a:cxn>
                <a:cxn ang="0">
                  <a:pos x="1800" y="2158"/>
                </a:cxn>
                <a:cxn ang="0">
                  <a:pos x="1796" y="1836"/>
                </a:cxn>
                <a:cxn ang="0">
                  <a:pos x="1742" y="1380"/>
                </a:cxn>
                <a:cxn ang="0">
                  <a:pos x="1934" y="1308"/>
                </a:cxn>
                <a:cxn ang="0">
                  <a:pos x="2054" y="1128"/>
                </a:cxn>
                <a:cxn ang="0">
                  <a:pos x="796" y="2175"/>
                </a:cxn>
                <a:cxn ang="0">
                  <a:pos x="839" y="2142"/>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sp>
          <p:nvSpPr>
            <p:cNvPr id="104" name="Freeform 35"/>
            <p:cNvSpPr>
              <a:spLocks noEditPoints="1"/>
            </p:cNvSpPr>
            <p:nvPr>
              <p:custDataLst>
                <p:tags r:id="rId16"/>
              </p:custDataLst>
            </p:nvPr>
          </p:nvSpPr>
          <p:spPr bwMode="auto">
            <a:xfrm>
              <a:off x="1198" y="640"/>
              <a:ext cx="766" cy="653"/>
            </a:xfrm>
            <a:custGeom>
              <a:avLst/>
              <a:gdLst/>
              <a:ahLst/>
              <a:cxnLst>
                <a:cxn ang="0">
                  <a:pos x="1601" y="732"/>
                </a:cxn>
                <a:cxn ang="0">
                  <a:pos x="1355" y="643"/>
                </a:cxn>
                <a:cxn ang="0">
                  <a:pos x="1240" y="344"/>
                </a:cxn>
                <a:cxn ang="0">
                  <a:pos x="921" y="270"/>
                </a:cxn>
                <a:cxn ang="0">
                  <a:pos x="525" y="172"/>
                </a:cxn>
                <a:cxn ang="0">
                  <a:pos x="553" y="484"/>
                </a:cxn>
                <a:cxn ang="0">
                  <a:pos x="644" y="578"/>
                </a:cxn>
                <a:cxn ang="0">
                  <a:pos x="459" y="720"/>
                </a:cxn>
                <a:cxn ang="0">
                  <a:pos x="618" y="990"/>
                </a:cxn>
                <a:cxn ang="0">
                  <a:pos x="779" y="1184"/>
                </a:cxn>
                <a:cxn ang="0">
                  <a:pos x="1106" y="1451"/>
                </a:cxn>
                <a:cxn ang="0">
                  <a:pos x="1258" y="1431"/>
                </a:cxn>
                <a:cxn ang="0">
                  <a:pos x="1356" y="1347"/>
                </a:cxn>
                <a:cxn ang="0">
                  <a:pos x="1379" y="1450"/>
                </a:cxn>
                <a:cxn ang="0">
                  <a:pos x="1332" y="1556"/>
                </a:cxn>
                <a:cxn ang="0">
                  <a:pos x="1460" y="1619"/>
                </a:cxn>
                <a:cxn ang="0">
                  <a:pos x="1543" y="1702"/>
                </a:cxn>
                <a:cxn ang="0">
                  <a:pos x="1738" y="1511"/>
                </a:cxn>
                <a:cxn ang="0">
                  <a:pos x="1700" y="1337"/>
                </a:cxn>
                <a:cxn ang="0">
                  <a:pos x="1614" y="1298"/>
                </a:cxn>
                <a:cxn ang="0">
                  <a:pos x="1836" y="935"/>
                </a:cxn>
                <a:cxn ang="0">
                  <a:pos x="1827" y="737"/>
                </a:cxn>
                <a:cxn ang="0">
                  <a:pos x="385" y="419"/>
                </a:cxn>
                <a:cxn ang="0">
                  <a:pos x="297" y="453"/>
                </a:cxn>
                <a:cxn ang="0">
                  <a:pos x="39" y="879"/>
                </a:cxn>
                <a:cxn ang="0">
                  <a:pos x="12" y="849"/>
                </a:cxn>
                <a:cxn ang="0">
                  <a:pos x="497" y="441"/>
                </a:cxn>
                <a:cxn ang="0">
                  <a:pos x="2022" y="704"/>
                </a:cxn>
                <a:cxn ang="0">
                  <a:pos x="457" y="558"/>
                </a:cxn>
                <a:cxn ang="0">
                  <a:pos x="481" y="605"/>
                </a:cxn>
                <a:cxn ang="0">
                  <a:pos x="356" y="195"/>
                </a:cxn>
                <a:cxn ang="0">
                  <a:pos x="290" y="95"/>
                </a:cxn>
                <a:cxn ang="0">
                  <a:pos x="331" y="23"/>
                </a:cxn>
                <a:cxn ang="0">
                  <a:pos x="337" y="1"/>
                </a:cxn>
                <a:cxn ang="0">
                  <a:pos x="237" y="217"/>
                </a:cxn>
                <a:cxn ang="0">
                  <a:pos x="246" y="328"/>
                </a:cxn>
                <a:cxn ang="0">
                  <a:pos x="249" y="252"/>
                </a:cxn>
                <a:cxn ang="0">
                  <a:pos x="279" y="186"/>
                </a:cxn>
                <a:cxn ang="0">
                  <a:pos x="380" y="598"/>
                </a:cxn>
                <a:cxn ang="0">
                  <a:pos x="401" y="484"/>
                </a:cxn>
                <a:cxn ang="0">
                  <a:pos x="401" y="484"/>
                </a:cxn>
                <a:cxn ang="0">
                  <a:pos x="492" y="998"/>
                </a:cxn>
                <a:cxn ang="0">
                  <a:pos x="541" y="527"/>
                </a:cxn>
                <a:cxn ang="0">
                  <a:pos x="342" y="494"/>
                </a:cxn>
                <a:cxn ang="0">
                  <a:pos x="357" y="641"/>
                </a:cxn>
                <a:cxn ang="0">
                  <a:pos x="302" y="363"/>
                </a:cxn>
                <a:cxn ang="0">
                  <a:pos x="351" y="555"/>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C0C0C0"/>
            </a:solidFill>
            <a:ln w="12700" cap="flat" cmpd="sng">
              <a:solidFill>
                <a:schemeClr val="bg1"/>
              </a:solid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endParaRPr lang="de-DE"/>
            </a:p>
          </p:txBody>
        </p:sp>
      </p:grpSp>
      <p:grpSp>
        <p:nvGrpSpPr>
          <p:cNvPr id="6" name="Group 112"/>
          <p:cNvGrpSpPr/>
          <p:nvPr/>
        </p:nvGrpSpPr>
        <p:grpSpPr>
          <a:xfrm>
            <a:off x="3434793" y="1815655"/>
            <a:ext cx="1032447" cy="1339085"/>
            <a:chOff x="3434793" y="1815655"/>
            <a:chExt cx="1032447" cy="1339085"/>
          </a:xfrm>
        </p:grpSpPr>
        <p:grpSp>
          <p:nvGrpSpPr>
            <p:cNvPr id="7" name="Group 96"/>
            <p:cNvGrpSpPr>
              <a:grpSpLocks noChangeAspect="1"/>
            </p:cNvGrpSpPr>
            <p:nvPr/>
          </p:nvGrpSpPr>
          <p:grpSpPr bwMode="auto">
            <a:xfrm>
              <a:off x="3453965" y="2118360"/>
              <a:ext cx="976528" cy="1012858"/>
              <a:chOff x="4062" y="700"/>
              <a:chExt cx="1522" cy="1578"/>
            </a:xfrm>
          </p:grpSpPr>
          <p:pic>
            <p:nvPicPr>
              <p:cNvPr id="120" name="Picture 97" descr="Europäische-Union"/>
              <p:cNvPicPr>
                <a:picLocks noChangeAspect="1" noChangeArrowheads="1"/>
              </p:cNvPicPr>
              <p:nvPr/>
            </p:nvPicPr>
            <p:blipFill>
              <a:blip r:embed="rId19"/>
              <a:srcRect/>
              <a:stretch>
                <a:fillRect/>
              </a:stretch>
            </p:blipFill>
            <p:spPr bwMode="auto">
              <a:xfrm>
                <a:off x="4062" y="700"/>
                <a:ext cx="987" cy="1578"/>
              </a:xfrm>
              <a:prstGeom prst="rect">
                <a:avLst/>
              </a:prstGeom>
              <a:noFill/>
            </p:spPr>
          </p:pic>
          <p:sp>
            <p:nvSpPr>
              <p:cNvPr id="121" name="Freeform 98"/>
              <p:cNvSpPr>
                <a:spLocks noChangeAspect="1"/>
              </p:cNvSpPr>
              <p:nvPr/>
            </p:nvSpPr>
            <p:spPr bwMode="auto">
              <a:xfrm>
                <a:off x="4219" y="1627"/>
                <a:ext cx="1365" cy="581"/>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8" name="Gruppieren 159"/>
            <p:cNvGrpSpPr/>
            <p:nvPr/>
          </p:nvGrpSpPr>
          <p:grpSpPr>
            <a:xfrm>
              <a:off x="3434793" y="1815655"/>
              <a:ext cx="1032447" cy="1339085"/>
              <a:chOff x="3492480" y="1579435"/>
              <a:chExt cx="1032447" cy="1339085"/>
            </a:xfrm>
          </p:grpSpPr>
          <p:sp>
            <p:nvSpPr>
              <p:cNvPr id="124" name="Ellipse 123"/>
              <p:cNvSpPr/>
              <p:nvPr/>
            </p:nvSpPr>
            <p:spPr>
              <a:xfrm>
                <a:off x="4463727" y="1760410"/>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grpSp>
            <p:nvGrpSpPr>
              <p:cNvPr id="9" name="Gruppieren 88"/>
              <p:cNvGrpSpPr/>
              <p:nvPr/>
            </p:nvGrpSpPr>
            <p:grpSpPr>
              <a:xfrm>
                <a:off x="3978104" y="1579435"/>
                <a:ext cx="61200" cy="242175"/>
                <a:chOff x="1662164" y="2113494"/>
                <a:chExt cx="61200" cy="242175"/>
              </a:xfrm>
            </p:grpSpPr>
            <p:sp>
              <p:nvSpPr>
                <p:cNvPr id="131" name="Ellipse 130"/>
                <p:cNvSpPr/>
                <p:nvPr/>
              </p:nvSpPr>
              <p:spPr>
                <a:xfrm>
                  <a:off x="1662164" y="2294469"/>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sp>
              <p:nvSpPr>
                <p:cNvPr id="132" name="Ellipse 131"/>
                <p:cNvSpPr/>
                <p:nvPr/>
              </p:nvSpPr>
              <p:spPr>
                <a:xfrm>
                  <a:off x="1662164" y="2113494"/>
                  <a:ext cx="61200" cy="612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p>
              </p:txBody>
            </p:sp>
            <p:cxnSp>
              <p:nvCxnSpPr>
                <p:cNvPr id="137" name="Gerade Verbindung 136"/>
                <p:cNvCxnSpPr/>
                <p:nvPr/>
              </p:nvCxnSpPr>
              <p:spPr>
                <a:xfrm rot="5400000">
                  <a:off x="1632877" y="2234582"/>
                  <a:ext cx="119775" cy="0"/>
                </a:xfrm>
                <a:prstGeom prst="line">
                  <a:avLst/>
                </a:prstGeom>
                <a:noFill/>
                <a:ln w="9525">
                  <a:solidFill>
                    <a:schemeClr val="tx1"/>
                  </a:solidFill>
                  <a:round/>
                  <a:headEnd/>
                  <a:tailEnd/>
                </a:ln>
                <a:effectLst/>
              </p:spPr>
            </p:cxnSp>
          </p:grpSp>
          <p:sp>
            <p:nvSpPr>
              <p:cNvPr id="126" name="Ellipse 125"/>
              <p:cNvSpPr/>
              <p:nvPr/>
            </p:nvSpPr>
            <p:spPr>
              <a:xfrm>
                <a:off x="4463727" y="2857320"/>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sp>
            <p:nvSpPr>
              <p:cNvPr id="127" name="Ellipse 126"/>
              <p:cNvSpPr/>
              <p:nvPr/>
            </p:nvSpPr>
            <p:spPr>
              <a:xfrm>
                <a:off x="3978104" y="2857320"/>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r>
                  <a:rPr lang="de-DE" dirty="0" smtClean="0">
                    <a:solidFill>
                      <a:schemeClr val="tx1"/>
                    </a:solidFill>
                    <a:latin typeface="Arial" charset="0"/>
                  </a:rPr>
                  <a:t> </a:t>
                </a:r>
                <a:endParaRPr lang="de-DE" dirty="0">
                  <a:solidFill>
                    <a:schemeClr val="tx1"/>
                  </a:solidFill>
                  <a:latin typeface="Arial" charset="0"/>
                </a:endParaRPr>
              </a:p>
            </p:txBody>
          </p:sp>
          <p:sp>
            <p:nvSpPr>
              <p:cNvPr id="129" name="Ellipse 128"/>
              <p:cNvSpPr/>
              <p:nvPr/>
            </p:nvSpPr>
            <p:spPr>
              <a:xfrm>
                <a:off x="4463727" y="2297435"/>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sp>
            <p:nvSpPr>
              <p:cNvPr id="145" name="Ellipse 144"/>
              <p:cNvSpPr/>
              <p:nvPr/>
            </p:nvSpPr>
            <p:spPr>
              <a:xfrm>
                <a:off x="3492480" y="1760410"/>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sp>
            <p:nvSpPr>
              <p:cNvPr id="146" name="Ellipse 145"/>
              <p:cNvSpPr/>
              <p:nvPr/>
            </p:nvSpPr>
            <p:spPr>
              <a:xfrm>
                <a:off x="3492480" y="2857320"/>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sp>
            <p:nvSpPr>
              <p:cNvPr id="147" name="Ellipse 146"/>
              <p:cNvSpPr/>
              <p:nvPr/>
            </p:nvSpPr>
            <p:spPr>
              <a:xfrm>
                <a:off x="3492480" y="2297435"/>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grpSp>
      </p:grpSp>
      <p:sp>
        <p:nvSpPr>
          <p:cNvPr id="179" name="Rectangle 5"/>
          <p:cNvSpPr>
            <a:spLocks noChangeArrowheads="1"/>
          </p:cNvSpPr>
          <p:nvPr/>
        </p:nvSpPr>
        <p:spPr bwMode="gray">
          <a:xfrm>
            <a:off x="639763" y="4627750"/>
            <a:ext cx="8251825" cy="423862"/>
          </a:xfrm>
          <a:prstGeom prst="rect">
            <a:avLst/>
          </a:prstGeom>
          <a:noFill/>
          <a:ln w="12700">
            <a:noFill/>
            <a:miter lim="800000"/>
            <a:headEnd/>
            <a:tailEnd/>
          </a:ln>
        </p:spPr>
        <p:txBody>
          <a:bodyPr lIns="0" tIns="0" rIns="0" bIns="0"/>
          <a:lstStyle/>
          <a:p>
            <a:r>
              <a:rPr lang="de-DE" sz="1200" dirty="0" smtClean="0">
                <a:latin typeface="Myriad Pro" pitchFamily="34" charset="0"/>
                <a:ea typeface="Arial Unicode MS" pitchFamily="34" charset="-128"/>
                <a:cs typeface="Arial" charset="0"/>
              </a:rPr>
              <a:t>Markieren Sie zunächst mit der linken Maustaste die Pins an die sie verwenden möchten</a:t>
            </a:r>
            <a:endParaRPr lang="de-DE" sz="1200" dirty="0">
              <a:latin typeface="Myriad Pro" pitchFamily="34" charset="0"/>
              <a:ea typeface="Arial Unicode MS" pitchFamily="34" charset="-128"/>
              <a:cs typeface="Arial" charset="0"/>
            </a:endParaRPr>
          </a:p>
        </p:txBody>
      </p:sp>
      <p:sp>
        <p:nvSpPr>
          <p:cNvPr id="180" name="PPTShape_5"/>
          <p:cNvSpPr>
            <a:spLocks noChangeArrowheads="1"/>
          </p:cNvSpPr>
          <p:nvPr/>
        </p:nvSpPr>
        <p:spPr bwMode="gray">
          <a:xfrm>
            <a:off x="639763" y="5244706"/>
            <a:ext cx="8251825" cy="422275"/>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Im 2. Schritt können sie die Pins kleiner und größer skalieren, indem sie mit gedrückter linker Maus- und Umschalt-Taste (</a:t>
            </a:r>
            <a:r>
              <a:rPr lang="de-DE" sz="1200" dirty="0" err="1" smtClean="0">
                <a:solidFill>
                  <a:srgbClr val="000000"/>
                </a:solidFill>
                <a:latin typeface="Myriad Pro" pitchFamily="34" charset="0"/>
                <a:ea typeface="Arial Unicode MS" pitchFamily="34" charset="-128"/>
                <a:cs typeface="Arial" charset="0"/>
              </a:rPr>
              <a:t>Shift</a:t>
            </a:r>
            <a:r>
              <a:rPr lang="de-DE" sz="1200" dirty="0" smtClean="0">
                <a:solidFill>
                  <a:srgbClr val="000000"/>
                </a:solidFill>
                <a:latin typeface="Myriad Pro" pitchFamily="34" charset="0"/>
                <a:ea typeface="Arial Unicode MS" pitchFamily="34" charset="-128"/>
                <a:cs typeface="Arial" charset="0"/>
              </a:rPr>
              <a:t>) die Pins  an einem der erschienenen Eckpunkte  auf die gewünschte Größe verändern. </a:t>
            </a:r>
            <a:endParaRPr lang="de-DE" dirty="0">
              <a:solidFill>
                <a:srgbClr val="000000"/>
              </a:solidFill>
              <a:ea typeface="Arial Unicode MS" pitchFamily="34" charset="-128"/>
              <a:cs typeface="Arial" charset="0"/>
            </a:endParaRPr>
          </a:p>
        </p:txBody>
      </p:sp>
      <p:sp>
        <p:nvSpPr>
          <p:cNvPr id="181" name="PPTShape_6"/>
          <p:cNvSpPr>
            <a:spLocks noChangeArrowheads="1"/>
          </p:cNvSpPr>
          <p:nvPr/>
        </p:nvSpPr>
        <p:spPr bwMode="gray">
          <a:xfrm>
            <a:off x="639763" y="5833668"/>
            <a:ext cx="8251825" cy="423862"/>
          </a:xfrm>
          <a:prstGeom prst="rect">
            <a:avLst/>
          </a:prstGeom>
          <a:noFill/>
          <a:ln w="12700">
            <a:noFill/>
            <a:miter lim="800000"/>
            <a:headEnd/>
            <a:tailEnd/>
          </a:ln>
        </p:spPr>
        <p:txBody>
          <a:bodyPr lIns="0" tIns="0" rIns="0" bIns="0"/>
          <a:lstStyle/>
          <a:p>
            <a:r>
              <a:rPr lang="de-DE" sz="1200" dirty="0" smtClean="0">
                <a:solidFill>
                  <a:srgbClr val="000000"/>
                </a:solidFill>
                <a:latin typeface="Myriad Pro" pitchFamily="34" charset="0"/>
                <a:ea typeface="Arial Unicode MS" pitchFamily="34" charset="-128"/>
                <a:cs typeface="Arial" charset="0"/>
              </a:rPr>
              <a:t>Hier können Sie die neuen Pins, z.B. auf einer Deutschlandkarte platzieren, um Ihre Vertriebsstandorte zu kennzeichnen. </a:t>
            </a:r>
            <a:endParaRPr lang="de-DE" sz="1200" dirty="0">
              <a:solidFill>
                <a:srgbClr val="000000"/>
              </a:solidFill>
              <a:latin typeface="Myriad Pro" pitchFamily="34" charset="0"/>
              <a:ea typeface="Arial Unicode MS" pitchFamily="34" charset="-128"/>
              <a:cs typeface="Arial" charset="0"/>
            </a:endParaRPr>
          </a:p>
        </p:txBody>
      </p:sp>
      <p:grpSp>
        <p:nvGrpSpPr>
          <p:cNvPr id="10" name="Gruppieren 275"/>
          <p:cNvGrpSpPr/>
          <p:nvPr/>
        </p:nvGrpSpPr>
        <p:grpSpPr>
          <a:xfrm>
            <a:off x="203518" y="4627750"/>
            <a:ext cx="347663" cy="338138"/>
            <a:chOff x="203518" y="4378643"/>
            <a:chExt cx="347663" cy="338138"/>
          </a:xfrm>
        </p:grpSpPr>
        <p:pic>
          <p:nvPicPr>
            <p:cNvPr id="183" name="Grafik 182" descr="schatten.png"/>
            <p:cNvPicPr>
              <a:picLocks noChangeAspect="1"/>
            </p:cNvPicPr>
            <p:nvPr/>
          </p:nvPicPr>
          <p:blipFill>
            <a:blip r:embed="rId20" cstate="print">
              <a:lum bright="30000"/>
            </a:blip>
            <a:srcRect l="17603" t="9404" r="15359" b="14528"/>
            <a:stretch>
              <a:fillRect/>
            </a:stretch>
          </p:blipFill>
          <p:spPr>
            <a:xfrm>
              <a:off x="203518" y="4378643"/>
              <a:ext cx="347663" cy="338138"/>
            </a:xfrm>
            <a:prstGeom prst="rect">
              <a:avLst/>
            </a:prstGeom>
          </p:spPr>
        </p:pic>
        <p:sp>
          <p:nvSpPr>
            <p:cNvPr id="184" name="Rectangle 48"/>
            <p:cNvSpPr>
              <a:spLocks noChangeArrowheads="1"/>
            </p:cNvSpPr>
            <p:nvPr/>
          </p:nvSpPr>
          <p:spPr bwMode="gray">
            <a:xfrm>
              <a:off x="217488" y="4386263"/>
              <a:ext cx="261937" cy="261937"/>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1</a:t>
              </a:r>
              <a:endParaRPr lang="de-DE" sz="1600" b="1" noProof="1">
                <a:solidFill>
                  <a:schemeClr val="bg1"/>
                </a:solidFill>
                <a:latin typeface="Myriad Pro" pitchFamily="34" charset="0"/>
              </a:endParaRPr>
            </a:p>
          </p:txBody>
        </p:sp>
      </p:grpSp>
      <p:grpSp>
        <p:nvGrpSpPr>
          <p:cNvPr id="11" name="Gruppieren 278"/>
          <p:cNvGrpSpPr/>
          <p:nvPr/>
        </p:nvGrpSpPr>
        <p:grpSpPr>
          <a:xfrm>
            <a:off x="203518" y="5244706"/>
            <a:ext cx="347663" cy="338138"/>
            <a:chOff x="203518" y="4966018"/>
            <a:chExt cx="347663" cy="338138"/>
          </a:xfrm>
        </p:grpSpPr>
        <p:pic>
          <p:nvPicPr>
            <p:cNvPr id="186" name="Grafik 185" descr="schatten.png"/>
            <p:cNvPicPr>
              <a:picLocks noChangeAspect="1"/>
            </p:cNvPicPr>
            <p:nvPr/>
          </p:nvPicPr>
          <p:blipFill>
            <a:blip r:embed="rId20" cstate="print">
              <a:lum bright="30000"/>
            </a:blip>
            <a:srcRect l="17603" t="9404" r="15359" b="14528"/>
            <a:stretch>
              <a:fillRect/>
            </a:stretch>
          </p:blipFill>
          <p:spPr>
            <a:xfrm>
              <a:off x="203518" y="4966018"/>
              <a:ext cx="347663" cy="338138"/>
            </a:xfrm>
            <a:prstGeom prst="rect">
              <a:avLst/>
            </a:prstGeom>
          </p:spPr>
        </p:pic>
        <p:sp>
          <p:nvSpPr>
            <p:cNvPr id="187"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2" name="Gruppieren 281"/>
          <p:cNvGrpSpPr/>
          <p:nvPr/>
        </p:nvGrpSpPr>
        <p:grpSpPr>
          <a:xfrm>
            <a:off x="203518" y="5833668"/>
            <a:ext cx="347663" cy="338138"/>
            <a:chOff x="203518" y="5554980"/>
            <a:chExt cx="347663" cy="338138"/>
          </a:xfrm>
        </p:grpSpPr>
        <p:pic>
          <p:nvPicPr>
            <p:cNvPr id="189" name="Grafik 188" descr="schatten.png"/>
            <p:cNvPicPr>
              <a:picLocks noChangeAspect="1"/>
            </p:cNvPicPr>
            <p:nvPr/>
          </p:nvPicPr>
          <p:blipFill>
            <a:blip r:embed="rId20" cstate="print">
              <a:lum bright="30000"/>
            </a:blip>
            <a:srcRect l="17603" t="9404" r="15359" b="14528"/>
            <a:stretch>
              <a:fillRect/>
            </a:stretch>
          </p:blipFill>
          <p:spPr>
            <a:xfrm>
              <a:off x="203518" y="5554980"/>
              <a:ext cx="347663" cy="338138"/>
            </a:xfrm>
            <a:prstGeom prst="rect">
              <a:avLst/>
            </a:prstGeom>
          </p:spPr>
        </p:pic>
        <p:sp>
          <p:nvSpPr>
            <p:cNvPr id="190" name="Rectangle 48"/>
            <p:cNvSpPr>
              <a:spLocks noChangeArrowheads="1"/>
            </p:cNvSpPr>
            <p:nvPr/>
          </p:nvSpPr>
          <p:spPr bwMode="gray">
            <a:xfrm>
              <a:off x="217488" y="5562600"/>
              <a:ext cx="261937" cy="261938"/>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3</a:t>
              </a:r>
              <a:endParaRPr lang="de-DE" sz="1600" b="1" noProof="1">
                <a:solidFill>
                  <a:schemeClr val="bg1"/>
                </a:solidFill>
                <a:latin typeface="Myriad Pro" pitchFamily="34" charset="0"/>
              </a:endParaRPr>
            </a:p>
          </p:txBody>
        </p:sp>
      </p:grpSp>
      <p:grpSp>
        <p:nvGrpSpPr>
          <p:cNvPr id="13" name="Group 115"/>
          <p:cNvGrpSpPr/>
          <p:nvPr/>
        </p:nvGrpSpPr>
        <p:grpSpPr>
          <a:xfrm>
            <a:off x="749874" y="1382810"/>
            <a:ext cx="1476606" cy="1748408"/>
            <a:chOff x="749874" y="1382810"/>
            <a:chExt cx="1476606" cy="1748408"/>
          </a:xfrm>
        </p:grpSpPr>
        <p:grpSp>
          <p:nvGrpSpPr>
            <p:cNvPr id="14" name="Group 96"/>
            <p:cNvGrpSpPr>
              <a:grpSpLocks noChangeAspect="1"/>
            </p:cNvGrpSpPr>
            <p:nvPr/>
          </p:nvGrpSpPr>
          <p:grpSpPr bwMode="auto">
            <a:xfrm>
              <a:off x="777946" y="1670718"/>
              <a:ext cx="1408113" cy="1460500"/>
              <a:chOff x="4062" y="700"/>
              <a:chExt cx="1522" cy="1578"/>
            </a:xfrm>
          </p:grpSpPr>
          <p:pic>
            <p:nvPicPr>
              <p:cNvPr id="70" name="Picture 97" descr="Europäische-Union"/>
              <p:cNvPicPr>
                <a:picLocks noChangeAspect="1" noChangeArrowheads="1"/>
              </p:cNvPicPr>
              <p:nvPr/>
            </p:nvPicPr>
            <p:blipFill>
              <a:blip r:embed="rId19"/>
              <a:srcRect/>
              <a:stretch>
                <a:fillRect/>
              </a:stretch>
            </p:blipFill>
            <p:spPr bwMode="auto">
              <a:xfrm>
                <a:off x="4062" y="700"/>
                <a:ext cx="987" cy="1578"/>
              </a:xfrm>
              <a:prstGeom prst="rect">
                <a:avLst/>
              </a:prstGeom>
              <a:noFill/>
            </p:spPr>
          </p:pic>
          <p:sp>
            <p:nvSpPr>
              <p:cNvPr id="71" name="Freeform 98"/>
              <p:cNvSpPr>
                <a:spLocks noChangeAspect="1"/>
              </p:cNvSpPr>
              <p:nvPr/>
            </p:nvSpPr>
            <p:spPr bwMode="auto">
              <a:xfrm>
                <a:off x="4219" y="1627"/>
                <a:ext cx="1365" cy="581"/>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15" name="Gruppieren 202"/>
            <p:cNvGrpSpPr/>
            <p:nvPr/>
          </p:nvGrpSpPr>
          <p:grpSpPr>
            <a:xfrm>
              <a:off x="749874" y="1382810"/>
              <a:ext cx="1476606" cy="1748408"/>
              <a:chOff x="993726" y="1406332"/>
              <a:chExt cx="1476606" cy="1748408"/>
            </a:xfrm>
          </p:grpSpPr>
          <p:sp>
            <p:nvSpPr>
              <p:cNvPr id="192" name="Ellipse 191"/>
              <p:cNvSpPr/>
              <p:nvPr/>
            </p:nvSpPr>
            <p:spPr>
              <a:xfrm>
                <a:off x="2409132" y="1587307"/>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grpSp>
            <p:nvGrpSpPr>
              <p:cNvPr id="16" name="Gruppieren 88"/>
              <p:cNvGrpSpPr/>
              <p:nvPr/>
            </p:nvGrpSpPr>
            <p:grpSpPr>
              <a:xfrm>
                <a:off x="1701429" y="1406332"/>
                <a:ext cx="61200" cy="242175"/>
                <a:chOff x="1662164" y="2113494"/>
                <a:chExt cx="61200" cy="242175"/>
              </a:xfrm>
            </p:grpSpPr>
            <p:sp>
              <p:nvSpPr>
                <p:cNvPr id="200" name="Ellipse 199"/>
                <p:cNvSpPr/>
                <p:nvPr/>
              </p:nvSpPr>
              <p:spPr>
                <a:xfrm>
                  <a:off x="1662164" y="2294469"/>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sp>
              <p:nvSpPr>
                <p:cNvPr id="201" name="Ellipse 200"/>
                <p:cNvSpPr/>
                <p:nvPr/>
              </p:nvSpPr>
              <p:spPr>
                <a:xfrm>
                  <a:off x="1662164" y="2113494"/>
                  <a:ext cx="61200" cy="61200"/>
                </a:xfrm>
                <a:prstGeom prst="ellipse">
                  <a:avLst/>
                </a:prstGeom>
                <a:solidFill>
                  <a:srgbClr val="00FF00"/>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p>
              </p:txBody>
            </p:sp>
            <p:cxnSp>
              <p:nvCxnSpPr>
                <p:cNvPr id="202" name="Gerade Verbindung 201"/>
                <p:cNvCxnSpPr/>
                <p:nvPr/>
              </p:nvCxnSpPr>
              <p:spPr>
                <a:xfrm rot="5400000">
                  <a:off x="1632877" y="2234582"/>
                  <a:ext cx="119775" cy="0"/>
                </a:xfrm>
                <a:prstGeom prst="line">
                  <a:avLst/>
                </a:prstGeom>
                <a:noFill/>
                <a:ln w="9525">
                  <a:solidFill>
                    <a:schemeClr val="tx1"/>
                  </a:solidFill>
                  <a:round/>
                  <a:headEnd/>
                  <a:tailEnd/>
                </a:ln>
                <a:effectLst/>
              </p:spPr>
            </p:cxnSp>
          </p:grpSp>
          <p:sp>
            <p:nvSpPr>
              <p:cNvPr id="194" name="Ellipse 193"/>
              <p:cNvSpPr/>
              <p:nvPr/>
            </p:nvSpPr>
            <p:spPr>
              <a:xfrm>
                <a:off x="2409132" y="3093540"/>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sp>
            <p:nvSpPr>
              <p:cNvPr id="195" name="Ellipse 194"/>
              <p:cNvSpPr/>
              <p:nvPr/>
            </p:nvSpPr>
            <p:spPr>
              <a:xfrm>
                <a:off x="1701429" y="3093540"/>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r>
                  <a:rPr lang="de-DE" dirty="0" smtClean="0">
                    <a:solidFill>
                      <a:schemeClr val="tx1"/>
                    </a:solidFill>
                    <a:latin typeface="Arial" charset="0"/>
                  </a:rPr>
                  <a:t> </a:t>
                </a:r>
                <a:endParaRPr lang="de-DE" dirty="0">
                  <a:solidFill>
                    <a:schemeClr val="tx1"/>
                  </a:solidFill>
                  <a:latin typeface="Arial" charset="0"/>
                </a:endParaRPr>
              </a:p>
            </p:txBody>
          </p:sp>
          <p:sp>
            <p:nvSpPr>
              <p:cNvPr id="196" name="Ellipse 195"/>
              <p:cNvSpPr/>
              <p:nvPr/>
            </p:nvSpPr>
            <p:spPr>
              <a:xfrm>
                <a:off x="2409132" y="2340423"/>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sp>
            <p:nvSpPr>
              <p:cNvPr id="197" name="Ellipse 196"/>
              <p:cNvSpPr/>
              <p:nvPr/>
            </p:nvSpPr>
            <p:spPr>
              <a:xfrm>
                <a:off x="993726" y="1587307"/>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sp>
            <p:nvSpPr>
              <p:cNvPr id="198" name="Ellipse 197"/>
              <p:cNvSpPr/>
              <p:nvPr/>
            </p:nvSpPr>
            <p:spPr>
              <a:xfrm>
                <a:off x="993726" y="3093540"/>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sp>
            <p:nvSpPr>
              <p:cNvPr id="199" name="Ellipse 198"/>
              <p:cNvSpPr/>
              <p:nvPr/>
            </p:nvSpPr>
            <p:spPr>
              <a:xfrm>
                <a:off x="993726" y="2340423"/>
                <a:ext cx="61200" cy="61200"/>
              </a:xfrm>
              <a:prstGeom prst="ellipse">
                <a:avLst/>
              </a:prstGeom>
              <a:solidFill>
                <a:schemeClr val="bg1"/>
              </a:solidFill>
              <a:ln w="9525">
                <a:solidFill>
                  <a:schemeClr val="tx1"/>
                </a:solidFill>
                <a:round/>
                <a:headEnd/>
                <a:tailEnd/>
              </a:ln>
              <a:effectLst/>
            </p:spPr>
            <p:txBody>
              <a:bodyPr vert="horz" wrap="none" lIns="90000" tIns="46800" rIns="90000" bIns="46800" numCol="1" anchor="ctr" anchorCtr="0" compatLnSpc="1">
                <a:prstTxWarp prst="textNoShape">
                  <a:avLst/>
                </a:prstTxWarp>
              </a:bodyPr>
              <a:lstStyle/>
              <a:p>
                <a:endParaRPr lang="de-DE">
                  <a:solidFill>
                    <a:schemeClr val="tx1"/>
                  </a:solidFill>
                  <a:latin typeface="Arial" charset="0"/>
                </a:endParaRPr>
              </a:p>
            </p:txBody>
          </p:sp>
        </p:grpSp>
      </p:grpSp>
      <p:grpSp>
        <p:nvGrpSpPr>
          <p:cNvPr id="17" name="Gruppieren 77"/>
          <p:cNvGrpSpPr/>
          <p:nvPr/>
        </p:nvGrpSpPr>
        <p:grpSpPr>
          <a:xfrm>
            <a:off x="5357348" y="735996"/>
            <a:ext cx="347663" cy="338138"/>
            <a:chOff x="203518" y="4966018"/>
            <a:chExt cx="347663" cy="338138"/>
          </a:xfrm>
        </p:grpSpPr>
        <p:pic>
          <p:nvPicPr>
            <p:cNvPr id="122" name="Grafik 121" descr="schatten.png"/>
            <p:cNvPicPr>
              <a:picLocks noChangeAspect="1"/>
            </p:cNvPicPr>
            <p:nvPr/>
          </p:nvPicPr>
          <p:blipFill>
            <a:blip r:embed="rId20" cstate="print">
              <a:lum bright="30000"/>
            </a:blip>
            <a:srcRect l="17603" t="9404" r="15359" b="14528"/>
            <a:stretch>
              <a:fillRect/>
            </a:stretch>
          </p:blipFill>
          <p:spPr>
            <a:xfrm>
              <a:off x="203518" y="4966018"/>
              <a:ext cx="347663" cy="338138"/>
            </a:xfrm>
            <a:prstGeom prst="rect">
              <a:avLst/>
            </a:prstGeom>
          </p:spPr>
        </p:pic>
        <p:sp>
          <p:nvSpPr>
            <p:cNvPr id="123"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3</a:t>
              </a:r>
            </a:p>
          </p:txBody>
        </p:sp>
      </p:grpSp>
      <p:grpSp>
        <p:nvGrpSpPr>
          <p:cNvPr id="18" name="Gruppieren 77"/>
          <p:cNvGrpSpPr/>
          <p:nvPr/>
        </p:nvGrpSpPr>
        <p:grpSpPr>
          <a:xfrm>
            <a:off x="3032688" y="2124900"/>
            <a:ext cx="347663" cy="338138"/>
            <a:chOff x="203518" y="4966018"/>
            <a:chExt cx="347663" cy="338138"/>
          </a:xfrm>
        </p:grpSpPr>
        <p:pic>
          <p:nvPicPr>
            <p:cNvPr id="128" name="Grafik 127" descr="schatten.png"/>
            <p:cNvPicPr>
              <a:picLocks noChangeAspect="1"/>
            </p:cNvPicPr>
            <p:nvPr/>
          </p:nvPicPr>
          <p:blipFill>
            <a:blip r:embed="rId20" cstate="print">
              <a:lum bright="30000"/>
            </a:blip>
            <a:srcRect l="17603" t="9404" r="15359" b="14528"/>
            <a:stretch>
              <a:fillRect/>
            </a:stretch>
          </p:blipFill>
          <p:spPr>
            <a:xfrm>
              <a:off x="203518" y="4966018"/>
              <a:ext cx="347663" cy="338138"/>
            </a:xfrm>
            <a:prstGeom prst="rect">
              <a:avLst/>
            </a:prstGeom>
          </p:spPr>
        </p:pic>
        <p:sp>
          <p:nvSpPr>
            <p:cNvPr id="130"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dirty="0">
                  <a:solidFill>
                    <a:schemeClr val="bg1"/>
                  </a:solidFill>
                  <a:latin typeface="Myriad Pro" pitchFamily="34" charset="0"/>
                </a:rPr>
                <a:t>2</a:t>
              </a:r>
              <a:endParaRPr lang="de-DE" sz="1600" b="1" noProof="1">
                <a:solidFill>
                  <a:schemeClr val="bg1"/>
                </a:solidFill>
                <a:latin typeface="Myriad Pro" pitchFamily="34" charset="0"/>
              </a:endParaRPr>
            </a:p>
          </p:txBody>
        </p:sp>
      </p:grpSp>
      <p:grpSp>
        <p:nvGrpSpPr>
          <p:cNvPr id="19" name="Gruppieren 77"/>
          <p:cNvGrpSpPr/>
          <p:nvPr/>
        </p:nvGrpSpPr>
        <p:grpSpPr>
          <a:xfrm>
            <a:off x="434856" y="1678269"/>
            <a:ext cx="347663" cy="338138"/>
            <a:chOff x="203518" y="4966018"/>
            <a:chExt cx="347663" cy="338138"/>
          </a:xfrm>
        </p:grpSpPr>
        <p:pic>
          <p:nvPicPr>
            <p:cNvPr id="134" name="Grafik 133" descr="schatten.png"/>
            <p:cNvPicPr>
              <a:picLocks noChangeAspect="1"/>
            </p:cNvPicPr>
            <p:nvPr/>
          </p:nvPicPr>
          <p:blipFill>
            <a:blip r:embed="rId20" cstate="print">
              <a:lum bright="30000"/>
            </a:blip>
            <a:srcRect l="17603" t="9404" r="15359" b="14528"/>
            <a:stretch>
              <a:fillRect/>
            </a:stretch>
          </p:blipFill>
          <p:spPr>
            <a:xfrm>
              <a:off x="203518" y="4966018"/>
              <a:ext cx="347663" cy="338138"/>
            </a:xfrm>
            <a:prstGeom prst="rect">
              <a:avLst/>
            </a:prstGeom>
          </p:spPr>
        </p:pic>
        <p:sp>
          <p:nvSpPr>
            <p:cNvPr id="135" name="Rectangle 48"/>
            <p:cNvSpPr>
              <a:spLocks noChangeArrowheads="1"/>
            </p:cNvSpPr>
            <p:nvPr/>
          </p:nvSpPr>
          <p:spPr bwMode="gray">
            <a:xfrm>
              <a:off x="217488" y="4973638"/>
              <a:ext cx="261937" cy="263525"/>
            </a:xfrm>
            <a:prstGeom prst="rect">
              <a:avLst/>
            </a:prstGeom>
            <a:solidFill>
              <a:schemeClr val="tx1">
                <a:lumMod val="65000"/>
                <a:lumOff val="35000"/>
              </a:schemeClr>
            </a:solidFill>
            <a:ln w="12700" algn="ctr">
              <a:solidFill>
                <a:srgbClr val="C0C0C0"/>
              </a:solidFill>
              <a:miter lim="800000"/>
              <a:headEnd/>
              <a:tailEnd/>
            </a:ln>
            <a:effectLst/>
          </p:spPr>
          <p:txBody>
            <a:bodyPr lIns="0" tIns="0" rIns="0" bIns="0" anchor="ctr"/>
            <a:lstStyle/>
            <a:p>
              <a:pPr algn="ctr" defTabSz="801688" eaLnBrk="0" hangingPunct="0">
                <a:defRPr/>
              </a:pPr>
              <a:r>
                <a:rPr lang="de-DE" sz="1600" b="1" noProof="1">
                  <a:solidFill>
                    <a:schemeClr val="bg1"/>
                  </a:solidFill>
                  <a:latin typeface="Myriad Pro" pitchFamily="34" charset="0"/>
                </a:rPr>
                <a:t>1</a:t>
              </a:r>
            </a:p>
          </p:txBody>
        </p:sp>
      </p:grpSp>
      <p:grpSp>
        <p:nvGrpSpPr>
          <p:cNvPr id="20" name="Gruppieren 137"/>
          <p:cNvGrpSpPr/>
          <p:nvPr/>
        </p:nvGrpSpPr>
        <p:grpSpPr>
          <a:xfrm>
            <a:off x="1823187" y="930009"/>
            <a:ext cx="6301404" cy="2901262"/>
            <a:chOff x="1823187" y="930009"/>
            <a:chExt cx="6301404" cy="2901262"/>
          </a:xfrm>
        </p:grpSpPr>
        <p:grpSp>
          <p:nvGrpSpPr>
            <p:cNvPr id="21" name="Group 96"/>
            <p:cNvGrpSpPr>
              <a:grpSpLocks noChangeAspect="1"/>
            </p:cNvGrpSpPr>
            <p:nvPr/>
          </p:nvGrpSpPr>
          <p:grpSpPr bwMode="auto">
            <a:xfrm>
              <a:off x="7674925" y="1410787"/>
              <a:ext cx="449666" cy="466395"/>
              <a:chOff x="4062" y="700"/>
              <a:chExt cx="1522" cy="1578"/>
            </a:xfrm>
          </p:grpSpPr>
          <p:pic>
            <p:nvPicPr>
              <p:cNvPr id="108" name="Picture 97" descr="Europäische-Union"/>
              <p:cNvPicPr>
                <a:picLocks noChangeAspect="1" noChangeArrowheads="1"/>
              </p:cNvPicPr>
              <p:nvPr/>
            </p:nvPicPr>
            <p:blipFill>
              <a:blip r:embed="rId19"/>
              <a:srcRect/>
              <a:stretch>
                <a:fillRect/>
              </a:stretch>
            </p:blipFill>
            <p:spPr bwMode="auto">
              <a:xfrm>
                <a:off x="4062" y="700"/>
                <a:ext cx="987" cy="1578"/>
              </a:xfrm>
              <a:prstGeom prst="rect">
                <a:avLst/>
              </a:prstGeom>
              <a:noFill/>
            </p:spPr>
          </p:pic>
          <p:sp>
            <p:nvSpPr>
              <p:cNvPr id="109" name="Freeform 98"/>
              <p:cNvSpPr>
                <a:spLocks noChangeAspect="1"/>
              </p:cNvSpPr>
              <p:nvPr/>
            </p:nvSpPr>
            <p:spPr bwMode="auto">
              <a:xfrm>
                <a:off x="4219" y="1627"/>
                <a:ext cx="1365" cy="581"/>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22" name="Group 71"/>
            <p:cNvGrpSpPr>
              <a:grpSpLocks/>
            </p:cNvGrpSpPr>
            <p:nvPr/>
          </p:nvGrpSpPr>
          <p:grpSpPr bwMode="auto">
            <a:xfrm>
              <a:off x="7420752" y="3266438"/>
              <a:ext cx="450000" cy="468000"/>
              <a:chOff x="1548" y="1653"/>
              <a:chExt cx="890" cy="921"/>
            </a:xfrm>
          </p:grpSpPr>
          <p:pic>
            <p:nvPicPr>
              <p:cNvPr id="111" name="Picture 31" descr="Deutschland"/>
              <p:cNvPicPr>
                <a:picLocks noChangeAspect="1" noChangeArrowheads="1"/>
              </p:cNvPicPr>
              <p:nvPr/>
            </p:nvPicPr>
            <p:blipFill>
              <a:blip r:embed="rId21"/>
              <a:srcRect/>
              <a:stretch>
                <a:fillRect/>
              </a:stretch>
            </p:blipFill>
            <p:spPr bwMode="auto">
              <a:xfrm>
                <a:off x="1548" y="1653"/>
                <a:ext cx="576" cy="921"/>
              </a:xfrm>
              <a:prstGeom prst="rect">
                <a:avLst/>
              </a:prstGeom>
              <a:noFill/>
            </p:spPr>
          </p:pic>
          <p:sp>
            <p:nvSpPr>
              <p:cNvPr id="112" name="Freeform 32"/>
              <p:cNvSpPr>
                <a:spLocks/>
              </p:cNvSpPr>
              <p:nvPr/>
            </p:nvSpPr>
            <p:spPr bwMode="auto">
              <a:xfrm>
                <a:off x="1642" y="2191"/>
                <a:ext cx="796" cy="338"/>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23" name="Group 71"/>
            <p:cNvGrpSpPr>
              <a:grpSpLocks/>
            </p:cNvGrpSpPr>
            <p:nvPr/>
          </p:nvGrpSpPr>
          <p:grpSpPr bwMode="auto">
            <a:xfrm>
              <a:off x="6741485" y="930009"/>
              <a:ext cx="450000" cy="468000"/>
              <a:chOff x="1548" y="1653"/>
              <a:chExt cx="890" cy="921"/>
            </a:xfrm>
          </p:grpSpPr>
          <p:pic>
            <p:nvPicPr>
              <p:cNvPr id="114" name="Picture 31" descr="Deutschland"/>
              <p:cNvPicPr>
                <a:picLocks noChangeAspect="1" noChangeArrowheads="1"/>
              </p:cNvPicPr>
              <p:nvPr/>
            </p:nvPicPr>
            <p:blipFill>
              <a:blip r:embed="rId21"/>
              <a:srcRect/>
              <a:stretch>
                <a:fillRect/>
              </a:stretch>
            </p:blipFill>
            <p:spPr bwMode="auto">
              <a:xfrm>
                <a:off x="1548" y="1653"/>
                <a:ext cx="576" cy="921"/>
              </a:xfrm>
              <a:prstGeom prst="rect">
                <a:avLst/>
              </a:prstGeom>
              <a:noFill/>
            </p:spPr>
          </p:pic>
          <p:sp>
            <p:nvSpPr>
              <p:cNvPr id="115" name="Freeform 32"/>
              <p:cNvSpPr>
                <a:spLocks/>
              </p:cNvSpPr>
              <p:nvPr/>
            </p:nvSpPr>
            <p:spPr bwMode="auto">
              <a:xfrm>
                <a:off x="1642" y="2191"/>
                <a:ext cx="796" cy="338"/>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grpSp>
          <p:nvGrpSpPr>
            <p:cNvPr id="24" name="Group 71"/>
            <p:cNvGrpSpPr>
              <a:grpSpLocks/>
            </p:cNvGrpSpPr>
            <p:nvPr/>
          </p:nvGrpSpPr>
          <p:grpSpPr bwMode="auto">
            <a:xfrm>
              <a:off x="6181299" y="2491783"/>
              <a:ext cx="450000" cy="468000"/>
              <a:chOff x="1548" y="1653"/>
              <a:chExt cx="890" cy="921"/>
            </a:xfrm>
          </p:grpSpPr>
          <p:pic>
            <p:nvPicPr>
              <p:cNvPr id="117" name="Picture 31" descr="Deutschland"/>
              <p:cNvPicPr>
                <a:picLocks noChangeAspect="1" noChangeArrowheads="1"/>
              </p:cNvPicPr>
              <p:nvPr/>
            </p:nvPicPr>
            <p:blipFill>
              <a:blip r:embed="rId21"/>
              <a:srcRect/>
              <a:stretch>
                <a:fillRect/>
              </a:stretch>
            </p:blipFill>
            <p:spPr bwMode="auto">
              <a:xfrm>
                <a:off x="1548" y="1653"/>
                <a:ext cx="576" cy="921"/>
              </a:xfrm>
              <a:prstGeom prst="rect">
                <a:avLst/>
              </a:prstGeom>
              <a:noFill/>
            </p:spPr>
          </p:pic>
          <p:sp>
            <p:nvSpPr>
              <p:cNvPr id="118" name="Freeform 32"/>
              <p:cNvSpPr>
                <a:spLocks/>
              </p:cNvSpPr>
              <p:nvPr/>
            </p:nvSpPr>
            <p:spPr bwMode="auto">
              <a:xfrm>
                <a:off x="1642" y="2191"/>
                <a:ext cx="796" cy="338"/>
              </a:xfrm>
              <a:custGeom>
                <a:avLst/>
                <a:gdLst/>
                <a:ahLst/>
                <a:cxnLst>
                  <a:cxn ang="0">
                    <a:pos x="1400" y="0"/>
                  </a:cxn>
                  <a:cxn ang="0">
                    <a:pos x="729" y="176"/>
                  </a:cxn>
                  <a:cxn ang="0">
                    <a:pos x="841" y="336"/>
                  </a:cxn>
                  <a:cxn ang="0">
                    <a:pos x="299" y="593"/>
                  </a:cxn>
                  <a:cxn ang="0">
                    <a:pos x="0" y="767"/>
                  </a:cxn>
                  <a:cxn ang="0">
                    <a:pos x="397" y="617"/>
                  </a:cxn>
                  <a:cxn ang="0">
                    <a:pos x="953" y="350"/>
                  </a:cxn>
                  <a:cxn ang="0">
                    <a:pos x="1027" y="352"/>
                  </a:cxn>
                  <a:cxn ang="0">
                    <a:pos x="1699" y="176"/>
                  </a:cxn>
                  <a:cxn ang="0">
                    <a:pos x="1400" y="0"/>
                  </a:cxn>
                </a:cxnLst>
                <a:rect l="0" t="0" r="r" b="b"/>
                <a:pathLst>
                  <a:path w="1801" h="767">
                    <a:moveTo>
                      <a:pt x="1400" y="0"/>
                    </a:moveTo>
                    <a:cubicBezTo>
                      <a:pt x="1132" y="0"/>
                      <a:pt x="831" y="79"/>
                      <a:pt x="729" y="176"/>
                    </a:cubicBezTo>
                    <a:cubicBezTo>
                      <a:pt x="653" y="247"/>
                      <a:pt x="704" y="308"/>
                      <a:pt x="841" y="336"/>
                    </a:cubicBezTo>
                    <a:cubicBezTo>
                      <a:pt x="299" y="593"/>
                      <a:pt x="299" y="593"/>
                      <a:pt x="299" y="593"/>
                    </a:cubicBezTo>
                    <a:cubicBezTo>
                      <a:pt x="0" y="767"/>
                      <a:pt x="0" y="767"/>
                      <a:pt x="0" y="767"/>
                    </a:cubicBezTo>
                    <a:cubicBezTo>
                      <a:pt x="397" y="617"/>
                      <a:pt x="397" y="617"/>
                      <a:pt x="397" y="617"/>
                    </a:cubicBezTo>
                    <a:cubicBezTo>
                      <a:pt x="953" y="350"/>
                      <a:pt x="953" y="350"/>
                      <a:pt x="953" y="350"/>
                    </a:cubicBezTo>
                    <a:cubicBezTo>
                      <a:pt x="976" y="351"/>
                      <a:pt x="1001" y="352"/>
                      <a:pt x="1027" y="352"/>
                    </a:cubicBezTo>
                    <a:cubicBezTo>
                      <a:pt x="1295" y="352"/>
                      <a:pt x="1596" y="273"/>
                      <a:pt x="1699" y="176"/>
                    </a:cubicBezTo>
                    <a:cubicBezTo>
                      <a:pt x="1801" y="79"/>
                      <a:pt x="1668" y="0"/>
                      <a:pt x="1400" y="0"/>
                    </a:cubicBezTo>
                    <a:close/>
                  </a:path>
                </a:pathLst>
              </a:custGeom>
              <a:solidFill>
                <a:schemeClr val="tx1">
                  <a:alpha val="50000"/>
                </a:schemeClr>
              </a:solidFill>
              <a:ln w="9525" cap="flat" cmpd="sng">
                <a:noFill/>
                <a:prstDash val="solid"/>
                <a:round/>
                <a:headEnd type="none" w="med" len="med"/>
                <a:tailEnd type="none" w="med" len="med"/>
              </a:ln>
              <a:effectLst/>
            </p:spPr>
            <p:txBody>
              <a:bodyPr/>
              <a:lstStyle/>
              <a:p>
                <a:endParaRPr lang="en-US"/>
              </a:p>
            </p:txBody>
          </p:sp>
        </p:grpSp>
        <p:pic>
          <p:nvPicPr>
            <p:cNvPr id="150" name="Grafik 149" descr="maus_wischen.png"/>
            <p:cNvPicPr>
              <a:picLocks noChangeAspect="1"/>
            </p:cNvPicPr>
            <p:nvPr/>
          </p:nvPicPr>
          <p:blipFill>
            <a:blip r:embed="rId22" cstate="print"/>
            <a:stretch>
              <a:fillRect/>
            </a:stretch>
          </p:blipFill>
          <p:spPr>
            <a:xfrm>
              <a:off x="4012101" y="3121659"/>
              <a:ext cx="1423987" cy="709612"/>
            </a:xfrm>
            <a:prstGeom prst="rect">
              <a:avLst/>
            </a:prstGeom>
            <a:effectLst>
              <a:outerShdw blurRad="50800" dist="38100" dir="2700000" algn="tl" rotWithShape="0">
                <a:prstClr val="black">
                  <a:alpha val="40000"/>
                </a:prstClr>
              </a:outerShdw>
            </a:effectLst>
          </p:spPr>
        </p:pic>
        <p:grpSp>
          <p:nvGrpSpPr>
            <p:cNvPr id="25" name="Gruppieren 146"/>
            <p:cNvGrpSpPr/>
            <p:nvPr/>
          </p:nvGrpSpPr>
          <p:grpSpPr bwMode="auto">
            <a:xfrm>
              <a:off x="3091061" y="3426038"/>
              <a:ext cx="516974" cy="342900"/>
              <a:chOff x="7027139" y="784239"/>
              <a:chExt cx="517075" cy="343745"/>
            </a:xfrm>
            <a:effectLst>
              <a:outerShdw blurRad="50800" dist="38100" dir="2700000" algn="tl" rotWithShape="0">
                <a:prstClr val="black">
                  <a:alpha val="40000"/>
                </a:prstClr>
              </a:outerShdw>
            </a:effectLst>
          </p:grpSpPr>
          <p:sp>
            <p:nvSpPr>
              <p:cNvPr id="152" name="AutoShape 74"/>
              <p:cNvSpPr>
                <a:spLocks noChangeAspect="1" noChangeArrowheads="1" noTextEdit="1"/>
              </p:cNvSpPr>
              <p:nvPr/>
            </p:nvSpPr>
            <p:spPr bwMode="gray">
              <a:xfrm>
                <a:off x="7027139" y="784239"/>
                <a:ext cx="517075" cy="343745"/>
              </a:xfrm>
              <a:prstGeom prst="rect">
                <a:avLst/>
              </a:prstGeom>
              <a:noFill/>
              <a:ln w="9525">
                <a:noFill/>
                <a:miter lim="800000"/>
                <a:headEnd/>
                <a:tailEnd/>
              </a:ln>
            </p:spPr>
            <p:txBody>
              <a:bodyPr/>
              <a:lstStyle/>
              <a:p>
                <a:pPr>
                  <a:defRPr/>
                </a:pPr>
                <a:endParaRPr lang="de-DE">
                  <a:latin typeface="Myriad Pro" pitchFamily="34" charset="0"/>
                </a:endParaRPr>
              </a:p>
            </p:txBody>
          </p:sp>
          <p:sp>
            <p:nvSpPr>
              <p:cNvPr id="153" name="Freeform 75"/>
              <p:cNvSpPr>
                <a:spLocks/>
              </p:cNvSpPr>
              <p:nvPr/>
            </p:nvSpPr>
            <p:spPr bwMode="gray">
              <a:xfrm>
                <a:off x="7033261" y="787025"/>
                <a:ext cx="500933" cy="337060"/>
              </a:xfrm>
              <a:custGeom>
                <a:avLst/>
                <a:gdLst>
                  <a:gd name="T0" fmla="*/ 158630 w 247"/>
                  <a:gd name="T1" fmla="*/ 17252 h 256"/>
                  <a:gd name="T2" fmla="*/ 144543 w 247"/>
                  <a:gd name="T3" fmla="*/ 18873 h 256"/>
                  <a:gd name="T4" fmla="*/ 14804 w 247"/>
                  <a:gd name="T5" fmla="*/ 18873 h 256"/>
                  <a:gd name="T6" fmla="*/ 0 w 247"/>
                  <a:gd name="T7" fmla="*/ 17252 h 256"/>
                  <a:gd name="T8" fmla="*/ 0 w 247"/>
                  <a:gd name="T9" fmla="*/ 1626 h 256"/>
                  <a:gd name="T10" fmla="*/ 14804 w 247"/>
                  <a:gd name="T11" fmla="*/ 0 h 256"/>
                  <a:gd name="T12" fmla="*/ 144543 w 247"/>
                  <a:gd name="T13" fmla="*/ 0 h 256"/>
                  <a:gd name="T14" fmla="*/ 158630 w 247"/>
                  <a:gd name="T15" fmla="*/ 1626 h 256"/>
                  <a:gd name="T16" fmla="*/ 158630 w 247"/>
                  <a:gd name="T17" fmla="*/ 17252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7"/>
                  <a:gd name="T28" fmla="*/ 0 h 256"/>
                  <a:gd name="T29" fmla="*/ 247 w 24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7" h="256">
                    <a:moveTo>
                      <a:pt x="247" y="234"/>
                    </a:moveTo>
                    <a:cubicBezTo>
                      <a:pt x="247" y="246"/>
                      <a:pt x="237" y="256"/>
                      <a:pt x="225" y="256"/>
                    </a:cubicBezTo>
                    <a:cubicBezTo>
                      <a:pt x="23" y="256"/>
                      <a:pt x="23" y="256"/>
                      <a:pt x="23" y="256"/>
                    </a:cubicBezTo>
                    <a:cubicBezTo>
                      <a:pt x="10" y="256"/>
                      <a:pt x="0" y="246"/>
                      <a:pt x="0" y="234"/>
                    </a:cubicBezTo>
                    <a:cubicBezTo>
                      <a:pt x="0" y="22"/>
                      <a:pt x="0" y="22"/>
                      <a:pt x="0" y="22"/>
                    </a:cubicBezTo>
                    <a:cubicBezTo>
                      <a:pt x="0" y="10"/>
                      <a:pt x="10" y="0"/>
                      <a:pt x="23" y="0"/>
                    </a:cubicBezTo>
                    <a:cubicBezTo>
                      <a:pt x="225" y="0"/>
                      <a:pt x="225" y="0"/>
                      <a:pt x="225" y="0"/>
                    </a:cubicBezTo>
                    <a:cubicBezTo>
                      <a:pt x="237" y="0"/>
                      <a:pt x="247" y="10"/>
                      <a:pt x="247" y="22"/>
                    </a:cubicBezTo>
                    <a:lnTo>
                      <a:pt x="247" y="234"/>
                    </a:lnTo>
                    <a:close/>
                  </a:path>
                </a:pathLst>
              </a:custGeom>
              <a:solidFill>
                <a:srgbClr val="E0E0DE"/>
              </a:solidFill>
              <a:ln w="9525">
                <a:noFill/>
                <a:round/>
                <a:headEnd/>
                <a:tailEnd/>
              </a:ln>
            </p:spPr>
            <p:txBody>
              <a:bodyPr/>
              <a:lstStyle/>
              <a:p>
                <a:pPr>
                  <a:defRPr/>
                </a:pPr>
                <a:endParaRPr lang="de-DE">
                  <a:latin typeface="Myriad Pro" pitchFamily="34" charset="0"/>
                </a:endParaRPr>
              </a:p>
            </p:txBody>
          </p:sp>
          <p:sp>
            <p:nvSpPr>
              <p:cNvPr id="154" name="Freeform 76"/>
              <p:cNvSpPr>
                <a:spLocks/>
              </p:cNvSpPr>
              <p:nvPr/>
            </p:nvSpPr>
            <p:spPr bwMode="gray">
              <a:xfrm>
                <a:off x="7086138" y="804295"/>
                <a:ext cx="291655" cy="255163"/>
              </a:xfrm>
              <a:custGeom>
                <a:avLst/>
                <a:gdLst>
                  <a:gd name="T0" fmla="*/ 130119 w 132"/>
                  <a:gd name="T1" fmla="*/ 5132 h 194"/>
                  <a:gd name="T2" fmla="*/ 111477 w 132"/>
                  <a:gd name="T3" fmla="*/ 0 h 194"/>
                  <a:gd name="T4" fmla="*/ 22584 w 132"/>
                  <a:gd name="T5" fmla="*/ 0 h 194"/>
                  <a:gd name="T6" fmla="*/ 0 w 132"/>
                  <a:gd name="T7" fmla="*/ 1671 h 194"/>
                  <a:gd name="T8" fmla="*/ 0 w 132"/>
                  <a:gd name="T9" fmla="*/ 12607 h 194"/>
                  <a:gd name="T10" fmla="*/ 18642 w 132"/>
                  <a:gd name="T11" fmla="*/ 14224 h 194"/>
                  <a:gd name="T12" fmla="*/ 130119 w 132"/>
                  <a:gd name="T13" fmla="*/ 5132 h 194"/>
                  <a:gd name="T14" fmla="*/ 0 60000 65536"/>
                  <a:gd name="T15" fmla="*/ 0 60000 65536"/>
                  <a:gd name="T16" fmla="*/ 0 60000 65536"/>
                  <a:gd name="T17" fmla="*/ 0 60000 65536"/>
                  <a:gd name="T18" fmla="*/ 0 60000 65536"/>
                  <a:gd name="T19" fmla="*/ 0 60000 65536"/>
                  <a:gd name="T20" fmla="*/ 0 60000 65536"/>
                  <a:gd name="T21" fmla="*/ 0 w 132"/>
                  <a:gd name="T22" fmla="*/ 0 h 194"/>
                  <a:gd name="T23" fmla="*/ 132 w 132"/>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 h="194">
                    <a:moveTo>
                      <a:pt x="132" y="70"/>
                    </a:moveTo>
                    <a:cubicBezTo>
                      <a:pt x="132" y="44"/>
                      <a:pt x="125" y="20"/>
                      <a:pt x="113" y="0"/>
                    </a:cubicBezTo>
                    <a:cubicBezTo>
                      <a:pt x="23" y="0"/>
                      <a:pt x="23" y="0"/>
                      <a:pt x="23" y="0"/>
                    </a:cubicBezTo>
                    <a:cubicBezTo>
                      <a:pt x="10" y="0"/>
                      <a:pt x="0" y="11"/>
                      <a:pt x="0" y="23"/>
                    </a:cubicBezTo>
                    <a:cubicBezTo>
                      <a:pt x="0" y="172"/>
                      <a:pt x="0" y="172"/>
                      <a:pt x="0" y="172"/>
                    </a:cubicBezTo>
                    <a:cubicBezTo>
                      <a:pt x="0" y="183"/>
                      <a:pt x="8" y="192"/>
                      <a:pt x="19" y="194"/>
                    </a:cubicBezTo>
                    <a:cubicBezTo>
                      <a:pt x="81" y="193"/>
                      <a:pt x="132" y="138"/>
                      <a:pt x="132" y="70"/>
                    </a:cubicBezTo>
                    <a:close/>
                  </a:path>
                </a:pathLst>
              </a:custGeom>
              <a:solidFill>
                <a:srgbClr val="DEDEDC"/>
              </a:solidFill>
              <a:ln w="9525">
                <a:noFill/>
                <a:round/>
                <a:headEnd/>
                <a:tailEnd/>
              </a:ln>
            </p:spPr>
            <p:txBody>
              <a:bodyPr/>
              <a:lstStyle/>
              <a:p>
                <a:pPr>
                  <a:defRPr/>
                </a:pPr>
                <a:endParaRPr lang="de-DE">
                  <a:latin typeface="Myriad Pro" pitchFamily="34" charset="0"/>
                </a:endParaRPr>
              </a:p>
            </p:txBody>
          </p:sp>
          <p:sp>
            <p:nvSpPr>
              <p:cNvPr id="155" name="Freeform 77"/>
              <p:cNvSpPr>
                <a:spLocks/>
              </p:cNvSpPr>
              <p:nvPr/>
            </p:nvSpPr>
            <p:spPr bwMode="gray">
              <a:xfrm>
                <a:off x="7172966" y="806524"/>
                <a:ext cx="342305" cy="255720"/>
              </a:xfrm>
              <a:custGeom>
                <a:avLst/>
                <a:gdLst>
                  <a:gd name="T0" fmla="*/ 128856 w 155"/>
                  <a:gd name="T1" fmla="*/ 0 h 194"/>
                  <a:gd name="T2" fmla="*/ 43356 w 155"/>
                  <a:gd name="T3" fmla="*/ 0 h 194"/>
                  <a:gd name="T4" fmla="*/ 81517 w 155"/>
                  <a:gd name="T5" fmla="*/ 4730 h 194"/>
                  <a:gd name="T6" fmla="*/ 0 w 155"/>
                  <a:gd name="T7" fmla="*/ 14380 h 194"/>
                  <a:gd name="T8" fmla="*/ 128856 w 155"/>
                  <a:gd name="T9" fmla="*/ 14380 h 194"/>
                  <a:gd name="T10" fmla="*/ 152409 w 155"/>
                  <a:gd name="T11" fmla="*/ 12691 h 194"/>
                  <a:gd name="T12" fmla="*/ 152409 w 155"/>
                  <a:gd name="T13" fmla="*/ 1630 h 194"/>
                  <a:gd name="T14" fmla="*/ 128856 w 155"/>
                  <a:gd name="T15" fmla="*/ 0 h 194"/>
                  <a:gd name="T16" fmla="*/ 0 60000 65536"/>
                  <a:gd name="T17" fmla="*/ 0 60000 65536"/>
                  <a:gd name="T18" fmla="*/ 0 60000 65536"/>
                  <a:gd name="T19" fmla="*/ 0 60000 65536"/>
                  <a:gd name="T20" fmla="*/ 0 60000 65536"/>
                  <a:gd name="T21" fmla="*/ 0 60000 65536"/>
                  <a:gd name="T22" fmla="*/ 0 60000 65536"/>
                  <a:gd name="T23" fmla="*/ 0 60000 65536"/>
                  <a:gd name="T24" fmla="*/ 0 w 155"/>
                  <a:gd name="T25" fmla="*/ 0 h 194"/>
                  <a:gd name="T26" fmla="*/ 155 w 155"/>
                  <a:gd name="T27" fmla="*/ 194 h 19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5" h="194">
                    <a:moveTo>
                      <a:pt x="131" y="0"/>
                    </a:moveTo>
                    <a:cubicBezTo>
                      <a:pt x="44" y="0"/>
                      <a:pt x="44" y="0"/>
                      <a:pt x="44" y="0"/>
                    </a:cubicBezTo>
                    <a:cubicBezTo>
                      <a:pt x="44" y="0"/>
                      <a:pt x="80" y="19"/>
                      <a:pt x="83" y="64"/>
                    </a:cubicBezTo>
                    <a:cubicBezTo>
                      <a:pt x="87" y="108"/>
                      <a:pt x="57" y="178"/>
                      <a:pt x="0" y="194"/>
                    </a:cubicBezTo>
                    <a:cubicBezTo>
                      <a:pt x="131" y="194"/>
                      <a:pt x="131" y="194"/>
                      <a:pt x="131" y="194"/>
                    </a:cubicBezTo>
                    <a:cubicBezTo>
                      <a:pt x="144" y="194"/>
                      <a:pt x="155" y="183"/>
                      <a:pt x="155" y="171"/>
                    </a:cubicBezTo>
                    <a:cubicBezTo>
                      <a:pt x="155" y="22"/>
                      <a:pt x="155" y="22"/>
                      <a:pt x="155" y="22"/>
                    </a:cubicBezTo>
                    <a:cubicBezTo>
                      <a:pt x="155" y="10"/>
                      <a:pt x="144" y="0"/>
                      <a:pt x="131" y="0"/>
                    </a:cubicBezTo>
                    <a:close/>
                  </a:path>
                </a:pathLst>
              </a:custGeom>
              <a:solidFill>
                <a:srgbClr val="E7E6E5"/>
              </a:solidFill>
              <a:ln w="9525">
                <a:noFill/>
                <a:round/>
                <a:headEnd/>
                <a:tailEnd/>
              </a:ln>
            </p:spPr>
            <p:txBody>
              <a:bodyPr/>
              <a:lstStyle/>
              <a:p>
                <a:pPr>
                  <a:defRPr/>
                </a:pPr>
                <a:endParaRPr lang="de-DE">
                  <a:latin typeface="Myriad Pro" pitchFamily="34" charset="0"/>
                </a:endParaRPr>
              </a:p>
            </p:txBody>
          </p:sp>
          <p:sp>
            <p:nvSpPr>
              <p:cNvPr id="156" name="Freeform 78"/>
              <p:cNvSpPr>
                <a:spLocks/>
              </p:cNvSpPr>
              <p:nvPr/>
            </p:nvSpPr>
            <p:spPr bwMode="gray">
              <a:xfrm>
                <a:off x="7037157" y="789810"/>
                <a:ext cx="497037" cy="334274"/>
              </a:xfrm>
              <a:custGeom>
                <a:avLst/>
                <a:gdLst>
                  <a:gd name="T0" fmla="*/ 152488 w 245"/>
                  <a:gd name="T1" fmla="*/ 222 h 254"/>
                  <a:gd name="T2" fmla="*/ 152488 w 245"/>
                  <a:gd name="T3" fmla="*/ 222 h 254"/>
                  <a:gd name="T4" fmla="*/ 139603 w 245"/>
                  <a:gd name="T5" fmla="*/ 1188 h 254"/>
                  <a:gd name="T6" fmla="*/ 144014 w 245"/>
                  <a:gd name="T7" fmla="*/ 2717 h 254"/>
                  <a:gd name="T8" fmla="*/ 143481 w 245"/>
                  <a:gd name="T9" fmla="*/ 4046 h 254"/>
                  <a:gd name="T10" fmla="*/ 143481 w 245"/>
                  <a:gd name="T11" fmla="*/ 13443 h 254"/>
                  <a:gd name="T12" fmla="*/ 143481 w 245"/>
                  <a:gd name="T13" fmla="*/ 13828 h 254"/>
                  <a:gd name="T14" fmla="*/ 129387 w 245"/>
                  <a:gd name="T15" fmla="*/ 15161 h 254"/>
                  <a:gd name="T16" fmla="*/ 30172 w 245"/>
                  <a:gd name="T17" fmla="*/ 15161 h 254"/>
                  <a:gd name="T18" fmla="*/ 28962 w 245"/>
                  <a:gd name="T19" fmla="*/ 15066 h 254"/>
                  <a:gd name="T20" fmla="*/ 0 w 245"/>
                  <a:gd name="T21" fmla="*/ 17650 h 254"/>
                  <a:gd name="T22" fmla="*/ 13603 w 245"/>
                  <a:gd name="T23" fmla="*/ 18676 h 254"/>
                  <a:gd name="T24" fmla="*/ 143481 w 245"/>
                  <a:gd name="T25" fmla="*/ 18676 h 254"/>
                  <a:gd name="T26" fmla="*/ 157616 w 245"/>
                  <a:gd name="T27" fmla="*/ 17057 h 254"/>
                  <a:gd name="T28" fmla="*/ 157616 w 245"/>
                  <a:gd name="T29" fmla="*/ 1462 h 254"/>
                  <a:gd name="T30" fmla="*/ 152488 w 245"/>
                  <a:gd name="T31" fmla="*/ 222 h 25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5"/>
                  <a:gd name="T49" fmla="*/ 0 h 254"/>
                  <a:gd name="T50" fmla="*/ 245 w 245"/>
                  <a:gd name="T51" fmla="*/ 254 h 25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5" h="254">
                    <a:moveTo>
                      <a:pt x="237" y="3"/>
                    </a:moveTo>
                    <a:cubicBezTo>
                      <a:pt x="237" y="3"/>
                      <a:pt x="237" y="3"/>
                      <a:pt x="237" y="3"/>
                    </a:cubicBezTo>
                    <a:cubicBezTo>
                      <a:pt x="220" y="0"/>
                      <a:pt x="217" y="8"/>
                      <a:pt x="217" y="16"/>
                    </a:cubicBezTo>
                    <a:cubicBezTo>
                      <a:pt x="222" y="22"/>
                      <a:pt x="224" y="29"/>
                      <a:pt x="224" y="37"/>
                    </a:cubicBezTo>
                    <a:cubicBezTo>
                      <a:pt x="224" y="42"/>
                      <a:pt x="225" y="50"/>
                      <a:pt x="223" y="55"/>
                    </a:cubicBezTo>
                    <a:cubicBezTo>
                      <a:pt x="223" y="183"/>
                      <a:pt x="223" y="183"/>
                      <a:pt x="223" y="183"/>
                    </a:cubicBezTo>
                    <a:cubicBezTo>
                      <a:pt x="223" y="185"/>
                      <a:pt x="223" y="186"/>
                      <a:pt x="223" y="188"/>
                    </a:cubicBezTo>
                    <a:cubicBezTo>
                      <a:pt x="220" y="198"/>
                      <a:pt x="211" y="206"/>
                      <a:pt x="201" y="206"/>
                    </a:cubicBezTo>
                    <a:cubicBezTo>
                      <a:pt x="47" y="206"/>
                      <a:pt x="47" y="206"/>
                      <a:pt x="47" y="206"/>
                    </a:cubicBezTo>
                    <a:cubicBezTo>
                      <a:pt x="46" y="206"/>
                      <a:pt x="46" y="205"/>
                      <a:pt x="45" y="205"/>
                    </a:cubicBezTo>
                    <a:cubicBezTo>
                      <a:pt x="21" y="205"/>
                      <a:pt x="5" y="211"/>
                      <a:pt x="0" y="240"/>
                    </a:cubicBezTo>
                    <a:cubicBezTo>
                      <a:pt x="3" y="248"/>
                      <a:pt x="11" y="254"/>
                      <a:pt x="21" y="254"/>
                    </a:cubicBezTo>
                    <a:cubicBezTo>
                      <a:pt x="223" y="254"/>
                      <a:pt x="223" y="254"/>
                      <a:pt x="223" y="254"/>
                    </a:cubicBezTo>
                    <a:cubicBezTo>
                      <a:pt x="235" y="254"/>
                      <a:pt x="245" y="244"/>
                      <a:pt x="245" y="232"/>
                    </a:cubicBezTo>
                    <a:cubicBezTo>
                      <a:pt x="245" y="20"/>
                      <a:pt x="245" y="20"/>
                      <a:pt x="245" y="20"/>
                    </a:cubicBezTo>
                    <a:cubicBezTo>
                      <a:pt x="245" y="13"/>
                      <a:pt x="242" y="7"/>
                      <a:pt x="237" y="3"/>
                    </a:cubicBezTo>
                    <a:close/>
                  </a:path>
                </a:pathLst>
              </a:custGeom>
              <a:solidFill>
                <a:srgbClr val="CDCEC0"/>
              </a:solidFill>
              <a:ln w="9525">
                <a:noFill/>
                <a:round/>
                <a:headEnd/>
                <a:tailEnd/>
              </a:ln>
            </p:spPr>
            <p:txBody>
              <a:bodyPr/>
              <a:lstStyle/>
              <a:p>
                <a:pPr>
                  <a:defRPr/>
                </a:pPr>
                <a:endParaRPr lang="de-DE">
                  <a:latin typeface="Myriad Pro" pitchFamily="34" charset="0"/>
                </a:endParaRPr>
              </a:p>
            </p:txBody>
          </p:sp>
          <p:sp>
            <p:nvSpPr>
              <p:cNvPr id="157" name="Freeform 79"/>
              <p:cNvSpPr>
                <a:spLocks/>
              </p:cNvSpPr>
              <p:nvPr/>
            </p:nvSpPr>
            <p:spPr bwMode="gray">
              <a:xfrm>
                <a:off x="7083911" y="804295"/>
                <a:ext cx="401303" cy="256277"/>
              </a:xfrm>
              <a:custGeom>
                <a:avLst/>
                <a:gdLst>
                  <a:gd name="T0" fmla="*/ 126750 w 198"/>
                  <a:gd name="T1" fmla="*/ 12576 h 195"/>
                  <a:gd name="T2" fmla="*/ 112021 w 198"/>
                  <a:gd name="T3" fmla="*/ 14241 h 195"/>
                  <a:gd name="T4" fmla="*/ 14773 w 198"/>
                  <a:gd name="T5" fmla="*/ 14241 h 195"/>
                  <a:gd name="T6" fmla="*/ 0 w 198"/>
                  <a:gd name="T7" fmla="*/ 12576 h 195"/>
                  <a:gd name="T8" fmla="*/ 0 w 198"/>
                  <a:gd name="T9" fmla="*/ 1670 h 195"/>
                  <a:gd name="T10" fmla="*/ 14773 w 198"/>
                  <a:gd name="T11" fmla="*/ 0 h 195"/>
                  <a:gd name="T12" fmla="*/ 112021 w 198"/>
                  <a:gd name="T13" fmla="*/ 0 h 195"/>
                  <a:gd name="T14" fmla="*/ 126750 w 198"/>
                  <a:gd name="T15" fmla="*/ 1670 h 195"/>
                  <a:gd name="T16" fmla="*/ 126750 w 198"/>
                  <a:gd name="T17" fmla="*/ 12576 h 1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8"/>
                  <a:gd name="T28" fmla="*/ 0 h 195"/>
                  <a:gd name="T29" fmla="*/ 198 w 198"/>
                  <a:gd name="T30" fmla="*/ 195 h 1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8" h="195">
                    <a:moveTo>
                      <a:pt x="198" y="172"/>
                    </a:moveTo>
                    <a:cubicBezTo>
                      <a:pt x="198" y="184"/>
                      <a:pt x="188" y="195"/>
                      <a:pt x="175" y="195"/>
                    </a:cubicBezTo>
                    <a:cubicBezTo>
                      <a:pt x="23" y="195"/>
                      <a:pt x="23" y="195"/>
                      <a:pt x="23" y="195"/>
                    </a:cubicBezTo>
                    <a:cubicBezTo>
                      <a:pt x="10" y="195"/>
                      <a:pt x="0" y="184"/>
                      <a:pt x="0" y="172"/>
                    </a:cubicBezTo>
                    <a:cubicBezTo>
                      <a:pt x="0" y="23"/>
                      <a:pt x="0" y="23"/>
                      <a:pt x="0" y="23"/>
                    </a:cubicBezTo>
                    <a:cubicBezTo>
                      <a:pt x="0" y="11"/>
                      <a:pt x="10" y="0"/>
                      <a:pt x="23" y="0"/>
                    </a:cubicBezTo>
                    <a:cubicBezTo>
                      <a:pt x="175" y="0"/>
                      <a:pt x="175" y="0"/>
                      <a:pt x="175" y="0"/>
                    </a:cubicBezTo>
                    <a:cubicBezTo>
                      <a:pt x="188" y="0"/>
                      <a:pt x="198" y="11"/>
                      <a:pt x="198" y="23"/>
                    </a:cubicBezTo>
                    <a:lnTo>
                      <a:pt x="198" y="172"/>
                    </a:lnTo>
                    <a:close/>
                  </a:path>
                </a:pathLst>
              </a:custGeom>
              <a:noFill/>
              <a:ln w="14288">
                <a:solidFill>
                  <a:srgbClr val="FFFFFF"/>
                </a:solidFill>
                <a:miter lim="800000"/>
                <a:headEnd/>
                <a:tailEnd/>
              </a:ln>
            </p:spPr>
            <p:txBody>
              <a:bodyPr/>
              <a:lstStyle/>
              <a:p>
                <a:pPr>
                  <a:defRPr/>
                </a:pPr>
                <a:endParaRPr lang="de-DE">
                  <a:latin typeface="Myriad Pro" pitchFamily="34" charset="0"/>
                </a:endParaRPr>
              </a:p>
            </p:txBody>
          </p:sp>
          <p:sp>
            <p:nvSpPr>
              <p:cNvPr id="158" name="Freeform 80"/>
              <p:cNvSpPr>
                <a:spLocks/>
              </p:cNvSpPr>
              <p:nvPr/>
            </p:nvSpPr>
            <p:spPr bwMode="gray">
              <a:xfrm>
                <a:off x="7046063" y="788139"/>
                <a:ext cx="469208" cy="335946"/>
              </a:xfrm>
              <a:custGeom>
                <a:avLst/>
                <a:gdLst>
                  <a:gd name="T0" fmla="*/ 110744 w 249"/>
                  <a:gd name="T1" fmla="*/ 17161 h 255"/>
                  <a:gd name="T2" fmla="*/ 100510 w 249"/>
                  <a:gd name="T3" fmla="*/ 18856 h 255"/>
                  <a:gd name="T4" fmla="*/ 10248 w 249"/>
                  <a:gd name="T5" fmla="*/ 18856 h 255"/>
                  <a:gd name="T6" fmla="*/ 0 w 249"/>
                  <a:gd name="T7" fmla="*/ 17161 h 255"/>
                  <a:gd name="T8" fmla="*/ 0 w 249"/>
                  <a:gd name="T9" fmla="*/ 1695 h 255"/>
                  <a:gd name="T10" fmla="*/ 10248 w 249"/>
                  <a:gd name="T11" fmla="*/ 0 h 255"/>
                  <a:gd name="T12" fmla="*/ 100510 w 249"/>
                  <a:gd name="T13" fmla="*/ 0 h 255"/>
                  <a:gd name="T14" fmla="*/ 110744 w 249"/>
                  <a:gd name="T15" fmla="*/ 1695 h 255"/>
                  <a:gd name="T16" fmla="*/ 110744 w 249"/>
                  <a:gd name="T17" fmla="*/ 17161 h 2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9"/>
                  <a:gd name="T28" fmla="*/ 0 h 255"/>
                  <a:gd name="T29" fmla="*/ 249 w 249"/>
                  <a:gd name="T30" fmla="*/ 255 h 2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9" h="255">
                    <a:moveTo>
                      <a:pt x="249" y="232"/>
                    </a:moveTo>
                    <a:cubicBezTo>
                      <a:pt x="249" y="245"/>
                      <a:pt x="238" y="255"/>
                      <a:pt x="226" y="255"/>
                    </a:cubicBezTo>
                    <a:cubicBezTo>
                      <a:pt x="23" y="255"/>
                      <a:pt x="23" y="255"/>
                      <a:pt x="23" y="255"/>
                    </a:cubicBezTo>
                    <a:cubicBezTo>
                      <a:pt x="11" y="255"/>
                      <a:pt x="0" y="245"/>
                      <a:pt x="0" y="232"/>
                    </a:cubicBezTo>
                    <a:cubicBezTo>
                      <a:pt x="0" y="23"/>
                      <a:pt x="0" y="23"/>
                      <a:pt x="0" y="23"/>
                    </a:cubicBezTo>
                    <a:cubicBezTo>
                      <a:pt x="0" y="10"/>
                      <a:pt x="11" y="0"/>
                      <a:pt x="23" y="0"/>
                    </a:cubicBezTo>
                    <a:cubicBezTo>
                      <a:pt x="226" y="0"/>
                      <a:pt x="226" y="0"/>
                      <a:pt x="226" y="0"/>
                    </a:cubicBezTo>
                    <a:cubicBezTo>
                      <a:pt x="238" y="0"/>
                      <a:pt x="249" y="10"/>
                      <a:pt x="249" y="23"/>
                    </a:cubicBezTo>
                    <a:lnTo>
                      <a:pt x="249" y="232"/>
                    </a:lnTo>
                    <a:close/>
                  </a:path>
                </a:pathLst>
              </a:custGeom>
              <a:noFill/>
              <a:ln w="14288">
                <a:solidFill>
                  <a:srgbClr val="C6C7C8"/>
                </a:solidFill>
                <a:miter lim="800000"/>
                <a:headEnd/>
                <a:tailEnd/>
              </a:ln>
            </p:spPr>
            <p:txBody>
              <a:bodyPr/>
              <a:lstStyle/>
              <a:p>
                <a:pPr>
                  <a:defRPr/>
                </a:pPr>
                <a:endParaRPr lang="de-DE">
                  <a:latin typeface="Myriad Pro" pitchFamily="34" charset="0"/>
                </a:endParaRPr>
              </a:p>
            </p:txBody>
          </p:sp>
          <p:sp>
            <p:nvSpPr>
              <p:cNvPr id="159" name="Pfeil nach oben 158"/>
              <p:cNvSpPr/>
              <p:nvPr/>
            </p:nvSpPr>
            <p:spPr>
              <a:xfrm>
                <a:off x="7134483" y="875522"/>
                <a:ext cx="162000" cy="108000"/>
              </a:xfrm>
              <a:prstGeom prst="upArrow">
                <a:avLst>
                  <a:gd name="adj1" fmla="val 56614"/>
                  <a:gd name="adj2" fmla="val 56614"/>
                </a:avLst>
              </a:prstGeom>
              <a:noFill/>
              <a:ln w="9906">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Myriad Pro" pitchFamily="34" charset="0"/>
                </a:endParaRPr>
              </a:p>
            </p:txBody>
          </p:sp>
        </p:grpSp>
        <p:grpSp>
          <p:nvGrpSpPr>
            <p:cNvPr id="26" name="Group 45"/>
            <p:cNvGrpSpPr>
              <a:grpSpLocks/>
            </p:cNvGrpSpPr>
            <p:nvPr/>
          </p:nvGrpSpPr>
          <p:grpSpPr bwMode="auto">
            <a:xfrm rot="20287264">
              <a:off x="1823187" y="2926341"/>
              <a:ext cx="327150" cy="532312"/>
              <a:chOff x="1950" y="1045"/>
              <a:chExt cx="568" cy="928"/>
            </a:xfrm>
          </p:grpSpPr>
          <p:sp>
            <p:nvSpPr>
              <p:cNvPr id="205" name="Freeform 46"/>
              <p:cNvSpPr>
                <a:spLocks noEditPoints="1"/>
              </p:cNvSpPr>
              <p:nvPr/>
            </p:nvSpPr>
            <p:spPr bwMode="gray">
              <a:xfrm>
                <a:off x="1950" y="1045"/>
                <a:ext cx="568" cy="928"/>
              </a:xfrm>
              <a:custGeom>
                <a:avLst/>
                <a:gdLst>
                  <a:gd name="T0" fmla="*/ 1749 w 387"/>
                  <a:gd name="T1" fmla="*/ 526 h 632"/>
                  <a:gd name="T2" fmla="*/ 900 w 387"/>
                  <a:gd name="T3" fmla="*/ 0 h 632"/>
                  <a:gd name="T4" fmla="*/ 50 w 387"/>
                  <a:gd name="T5" fmla="*/ 526 h 632"/>
                  <a:gd name="T6" fmla="*/ 28 w 387"/>
                  <a:gd name="T7" fmla="*/ 1175 h 632"/>
                  <a:gd name="T8" fmla="*/ 32 w 387"/>
                  <a:gd name="T9" fmla="*/ 1211 h 632"/>
                  <a:gd name="T10" fmla="*/ 41 w 387"/>
                  <a:gd name="T11" fmla="*/ 1283 h 632"/>
                  <a:gd name="T12" fmla="*/ 60 w 387"/>
                  <a:gd name="T13" fmla="*/ 2050 h 632"/>
                  <a:gd name="T14" fmla="*/ 872 w 387"/>
                  <a:gd name="T15" fmla="*/ 2938 h 632"/>
                  <a:gd name="T16" fmla="*/ 876 w 387"/>
                  <a:gd name="T17" fmla="*/ 2938 h 632"/>
                  <a:gd name="T18" fmla="*/ 876 w 387"/>
                  <a:gd name="T19" fmla="*/ 2938 h 632"/>
                  <a:gd name="T20" fmla="*/ 900 w 387"/>
                  <a:gd name="T21" fmla="*/ 2938 h 632"/>
                  <a:gd name="T22" fmla="*/ 920 w 387"/>
                  <a:gd name="T23" fmla="*/ 2938 h 632"/>
                  <a:gd name="T24" fmla="*/ 925 w 387"/>
                  <a:gd name="T25" fmla="*/ 2938 h 632"/>
                  <a:gd name="T26" fmla="*/ 925 w 387"/>
                  <a:gd name="T27" fmla="*/ 2938 h 632"/>
                  <a:gd name="T28" fmla="*/ 1736 w 387"/>
                  <a:gd name="T29" fmla="*/ 2050 h 632"/>
                  <a:gd name="T30" fmla="*/ 1755 w 387"/>
                  <a:gd name="T31" fmla="*/ 1283 h 632"/>
                  <a:gd name="T32" fmla="*/ 1764 w 387"/>
                  <a:gd name="T33" fmla="*/ 1211 h 632"/>
                  <a:gd name="T34" fmla="*/ 1767 w 387"/>
                  <a:gd name="T35" fmla="*/ 1175 h 632"/>
                  <a:gd name="T36" fmla="*/ 1749 w 387"/>
                  <a:gd name="T37" fmla="*/ 526 h 632"/>
                  <a:gd name="T38" fmla="*/ 1073 w 387"/>
                  <a:gd name="T39" fmla="*/ 695 h 632"/>
                  <a:gd name="T40" fmla="*/ 1073 w 387"/>
                  <a:gd name="T41" fmla="*/ 705 h 632"/>
                  <a:gd name="T42" fmla="*/ 1073 w 387"/>
                  <a:gd name="T43" fmla="*/ 736 h 632"/>
                  <a:gd name="T44" fmla="*/ 1068 w 387"/>
                  <a:gd name="T45" fmla="*/ 749 h 632"/>
                  <a:gd name="T46" fmla="*/ 1068 w 387"/>
                  <a:gd name="T47" fmla="*/ 765 h 632"/>
                  <a:gd name="T48" fmla="*/ 1068 w 387"/>
                  <a:gd name="T49" fmla="*/ 784 h 632"/>
                  <a:gd name="T50" fmla="*/ 1063 w 387"/>
                  <a:gd name="T51" fmla="*/ 805 h 632"/>
                  <a:gd name="T52" fmla="*/ 1063 w 387"/>
                  <a:gd name="T53" fmla="*/ 824 h 632"/>
                  <a:gd name="T54" fmla="*/ 1063 w 387"/>
                  <a:gd name="T55" fmla="*/ 837 h 632"/>
                  <a:gd name="T56" fmla="*/ 1060 w 387"/>
                  <a:gd name="T57" fmla="*/ 853 h 632"/>
                  <a:gd name="T58" fmla="*/ 1060 w 387"/>
                  <a:gd name="T59" fmla="*/ 865 h 632"/>
                  <a:gd name="T60" fmla="*/ 1049 w 387"/>
                  <a:gd name="T61" fmla="*/ 921 h 632"/>
                  <a:gd name="T62" fmla="*/ 1041 w 387"/>
                  <a:gd name="T63" fmla="*/ 953 h 632"/>
                  <a:gd name="T64" fmla="*/ 1014 w 387"/>
                  <a:gd name="T65" fmla="*/ 1032 h 632"/>
                  <a:gd name="T66" fmla="*/ 989 w 387"/>
                  <a:gd name="T67" fmla="*/ 1090 h 632"/>
                  <a:gd name="T68" fmla="*/ 900 w 387"/>
                  <a:gd name="T69" fmla="*/ 1159 h 632"/>
                  <a:gd name="T70" fmla="*/ 900 w 387"/>
                  <a:gd name="T71" fmla="*/ 1159 h 632"/>
                  <a:gd name="T72" fmla="*/ 900 w 387"/>
                  <a:gd name="T73" fmla="*/ 1159 h 632"/>
                  <a:gd name="T74" fmla="*/ 806 w 387"/>
                  <a:gd name="T75" fmla="*/ 1090 h 632"/>
                  <a:gd name="T76" fmla="*/ 784 w 387"/>
                  <a:gd name="T77" fmla="*/ 1032 h 632"/>
                  <a:gd name="T78" fmla="*/ 756 w 387"/>
                  <a:gd name="T79" fmla="*/ 953 h 632"/>
                  <a:gd name="T80" fmla="*/ 751 w 387"/>
                  <a:gd name="T81" fmla="*/ 921 h 632"/>
                  <a:gd name="T82" fmla="*/ 743 w 387"/>
                  <a:gd name="T83" fmla="*/ 865 h 632"/>
                  <a:gd name="T84" fmla="*/ 737 w 387"/>
                  <a:gd name="T85" fmla="*/ 853 h 632"/>
                  <a:gd name="T86" fmla="*/ 737 w 387"/>
                  <a:gd name="T87" fmla="*/ 837 h 632"/>
                  <a:gd name="T88" fmla="*/ 734 w 387"/>
                  <a:gd name="T89" fmla="*/ 824 h 632"/>
                  <a:gd name="T90" fmla="*/ 734 w 387"/>
                  <a:gd name="T91" fmla="*/ 805 h 632"/>
                  <a:gd name="T92" fmla="*/ 728 w 387"/>
                  <a:gd name="T93" fmla="*/ 784 h 632"/>
                  <a:gd name="T94" fmla="*/ 728 w 387"/>
                  <a:gd name="T95" fmla="*/ 765 h 632"/>
                  <a:gd name="T96" fmla="*/ 728 w 387"/>
                  <a:gd name="T97" fmla="*/ 749 h 632"/>
                  <a:gd name="T98" fmla="*/ 728 w 387"/>
                  <a:gd name="T99" fmla="*/ 736 h 632"/>
                  <a:gd name="T100" fmla="*/ 724 w 387"/>
                  <a:gd name="T101" fmla="*/ 705 h 632"/>
                  <a:gd name="T102" fmla="*/ 724 w 387"/>
                  <a:gd name="T103" fmla="*/ 695 h 632"/>
                  <a:gd name="T104" fmla="*/ 724 w 387"/>
                  <a:gd name="T105" fmla="*/ 655 h 632"/>
                  <a:gd name="T106" fmla="*/ 900 w 387"/>
                  <a:gd name="T107" fmla="*/ 151 h 632"/>
                  <a:gd name="T108" fmla="*/ 900 w 387"/>
                  <a:gd name="T109" fmla="*/ 151 h 632"/>
                  <a:gd name="T110" fmla="*/ 900 w 387"/>
                  <a:gd name="T111" fmla="*/ 151 h 632"/>
                  <a:gd name="T112" fmla="*/ 1073 w 387"/>
                  <a:gd name="T113" fmla="*/ 655 h 632"/>
                  <a:gd name="T114" fmla="*/ 1073 w 387"/>
                  <a:gd name="T115" fmla="*/ 695 h 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7"/>
                  <a:gd name="T175" fmla="*/ 0 h 632"/>
                  <a:gd name="T176" fmla="*/ 387 w 387"/>
                  <a:gd name="T177" fmla="*/ 632 h 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7" h="632">
                    <a:moveTo>
                      <a:pt x="377" y="113"/>
                    </a:moveTo>
                    <a:cubicBezTo>
                      <a:pt x="355" y="33"/>
                      <a:pt x="295" y="0"/>
                      <a:pt x="194" y="0"/>
                    </a:cubicBezTo>
                    <a:cubicBezTo>
                      <a:pt x="93" y="0"/>
                      <a:pt x="32" y="33"/>
                      <a:pt x="11" y="113"/>
                    </a:cubicBezTo>
                    <a:cubicBezTo>
                      <a:pt x="1" y="149"/>
                      <a:pt x="0" y="198"/>
                      <a:pt x="6" y="253"/>
                    </a:cubicBezTo>
                    <a:cubicBezTo>
                      <a:pt x="7" y="256"/>
                      <a:pt x="7" y="258"/>
                      <a:pt x="7" y="261"/>
                    </a:cubicBezTo>
                    <a:cubicBezTo>
                      <a:pt x="8" y="266"/>
                      <a:pt x="8" y="271"/>
                      <a:pt x="9" y="276"/>
                    </a:cubicBezTo>
                    <a:cubicBezTo>
                      <a:pt x="25" y="359"/>
                      <a:pt x="14" y="415"/>
                      <a:pt x="13" y="441"/>
                    </a:cubicBezTo>
                    <a:cubicBezTo>
                      <a:pt x="8" y="565"/>
                      <a:pt x="86" y="632"/>
                      <a:pt x="188" y="632"/>
                    </a:cubicBezTo>
                    <a:cubicBezTo>
                      <a:pt x="189" y="632"/>
                      <a:pt x="189" y="632"/>
                      <a:pt x="189" y="632"/>
                    </a:cubicBezTo>
                    <a:cubicBezTo>
                      <a:pt x="189" y="632"/>
                      <a:pt x="189" y="632"/>
                      <a:pt x="189" y="632"/>
                    </a:cubicBezTo>
                    <a:cubicBezTo>
                      <a:pt x="191" y="632"/>
                      <a:pt x="192" y="632"/>
                      <a:pt x="194" y="632"/>
                    </a:cubicBezTo>
                    <a:cubicBezTo>
                      <a:pt x="195" y="632"/>
                      <a:pt x="197" y="632"/>
                      <a:pt x="198" y="632"/>
                    </a:cubicBezTo>
                    <a:cubicBezTo>
                      <a:pt x="199" y="632"/>
                      <a:pt x="199" y="632"/>
                      <a:pt x="199" y="632"/>
                    </a:cubicBezTo>
                    <a:cubicBezTo>
                      <a:pt x="199" y="632"/>
                      <a:pt x="199" y="632"/>
                      <a:pt x="199" y="632"/>
                    </a:cubicBezTo>
                    <a:cubicBezTo>
                      <a:pt x="301" y="632"/>
                      <a:pt x="379" y="565"/>
                      <a:pt x="374" y="441"/>
                    </a:cubicBezTo>
                    <a:cubicBezTo>
                      <a:pt x="373" y="415"/>
                      <a:pt x="363" y="359"/>
                      <a:pt x="378" y="276"/>
                    </a:cubicBezTo>
                    <a:cubicBezTo>
                      <a:pt x="379" y="271"/>
                      <a:pt x="380" y="266"/>
                      <a:pt x="380" y="261"/>
                    </a:cubicBezTo>
                    <a:cubicBezTo>
                      <a:pt x="380" y="258"/>
                      <a:pt x="381" y="256"/>
                      <a:pt x="381" y="253"/>
                    </a:cubicBezTo>
                    <a:cubicBezTo>
                      <a:pt x="387" y="198"/>
                      <a:pt x="386" y="149"/>
                      <a:pt x="377" y="113"/>
                    </a:cubicBezTo>
                    <a:moveTo>
                      <a:pt x="231" y="149"/>
                    </a:moveTo>
                    <a:cubicBezTo>
                      <a:pt x="231" y="150"/>
                      <a:pt x="231" y="151"/>
                      <a:pt x="231" y="152"/>
                    </a:cubicBezTo>
                    <a:cubicBezTo>
                      <a:pt x="231" y="154"/>
                      <a:pt x="231" y="156"/>
                      <a:pt x="231" y="158"/>
                    </a:cubicBezTo>
                    <a:cubicBezTo>
                      <a:pt x="231" y="159"/>
                      <a:pt x="231" y="160"/>
                      <a:pt x="230" y="161"/>
                    </a:cubicBezTo>
                    <a:cubicBezTo>
                      <a:pt x="230" y="162"/>
                      <a:pt x="230" y="164"/>
                      <a:pt x="230" y="165"/>
                    </a:cubicBezTo>
                    <a:cubicBezTo>
                      <a:pt x="230" y="167"/>
                      <a:pt x="230" y="168"/>
                      <a:pt x="230" y="169"/>
                    </a:cubicBezTo>
                    <a:cubicBezTo>
                      <a:pt x="230" y="170"/>
                      <a:pt x="230" y="172"/>
                      <a:pt x="229" y="173"/>
                    </a:cubicBezTo>
                    <a:cubicBezTo>
                      <a:pt x="229" y="174"/>
                      <a:pt x="229" y="176"/>
                      <a:pt x="229" y="177"/>
                    </a:cubicBezTo>
                    <a:cubicBezTo>
                      <a:pt x="229" y="178"/>
                      <a:pt x="229" y="179"/>
                      <a:pt x="229" y="180"/>
                    </a:cubicBezTo>
                    <a:cubicBezTo>
                      <a:pt x="228" y="182"/>
                      <a:pt x="228" y="183"/>
                      <a:pt x="228" y="184"/>
                    </a:cubicBezTo>
                    <a:cubicBezTo>
                      <a:pt x="228" y="185"/>
                      <a:pt x="228" y="186"/>
                      <a:pt x="228" y="186"/>
                    </a:cubicBezTo>
                    <a:cubicBezTo>
                      <a:pt x="227" y="190"/>
                      <a:pt x="226" y="194"/>
                      <a:pt x="226" y="198"/>
                    </a:cubicBezTo>
                    <a:cubicBezTo>
                      <a:pt x="225" y="200"/>
                      <a:pt x="224" y="203"/>
                      <a:pt x="224" y="205"/>
                    </a:cubicBezTo>
                    <a:cubicBezTo>
                      <a:pt x="222" y="211"/>
                      <a:pt x="220" y="217"/>
                      <a:pt x="219" y="222"/>
                    </a:cubicBezTo>
                    <a:cubicBezTo>
                      <a:pt x="217" y="226"/>
                      <a:pt x="215" y="230"/>
                      <a:pt x="213" y="234"/>
                    </a:cubicBezTo>
                    <a:cubicBezTo>
                      <a:pt x="207" y="244"/>
                      <a:pt x="201" y="249"/>
                      <a:pt x="194" y="249"/>
                    </a:cubicBezTo>
                    <a:cubicBezTo>
                      <a:pt x="194" y="249"/>
                      <a:pt x="194" y="249"/>
                      <a:pt x="194" y="249"/>
                    </a:cubicBezTo>
                    <a:cubicBezTo>
                      <a:pt x="194" y="249"/>
                      <a:pt x="194" y="249"/>
                      <a:pt x="194" y="249"/>
                    </a:cubicBezTo>
                    <a:cubicBezTo>
                      <a:pt x="186" y="249"/>
                      <a:pt x="180" y="244"/>
                      <a:pt x="174" y="234"/>
                    </a:cubicBezTo>
                    <a:cubicBezTo>
                      <a:pt x="172" y="230"/>
                      <a:pt x="170" y="226"/>
                      <a:pt x="169" y="222"/>
                    </a:cubicBezTo>
                    <a:cubicBezTo>
                      <a:pt x="167" y="217"/>
                      <a:pt x="165" y="211"/>
                      <a:pt x="163" y="205"/>
                    </a:cubicBezTo>
                    <a:cubicBezTo>
                      <a:pt x="163" y="203"/>
                      <a:pt x="162" y="200"/>
                      <a:pt x="162" y="198"/>
                    </a:cubicBezTo>
                    <a:cubicBezTo>
                      <a:pt x="161" y="194"/>
                      <a:pt x="160" y="190"/>
                      <a:pt x="160" y="186"/>
                    </a:cubicBezTo>
                    <a:cubicBezTo>
                      <a:pt x="159" y="186"/>
                      <a:pt x="159" y="185"/>
                      <a:pt x="159" y="184"/>
                    </a:cubicBezTo>
                    <a:cubicBezTo>
                      <a:pt x="159" y="183"/>
                      <a:pt x="159" y="182"/>
                      <a:pt x="159" y="180"/>
                    </a:cubicBezTo>
                    <a:cubicBezTo>
                      <a:pt x="158" y="179"/>
                      <a:pt x="158" y="178"/>
                      <a:pt x="158" y="177"/>
                    </a:cubicBezTo>
                    <a:cubicBezTo>
                      <a:pt x="158" y="176"/>
                      <a:pt x="158" y="174"/>
                      <a:pt x="158" y="173"/>
                    </a:cubicBezTo>
                    <a:cubicBezTo>
                      <a:pt x="158" y="172"/>
                      <a:pt x="157" y="170"/>
                      <a:pt x="157" y="169"/>
                    </a:cubicBezTo>
                    <a:cubicBezTo>
                      <a:pt x="157" y="168"/>
                      <a:pt x="157" y="167"/>
                      <a:pt x="157" y="165"/>
                    </a:cubicBezTo>
                    <a:cubicBezTo>
                      <a:pt x="157" y="164"/>
                      <a:pt x="157" y="162"/>
                      <a:pt x="157" y="161"/>
                    </a:cubicBezTo>
                    <a:cubicBezTo>
                      <a:pt x="157" y="160"/>
                      <a:pt x="157" y="159"/>
                      <a:pt x="157" y="158"/>
                    </a:cubicBezTo>
                    <a:cubicBezTo>
                      <a:pt x="156" y="156"/>
                      <a:pt x="156" y="154"/>
                      <a:pt x="156" y="152"/>
                    </a:cubicBezTo>
                    <a:cubicBezTo>
                      <a:pt x="156" y="151"/>
                      <a:pt x="156" y="150"/>
                      <a:pt x="156" y="149"/>
                    </a:cubicBezTo>
                    <a:cubicBezTo>
                      <a:pt x="156" y="147"/>
                      <a:pt x="156" y="144"/>
                      <a:pt x="156" y="141"/>
                    </a:cubicBezTo>
                    <a:cubicBezTo>
                      <a:pt x="156" y="81"/>
                      <a:pt x="173" y="33"/>
                      <a:pt x="194" y="33"/>
                    </a:cubicBezTo>
                    <a:cubicBezTo>
                      <a:pt x="194" y="33"/>
                      <a:pt x="194" y="33"/>
                      <a:pt x="194" y="33"/>
                    </a:cubicBezTo>
                    <a:cubicBezTo>
                      <a:pt x="194" y="33"/>
                      <a:pt x="194" y="33"/>
                      <a:pt x="194" y="33"/>
                    </a:cubicBezTo>
                    <a:cubicBezTo>
                      <a:pt x="214" y="33"/>
                      <a:pt x="231" y="81"/>
                      <a:pt x="231" y="141"/>
                    </a:cubicBezTo>
                    <a:cubicBezTo>
                      <a:pt x="231" y="144"/>
                      <a:pt x="231" y="147"/>
                      <a:pt x="231" y="149"/>
                    </a:cubicBezTo>
                  </a:path>
                </a:pathLst>
              </a:custGeom>
              <a:gradFill rotWithShape="1">
                <a:gsLst>
                  <a:gs pos="0">
                    <a:srgbClr val="4D4D4D"/>
                  </a:gs>
                  <a:gs pos="100000">
                    <a:srgbClr val="C0C0C0"/>
                  </a:gs>
                </a:gsLst>
                <a:lin ang="5400000" scaled="1"/>
              </a:gradFill>
              <a:ln w="9525">
                <a:noFill/>
                <a:round/>
                <a:headEnd/>
                <a:tailEnd/>
              </a:ln>
              <a:effectLst>
                <a:outerShdw blurRad="50800" dist="38100" dir="2700000" algn="tl" rotWithShape="0">
                  <a:prstClr val="black">
                    <a:alpha val="40000"/>
                  </a:prstClr>
                </a:outerShdw>
              </a:effectLst>
            </p:spPr>
            <p:txBody>
              <a:bodyPr/>
              <a:lstStyle/>
              <a:p>
                <a:pPr>
                  <a:defRPr/>
                </a:pPr>
                <a:endParaRPr lang="de-DE">
                  <a:latin typeface="Myriad Pro" pitchFamily="34" charset="0"/>
                </a:endParaRPr>
              </a:p>
            </p:txBody>
          </p:sp>
          <p:sp>
            <p:nvSpPr>
              <p:cNvPr id="206" name="Freeform 47"/>
              <p:cNvSpPr>
                <a:spLocks/>
              </p:cNvSpPr>
              <p:nvPr/>
            </p:nvSpPr>
            <p:spPr bwMode="gray">
              <a:xfrm>
                <a:off x="2014" y="1052"/>
                <a:ext cx="221" cy="326"/>
              </a:xfrm>
              <a:custGeom>
                <a:avLst/>
                <a:gdLst>
                  <a:gd name="T0" fmla="*/ 695620 w 150"/>
                  <a:gd name="T1" fmla="*/ 0 h 222"/>
                  <a:gd name="T2" fmla="*/ 680813 w 150"/>
                  <a:gd name="T3" fmla="*/ 0 h 222"/>
                  <a:gd name="T4" fmla="*/ 646294 w 150"/>
                  <a:gd name="T5" fmla="*/ 0 h 222"/>
                  <a:gd name="T6" fmla="*/ 619775 w 150"/>
                  <a:gd name="T7" fmla="*/ 0 h 222"/>
                  <a:gd name="T8" fmla="*/ 588205 w 150"/>
                  <a:gd name="T9" fmla="*/ 1 h 222"/>
                  <a:gd name="T10" fmla="*/ 569599 w 150"/>
                  <a:gd name="T11" fmla="*/ 1 h 222"/>
                  <a:gd name="T12" fmla="*/ 543510 w 150"/>
                  <a:gd name="T13" fmla="*/ 8823 h 222"/>
                  <a:gd name="T14" fmla="*/ 520104 w 150"/>
                  <a:gd name="T15" fmla="*/ 12956 h 222"/>
                  <a:gd name="T16" fmla="*/ 492628 w 150"/>
                  <a:gd name="T17" fmla="*/ 12956 h 222"/>
                  <a:gd name="T18" fmla="*/ 472140 w 150"/>
                  <a:gd name="T19" fmla="*/ 19025 h 222"/>
                  <a:gd name="T20" fmla="*/ 447633 w 150"/>
                  <a:gd name="T21" fmla="*/ 21819 h 222"/>
                  <a:gd name="T22" fmla="*/ 426954 w 150"/>
                  <a:gd name="T23" fmla="*/ 27938 h 222"/>
                  <a:gd name="T24" fmla="*/ 406446 w 150"/>
                  <a:gd name="T25" fmla="*/ 32041 h 222"/>
                  <a:gd name="T26" fmla="*/ 382377 w 150"/>
                  <a:gd name="T27" fmla="*/ 41026 h 222"/>
                  <a:gd name="T28" fmla="*/ 368898 w 150"/>
                  <a:gd name="T29" fmla="*/ 41026 h 222"/>
                  <a:gd name="T30" fmla="*/ 342005 w 150"/>
                  <a:gd name="T31" fmla="*/ 50040 h 222"/>
                  <a:gd name="T32" fmla="*/ 332443 w 150"/>
                  <a:gd name="T33" fmla="*/ 56002 h 222"/>
                  <a:gd name="T34" fmla="*/ 302749 w 150"/>
                  <a:gd name="T35" fmla="*/ 68738 h 222"/>
                  <a:gd name="T36" fmla="*/ 302749 w 150"/>
                  <a:gd name="T37" fmla="*/ 68738 h 222"/>
                  <a:gd name="T38" fmla="*/ 120883 w 150"/>
                  <a:gd name="T39" fmla="*/ 162946 h 222"/>
                  <a:gd name="T40" fmla="*/ 116673 w 150"/>
                  <a:gd name="T41" fmla="*/ 162946 h 222"/>
                  <a:gd name="T42" fmla="*/ 120883 w 150"/>
                  <a:gd name="T43" fmla="*/ 162946 h 222"/>
                  <a:gd name="T44" fmla="*/ 0 w 150"/>
                  <a:gd name="T45" fmla="*/ 729915 h 222"/>
                  <a:gd name="T46" fmla="*/ 50235 w 150"/>
                  <a:gd name="T47" fmla="*/ 1040094 h 222"/>
                  <a:gd name="T48" fmla="*/ 521924 w 150"/>
                  <a:gd name="T49" fmla="*/ 947366 h 222"/>
                  <a:gd name="T50" fmla="*/ 521924 w 150"/>
                  <a:gd name="T51" fmla="*/ 947366 h 222"/>
                  <a:gd name="T52" fmla="*/ 540242 w 150"/>
                  <a:gd name="T53" fmla="*/ 989384 h 222"/>
                  <a:gd name="T54" fmla="*/ 482206 w 150"/>
                  <a:gd name="T55" fmla="*/ 641495 h 222"/>
                  <a:gd name="T56" fmla="*/ 757031 w 150"/>
                  <a:gd name="T57" fmla="*/ 56002 h 222"/>
                  <a:gd name="T58" fmla="*/ 757031 w 150"/>
                  <a:gd name="T59" fmla="*/ 56002 h 222"/>
                  <a:gd name="T60" fmla="*/ 757031 w 150"/>
                  <a:gd name="T61" fmla="*/ 0 h 222"/>
                  <a:gd name="T62" fmla="*/ 695620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38" y="0"/>
                    </a:moveTo>
                    <a:cubicBezTo>
                      <a:pt x="137" y="0"/>
                      <a:pt x="136" y="0"/>
                      <a:pt x="135" y="0"/>
                    </a:cubicBezTo>
                    <a:cubicBezTo>
                      <a:pt x="132" y="0"/>
                      <a:pt x="130" y="0"/>
                      <a:pt x="128" y="0"/>
                    </a:cubicBezTo>
                    <a:cubicBezTo>
                      <a:pt x="126" y="0"/>
                      <a:pt x="125" y="0"/>
                      <a:pt x="123" y="0"/>
                    </a:cubicBezTo>
                    <a:cubicBezTo>
                      <a:pt x="121" y="1"/>
                      <a:pt x="119" y="1"/>
                      <a:pt x="117" y="1"/>
                    </a:cubicBezTo>
                    <a:cubicBezTo>
                      <a:pt x="116" y="1"/>
                      <a:pt x="114" y="1"/>
                      <a:pt x="113" y="1"/>
                    </a:cubicBezTo>
                    <a:cubicBezTo>
                      <a:pt x="111" y="2"/>
                      <a:pt x="109" y="2"/>
                      <a:pt x="108" y="2"/>
                    </a:cubicBezTo>
                    <a:cubicBezTo>
                      <a:pt x="106" y="2"/>
                      <a:pt x="105" y="2"/>
                      <a:pt x="103" y="3"/>
                    </a:cubicBezTo>
                    <a:cubicBezTo>
                      <a:pt x="101" y="3"/>
                      <a:pt x="100" y="3"/>
                      <a:pt x="98" y="3"/>
                    </a:cubicBezTo>
                    <a:cubicBezTo>
                      <a:pt x="97" y="4"/>
                      <a:pt x="95" y="4"/>
                      <a:pt x="94" y="4"/>
                    </a:cubicBezTo>
                    <a:cubicBezTo>
                      <a:pt x="92" y="5"/>
                      <a:pt x="91" y="5"/>
                      <a:pt x="89" y="5"/>
                    </a:cubicBezTo>
                    <a:cubicBezTo>
                      <a:pt x="88" y="5"/>
                      <a:pt x="86" y="6"/>
                      <a:pt x="85" y="6"/>
                    </a:cubicBezTo>
                    <a:cubicBezTo>
                      <a:pt x="83" y="7"/>
                      <a:pt x="82" y="7"/>
                      <a:pt x="81" y="7"/>
                    </a:cubicBezTo>
                    <a:cubicBezTo>
                      <a:pt x="79" y="8"/>
                      <a:pt x="78" y="8"/>
                      <a:pt x="76" y="9"/>
                    </a:cubicBezTo>
                    <a:cubicBezTo>
                      <a:pt x="75" y="9"/>
                      <a:pt x="74" y="9"/>
                      <a:pt x="73" y="9"/>
                    </a:cubicBezTo>
                    <a:cubicBezTo>
                      <a:pt x="71" y="10"/>
                      <a:pt x="70" y="10"/>
                      <a:pt x="68" y="11"/>
                    </a:cubicBezTo>
                    <a:cubicBezTo>
                      <a:pt x="67" y="11"/>
                      <a:pt x="67" y="12"/>
                      <a:pt x="66" y="12"/>
                    </a:cubicBezTo>
                    <a:cubicBezTo>
                      <a:pt x="64" y="12"/>
                      <a:pt x="62" y="13"/>
                      <a:pt x="60" y="14"/>
                    </a:cubicBezTo>
                    <a:cubicBezTo>
                      <a:pt x="60" y="14"/>
                      <a:pt x="60" y="14"/>
                      <a:pt x="60" y="14"/>
                    </a:cubicBezTo>
                    <a:cubicBezTo>
                      <a:pt x="46" y="20"/>
                      <a:pt x="34" y="27"/>
                      <a:pt x="24" y="35"/>
                    </a:cubicBezTo>
                    <a:cubicBezTo>
                      <a:pt x="23" y="35"/>
                      <a:pt x="23" y="35"/>
                      <a:pt x="23" y="35"/>
                    </a:cubicBezTo>
                    <a:cubicBezTo>
                      <a:pt x="24" y="35"/>
                      <a:pt x="24" y="35"/>
                      <a:pt x="24" y="35"/>
                    </a:cubicBezTo>
                    <a:cubicBezTo>
                      <a:pt x="3" y="51"/>
                      <a:pt x="0" y="95"/>
                      <a:pt x="0" y="156"/>
                    </a:cubicBezTo>
                    <a:cubicBezTo>
                      <a:pt x="0" y="176"/>
                      <a:pt x="4" y="199"/>
                      <a:pt x="10" y="222"/>
                    </a:cubicBezTo>
                    <a:cubicBezTo>
                      <a:pt x="104" y="202"/>
                      <a:pt x="104" y="202"/>
                      <a:pt x="104" y="202"/>
                    </a:cubicBezTo>
                    <a:cubicBezTo>
                      <a:pt x="104" y="202"/>
                      <a:pt x="104" y="202"/>
                      <a:pt x="104" y="202"/>
                    </a:cubicBezTo>
                    <a:cubicBezTo>
                      <a:pt x="105" y="205"/>
                      <a:pt x="106" y="208"/>
                      <a:pt x="107" y="211"/>
                    </a:cubicBezTo>
                    <a:cubicBezTo>
                      <a:pt x="100" y="190"/>
                      <a:pt x="96" y="165"/>
                      <a:pt x="96" y="137"/>
                    </a:cubicBezTo>
                    <a:cubicBezTo>
                      <a:pt x="96" y="68"/>
                      <a:pt x="120" y="12"/>
                      <a:pt x="150" y="12"/>
                    </a:cubicBezTo>
                    <a:cubicBezTo>
                      <a:pt x="150" y="12"/>
                      <a:pt x="150" y="12"/>
                      <a:pt x="150" y="12"/>
                    </a:cubicBezTo>
                    <a:cubicBezTo>
                      <a:pt x="150" y="0"/>
                      <a:pt x="150" y="0"/>
                      <a:pt x="150" y="0"/>
                    </a:cubicBezTo>
                    <a:cubicBezTo>
                      <a:pt x="146" y="0"/>
                      <a:pt x="142" y="0"/>
                      <a:pt x="138" y="0"/>
                    </a:cubicBezTo>
                  </a:path>
                </a:pathLst>
              </a:custGeom>
              <a:gradFill rotWithShape="1">
                <a:gsLst>
                  <a:gs pos="0">
                    <a:srgbClr val="FE0000"/>
                  </a:gs>
                  <a:gs pos="100000">
                    <a:srgbClr val="B30000"/>
                  </a:gs>
                </a:gsLst>
                <a:lin ang="18900000" scaled="1"/>
              </a:gradFill>
              <a:ln w="3175">
                <a:noFill/>
                <a:round/>
                <a:headEnd/>
                <a:tailEnd/>
              </a:ln>
            </p:spPr>
            <p:txBody>
              <a:bodyPr/>
              <a:lstStyle/>
              <a:p>
                <a:endParaRPr lang="de-DE"/>
              </a:p>
            </p:txBody>
          </p:sp>
          <p:sp>
            <p:nvSpPr>
              <p:cNvPr id="207" name="Freeform 48"/>
              <p:cNvSpPr>
                <a:spLocks/>
              </p:cNvSpPr>
              <p:nvPr/>
            </p:nvSpPr>
            <p:spPr bwMode="gray">
              <a:xfrm>
                <a:off x="2032" y="1358"/>
                <a:ext cx="190" cy="199"/>
              </a:xfrm>
              <a:custGeom>
                <a:avLst/>
                <a:gdLst>
                  <a:gd name="T0" fmla="*/ 404606 w 129"/>
                  <a:gd name="T1" fmla="*/ 589087 h 136"/>
                  <a:gd name="T2" fmla="*/ 540252 w 129"/>
                  <a:gd name="T3" fmla="*/ 157631 h 136"/>
                  <a:gd name="T4" fmla="*/ 510615 w 129"/>
                  <a:gd name="T5" fmla="*/ 101622 h 136"/>
                  <a:gd name="T6" fmla="*/ 510615 w 129"/>
                  <a:gd name="T7" fmla="*/ 95854 h 136"/>
                  <a:gd name="T8" fmla="*/ 474811 w 129"/>
                  <a:gd name="T9" fmla="*/ 12465 h 136"/>
                  <a:gd name="T10" fmla="*/ 467758 w 129"/>
                  <a:gd name="T11" fmla="*/ 0 h 136"/>
                  <a:gd name="T12" fmla="*/ 0 w 129"/>
                  <a:gd name="T13" fmla="*/ 91787 h 136"/>
                  <a:gd name="T14" fmla="*/ 23056 w 129"/>
                  <a:gd name="T15" fmla="*/ 157631 h 136"/>
                  <a:gd name="T16" fmla="*/ 404606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81" y="136"/>
                    </a:moveTo>
                    <a:cubicBezTo>
                      <a:pt x="118" y="136"/>
                      <a:pt x="129" y="92"/>
                      <a:pt x="108" y="36"/>
                    </a:cubicBezTo>
                    <a:cubicBezTo>
                      <a:pt x="106" y="32"/>
                      <a:pt x="104" y="27"/>
                      <a:pt x="102" y="23"/>
                    </a:cubicBezTo>
                    <a:cubicBezTo>
                      <a:pt x="102" y="22"/>
                      <a:pt x="102" y="22"/>
                      <a:pt x="102" y="22"/>
                    </a:cubicBezTo>
                    <a:cubicBezTo>
                      <a:pt x="100" y="16"/>
                      <a:pt x="97" y="10"/>
                      <a:pt x="95" y="3"/>
                    </a:cubicBezTo>
                    <a:cubicBezTo>
                      <a:pt x="95" y="2"/>
                      <a:pt x="94" y="1"/>
                      <a:pt x="94" y="0"/>
                    </a:cubicBezTo>
                    <a:cubicBezTo>
                      <a:pt x="0" y="21"/>
                      <a:pt x="0" y="21"/>
                      <a:pt x="0" y="21"/>
                    </a:cubicBezTo>
                    <a:cubicBezTo>
                      <a:pt x="1" y="26"/>
                      <a:pt x="3" y="31"/>
                      <a:pt x="5" y="36"/>
                    </a:cubicBezTo>
                    <a:cubicBezTo>
                      <a:pt x="23" y="90"/>
                      <a:pt x="55" y="136"/>
                      <a:pt x="81"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208" name="Freeform 49"/>
              <p:cNvSpPr>
                <a:spLocks/>
              </p:cNvSpPr>
              <p:nvPr/>
            </p:nvSpPr>
            <p:spPr bwMode="gray">
              <a:xfrm>
                <a:off x="1991" y="1388"/>
                <a:ext cx="486" cy="530"/>
              </a:xfrm>
              <a:custGeom>
                <a:avLst/>
                <a:gdLst>
                  <a:gd name="T0" fmla="*/ 1440720 w 331"/>
                  <a:gd name="T1" fmla="*/ 1 h 361"/>
                  <a:gd name="T2" fmla="*/ 1416182 w 331"/>
                  <a:gd name="T3" fmla="*/ 0 h 361"/>
                  <a:gd name="T4" fmla="*/ 1416182 w 331"/>
                  <a:gd name="T5" fmla="*/ 0 h 361"/>
                  <a:gd name="T6" fmla="*/ 1398182 w 331"/>
                  <a:gd name="T7" fmla="*/ 68901 h 361"/>
                  <a:gd name="T8" fmla="*/ 1041348 w 331"/>
                  <a:gd name="T9" fmla="*/ 536185 h 361"/>
                  <a:gd name="T10" fmla="*/ 911384 w 331"/>
                  <a:gd name="T11" fmla="*/ 68901 h 361"/>
                  <a:gd name="T12" fmla="*/ 939252 w 331"/>
                  <a:gd name="T13" fmla="*/ 8793 h 361"/>
                  <a:gd name="T14" fmla="*/ 939252 w 331"/>
                  <a:gd name="T15" fmla="*/ 1 h 361"/>
                  <a:gd name="T16" fmla="*/ 902536 w 331"/>
                  <a:gd name="T17" fmla="*/ 68901 h 361"/>
                  <a:gd name="T18" fmla="*/ 776928 w 331"/>
                  <a:gd name="T19" fmla="*/ 151881 h 361"/>
                  <a:gd name="T20" fmla="*/ 776928 w 331"/>
                  <a:gd name="T21" fmla="*/ 151881 h 361"/>
                  <a:gd name="T22" fmla="*/ 776928 w 331"/>
                  <a:gd name="T23" fmla="*/ 151881 h 361"/>
                  <a:gd name="T24" fmla="*/ 776928 w 331"/>
                  <a:gd name="T25" fmla="*/ 151881 h 361"/>
                  <a:gd name="T26" fmla="*/ 646663 w 331"/>
                  <a:gd name="T27" fmla="*/ 68901 h 361"/>
                  <a:gd name="T28" fmla="*/ 605983 w 331"/>
                  <a:gd name="T29" fmla="*/ 1 h 361"/>
                  <a:gd name="T30" fmla="*/ 605983 w 331"/>
                  <a:gd name="T31" fmla="*/ 8793 h 361"/>
                  <a:gd name="T32" fmla="*/ 637810 w 331"/>
                  <a:gd name="T33" fmla="*/ 68901 h 361"/>
                  <a:gd name="T34" fmla="*/ 509388 w 331"/>
                  <a:gd name="T35" fmla="*/ 536185 h 361"/>
                  <a:gd name="T36" fmla="*/ 152049 w 331"/>
                  <a:gd name="T37" fmla="*/ 68901 h 361"/>
                  <a:gd name="T38" fmla="*/ 129656 w 331"/>
                  <a:gd name="T39" fmla="*/ 0 h 361"/>
                  <a:gd name="T40" fmla="*/ 129656 w 331"/>
                  <a:gd name="T41" fmla="*/ 0 h 361"/>
                  <a:gd name="T42" fmla="*/ 107706 w 331"/>
                  <a:gd name="T43" fmla="*/ 1 h 361"/>
                  <a:gd name="T44" fmla="*/ 0 w 331"/>
                  <a:gd name="T45" fmla="*/ 107210 h 361"/>
                  <a:gd name="T46" fmla="*/ 27897 w 331"/>
                  <a:gd name="T47" fmla="*/ 285940 h 361"/>
                  <a:gd name="T48" fmla="*/ 176624 w 331"/>
                  <a:gd name="T49" fmla="*/ 896732 h 361"/>
                  <a:gd name="T50" fmla="*/ 751409 w 331"/>
                  <a:gd name="T51" fmla="*/ 1684060 h 361"/>
                  <a:gd name="T52" fmla="*/ 756452 w 331"/>
                  <a:gd name="T53" fmla="*/ 1684060 h 361"/>
                  <a:gd name="T54" fmla="*/ 756452 w 331"/>
                  <a:gd name="T55" fmla="*/ 1684060 h 361"/>
                  <a:gd name="T56" fmla="*/ 776928 w 331"/>
                  <a:gd name="T57" fmla="*/ 1684060 h 361"/>
                  <a:gd name="T58" fmla="*/ 776928 w 331"/>
                  <a:gd name="T59" fmla="*/ 1684060 h 361"/>
                  <a:gd name="T60" fmla="*/ 788492 w 331"/>
                  <a:gd name="T61" fmla="*/ 1684060 h 361"/>
                  <a:gd name="T62" fmla="*/ 788492 w 331"/>
                  <a:gd name="T63" fmla="*/ 1684060 h 361"/>
                  <a:gd name="T64" fmla="*/ 795356 w 331"/>
                  <a:gd name="T65" fmla="*/ 1684060 h 361"/>
                  <a:gd name="T66" fmla="*/ 1368021 w 331"/>
                  <a:gd name="T67" fmla="*/ 896732 h 361"/>
                  <a:gd name="T68" fmla="*/ 1518220 w 331"/>
                  <a:gd name="T69" fmla="*/ 285940 h 361"/>
                  <a:gd name="T70" fmla="*/ 1548136 w 331"/>
                  <a:gd name="T71" fmla="*/ 107210 h 361"/>
                  <a:gd name="T72" fmla="*/ 1440720 w 331"/>
                  <a:gd name="T73" fmla="*/ 1 h 3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61"/>
                  <a:gd name="T113" fmla="*/ 331 w 331"/>
                  <a:gd name="T114" fmla="*/ 361 h 3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61">
                    <a:moveTo>
                      <a:pt x="308" y="1"/>
                    </a:moveTo>
                    <a:cubicBezTo>
                      <a:pt x="303" y="0"/>
                      <a:pt x="303" y="0"/>
                      <a:pt x="303" y="0"/>
                    </a:cubicBezTo>
                    <a:cubicBezTo>
                      <a:pt x="303" y="0"/>
                      <a:pt x="303" y="0"/>
                      <a:pt x="303" y="0"/>
                    </a:cubicBezTo>
                    <a:cubicBezTo>
                      <a:pt x="302" y="5"/>
                      <a:pt x="300" y="10"/>
                      <a:pt x="299" y="15"/>
                    </a:cubicBezTo>
                    <a:cubicBezTo>
                      <a:pt x="280" y="69"/>
                      <a:pt x="249" y="115"/>
                      <a:pt x="223" y="115"/>
                    </a:cubicBezTo>
                    <a:cubicBezTo>
                      <a:pt x="185" y="115"/>
                      <a:pt x="174" y="71"/>
                      <a:pt x="195" y="15"/>
                    </a:cubicBezTo>
                    <a:cubicBezTo>
                      <a:pt x="197" y="11"/>
                      <a:pt x="199" y="6"/>
                      <a:pt x="201" y="2"/>
                    </a:cubicBezTo>
                    <a:cubicBezTo>
                      <a:pt x="201" y="1"/>
                      <a:pt x="201" y="1"/>
                      <a:pt x="201" y="1"/>
                    </a:cubicBezTo>
                    <a:cubicBezTo>
                      <a:pt x="199" y="6"/>
                      <a:pt x="196" y="11"/>
                      <a:pt x="193" y="15"/>
                    </a:cubicBezTo>
                    <a:cubicBezTo>
                      <a:pt x="185" y="26"/>
                      <a:pt x="176" y="33"/>
                      <a:pt x="166" y="33"/>
                    </a:cubicBezTo>
                    <a:cubicBezTo>
                      <a:pt x="166" y="33"/>
                      <a:pt x="166" y="33"/>
                      <a:pt x="166" y="33"/>
                    </a:cubicBezTo>
                    <a:cubicBezTo>
                      <a:pt x="166" y="33"/>
                      <a:pt x="166" y="33"/>
                      <a:pt x="166" y="33"/>
                    </a:cubicBezTo>
                    <a:cubicBezTo>
                      <a:pt x="166" y="33"/>
                      <a:pt x="166" y="33"/>
                      <a:pt x="166" y="33"/>
                    </a:cubicBezTo>
                    <a:cubicBezTo>
                      <a:pt x="155" y="33"/>
                      <a:pt x="146" y="26"/>
                      <a:pt x="138" y="15"/>
                    </a:cubicBezTo>
                    <a:cubicBezTo>
                      <a:pt x="135" y="11"/>
                      <a:pt x="133" y="6"/>
                      <a:pt x="130" y="1"/>
                    </a:cubicBezTo>
                    <a:cubicBezTo>
                      <a:pt x="130" y="2"/>
                      <a:pt x="130" y="2"/>
                      <a:pt x="130" y="2"/>
                    </a:cubicBezTo>
                    <a:cubicBezTo>
                      <a:pt x="132" y="6"/>
                      <a:pt x="134" y="11"/>
                      <a:pt x="136" y="15"/>
                    </a:cubicBezTo>
                    <a:cubicBezTo>
                      <a:pt x="157" y="71"/>
                      <a:pt x="146" y="115"/>
                      <a:pt x="109" y="115"/>
                    </a:cubicBezTo>
                    <a:cubicBezTo>
                      <a:pt x="83" y="115"/>
                      <a:pt x="51" y="69"/>
                      <a:pt x="33" y="15"/>
                    </a:cubicBezTo>
                    <a:cubicBezTo>
                      <a:pt x="31" y="10"/>
                      <a:pt x="29" y="5"/>
                      <a:pt x="28" y="0"/>
                    </a:cubicBezTo>
                    <a:cubicBezTo>
                      <a:pt x="28" y="0"/>
                      <a:pt x="28" y="0"/>
                      <a:pt x="28" y="0"/>
                    </a:cubicBezTo>
                    <a:cubicBezTo>
                      <a:pt x="23" y="1"/>
                      <a:pt x="23" y="1"/>
                      <a:pt x="23" y="1"/>
                    </a:cubicBezTo>
                    <a:cubicBezTo>
                      <a:pt x="0" y="23"/>
                      <a:pt x="0" y="23"/>
                      <a:pt x="0" y="23"/>
                    </a:cubicBezTo>
                    <a:cubicBezTo>
                      <a:pt x="3" y="44"/>
                      <a:pt x="5" y="60"/>
                      <a:pt x="6" y="61"/>
                    </a:cubicBezTo>
                    <a:cubicBezTo>
                      <a:pt x="24" y="131"/>
                      <a:pt x="30" y="125"/>
                      <a:pt x="38" y="192"/>
                    </a:cubicBezTo>
                    <a:cubicBezTo>
                      <a:pt x="59" y="352"/>
                      <a:pt x="101" y="361"/>
                      <a:pt x="161" y="361"/>
                    </a:cubicBezTo>
                    <a:cubicBezTo>
                      <a:pt x="162" y="361"/>
                      <a:pt x="162" y="361"/>
                      <a:pt x="162" y="361"/>
                    </a:cubicBezTo>
                    <a:cubicBezTo>
                      <a:pt x="162" y="361"/>
                      <a:pt x="162" y="361"/>
                      <a:pt x="162" y="361"/>
                    </a:cubicBezTo>
                    <a:cubicBezTo>
                      <a:pt x="163" y="361"/>
                      <a:pt x="164" y="361"/>
                      <a:pt x="166" y="361"/>
                    </a:cubicBezTo>
                    <a:cubicBezTo>
                      <a:pt x="166" y="361"/>
                      <a:pt x="166" y="361"/>
                      <a:pt x="166" y="361"/>
                    </a:cubicBezTo>
                    <a:cubicBezTo>
                      <a:pt x="167" y="361"/>
                      <a:pt x="168" y="361"/>
                      <a:pt x="169" y="361"/>
                    </a:cubicBezTo>
                    <a:cubicBezTo>
                      <a:pt x="169" y="361"/>
                      <a:pt x="169" y="361"/>
                      <a:pt x="169" y="361"/>
                    </a:cubicBezTo>
                    <a:cubicBezTo>
                      <a:pt x="170" y="361"/>
                      <a:pt x="170" y="361"/>
                      <a:pt x="170" y="361"/>
                    </a:cubicBezTo>
                    <a:cubicBezTo>
                      <a:pt x="230" y="361"/>
                      <a:pt x="272" y="352"/>
                      <a:pt x="293" y="192"/>
                    </a:cubicBezTo>
                    <a:cubicBezTo>
                      <a:pt x="301" y="125"/>
                      <a:pt x="307" y="131"/>
                      <a:pt x="325" y="61"/>
                    </a:cubicBezTo>
                    <a:cubicBezTo>
                      <a:pt x="326" y="60"/>
                      <a:pt x="328" y="44"/>
                      <a:pt x="331" y="23"/>
                    </a:cubicBezTo>
                    <a:lnTo>
                      <a:pt x="308" y="1"/>
                    </a:lnTo>
                    <a:close/>
                  </a:path>
                </a:pathLst>
              </a:custGeom>
              <a:gradFill rotWithShape="1">
                <a:gsLst>
                  <a:gs pos="0">
                    <a:srgbClr val="FFFFFF"/>
                  </a:gs>
                  <a:gs pos="100000">
                    <a:srgbClr val="C0C0C0"/>
                  </a:gs>
                </a:gsLst>
                <a:lin ang="5400000" scaled="1"/>
              </a:gradFill>
              <a:ln w="6350">
                <a:solidFill>
                  <a:srgbClr val="F8F8F8"/>
                </a:solidFill>
                <a:round/>
                <a:headEnd/>
                <a:tailEnd/>
              </a:ln>
            </p:spPr>
            <p:txBody>
              <a:bodyPr/>
              <a:lstStyle/>
              <a:p>
                <a:endParaRPr lang="de-DE"/>
              </a:p>
            </p:txBody>
          </p:sp>
          <p:sp>
            <p:nvSpPr>
              <p:cNvPr id="209" name="Freeform 50"/>
              <p:cNvSpPr>
                <a:spLocks/>
              </p:cNvSpPr>
              <p:nvPr/>
            </p:nvSpPr>
            <p:spPr bwMode="gray">
              <a:xfrm>
                <a:off x="2246" y="1358"/>
                <a:ext cx="190" cy="199"/>
              </a:xfrm>
              <a:custGeom>
                <a:avLst/>
                <a:gdLst>
                  <a:gd name="T0" fmla="*/ 244845 w 129"/>
                  <a:gd name="T1" fmla="*/ 589087 h 136"/>
                  <a:gd name="T2" fmla="*/ 106502 w 129"/>
                  <a:gd name="T3" fmla="*/ 157631 h 136"/>
                  <a:gd name="T4" fmla="*/ 136159 w 129"/>
                  <a:gd name="T5" fmla="*/ 101622 h 136"/>
                  <a:gd name="T6" fmla="*/ 136159 w 129"/>
                  <a:gd name="T7" fmla="*/ 95854 h 136"/>
                  <a:gd name="T8" fmla="*/ 171078 w 129"/>
                  <a:gd name="T9" fmla="*/ 12465 h 136"/>
                  <a:gd name="T10" fmla="*/ 176045 w 129"/>
                  <a:gd name="T11" fmla="*/ 0 h 136"/>
                  <a:gd name="T12" fmla="*/ 646000 w 129"/>
                  <a:gd name="T13" fmla="*/ 91787 h 136"/>
                  <a:gd name="T14" fmla="*/ 625945 w 129"/>
                  <a:gd name="T15" fmla="*/ 157631 h 136"/>
                  <a:gd name="T16" fmla="*/ 244845 w 129"/>
                  <a:gd name="T17" fmla="*/ 589087 h 1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6"/>
                  <a:gd name="T29" fmla="*/ 129 w 129"/>
                  <a:gd name="T30" fmla="*/ 136 h 1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6">
                    <a:moveTo>
                      <a:pt x="49" y="136"/>
                    </a:moveTo>
                    <a:cubicBezTo>
                      <a:pt x="11" y="136"/>
                      <a:pt x="0" y="92"/>
                      <a:pt x="21" y="36"/>
                    </a:cubicBezTo>
                    <a:cubicBezTo>
                      <a:pt x="23" y="32"/>
                      <a:pt x="25" y="27"/>
                      <a:pt x="27" y="23"/>
                    </a:cubicBezTo>
                    <a:cubicBezTo>
                      <a:pt x="27" y="22"/>
                      <a:pt x="27" y="22"/>
                      <a:pt x="27" y="22"/>
                    </a:cubicBezTo>
                    <a:cubicBezTo>
                      <a:pt x="30" y="16"/>
                      <a:pt x="32" y="10"/>
                      <a:pt x="34" y="3"/>
                    </a:cubicBezTo>
                    <a:cubicBezTo>
                      <a:pt x="35" y="2"/>
                      <a:pt x="35" y="1"/>
                      <a:pt x="35" y="0"/>
                    </a:cubicBezTo>
                    <a:cubicBezTo>
                      <a:pt x="129" y="21"/>
                      <a:pt x="129" y="21"/>
                      <a:pt x="129" y="21"/>
                    </a:cubicBezTo>
                    <a:cubicBezTo>
                      <a:pt x="128" y="26"/>
                      <a:pt x="126" y="31"/>
                      <a:pt x="125" y="36"/>
                    </a:cubicBezTo>
                    <a:cubicBezTo>
                      <a:pt x="106" y="90"/>
                      <a:pt x="75" y="136"/>
                      <a:pt x="49" y="136"/>
                    </a:cubicBezTo>
                    <a:close/>
                  </a:path>
                </a:pathLst>
              </a:custGeom>
              <a:gradFill rotWithShape="1">
                <a:gsLst>
                  <a:gs pos="0">
                    <a:srgbClr val="EAEAEA"/>
                  </a:gs>
                  <a:gs pos="100000">
                    <a:srgbClr val="DDDDDD"/>
                  </a:gs>
                </a:gsLst>
                <a:lin ang="0" scaled="1"/>
              </a:gradFill>
              <a:ln w="3175">
                <a:noFill/>
                <a:round/>
                <a:headEnd/>
                <a:tailEnd/>
              </a:ln>
            </p:spPr>
            <p:txBody>
              <a:bodyPr/>
              <a:lstStyle/>
              <a:p>
                <a:endParaRPr lang="de-DE"/>
              </a:p>
            </p:txBody>
          </p:sp>
          <p:sp>
            <p:nvSpPr>
              <p:cNvPr id="210" name="Freeform 51"/>
              <p:cNvSpPr>
                <a:spLocks noEditPoints="1"/>
              </p:cNvSpPr>
              <p:nvPr/>
            </p:nvSpPr>
            <p:spPr bwMode="gray">
              <a:xfrm>
                <a:off x="2179" y="1094"/>
                <a:ext cx="110" cy="316"/>
              </a:xfrm>
              <a:custGeom>
                <a:avLst/>
                <a:gdLst>
                  <a:gd name="T0" fmla="*/ 173216 w 75"/>
                  <a:gd name="T1" fmla="*/ 0 h 216"/>
                  <a:gd name="T2" fmla="*/ 173216 w 75"/>
                  <a:gd name="T3" fmla="*/ 0 h 216"/>
                  <a:gd name="T4" fmla="*/ 173216 w 75"/>
                  <a:gd name="T5" fmla="*/ 0 h 216"/>
                  <a:gd name="T6" fmla="*/ 0 w 75"/>
                  <a:gd name="T7" fmla="*/ 465924 h 216"/>
                  <a:gd name="T8" fmla="*/ 0 w 75"/>
                  <a:gd name="T9" fmla="*/ 502405 h 216"/>
                  <a:gd name="T10" fmla="*/ 0 w 75"/>
                  <a:gd name="T11" fmla="*/ 514606 h 216"/>
                  <a:gd name="T12" fmla="*/ 1 w 75"/>
                  <a:gd name="T13" fmla="*/ 535444 h 216"/>
                  <a:gd name="T14" fmla="*/ 1 w 75"/>
                  <a:gd name="T15" fmla="*/ 553313 h 216"/>
                  <a:gd name="T16" fmla="*/ 1 w 75"/>
                  <a:gd name="T17" fmla="*/ 569438 h 216"/>
                  <a:gd name="T18" fmla="*/ 1 w 75"/>
                  <a:gd name="T19" fmla="*/ 586891 h 216"/>
                  <a:gd name="T20" fmla="*/ 8686 w 75"/>
                  <a:gd name="T21" fmla="*/ 605017 h 216"/>
                  <a:gd name="T22" fmla="*/ 8686 w 75"/>
                  <a:gd name="T23" fmla="*/ 622880 h 216"/>
                  <a:gd name="T24" fmla="*/ 12739 w 75"/>
                  <a:gd name="T25" fmla="*/ 635066 h 216"/>
                  <a:gd name="T26" fmla="*/ 12739 w 75"/>
                  <a:gd name="T27" fmla="*/ 652129 h 216"/>
                  <a:gd name="T28" fmla="*/ 18684 w 75"/>
                  <a:gd name="T29" fmla="*/ 661190 h 216"/>
                  <a:gd name="T30" fmla="*/ 27403 w 75"/>
                  <a:gd name="T31" fmla="*/ 711930 h 216"/>
                  <a:gd name="T32" fmla="*/ 31473 w 75"/>
                  <a:gd name="T33" fmla="*/ 744481 h 216"/>
                  <a:gd name="T34" fmla="*/ 58947 w 75"/>
                  <a:gd name="T35" fmla="*/ 817946 h 216"/>
                  <a:gd name="T36" fmla="*/ 80524 w 75"/>
                  <a:gd name="T37" fmla="*/ 867043 h 216"/>
                  <a:gd name="T38" fmla="*/ 173216 w 75"/>
                  <a:gd name="T39" fmla="*/ 932194 h 216"/>
                  <a:gd name="T40" fmla="*/ 173216 w 75"/>
                  <a:gd name="T41" fmla="*/ 932194 h 216"/>
                  <a:gd name="T42" fmla="*/ 173216 w 75"/>
                  <a:gd name="T43" fmla="*/ 932194 h 216"/>
                  <a:gd name="T44" fmla="*/ 260373 w 75"/>
                  <a:gd name="T45" fmla="*/ 867043 h 216"/>
                  <a:gd name="T46" fmla="*/ 285799 w 75"/>
                  <a:gd name="T47" fmla="*/ 817946 h 216"/>
                  <a:gd name="T48" fmla="*/ 312698 w 75"/>
                  <a:gd name="T49" fmla="*/ 744481 h 216"/>
                  <a:gd name="T50" fmla="*/ 319509 w 75"/>
                  <a:gd name="T51" fmla="*/ 711930 h 216"/>
                  <a:gd name="T52" fmla="*/ 328258 w 75"/>
                  <a:gd name="T53" fmla="*/ 661190 h 216"/>
                  <a:gd name="T54" fmla="*/ 328258 w 75"/>
                  <a:gd name="T55" fmla="*/ 652129 h 216"/>
                  <a:gd name="T56" fmla="*/ 332319 w 75"/>
                  <a:gd name="T57" fmla="*/ 635066 h 216"/>
                  <a:gd name="T58" fmla="*/ 332319 w 75"/>
                  <a:gd name="T59" fmla="*/ 622880 h 216"/>
                  <a:gd name="T60" fmla="*/ 332319 w 75"/>
                  <a:gd name="T61" fmla="*/ 605017 h 216"/>
                  <a:gd name="T62" fmla="*/ 340118 w 75"/>
                  <a:gd name="T63" fmla="*/ 586891 h 216"/>
                  <a:gd name="T64" fmla="*/ 340118 w 75"/>
                  <a:gd name="T65" fmla="*/ 569438 h 216"/>
                  <a:gd name="T66" fmla="*/ 340118 w 75"/>
                  <a:gd name="T67" fmla="*/ 553313 h 216"/>
                  <a:gd name="T68" fmla="*/ 341026 w 75"/>
                  <a:gd name="T69" fmla="*/ 535444 h 216"/>
                  <a:gd name="T70" fmla="*/ 341026 w 75"/>
                  <a:gd name="T71" fmla="*/ 514606 h 216"/>
                  <a:gd name="T72" fmla="*/ 341026 w 75"/>
                  <a:gd name="T73" fmla="*/ 502405 h 216"/>
                  <a:gd name="T74" fmla="*/ 341026 w 75"/>
                  <a:gd name="T75" fmla="*/ 465924 h 216"/>
                  <a:gd name="T76" fmla="*/ 173216 w 75"/>
                  <a:gd name="T77" fmla="*/ 0 h 216"/>
                  <a:gd name="T78" fmla="*/ 173216 w 75"/>
                  <a:gd name="T79" fmla="*/ 504703 h 216"/>
                  <a:gd name="T80" fmla="*/ 173216 w 75"/>
                  <a:gd name="T81" fmla="*/ 504703 h 216"/>
                  <a:gd name="T82" fmla="*/ 173216 w 75"/>
                  <a:gd name="T83" fmla="*/ 504703 h 216"/>
                  <a:gd name="T84" fmla="*/ 173216 w 75"/>
                  <a:gd name="T85" fmla="*/ 504703 h 216"/>
                  <a:gd name="T86" fmla="*/ 77741 w 75"/>
                  <a:gd name="T87" fmla="*/ 310109 h 216"/>
                  <a:gd name="T88" fmla="*/ 173216 w 75"/>
                  <a:gd name="T89" fmla="*/ 118506 h 216"/>
                  <a:gd name="T90" fmla="*/ 173216 w 75"/>
                  <a:gd name="T91" fmla="*/ 118506 h 216"/>
                  <a:gd name="T92" fmla="*/ 173216 w 75"/>
                  <a:gd name="T93" fmla="*/ 118506 h 216"/>
                  <a:gd name="T94" fmla="*/ 173216 w 75"/>
                  <a:gd name="T95" fmla="*/ 118506 h 216"/>
                  <a:gd name="T96" fmla="*/ 272184 w 75"/>
                  <a:gd name="T97" fmla="*/ 310109 h 216"/>
                  <a:gd name="T98" fmla="*/ 173216 w 75"/>
                  <a:gd name="T99" fmla="*/ 504703 h 2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216"/>
                  <a:gd name="T152" fmla="*/ 75 w 75"/>
                  <a:gd name="T153" fmla="*/ 216 h 21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216">
                    <a:moveTo>
                      <a:pt x="38" y="0"/>
                    </a:moveTo>
                    <a:cubicBezTo>
                      <a:pt x="38" y="0"/>
                      <a:pt x="38" y="0"/>
                      <a:pt x="38" y="0"/>
                    </a:cubicBezTo>
                    <a:cubicBezTo>
                      <a:pt x="38" y="0"/>
                      <a:pt x="38" y="0"/>
                      <a:pt x="38" y="0"/>
                    </a:cubicBezTo>
                    <a:cubicBezTo>
                      <a:pt x="17" y="0"/>
                      <a:pt x="0" y="48"/>
                      <a:pt x="0" y="108"/>
                    </a:cubicBezTo>
                    <a:cubicBezTo>
                      <a:pt x="0" y="111"/>
                      <a:pt x="0" y="114"/>
                      <a:pt x="0" y="116"/>
                    </a:cubicBezTo>
                    <a:cubicBezTo>
                      <a:pt x="0" y="117"/>
                      <a:pt x="0" y="118"/>
                      <a:pt x="0" y="119"/>
                    </a:cubicBezTo>
                    <a:cubicBezTo>
                      <a:pt x="0" y="121"/>
                      <a:pt x="0" y="123"/>
                      <a:pt x="1" y="124"/>
                    </a:cubicBezTo>
                    <a:cubicBezTo>
                      <a:pt x="1" y="126"/>
                      <a:pt x="1" y="127"/>
                      <a:pt x="1" y="128"/>
                    </a:cubicBezTo>
                    <a:cubicBezTo>
                      <a:pt x="1" y="129"/>
                      <a:pt x="1" y="131"/>
                      <a:pt x="1" y="132"/>
                    </a:cubicBezTo>
                    <a:cubicBezTo>
                      <a:pt x="1" y="134"/>
                      <a:pt x="1" y="135"/>
                      <a:pt x="1" y="136"/>
                    </a:cubicBezTo>
                    <a:cubicBezTo>
                      <a:pt x="2" y="137"/>
                      <a:pt x="2" y="139"/>
                      <a:pt x="2" y="140"/>
                    </a:cubicBezTo>
                    <a:cubicBezTo>
                      <a:pt x="2" y="141"/>
                      <a:pt x="2" y="143"/>
                      <a:pt x="2" y="144"/>
                    </a:cubicBezTo>
                    <a:cubicBezTo>
                      <a:pt x="2" y="145"/>
                      <a:pt x="2" y="146"/>
                      <a:pt x="3" y="147"/>
                    </a:cubicBezTo>
                    <a:cubicBezTo>
                      <a:pt x="3" y="149"/>
                      <a:pt x="3" y="150"/>
                      <a:pt x="3" y="151"/>
                    </a:cubicBezTo>
                    <a:cubicBezTo>
                      <a:pt x="3" y="152"/>
                      <a:pt x="3" y="153"/>
                      <a:pt x="4" y="153"/>
                    </a:cubicBezTo>
                    <a:cubicBezTo>
                      <a:pt x="4" y="157"/>
                      <a:pt x="5" y="161"/>
                      <a:pt x="6" y="165"/>
                    </a:cubicBezTo>
                    <a:cubicBezTo>
                      <a:pt x="6" y="167"/>
                      <a:pt x="7" y="170"/>
                      <a:pt x="7" y="172"/>
                    </a:cubicBezTo>
                    <a:cubicBezTo>
                      <a:pt x="9" y="178"/>
                      <a:pt x="11" y="184"/>
                      <a:pt x="13" y="189"/>
                    </a:cubicBezTo>
                    <a:cubicBezTo>
                      <a:pt x="14" y="193"/>
                      <a:pt x="16" y="197"/>
                      <a:pt x="18" y="201"/>
                    </a:cubicBezTo>
                    <a:cubicBezTo>
                      <a:pt x="24" y="211"/>
                      <a:pt x="30" y="216"/>
                      <a:pt x="38" y="216"/>
                    </a:cubicBezTo>
                    <a:cubicBezTo>
                      <a:pt x="38" y="216"/>
                      <a:pt x="38" y="216"/>
                      <a:pt x="38" y="216"/>
                    </a:cubicBezTo>
                    <a:cubicBezTo>
                      <a:pt x="38" y="216"/>
                      <a:pt x="38" y="216"/>
                      <a:pt x="38" y="216"/>
                    </a:cubicBezTo>
                    <a:cubicBezTo>
                      <a:pt x="45" y="216"/>
                      <a:pt x="51" y="211"/>
                      <a:pt x="57" y="201"/>
                    </a:cubicBezTo>
                    <a:cubicBezTo>
                      <a:pt x="59" y="197"/>
                      <a:pt x="61" y="193"/>
                      <a:pt x="63" y="189"/>
                    </a:cubicBezTo>
                    <a:cubicBezTo>
                      <a:pt x="64" y="184"/>
                      <a:pt x="66" y="178"/>
                      <a:pt x="68" y="172"/>
                    </a:cubicBezTo>
                    <a:cubicBezTo>
                      <a:pt x="68" y="170"/>
                      <a:pt x="69" y="167"/>
                      <a:pt x="70" y="165"/>
                    </a:cubicBezTo>
                    <a:cubicBezTo>
                      <a:pt x="70" y="161"/>
                      <a:pt x="71" y="157"/>
                      <a:pt x="72" y="153"/>
                    </a:cubicBezTo>
                    <a:cubicBezTo>
                      <a:pt x="72" y="153"/>
                      <a:pt x="72" y="152"/>
                      <a:pt x="72" y="151"/>
                    </a:cubicBezTo>
                    <a:cubicBezTo>
                      <a:pt x="72" y="150"/>
                      <a:pt x="72" y="149"/>
                      <a:pt x="73" y="147"/>
                    </a:cubicBezTo>
                    <a:cubicBezTo>
                      <a:pt x="73" y="146"/>
                      <a:pt x="73" y="145"/>
                      <a:pt x="73" y="144"/>
                    </a:cubicBezTo>
                    <a:cubicBezTo>
                      <a:pt x="73" y="143"/>
                      <a:pt x="73" y="141"/>
                      <a:pt x="73" y="140"/>
                    </a:cubicBezTo>
                    <a:cubicBezTo>
                      <a:pt x="74" y="139"/>
                      <a:pt x="74" y="137"/>
                      <a:pt x="74" y="136"/>
                    </a:cubicBezTo>
                    <a:cubicBezTo>
                      <a:pt x="74" y="135"/>
                      <a:pt x="74" y="134"/>
                      <a:pt x="74" y="132"/>
                    </a:cubicBezTo>
                    <a:cubicBezTo>
                      <a:pt x="74" y="131"/>
                      <a:pt x="74" y="129"/>
                      <a:pt x="74" y="128"/>
                    </a:cubicBezTo>
                    <a:cubicBezTo>
                      <a:pt x="75" y="127"/>
                      <a:pt x="75" y="126"/>
                      <a:pt x="75" y="124"/>
                    </a:cubicBezTo>
                    <a:cubicBezTo>
                      <a:pt x="75" y="123"/>
                      <a:pt x="75" y="121"/>
                      <a:pt x="75" y="119"/>
                    </a:cubicBezTo>
                    <a:cubicBezTo>
                      <a:pt x="75" y="118"/>
                      <a:pt x="75" y="117"/>
                      <a:pt x="75" y="116"/>
                    </a:cubicBezTo>
                    <a:cubicBezTo>
                      <a:pt x="75" y="114"/>
                      <a:pt x="75" y="111"/>
                      <a:pt x="75" y="108"/>
                    </a:cubicBezTo>
                    <a:cubicBezTo>
                      <a:pt x="75" y="48"/>
                      <a:pt x="58" y="0"/>
                      <a:pt x="38" y="0"/>
                    </a:cubicBezTo>
                    <a:close/>
                    <a:moveTo>
                      <a:pt x="38" y="117"/>
                    </a:moveTo>
                    <a:cubicBezTo>
                      <a:pt x="38" y="117"/>
                      <a:pt x="38" y="117"/>
                      <a:pt x="38" y="117"/>
                    </a:cubicBezTo>
                    <a:cubicBezTo>
                      <a:pt x="38" y="117"/>
                      <a:pt x="38" y="117"/>
                      <a:pt x="38" y="117"/>
                    </a:cubicBezTo>
                    <a:cubicBezTo>
                      <a:pt x="38" y="117"/>
                      <a:pt x="38" y="117"/>
                      <a:pt x="38" y="117"/>
                    </a:cubicBezTo>
                    <a:cubicBezTo>
                      <a:pt x="26" y="117"/>
                      <a:pt x="17" y="101"/>
                      <a:pt x="17" y="72"/>
                    </a:cubicBezTo>
                    <a:cubicBezTo>
                      <a:pt x="17" y="42"/>
                      <a:pt x="26" y="27"/>
                      <a:pt x="38" y="27"/>
                    </a:cubicBezTo>
                    <a:cubicBezTo>
                      <a:pt x="38" y="27"/>
                      <a:pt x="38" y="27"/>
                      <a:pt x="38" y="27"/>
                    </a:cubicBezTo>
                    <a:cubicBezTo>
                      <a:pt x="38" y="27"/>
                      <a:pt x="38" y="27"/>
                      <a:pt x="38" y="27"/>
                    </a:cubicBezTo>
                    <a:cubicBezTo>
                      <a:pt x="38" y="27"/>
                      <a:pt x="38" y="27"/>
                      <a:pt x="38" y="27"/>
                    </a:cubicBezTo>
                    <a:cubicBezTo>
                      <a:pt x="49" y="27"/>
                      <a:pt x="59" y="42"/>
                      <a:pt x="59" y="72"/>
                    </a:cubicBezTo>
                    <a:cubicBezTo>
                      <a:pt x="59" y="101"/>
                      <a:pt x="49" y="117"/>
                      <a:pt x="38" y="117"/>
                    </a:cubicBezTo>
                    <a:close/>
                  </a:path>
                </a:pathLst>
              </a:custGeom>
              <a:gradFill rotWithShape="1">
                <a:gsLst>
                  <a:gs pos="0">
                    <a:srgbClr val="595959"/>
                  </a:gs>
                  <a:gs pos="50000">
                    <a:srgbClr val="C0C0C0"/>
                  </a:gs>
                  <a:gs pos="100000">
                    <a:srgbClr val="595959"/>
                  </a:gs>
                </a:gsLst>
                <a:lin ang="5400000" scaled="1"/>
              </a:gradFill>
              <a:ln w="9525">
                <a:solidFill>
                  <a:schemeClr val="bg1"/>
                </a:solidFill>
                <a:round/>
                <a:headEnd/>
                <a:tailEnd/>
              </a:ln>
            </p:spPr>
            <p:txBody>
              <a:bodyPr/>
              <a:lstStyle/>
              <a:p>
                <a:endParaRPr lang="de-DE"/>
              </a:p>
            </p:txBody>
          </p:sp>
          <p:sp>
            <p:nvSpPr>
              <p:cNvPr id="211" name="Freeform 52"/>
              <p:cNvSpPr>
                <a:spLocks/>
              </p:cNvSpPr>
              <p:nvPr/>
            </p:nvSpPr>
            <p:spPr bwMode="gray">
              <a:xfrm>
                <a:off x="2204" y="1133"/>
                <a:ext cx="62" cy="132"/>
              </a:xfrm>
              <a:custGeom>
                <a:avLst/>
                <a:gdLst>
                  <a:gd name="T0" fmla="*/ 110853 w 42"/>
                  <a:gd name="T1" fmla="*/ 0 h 90"/>
                  <a:gd name="T2" fmla="*/ 110853 w 42"/>
                  <a:gd name="T3" fmla="*/ 0 h 90"/>
                  <a:gd name="T4" fmla="*/ 110853 w 42"/>
                  <a:gd name="T5" fmla="*/ 0 h 90"/>
                  <a:gd name="T6" fmla="*/ 0 w 42"/>
                  <a:gd name="T7" fmla="*/ 204996 h 90"/>
                  <a:gd name="T8" fmla="*/ 110853 w 42"/>
                  <a:gd name="T9" fmla="*/ 412378 h 90"/>
                  <a:gd name="T10" fmla="*/ 110853 w 42"/>
                  <a:gd name="T11" fmla="*/ 412378 h 90"/>
                  <a:gd name="T12" fmla="*/ 110853 w 42"/>
                  <a:gd name="T13" fmla="*/ 412378 h 90"/>
                  <a:gd name="T14" fmla="*/ 222856 w 42"/>
                  <a:gd name="T15" fmla="*/ 204996 h 90"/>
                  <a:gd name="T16" fmla="*/ 110853 w 42"/>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90"/>
                  <a:gd name="T29" fmla="*/ 42 w 42"/>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90">
                    <a:moveTo>
                      <a:pt x="21" y="0"/>
                    </a:moveTo>
                    <a:cubicBezTo>
                      <a:pt x="21" y="0"/>
                      <a:pt x="21" y="0"/>
                      <a:pt x="21" y="0"/>
                    </a:cubicBezTo>
                    <a:cubicBezTo>
                      <a:pt x="21" y="0"/>
                      <a:pt x="21" y="0"/>
                      <a:pt x="21" y="0"/>
                    </a:cubicBezTo>
                    <a:cubicBezTo>
                      <a:pt x="9" y="0"/>
                      <a:pt x="0" y="15"/>
                      <a:pt x="0" y="45"/>
                    </a:cubicBezTo>
                    <a:cubicBezTo>
                      <a:pt x="0" y="74"/>
                      <a:pt x="9" y="90"/>
                      <a:pt x="21" y="90"/>
                    </a:cubicBezTo>
                    <a:cubicBezTo>
                      <a:pt x="21" y="90"/>
                      <a:pt x="21" y="90"/>
                      <a:pt x="21" y="90"/>
                    </a:cubicBezTo>
                    <a:cubicBezTo>
                      <a:pt x="21" y="90"/>
                      <a:pt x="21" y="90"/>
                      <a:pt x="21" y="90"/>
                    </a:cubicBezTo>
                    <a:cubicBezTo>
                      <a:pt x="32" y="90"/>
                      <a:pt x="42" y="74"/>
                      <a:pt x="42" y="45"/>
                    </a:cubicBezTo>
                    <a:cubicBezTo>
                      <a:pt x="42" y="15"/>
                      <a:pt x="32" y="0"/>
                      <a:pt x="21" y="0"/>
                    </a:cubicBezTo>
                    <a:close/>
                  </a:path>
                </a:pathLst>
              </a:custGeom>
              <a:gradFill rotWithShape="1">
                <a:gsLst>
                  <a:gs pos="0">
                    <a:srgbClr val="969696"/>
                  </a:gs>
                  <a:gs pos="100000">
                    <a:srgbClr val="454545"/>
                  </a:gs>
                </a:gsLst>
                <a:lin ang="5400000" scaled="1"/>
              </a:gradFill>
              <a:ln w="9525">
                <a:noFill/>
                <a:round/>
                <a:headEnd/>
                <a:tailEnd/>
              </a:ln>
            </p:spPr>
            <p:txBody>
              <a:bodyPr/>
              <a:lstStyle/>
              <a:p>
                <a:endParaRPr lang="de-DE"/>
              </a:p>
            </p:txBody>
          </p:sp>
          <p:sp>
            <p:nvSpPr>
              <p:cNvPr id="212" name="Oval 53"/>
              <p:cNvSpPr>
                <a:spLocks noChangeArrowheads="1"/>
              </p:cNvSpPr>
              <p:nvPr/>
            </p:nvSpPr>
            <p:spPr bwMode="gray">
              <a:xfrm>
                <a:off x="2164" y="1931"/>
                <a:ext cx="144" cy="22"/>
              </a:xfrm>
              <a:prstGeom prst="ellipse">
                <a:avLst/>
              </a:prstGeom>
              <a:solidFill>
                <a:srgbClr val="4D4D4D"/>
              </a:solidFill>
              <a:ln w="9525">
                <a:noFill/>
                <a:round/>
                <a:headEnd/>
                <a:tailEnd/>
              </a:ln>
            </p:spPr>
            <p:txBody>
              <a:bodyPr/>
              <a:lstStyle/>
              <a:p>
                <a:endParaRPr lang="de-DE">
                  <a:latin typeface="Myriad Pro" pitchFamily="34" charset="0"/>
                </a:endParaRPr>
              </a:p>
            </p:txBody>
          </p:sp>
          <p:sp>
            <p:nvSpPr>
              <p:cNvPr id="213" name="Freeform 54"/>
              <p:cNvSpPr>
                <a:spLocks/>
              </p:cNvSpPr>
              <p:nvPr/>
            </p:nvSpPr>
            <p:spPr bwMode="gray">
              <a:xfrm>
                <a:off x="1978" y="1112"/>
                <a:ext cx="62" cy="296"/>
              </a:xfrm>
              <a:custGeom>
                <a:avLst/>
                <a:gdLst>
                  <a:gd name="T0" fmla="*/ 222856 w 42"/>
                  <a:gd name="T1" fmla="*/ 0 h 201"/>
                  <a:gd name="T2" fmla="*/ 67471 w 42"/>
                  <a:gd name="T3" fmla="*/ 188608 h 201"/>
                  <a:gd name="T4" fmla="*/ 67471 w 42"/>
                  <a:gd name="T5" fmla="*/ 193852 h 201"/>
                  <a:gd name="T6" fmla="*/ 57811 w 42"/>
                  <a:gd name="T7" fmla="*/ 220611 h 201"/>
                  <a:gd name="T8" fmla="*/ 51996 w 42"/>
                  <a:gd name="T9" fmla="*/ 223993 h 201"/>
                  <a:gd name="T10" fmla="*/ 51996 w 42"/>
                  <a:gd name="T11" fmla="*/ 223993 h 201"/>
                  <a:gd name="T12" fmla="*/ 44134 w 42"/>
                  <a:gd name="T13" fmla="*/ 251557 h 201"/>
                  <a:gd name="T14" fmla="*/ 44134 w 42"/>
                  <a:gd name="T15" fmla="*/ 253525 h 201"/>
                  <a:gd name="T16" fmla="*/ 30962 w 42"/>
                  <a:gd name="T17" fmla="*/ 277751 h 201"/>
                  <a:gd name="T18" fmla="*/ 30962 w 42"/>
                  <a:gd name="T19" fmla="*/ 287725 h 201"/>
                  <a:gd name="T20" fmla="*/ 20974 w 42"/>
                  <a:gd name="T21" fmla="*/ 307847 h 201"/>
                  <a:gd name="T22" fmla="*/ 20974 w 42"/>
                  <a:gd name="T23" fmla="*/ 316963 h 201"/>
                  <a:gd name="T24" fmla="*/ 14208 w 42"/>
                  <a:gd name="T25" fmla="*/ 337360 h 201"/>
                  <a:gd name="T26" fmla="*/ 14208 w 42"/>
                  <a:gd name="T27" fmla="*/ 350167 h 201"/>
                  <a:gd name="T28" fmla="*/ 14208 w 42"/>
                  <a:gd name="T29" fmla="*/ 350167 h 201"/>
                  <a:gd name="T30" fmla="*/ 14208 w 42"/>
                  <a:gd name="T31" fmla="*/ 350167 h 201"/>
                  <a:gd name="T32" fmla="*/ 9625 w 42"/>
                  <a:gd name="T33" fmla="*/ 366187 h 201"/>
                  <a:gd name="T34" fmla="*/ 1 w 42"/>
                  <a:gd name="T35" fmla="*/ 379605 h 201"/>
                  <a:gd name="T36" fmla="*/ 1 w 42"/>
                  <a:gd name="T37" fmla="*/ 379605 h 201"/>
                  <a:gd name="T38" fmla="*/ 1 w 42"/>
                  <a:gd name="T39" fmla="*/ 379605 h 201"/>
                  <a:gd name="T40" fmla="*/ 1 w 42"/>
                  <a:gd name="T41" fmla="*/ 399912 h 201"/>
                  <a:gd name="T42" fmla="*/ 1 w 42"/>
                  <a:gd name="T43" fmla="*/ 399912 h 201"/>
                  <a:gd name="T44" fmla="*/ 1 w 42"/>
                  <a:gd name="T45" fmla="*/ 403653 h 201"/>
                  <a:gd name="T46" fmla="*/ 0 w 42"/>
                  <a:gd name="T47" fmla="*/ 432954 h 201"/>
                  <a:gd name="T48" fmla="*/ 0 w 42"/>
                  <a:gd name="T49" fmla="*/ 507989 h 201"/>
                  <a:gd name="T50" fmla="*/ 44134 w 42"/>
                  <a:gd name="T51" fmla="*/ 1002919 h 201"/>
                  <a:gd name="T52" fmla="*/ 147029 w 42"/>
                  <a:gd name="T53" fmla="*/ 908876 h 201"/>
                  <a:gd name="T54" fmla="*/ 147029 w 42"/>
                  <a:gd name="T55" fmla="*/ 908876 h 201"/>
                  <a:gd name="T56" fmla="*/ 151724 w 42"/>
                  <a:gd name="T57" fmla="*/ 908876 h 201"/>
                  <a:gd name="T58" fmla="*/ 178522 w 42"/>
                  <a:gd name="T59" fmla="*/ 904888 h 201"/>
                  <a:gd name="T60" fmla="*/ 125978 w 42"/>
                  <a:gd name="T61" fmla="*/ 572726 h 201"/>
                  <a:gd name="T62" fmla="*/ 147029 w 42"/>
                  <a:gd name="T63" fmla="*/ 184405 h 201"/>
                  <a:gd name="T64" fmla="*/ 222856 w 42"/>
                  <a:gd name="T65" fmla="*/ 0 h 2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201"/>
                  <a:gd name="T101" fmla="*/ 42 w 42"/>
                  <a:gd name="T102" fmla="*/ 201 h 2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201">
                    <a:moveTo>
                      <a:pt x="42" y="0"/>
                    </a:moveTo>
                    <a:cubicBezTo>
                      <a:pt x="29" y="12"/>
                      <a:pt x="20" y="25"/>
                      <a:pt x="13" y="38"/>
                    </a:cubicBezTo>
                    <a:cubicBezTo>
                      <a:pt x="13" y="39"/>
                      <a:pt x="13" y="39"/>
                      <a:pt x="13" y="39"/>
                    </a:cubicBezTo>
                    <a:cubicBezTo>
                      <a:pt x="12" y="41"/>
                      <a:pt x="11" y="42"/>
                      <a:pt x="11" y="44"/>
                    </a:cubicBezTo>
                    <a:cubicBezTo>
                      <a:pt x="10" y="44"/>
                      <a:pt x="10" y="45"/>
                      <a:pt x="10" y="45"/>
                    </a:cubicBezTo>
                    <a:cubicBezTo>
                      <a:pt x="10" y="45"/>
                      <a:pt x="10" y="45"/>
                      <a:pt x="10" y="45"/>
                    </a:cubicBezTo>
                    <a:cubicBezTo>
                      <a:pt x="9" y="47"/>
                      <a:pt x="9" y="48"/>
                      <a:pt x="8" y="50"/>
                    </a:cubicBezTo>
                    <a:cubicBezTo>
                      <a:pt x="8" y="50"/>
                      <a:pt x="8" y="51"/>
                      <a:pt x="8" y="51"/>
                    </a:cubicBezTo>
                    <a:cubicBezTo>
                      <a:pt x="7" y="53"/>
                      <a:pt x="7" y="54"/>
                      <a:pt x="6" y="56"/>
                    </a:cubicBezTo>
                    <a:cubicBezTo>
                      <a:pt x="6" y="56"/>
                      <a:pt x="6" y="57"/>
                      <a:pt x="6" y="58"/>
                    </a:cubicBezTo>
                    <a:cubicBezTo>
                      <a:pt x="5" y="59"/>
                      <a:pt x="5" y="60"/>
                      <a:pt x="4" y="62"/>
                    </a:cubicBezTo>
                    <a:cubicBezTo>
                      <a:pt x="4" y="62"/>
                      <a:pt x="4" y="63"/>
                      <a:pt x="4" y="64"/>
                    </a:cubicBezTo>
                    <a:cubicBezTo>
                      <a:pt x="4" y="65"/>
                      <a:pt x="3" y="66"/>
                      <a:pt x="3" y="68"/>
                    </a:cubicBezTo>
                    <a:cubicBezTo>
                      <a:pt x="3" y="68"/>
                      <a:pt x="3" y="69"/>
                      <a:pt x="3" y="70"/>
                    </a:cubicBezTo>
                    <a:cubicBezTo>
                      <a:pt x="3" y="70"/>
                      <a:pt x="3" y="70"/>
                      <a:pt x="3" y="70"/>
                    </a:cubicBezTo>
                    <a:cubicBezTo>
                      <a:pt x="3" y="70"/>
                      <a:pt x="3" y="70"/>
                      <a:pt x="3" y="70"/>
                    </a:cubicBezTo>
                    <a:cubicBezTo>
                      <a:pt x="2" y="71"/>
                      <a:pt x="2" y="72"/>
                      <a:pt x="2" y="73"/>
                    </a:cubicBezTo>
                    <a:cubicBezTo>
                      <a:pt x="2" y="74"/>
                      <a:pt x="2" y="75"/>
                      <a:pt x="1" y="76"/>
                    </a:cubicBezTo>
                    <a:cubicBezTo>
                      <a:pt x="1" y="76"/>
                      <a:pt x="1" y="76"/>
                      <a:pt x="1" y="76"/>
                    </a:cubicBezTo>
                    <a:cubicBezTo>
                      <a:pt x="1" y="76"/>
                      <a:pt x="1" y="76"/>
                      <a:pt x="1" y="76"/>
                    </a:cubicBezTo>
                    <a:cubicBezTo>
                      <a:pt x="1" y="77"/>
                      <a:pt x="1" y="78"/>
                      <a:pt x="1" y="80"/>
                    </a:cubicBezTo>
                    <a:cubicBezTo>
                      <a:pt x="1" y="80"/>
                      <a:pt x="1" y="80"/>
                      <a:pt x="1" y="80"/>
                    </a:cubicBezTo>
                    <a:cubicBezTo>
                      <a:pt x="1" y="80"/>
                      <a:pt x="1" y="81"/>
                      <a:pt x="1" y="81"/>
                    </a:cubicBezTo>
                    <a:cubicBezTo>
                      <a:pt x="0" y="83"/>
                      <a:pt x="0" y="85"/>
                      <a:pt x="0" y="87"/>
                    </a:cubicBezTo>
                    <a:cubicBezTo>
                      <a:pt x="0" y="92"/>
                      <a:pt x="0" y="97"/>
                      <a:pt x="0" y="102"/>
                    </a:cubicBezTo>
                    <a:cubicBezTo>
                      <a:pt x="0" y="132"/>
                      <a:pt x="4" y="171"/>
                      <a:pt x="8" y="201"/>
                    </a:cubicBezTo>
                    <a:cubicBezTo>
                      <a:pt x="28" y="182"/>
                      <a:pt x="28" y="182"/>
                      <a:pt x="28" y="182"/>
                    </a:cubicBezTo>
                    <a:cubicBezTo>
                      <a:pt x="28" y="182"/>
                      <a:pt x="28" y="182"/>
                      <a:pt x="28" y="182"/>
                    </a:cubicBezTo>
                    <a:cubicBezTo>
                      <a:pt x="29" y="182"/>
                      <a:pt x="29" y="182"/>
                      <a:pt x="29" y="182"/>
                    </a:cubicBezTo>
                    <a:cubicBezTo>
                      <a:pt x="34" y="181"/>
                      <a:pt x="34" y="181"/>
                      <a:pt x="34" y="181"/>
                    </a:cubicBezTo>
                    <a:cubicBezTo>
                      <a:pt x="28" y="158"/>
                      <a:pt x="24" y="135"/>
                      <a:pt x="24" y="115"/>
                    </a:cubicBezTo>
                    <a:cubicBezTo>
                      <a:pt x="24" y="84"/>
                      <a:pt x="25" y="58"/>
                      <a:pt x="28" y="37"/>
                    </a:cubicBezTo>
                    <a:cubicBezTo>
                      <a:pt x="31" y="22"/>
                      <a:pt x="35" y="9"/>
                      <a:pt x="42" y="0"/>
                    </a:cubicBezTo>
                  </a:path>
                </a:pathLst>
              </a:custGeom>
              <a:solidFill>
                <a:schemeClr val="bg1"/>
              </a:solidFill>
              <a:ln w="6350">
                <a:solidFill>
                  <a:srgbClr val="F8F8F8"/>
                </a:solidFill>
                <a:round/>
                <a:headEnd/>
                <a:tailEnd/>
              </a:ln>
            </p:spPr>
            <p:txBody>
              <a:bodyPr/>
              <a:lstStyle/>
              <a:p>
                <a:endParaRPr lang="de-DE"/>
              </a:p>
            </p:txBody>
          </p:sp>
          <p:sp>
            <p:nvSpPr>
              <p:cNvPr id="214" name="Freeform 55"/>
              <p:cNvSpPr>
                <a:spLocks/>
              </p:cNvSpPr>
              <p:nvPr/>
            </p:nvSpPr>
            <p:spPr bwMode="gray">
              <a:xfrm>
                <a:off x="2430" y="1112"/>
                <a:ext cx="62" cy="296"/>
              </a:xfrm>
              <a:custGeom>
                <a:avLst/>
                <a:gdLst>
                  <a:gd name="T0" fmla="*/ 0 w 42"/>
                  <a:gd name="T1" fmla="*/ 0 h 201"/>
                  <a:gd name="T2" fmla="*/ 67471 w 42"/>
                  <a:gd name="T3" fmla="*/ 184405 h 201"/>
                  <a:gd name="T4" fmla="*/ 89749 w 42"/>
                  <a:gd name="T5" fmla="*/ 572726 h 201"/>
                  <a:gd name="T6" fmla="*/ 35223 w 42"/>
                  <a:gd name="T7" fmla="*/ 904888 h 201"/>
                  <a:gd name="T8" fmla="*/ 67471 w 42"/>
                  <a:gd name="T9" fmla="*/ 908876 h 201"/>
                  <a:gd name="T10" fmla="*/ 67471 w 42"/>
                  <a:gd name="T11" fmla="*/ 908876 h 201"/>
                  <a:gd name="T12" fmla="*/ 67471 w 42"/>
                  <a:gd name="T13" fmla="*/ 908876 h 201"/>
                  <a:gd name="T14" fmla="*/ 172936 w 42"/>
                  <a:gd name="T15" fmla="*/ 1002919 h 201"/>
                  <a:gd name="T16" fmla="*/ 222856 w 42"/>
                  <a:gd name="T17" fmla="*/ 507989 h 201"/>
                  <a:gd name="T18" fmla="*/ 217043 w 42"/>
                  <a:gd name="T19" fmla="*/ 432954 h 201"/>
                  <a:gd name="T20" fmla="*/ 217043 w 42"/>
                  <a:gd name="T21" fmla="*/ 403653 h 201"/>
                  <a:gd name="T22" fmla="*/ 209576 w 42"/>
                  <a:gd name="T23" fmla="*/ 399912 h 201"/>
                  <a:gd name="T24" fmla="*/ 209576 w 42"/>
                  <a:gd name="T25" fmla="*/ 379605 h 201"/>
                  <a:gd name="T26" fmla="*/ 206900 w 42"/>
                  <a:gd name="T27" fmla="*/ 366187 h 201"/>
                  <a:gd name="T28" fmla="*/ 206900 w 42"/>
                  <a:gd name="T29" fmla="*/ 350167 h 201"/>
                  <a:gd name="T30" fmla="*/ 206900 w 42"/>
                  <a:gd name="T31" fmla="*/ 350167 h 201"/>
                  <a:gd name="T32" fmla="*/ 201869 w 42"/>
                  <a:gd name="T33" fmla="*/ 337360 h 201"/>
                  <a:gd name="T34" fmla="*/ 201869 w 42"/>
                  <a:gd name="T35" fmla="*/ 337360 h 201"/>
                  <a:gd name="T36" fmla="*/ 201869 w 42"/>
                  <a:gd name="T37" fmla="*/ 337360 h 201"/>
                  <a:gd name="T38" fmla="*/ 201869 w 42"/>
                  <a:gd name="T39" fmla="*/ 337360 h 201"/>
                  <a:gd name="T40" fmla="*/ 195576 w 42"/>
                  <a:gd name="T41" fmla="*/ 316963 h 201"/>
                  <a:gd name="T42" fmla="*/ 195576 w 42"/>
                  <a:gd name="T43" fmla="*/ 307847 h 201"/>
                  <a:gd name="T44" fmla="*/ 188840 w 42"/>
                  <a:gd name="T45" fmla="*/ 287725 h 201"/>
                  <a:gd name="T46" fmla="*/ 185968 w 42"/>
                  <a:gd name="T47" fmla="*/ 277751 h 201"/>
                  <a:gd name="T48" fmla="*/ 178522 w 42"/>
                  <a:gd name="T49" fmla="*/ 253525 h 201"/>
                  <a:gd name="T50" fmla="*/ 172936 w 42"/>
                  <a:gd name="T51" fmla="*/ 251557 h 201"/>
                  <a:gd name="T52" fmla="*/ 163640 w 42"/>
                  <a:gd name="T53" fmla="*/ 223993 h 201"/>
                  <a:gd name="T54" fmla="*/ 163640 w 42"/>
                  <a:gd name="T55" fmla="*/ 220611 h 201"/>
                  <a:gd name="T56" fmla="*/ 147029 w 42"/>
                  <a:gd name="T57" fmla="*/ 193852 h 201"/>
                  <a:gd name="T58" fmla="*/ 147029 w 42"/>
                  <a:gd name="T59" fmla="*/ 188608 h 201"/>
                  <a:gd name="T60" fmla="*/ 20974 w 42"/>
                  <a:gd name="T61" fmla="*/ 19854 h 201"/>
                  <a:gd name="T62" fmla="*/ 0 w 42"/>
                  <a:gd name="T63" fmla="*/ 0 h 2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201"/>
                  <a:gd name="T98" fmla="*/ 42 w 42"/>
                  <a:gd name="T99" fmla="*/ 201 h 2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201">
                    <a:moveTo>
                      <a:pt x="0" y="0"/>
                    </a:moveTo>
                    <a:cubicBezTo>
                      <a:pt x="6" y="9"/>
                      <a:pt x="10" y="22"/>
                      <a:pt x="13" y="37"/>
                    </a:cubicBezTo>
                    <a:cubicBezTo>
                      <a:pt x="16" y="58"/>
                      <a:pt x="17" y="84"/>
                      <a:pt x="17" y="115"/>
                    </a:cubicBezTo>
                    <a:cubicBezTo>
                      <a:pt x="17" y="135"/>
                      <a:pt x="13" y="158"/>
                      <a:pt x="7" y="181"/>
                    </a:cubicBezTo>
                    <a:cubicBezTo>
                      <a:pt x="13" y="182"/>
                      <a:pt x="13" y="182"/>
                      <a:pt x="13" y="182"/>
                    </a:cubicBezTo>
                    <a:cubicBezTo>
                      <a:pt x="13" y="182"/>
                      <a:pt x="13" y="182"/>
                      <a:pt x="13" y="182"/>
                    </a:cubicBezTo>
                    <a:cubicBezTo>
                      <a:pt x="13" y="182"/>
                      <a:pt x="13" y="182"/>
                      <a:pt x="13" y="182"/>
                    </a:cubicBezTo>
                    <a:cubicBezTo>
                      <a:pt x="33" y="201"/>
                      <a:pt x="33" y="201"/>
                      <a:pt x="33" y="201"/>
                    </a:cubicBezTo>
                    <a:cubicBezTo>
                      <a:pt x="37" y="171"/>
                      <a:pt x="42" y="132"/>
                      <a:pt x="42" y="102"/>
                    </a:cubicBezTo>
                    <a:cubicBezTo>
                      <a:pt x="42" y="97"/>
                      <a:pt x="41" y="92"/>
                      <a:pt x="41" y="87"/>
                    </a:cubicBezTo>
                    <a:cubicBezTo>
                      <a:pt x="41" y="85"/>
                      <a:pt x="41" y="83"/>
                      <a:pt x="41" y="81"/>
                    </a:cubicBezTo>
                    <a:cubicBezTo>
                      <a:pt x="41" y="81"/>
                      <a:pt x="40" y="80"/>
                      <a:pt x="40" y="80"/>
                    </a:cubicBezTo>
                    <a:cubicBezTo>
                      <a:pt x="40" y="78"/>
                      <a:pt x="40" y="77"/>
                      <a:pt x="40" y="76"/>
                    </a:cubicBezTo>
                    <a:cubicBezTo>
                      <a:pt x="40" y="75"/>
                      <a:pt x="40" y="74"/>
                      <a:pt x="39" y="73"/>
                    </a:cubicBezTo>
                    <a:cubicBezTo>
                      <a:pt x="39" y="72"/>
                      <a:pt x="39" y="71"/>
                      <a:pt x="39" y="70"/>
                    </a:cubicBezTo>
                    <a:cubicBezTo>
                      <a:pt x="39" y="70"/>
                      <a:pt x="39" y="70"/>
                      <a:pt x="39" y="70"/>
                    </a:cubicBezTo>
                    <a:cubicBezTo>
                      <a:pt x="39" y="69"/>
                      <a:pt x="38" y="68"/>
                      <a:pt x="38" y="68"/>
                    </a:cubicBezTo>
                    <a:cubicBezTo>
                      <a:pt x="38" y="68"/>
                      <a:pt x="38" y="68"/>
                      <a:pt x="38" y="68"/>
                    </a:cubicBezTo>
                    <a:cubicBezTo>
                      <a:pt x="38" y="68"/>
                      <a:pt x="38" y="68"/>
                      <a:pt x="38" y="68"/>
                    </a:cubicBezTo>
                    <a:cubicBezTo>
                      <a:pt x="38" y="68"/>
                      <a:pt x="38" y="68"/>
                      <a:pt x="38" y="68"/>
                    </a:cubicBezTo>
                    <a:cubicBezTo>
                      <a:pt x="38" y="66"/>
                      <a:pt x="38" y="65"/>
                      <a:pt x="37" y="64"/>
                    </a:cubicBezTo>
                    <a:cubicBezTo>
                      <a:pt x="37" y="63"/>
                      <a:pt x="37" y="62"/>
                      <a:pt x="37" y="62"/>
                    </a:cubicBezTo>
                    <a:cubicBezTo>
                      <a:pt x="36" y="60"/>
                      <a:pt x="36" y="59"/>
                      <a:pt x="36" y="58"/>
                    </a:cubicBezTo>
                    <a:cubicBezTo>
                      <a:pt x="35" y="57"/>
                      <a:pt x="35" y="56"/>
                      <a:pt x="35" y="56"/>
                    </a:cubicBezTo>
                    <a:cubicBezTo>
                      <a:pt x="35" y="54"/>
                      <a:pt x="34" y="53"/>
                      <a:pt x="34" y="51"/>
                    </a:cubicBezTo>
                    <a:cubicBezTo>
                      <a:pt x="33" y="51"/>
                      <a:pt x="33" y="50"/>
                      <a:pt x="33" y="50"/>
                    </a:cubicBezTo>
                    <a:cubicBezTo>
                      <a:pt x="32" y="48"/>
                      <a:pt x="32" y="47"/>
                      <a:pt x="31" y="45"/>
                    </a:cubicBezTo>
                    <a:cubicBezTo>
                      <a:pt x="31" y="45"/>
                      <a:pt x="31" y="44"/>
                      <a:pt x="31" y="44"/>
                    </a:cubicBezTo>
                    <a:cubicBezTo>
                      <a:pt x="30" y="42"/>
                      <a:pt x="29" y="41"/>
                      <a:pt x="28" y="39"/>
                    </a:cubicBezTo>
                    <a:cubicBezTo>
                      <a:pt x="28" y="38"/>
                      <a:pt x="28" y="38"/>
                      <a:pt x="28" y="38"/>
                    </a:cubicBezTo>
                    <a:cubicBezTo>
                      <a:pt x="22" y="26"/>
                      <a:pt x="14" y="15"/>
                      <a:pt x="4" y="4"/>
                    </a:cubicBezTo>
                    <a:cubicBezTo>
                      <a:pt x="2" y="3"/>
                      <a:pt x="1" y="2"/>
                      <a:pt x="0" y="0"/>
                    </a:cubicBezTo>
                  </a:path>
                </a:pathLst>
              </a:custGeom>
              <a:solidFill>
                <a:schemeClr val="bg1"/>
              </a:solidFill>
              <a:ln w="6350">
                <a:solidFill>
                  <a:srgbClr val="F8F8F8"/>
                </a:solidFill>
                <a:round/>
                <a:headEnd/>
                <a:tailEnd/>
              </a:ln>
            </p:spPr>
            <p:txBody>
              <a:bodyPr/>
              <a:lstStyle/>
              <a:p>
                <a:endParaRPr lang="de-DE"/>
              </a:p>
            </p:txBody>
          </p:sp>
          <p:sp>
            <p:nvSpPr>
              <p:cNvPr id="215" name="Freeform 56"/>
              <p:cNvSpPr>
                <a:spLocks noEditPoints="1"/>
              </p:cNvSpPr>
              <p:nvPr/>
            </p:nvSpPr>
            <p:spPr bwMode="gray">
              <a:xfrm>
                <a:off x="1990" y="1349"/>
                <a:ext cx="490" cy="74"/>
              </a:xfrm>
              <a:custGeom>
                <a:avLst/>
                <a:gdLst>
                  <a:gd name="T0" fmla="*/ 127049 w 334"/>
                  <a:gd name="T1" fmla="*/ 111349 h 50"/>
                  <a:gd name="T2" fmla="*/ 95607 w 334"/>
                  <a:gd name="T3" fmla="*/ 125606 h 50"/>
                  <a:gd name="T4" fmla="*/ 0 w 334"/>
                  <a:gd name="T5" fmla="*/ 228886 h 50"/>
                  <a:gd name="T6" fmla="*/ 0 w 334"/>
                  <a:gd name="T7" fmla="*/ 232888 h 50"/>
                  <a:gd name="T8" fmla="*/ 1 w 334"/>
                  <a:gd name="T9" fmla="*/ 279637 h 50"/>
                  <a:gd name="T10" fmla="*/ 108664 w 334"/>
                  <a:gd name="T11" fmla="*/ 154653 h 50"/>
                  <a:gd name="T12" fmla="*/ 133409 w 334"/>
                  <a:gd name="T13" fmla="*/ 150048 h 50"/>
                  <a:gd name="T14" fmla="*/ 562661 w 334"/>
                  <a:gd name="T15" fmla="*/ 32234 h 50"/>
                  <a:gd name="T16" fmla="*/ 556925 w 334"/>
                  <a:gd name="T17" fmla="*/ 0 h 50"/>
                  <a:gd name="T18" fmla="*/ 127049 w 334"/>
                  <a:gd name="T19" fmla="*/ 111349 h 50"/>
                  <a:gd name="T20" fmla="*/ 1434693 w 334"/>
                  <a:gd name="T21" fmla="*/ 125606 h 50"/>
                  <a:gd name="T22" fmla="*/ 1406090 w 334"/>
                  <a:gd name="T23" fmla="*/ 111349 h 50"/>
                  <a:gd name="T24" fmla="*/ 972054 w 334"/>
                  <a:gd name="T25" fmla="*/ 0 h 50"/>
                  <a:gd name="T26" fmla="*/ 964231 w 334"/>
                  <a:gd name="T27" fmla="*/ 32234 h 50"/>
                  <a:gd name="T28" fmla="*/ 1394333 w 334"/>
                  <a:gd name="T29" fmla="*/ 150048 h 50"/>
                  <a:gd name="T30" fmla="*/ 1419068 w 334"/>
                  <a:gd name="T31" fmla="*/ 154653 h 50"/>
                  <a:gd name="T32" fmla="*/ 1522059 w 334"/>
                  <a:gd name="T33" fmla="*/ 279637 h 50"/>
                  <a:gd name="T34" fmla="*/ 1534185 w 334"/>
                  <a:gd name="T35" fmla="*/ 232888 h 50"/>
                  <a:gd name="T36" fmla="*/ 1534185 w 334"/>
                  <a:gd name="T37" fmla="*/ 228886 h 50"/>
                  <a:gd name="T38" fmla="*/ 1434693 w 334"/>
                  <a:gd name="T39" fmla="*/ 125606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4"/>
                  <a:gd name="T61" fmla="*/ 0 h 50"/>
                  <a:gd name="T62" fmla="*/ 334 w 334"/>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4" h="50">
                    <a:moveTo>
                      <a:pt x="27" y="20"/>
                    </a:moveTo>
                    <a:cubicBezTo>
                      <a:pt x="21" y="22"/>
                      <a:pt x="21" y="22"/>
                      <a:pt x="21" y="22"/>
                    </a:cubicBezTo>
                    <a:cubicBezTo>
                      <a:pt x="0" y="41"/>
                      <a:pt x="0" y="41"/>
                      <a:pt x="0" y="41"/>
                    </a:cubicBezTo>
                    <a:cubicBezTo>
                      <a:pt x="0" y="42"/>
                      <a:pt x="0" y="42"/>
                      <a:pt x="0" y="42"/>
                    </a:cubicBezTo>
                    <a:cubicBezTo>
                      <a:pt x="0" y="45"/>
                      <a:pt x="0" y="47"/>
                      <a:pt x="1" y="50"/>
                    </a:cubicBezTo>
                    <a:cubicBezTo>
                      <a:pt x="24" y="28"/>
                      <a:pt x="24" y="28"/>
                      <a:pt x="24" y="28"/>
                    </a:cubicBezTo>
                    <a:cubicBezTo>
                      <a:pt x="29" y="27"/>
                      <a:pt x="29" y="27"/>
                      <a:pt x="29" y="27"/>
                    </a:cubicBezTo>
                    <a:cubicBezTo>
                      <a:pt x="123" y="6"/>
                      <a:pt x="123" y="6"/>
                      <a:pt x="123" y="6"/>
                    </a:cubicBezTo>
                    <a:cubicBezTo>
                      <a:pt x="122" y="4"/>
                      <a:pt x="122" y="2"/>
                      <a:pt x="121" y="0"/>
                    </a:cubicBezTo>
                    <a:lnTo>
                      <a:pt x="27" y="20"/>
                    </a:lnTo>
                    <a:close/>
                    <a:moveTo>
                      <a:pt x="313" y="22"/>
                    </a:moveTo>
                    <a:cubicBezTo>
                      <a:pt x="306" y="20"/>
                      <a:pt x="306" y="20"/>
                      <a:pt x="306" y="20"/>
                    </a:cubicBezTo>
                    <a:cubicBezTo>
                      <a:pt x="212" y="0"/>
                      <a:pt x="212" y="0"/>
                      <a:pt x="212" y="0"/>
                    </a:cubicBezTo>
                    <a:cubicBezTo>
                      <a:pt x="212" y="2"/>
                      <a:pt x="211" y="4"/>
                      <a:pt x="210" y="6"/>
                    </a:cubicBezTo>
                    <a:cubicBezTo>
                      <a:pt x="304" y="27"/>
                      <a:pt x="304" y="27"/>
                      <a:pt x="304" y="27"/>
                    </a:cubicBezTo>
                    <a:cubicBezTo>
                      <a:pt x="309" y="28"/>
                      <a:pt x="309" y="28"/>
                      <a:pt x="309" y="28"/>
                    </a:cubicBezTo>
                    <a:cubicBezTo>
                      <a:pt x="332" y="50"/>
                      <a:pt x="332" y="50"/>
                      <a:pt x="332" y="50"/>
                    </a:cubicBezTo>
                    <a:cubicBezTo>
                      <a:pt x="333" y="47"/>
                      <a:pt x="333" y="45"/>
                      <a:pt x="334" y="42"/>
                    </a:cubicBezTo>
                    <a:cubicBezTo>
                      <a:pt x="334" y="41"/>
                      <a:pt x="334" y="41"/>
                      <a:pt x="334" y="41"/>
                    </a:cubicBezTo>
                    <a:lnTo>
                      <a:pt x="313" y="22"/>
                    </a:lnTo>
                    <a:close/>
                  </a:path>
                </a:pathLst>
              </a:custGeom>
              <a:solidFill>
                <a:srgbClr val="969696"/>
              </a:solidFill>
              <a:ln w="9525">
                <a:noFill/>
                <a:round/>
                <a:headEnd/>
                <a:tailEnd/>
              </a:ln>
            </p:spPr>
            <p:txBody>
              <a:bodyPr/>
              <a:lstStyle/>
              <a:p>
                <a:endParaRPr lang="de-DE"/>
              </a:p>
            </p:txBody>
          </p:sp>
          <p:sp>
            <p:nvSpPr>
              <p:cNvPr id="216" name="Freeform 57"/>
              <p:cNvSpPr>
                <a:spLocks/>
              </p:cNvSpPr>
              <p:nvPr/>
            </p:nvSpPr>
            <p:spPr bwMode="gray">
              <a:xfrm>
                <a:off x="2235" y="1052"/>
                <a:ext cx="219" cy="326"/>
              </a:xfrm>
              <a:custGeom>
                <a:avLst/>
                <a:gdLst>
                  <a:gd name="T0" fmla="*/ 45626 w 150"/>
                  <a:gd name="T1" fmla="*/ 0 h 222"/>
                  <a:gd name="T2" fmla="*/ 55306 w 150"/>
                  <a:gd name="T3" fmla="*/ 0 h 222"/>
                  <a:gd name="T4" fmla="*/ 86901 w 150"/>
                  <a:gd name="T5" fmla="*/ 0 h 222"/>
                  <a:gd name="T6" fmla="*/ 106589 w 150"/>
                  <a:gd name="T7" fmla="*/ 0 h 222"/>
                  <a:gd name="T8" fmla="*/ 133756 w 150"/>
                  <a:gd name="T9" fmla="*/ 1 h 222"/>
                  <a:gd name="T10" fmla="*/ 148929 w 150"/>
                  <a:gd name="T11" fmla="*/ 1 h 222"/>
                  <a:gd name="T12" fmla="*/ 172121 w 150"/>
                  <a:gd name="T13" fmla="*/ 8823 h 222"/>
                  <a:gd name="T14" fmla="*/ 189832 w 150"/>
                  <a:gd name="T15" fmla="*/ 12956 h 222"/>
                  <a:gd name="T16" fmla="*/ 209611 w 150"/>
                  <a:gd name="T17" fmla="*/ 12956 h 222"/>
                  <a:gd name="T18" fmla="*/ 231625 w 150"/>
                  <a:gd name="T19" fmla="*/ 19025 h 222"/>
                  <a:gd name="T20" fmla="*/ 248346 w 150"/>
                  <a:gd name="T21" fmla="*/ 21819 h 222"/>
                  <a:gd name="T22" fmla="*/ 268985 w 150"/>
                  <a:gd name="T23" fmla="*/ 27938 h 222"/>
                  <a:gd name="T24" fmla="*/ 281681 w 150"/>
                  <a:gd name="T25" fmla="*/ 32041 h 222"/>
                  <a:gd name="T26" fmla="*/ 302674 w 150"/>
                  <a:gd name="T27" fmla="*/ 41026 h 222"/>
                  <a:gd name="T28" fmla="*/ 314170 w 150"/>
                  <a:gd name="T29" fmla="*/ 41026 h 222"/>
                  <a:gd name="T30" fmla="*/ 332559 w 150"/>
                  <a:gd name="T31" fmla="*/ 50040 h 222"/>
                  <a:gd name="T32" fmla="*/ 342120 w 150"/>
                  <a:gd name="T33" fmla="*/ 56002 h 222"/>
                  <a:gd name="T34" fmla="*/ 366894 w 150"/>
                  <a:gd name="T35" fmla="*/ 68738 h 222"/>
                  <a:gd name="T36" fmla="*/ 366894 w 150"/>
                  <a:gd name="T37" fmla="*/ 68738 h 222"/>
                  <a:gd name="T38" fmla="*/ 521579 w 150"/>
                  <a:gd name="T39" fmla="*/ 162946 h 222"/>
                  <a:gd name="T40" fmla="*/ 521579 w 150"/>
                  <a:gd name="T41" fmla="*/ 162946 h 222"/>
                  <a:gd name="T42" fmla="*/ 521579 w 150"/>
                  <a:gd name="T43" fmla="*/ 162946 h 222"/>
                  <a:gd name="T44" fmla="*/ 619891 w 150"/>
                  <a:gd name="T45" fmla="*/ 729915 h 222"/>
                  <a:gd name="T46" fmla="*/ 573368 w 150"/>
                  <a:gd name="T47" fmla="*/ 1040094 h 222"/>
                  <a:gd name="T48" fmla="*/ 185237 w 150"/>
                  <a:gd name="T49" fmla="*/ 947366 h 222"/>
                  <a:gd name="T50" fmla="*/ 185237 w 150"/>
                  <a:gd name="T51" fmla="*/ 947366 h 222"/>
                  <a:gd name="T52" fmla="*/ 172121 w 150"/>
                  <a:gd name="T53" fmla="*/ 989384 h 222"/>
                  <a:gd name="T54" fmla="*/ 217436 w 150"/>
                  <a:gd name="T55" fmla="*/ 641495 h 222"/>
                  <a:gd name="T56" fmla="*/ 0 w 150"/>
                  <a:gd name="T57" fmla="*/ 56002 h 222"/>
                  <a:gd name="T58" fmla="*/ 0 w 150"/>
                  <a:gd name="T59" fmla="*/ 56002 h 222"/>
                  <a:gd name="T60" fmla="*/ 0 w 150"/>
                  <a:gd name="T61" fmla="*/ 0 h 222"/>
                  <a:gd name="T62" fmla="*/ 45626 w 150"/>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222"/>
                  <a:gd name="T98" fmla="*/ 150 w 150"/>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222">
                    <a:moveTo>
                      <a:pt x="11" y="0"/>
                    </a:moveTo>
                    <a:cubicBezTo>
                      <a:pt x="12" y="0"/>
                      <a:pt x="13" y="0"/>
                      <a:pt x="14" y="0"/>
                    </a:cubicBezTo>
                    <a:cubicBezTo>
                      <a:pt x="17" y="0"/>
                      <a:pt x="19" y="0"/>
                      <a:pt x="21" y="0"/>
                    </a:cubicBezTo>
                    <a:cubicBezTo>
                      <a:pt x="23" y="0"/>
                      <a:pt x="24" y="0"/>
                      <a:pt x="26" y="0"/>
                    </a:cubicBezTo>
                    <a:cubicBezTo>
                      <a:pt x="28" y="1"/>
                      <a:pt x="30" y="1"/>
                      <a:pt x="32" y="1"/>
                    </a:cubicBezTo>
                    <a:cubicBezTo>
                      <a:pt x="33" y="1"/>
                      <a:pt x="35" y="1"/>
                      <a:pt x="36" y="1"/>
                    </a:cubicBezTo>
                    <a:cubicBezTo>
                      <a:pt x="38" y="2"/>
                      <a:pt x="40" y="2"/>
                      <a:pt x="42" y="2"/>
                    </a:cubicBezTo>
                    <a:cubicBezTo>
                      <a:pt x="43" y="2"/>
                      <a:pt x="45" y="2"/>
                      <a:pt x="46" y="3"/>
                    </a:cubicBezTo>
                    <a:cubicBezTo>
                      <a:pt x="48" y="3"/>
                      <a:pt x="49" y="3"/>
                      <a:pt x="51" y="3"/>
                    </a:cubicBezTo>
                    <a:cubicBezTo>
                      <a:pt x="52" y="4"/>
                      <a:pt x="54" y="4"/>
                      <a:pt x="56" y="4"/>
                    </a:cubicBezTo>
                    <a:cubicBezTo>
                      <a:pt x="57" y="5"/>
                      <a:pt x="58" y="5"/>
                      <a:pt x="60" y="5"/>
                    </a:cubicBezTo>
                    <a:cubicBezTo>
                      <a:pt x="61" y="5"/>
                      <a:pt x="63" y="6"/>
                      <a:pt x="65" y="6"/>
                    </a:cubicBezTo>
                    <a:cubicBezTo>
                      <a:pt x="66" y="7"/>
                      <a:pt x="67" y="7"/>
                      <a:pt x="68" y="7"/>
                    </a:cubicBezTo>
                    <a:cubicBezTo>
                      <a:pt x="70" y="8"/>
                      <a:pt x="72" y="8"/>
                      <a:pt x="73" y="9"/>
                    </a:cubicBezTo>
                    <a:cubicBezTo>
                      <a:pt x="74" y="9"/>
                      <a:pt x="75" y="9"/>
                      <a:pt x="76" y="9"/>
                    </a:cubicBezTo>
                    <a:cubicBezTo>
                      <a:pt x="78" y="10"/>
                      <a:pt x="80" y="10"/>
                      <a:pt x="81" y="11"/>
                    </a:cubicBezTo>
                    <a:cubicBezTo>
                      <a:pt x="82" y="11"/>
                      <a:pt x="83" y="12"/>
                      <a:pt x="83" y="12"/>
                    </a:cubicBezTo>
                    <a:cubicBezTo>
                      <a:pt x="85" y="12"/>
                      <a:pt x="87" y="13"/>
                      <a:pt x="89" y="14"/>
                    </a:cubicBezTo>
                    <a:cubicBezTo>
                      <a:pt x="89" y="14"/>
                      <a:pt x="89" y="14"/>
                      <a:pt x="89" y="14"/>
                    </a:cubicBezTo>
                    <a:cubicBezTo>
                      <a:pt x="103" y="20"/>
                      <a:pt x="115" y="27"/>
                      <a:pt x="126" y="35"/>
                    </a:cubicBezTo>
                    <a:cubicBezTo>
                      <a:pt x="126" y="35"/>
                      <a:pt x="126" y="35"/>
                      <a:pt x="126" y="35"/>
                    </a:cubicBezTo>
                    <a:cubicBezTo>
                      <a:pt x="126" y="35"/>
                      <a:pt x="126" y="35"/>
                      <a:pt x="126" y="35"/>
                    </a:cubicBezTo>
                    <a:cubicBezTo>
                      <a:pt x="147" y="51"/>
                      <a:pt x="150" y="95"/>
                      <a:pt x="150" y="156"/>
                    </a:cubicBezTo>
                    <a:cubicBezTo>
                      <a:pt x="150" y="176"/>
                      <a:pt x="146" y="199"/>
                      <a:pt x="139" y="222"/>
                    </a:cubicBezTo>
                    <a:cubicBezTo>
                      <a:pt x="45" y="202"/>
                      <a:pt x="45" y="202"/>
                      <a:pt x="45" y="202"/>
                    </a:cubicBezTo>
                    <a:cubicBezTo>
                      <a:pt x="45" y="202"/>
                      <a:pt x="45" y="202"/>
                      <a:pt x="45" y="202"/>
                    </a:cubicBezTo>
                    <a:cubicBezTo>
                      <a:pt x="44" y="205"/>
                      <a:pt x="43" y="208"/>
                      <a:pt x="42" y="211"/>
                    </a:cubicBezTo>
                    <a:cubicBezTo>
                      <a:pt x="49" y="190"/>
                      <a:pt x="53" y="165"/>
                      <a:pt x="53" y="137"/>
                    </a:cubicBezTo>
                    <a:cubicBezTo>
                      <a:pt x="53" y="68"/>
                      <a:pt x="29" y="12"/>
                      <a:pt x="0" y="12"/>
                    </a:cubicBezTo>
                    <a:cubicBezTo>
                      <a:pt x="0" y="12"/>
                      <a:pt x="0" y="12"/>
                      <a:pt x="0" y="12"/>
                    </a:cubicBezTo>
                    <a:cubicBezTo>
                      <a:pt x="0" y="0"/>
                      <a:pt x="0" y="0"/>
                      <a:pt x="0" y="0"/>
                    </a:cubicBezTo>
                    <a:cubicBezTo>
                      <a:pt x="3" y="0"/>
                      <a:pt x="7" y="0"/>
                      <a:pt x="11" y="0"/>
                    </a:cubicBezTo>
                  </a:path>
                </a:pathLst>
              </a:custGeom>
              <a:gradFill rotWithShape="1">
                <a:gsLst>
                  <a:gs pos="0">
                    <a:srgbClr val="EAEAEA"/>
                  </a:gs>
                  <a:gs pos="100000">
                    <a:srgbClr val="969696"/>
                  </a:gs>
                </a:gsLst>
                <a:lin ang="18900000" scaled="1"/>
              </a:gradFill>
              <a:ln w="3175">
                <a:noFill/>
                <a:round/>
                <a:headEnd/>
                <a:tailEnd/>
              </a:ln>
            </p:spPr>
            <p:txBody>
              <a:bodyPr/>
              <a:lstStyle/>
              <a:p>
                <a:endParaRPr lang="de-DE"/>
              </a:p>
            </p:txBody>
          </p:sp>
        </p:grpSp>
        <p:sp>
          <p:nvSpPr>
            <p:cNvPr id="136" name="Rectangle 4"/>
            <p:cNvSpPr>
              <a:spLocks noChangeArrowheads="1"/>
            </p:cNvSpPr>
            <p:nvPr/>
          </p:nvSpPr>
          <p:spPr bwMode="gray">
            <a:xfrm>
              <a:off x="3680673" y="3391535"/>
              <a:ext cx="323854" cy="342900"/>
            </a:xfrm>
            <a:prstGeom prst="rect">
              <a:avLst/>
            </a:prstGeom>
            <a:noFill/>
            <a:ln w="9525">
              <a:noFill/>
              <a:miter lim="800000"/>
              <a:headEnd/>
              <a:tailEnd/>
            </a:ln>
          </p:spPr>
          <p:txBody>
            <a:bodyPr lIns="0" tIns="0" rIns="0" bIns="0" anchor="ctr"/>
            <a:lstStyle/>
            <a:p>
              <a:pPr algn="ctr" defTabSz="801688" eaLnBrk="0" fontAlgn="auto" hangingPunct="0">
                <a:spcBef>
                  <a:spcPts val="0"/>
                </a:spcBef>
                <a:spcAft>
                  <a:spcPts val="0"/>
                </a:spcAft>
                <a:defRPr/>
              </a:pPr>
              <a:r>
                <a:rPr lang="en-GB" sz="3200" kern="0" dirty="0">
                  <a:latin typeface="Myriad Pro" pitchFamily="34" charset="0"/>
                </a:rPr>
                <a:t>+</a:t>
              </a: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LWqtJDNVWkC9TC_kef41v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LWqtJDNVWkC9TC_kef41v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LWqtJDNVWkC9TC_kef41v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LWqtJDNVWkC9TC_kef41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902O4eB6KUyzvgpydpLNw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_lnCVm_UFkG0FScrBu2Mx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vwQux3Xx_EWaI5Xfs2RT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zsKb6FTeGU.j8jTMDlPf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fHkliBLf1kKrXHk0Ldxrq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b5pHd6.iAUOLHzede6vtv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IDyZm9AczkSN8lv3xtacP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neCUZXNLW02m0iRhMUL80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UqGaDbnvwEKYAGYBhOH8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yei7ld09FE.J0XAV5pq4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a3xdnubbjUCzfN8CBN4g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E2MscLoRokKU99wzz581H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uye9QnBaa0GLjWaI01wo3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EYuz3GHhxE.W0OZwraxhm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AFm4StFYU.8zXqdyCfsi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vHcUtXV3lUas38mw_DetzQ"/>
</p:tagLst>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747</Words>
  <Application>Microsoft Office PowerPoint</Application>
  <PresentationFormat>Bildschirmpräsentation (4:3)</PresentationFormat>
  <Paragraphs>308</Paragraphs>
  <Slides>29</Slides>
  <Notes>9</Notes>
  <HiddenSlides>0</HiddenSlides>
  <MMClips>0</MMClips>
  <ScaleCrop>false</ScaleCrop>
  <HeadingPairs>
    <vt:vector size="4" baseType="variant">
      <vt:variant>
        <vt:lpstr>Design</vt:lpstr>
      </vt:variant>
      <vt:variant>
        <vt:i4>1</vt:i4>
      </vt:variant>
      <vt:variant>
        <vt:lpstr>Folientitel</vt:lpstr>
      </vt:variant>
      <vt:variant>
        <vt:i4>29</vt:i4>
      </vt:variant>
    </vt:vector>
  </HeadingPairs>
  <TitlesOfParts>
    <vt:vector size="30" baseType="lpstr">
      <vt:lpstr>Standarddesign</vt:lpstr>
      <vt:lpstr>Karte kopieren</vt:lpstr>
      <vt:lpstr>Folie kopieren</vt:lpstr>
      <vt:lpstr>Karte gruppieren</vt:lpstr>
      <vt:lpstr>PowerPoint-Präsentation</vt:lpstr>
      <vt:lpstr>PowerPoint-Präsentation</vt:lpstr>
      <vt:lpstr>PowerPoint-Präsentation</vt:lpstr>
      <vt:lpstr>PowerPoint-Präsentation</vt:lpstr>
      <vt:lpstr>PowerPoint-Präsentation</vt:lpstr>
      <vt:lpstr>PowerPoint-Präsentation</vt:lpstr>
      <vt:lpstr>Karte kopieren</vt:lpstr>
      <vt:lpstr>Folie kopieren</vt:lpstr>
      <vt:lpstr>Karte gruppiere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Karte kopieren</vt:lpstr>
      <vt:lpstr>Folie kopieren</vt:lpstr>
      <vt:lpstr>Karte gruppiere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Dani</dc:creator>
  <cp:lastModifiedBy>birthe.s</cp:lastModifiedBy>
  <cp:revision>1338</cp:revision>
  <dcterms:created xsi:type="dcterms:W3CDTF">2009-08-25T14:01:52Z</dcterms:created>
  <dcterms:modified xsi:type="dcterms:W3CDTF">2013-10-15T08:1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tut_layout-2</vt:lpwstr>
  </property>
  <property fmtid="{D5CDD505-2E9C-101B-9397-08002B2CF9AE}" pid="4" name="ArticulateGUID">
    <vt:lpwstr>9DE3A46C-C55A-40BC-99BB-39C5C305C103</vt:lpwstr>
  </property>
  <property fmtid="{D5CDD505-2E9C-101B-9397-08002B2CF9AE}" pid="5" name="ArticulateProjectFull">
    <vt:lpwstr>\\Diskstation\presentationload\PRESENTATIONLOAD\0_TEAM_MITARBEITER\Students\Bernd\_AKTUELL\_.ppta</vt:lpwstr>
  </property>
</Properties>
</file>